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4.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autoCompressPictures="0">
  <p:sldMasterIdLst>
    <p:sldMasterId id="2147483648" r:id="rId4"/>
  </p:sldMasterIdLst>
  <p:notesMasterIdLst>
    <p:notesMasterId r:id="rId34"/>
  </p:notesMasterIdLst>
  <p:handoutMasterIdLst>
    <p:handoutMasterId r:id="rId35"/>
  </p:handoutMasterIdLst>
  <p:sldIdLst>
    <p:sldId id="650" r:id="rId5"/>
    <p:sldId id="600" r:id="rId6"/>
    <p:sldId id="587" r:id="rId7"/>
    <p:sldId id="641" r:id="rId8"/>
    <p:sldId id="633" r:id="rId9"/>
    <p:sldId id="592" r:id="rId10"/>
    <p:sldId id="594" r:id="rId11"/>
    <p:sldId id="597" r:id="rId12"/>
    <p:sldId id="619" r:id="rId13"/>
    <p:sldId id="610" r:id="rId14"/>
    <p:sldId id="618" r:id="rId15"/>
    <p:sldId id="622" r:id="rId16"/>
    <p:sldId id="652" r:id="rId17"/>
    <p:sldId id="645" r:id="rId18"/>
    <p:sldId id="646" r:id="rId19"/>
    <p:sldId id="642" r:id="rId20"/>
    <p:sldId id="601" r:id="rId21"/>
    <p:sldId id="649" r:id="rId22"/>
    <p:sldId id="629" r:id="rId23"/>
    <p:sldId id="638" r:id="rId24"/>
    <p:sldId id="639" r:id="rId25"/>
    <p:sldId id="640" r:id="rId26"/>
    <p:sldId id="631" r:id="rId27"/>
    <p:sldId id="647" r:id="rId28"/>
    <p:sldId id="634" r:id="rId29"/>
    <p:sldId id="635" r:id="rId30"/>
    <p:sldId id="636" r:id="rId31"/>
    <p:sldId id="637" r:id="rId32"/>
    <p:sldId id="651" r:id="rId33"/>
  </p:sldIdLst>
  <p:sldSz cx="9144000" cy="5143500" type="screen16x9"/>
  <p:notesSz cx="6858000" cy="9144000"/>
  <p:custDataLst>
    <p:tags r:id="rId3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4">
          <p15:clr>
            <a:srgbClr val="A4A3A4"/>
          </p15:clr>
        </p15:guide>
        <p15:guide id="2" orient="horz" pos="2835" userDrawn="1">
          <p15:clr>
            <a:srgbClr val="A4A3A4"/>
          </p15:clr>
        </p15:guide>
        <p15:guide id="3" orient="horz" pos="864">
          <p15:clr>
            <a:srgbClr val="A4A3A4"/>
          </p15:clr>
        </p15:guide>
        <p15:guide id="4" pos="5472">
          <p15:clr>
            <a:srgbClr val="A4A3A4"/>
          </p15:clr>
        </p15:guide>
        <p15:guide id="5" pos="2937">
          <p15:clr>
            <a:srgbClr val="A4A3A4"/>
          </p15:clr>
        </p15:guide>
        <p15:guide id="6" pos="288">
          <p15:clr>
            <a:srgbClr val="A4A3A4"/>
          </p15:clr>
        </p15:guide>
        <p15:guide id="7" pos="2824"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291DD"/>
    <a:srgbClr val="9ABFDC"/>
    <a:srgbClr val="04CCCC"/>
    <a:srgbClr val="023760"/>
    <a:srgbClr val="CCCCFF"/>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1C5780E6-A8F4-46B0-B82D-9E7F56C639EF}">
  <a:tblStyle styleId="{1C5780E6-A8F4-46B0-B82D-9E7F56C639EF}" styleName="Novartis Table">
    <a:wholeTbl>
      <a:tcTxStyle>
        <a:fontRef idx="minor"/>
        <a:srgbClr val="000000"/>
      </a:tcTxStyle>
      <a:tcStyle>
        <a:tcBdr>
          <a:left>
            <a:ln>
              <a:noFill/>
            </a:ln>
          </a:left>
          <a:right>
            <a:ln>
              <a:noFill/>
            </a:ln>
          </a:right>
          <a:top>
            <a:ln w="6350">
              <a:solidFill>
                <a:srgbClr val="646464"/>
              </a:solidFill>
            </a:ln>
          </a:top>
          <a:bottom>
            <a:ln w="6350">
              <a:solidFill>
                <a:srgbClr val="646464"/>
              </a:solidFill>
            </a:ln>
          </a:bottom>
          <a:insideH>
            <a:ln w="6350">
              <a:solidFill>
                <a:srgbClr val="646464"/>
              </a:solidFill>
            </a:ln>
          </a:insideH>
          <a:insideV>
            <a:ln>
              <a:noFill/>
            </a:ln>
          </a:insideV>
        </a:tcBdr>
        <a:fill>
          <a:noFill/>
        </a:fill>
      </a:tcStyle>
    </a:wholeTbl>
    <a:band1H>
      <a:tcStyle>
        <a:tcBdr/>
        <a:fill>
          <a:noFill/>
        </a:fill>
      </a:tcStyle>
    </a:band1H>
    <a:band2H>
      <a:tcStyle>
        <a:tcBdr/>
        <a:fill>
          <a:noFill/>
        </a:fill>
      </a:tcStyle>
    </a:band2H>
    <a:band1V>
      <a:tcStyle>
        <a:tcBdr/>
        <a:fill>
          <a:noFill/>
        </a:fill>
      </a:tcStyle>
    </a:band1V>
    <a:band2V>
      <a:tcStyle>
        <a:tcBdr/>
        <a:fill>
          <a:noFill/>
        </a:fill>
      </a:tcStyle>
    </a:band2V>
    <a:lastCol>
      <a:tcTxStyle b="on">
        <a:fontRef idx="minor"/>
        <a:srgbClr val="000000"/>
      </a:tcTxStyle>
      <a:tcStyle>
        <a:tcBdr/>
      </a:tcStyle>
    </a:lastCol>
    <a:firstCol>
      <a:tcTxStyle b="on">
        <a:fontRef idx="minor"/>
        <a:srgbClr val="000000"/>
      </a:tcTxStyle>
      <a:tcStyle>
        <a:tcBdr/>
      </a:tcStyle>
    </a:firstCol>
    <a:lastRow>
      <a:tcTxStyle b="on">
        <a:fontRef idx="minor"/>
        <a:srgbClr val="000000"/>
      </a:tcTxStyle>
      <a:tcStyle>
        <a:tcBdr>
          <a:top>
            <a:ln w="19050">
              <a:solidFill>
                <a:srgbClr val="000000"/>
              </a:solidFill>
            </a:ln>
          </a:top>
          <a:bottom>
            <a:ln>
              <a:noFill/>
            </a:ln>
          </a:bottom>
        </a:tcBdr>
        <a:fill>
          <a:noFill/>
        </a:fill>
      </a:tcStyle>
    </a:lastRow>
    <a:firstRow>
      <a:tcTxStyle b="on">
        <a:fontRef idx="minor"/>
        <a:srgbClr val="0460A9"/>
      </a:tcTxStyle>
      <a:tcStyle>
        <a:tcBdr>
          <a:top>
            <a:ln>
              <a:noFill/>
            </a:ln>
          </a:top>
          <a:bottom>
            <a:ln w="19050">
              <a:solidFill>
                <a:srgbClr val="0460A9"/>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3979" autoAdjust="0"/>
  </p:normalViewPr>
  <p:slideViewPr>
    <p:cSldViewPr showGuides="1">
      <p:cViewPr>
        <p:scale>
          <a:sx n="88" d="100"/>
          <a:sy n="88" d="100"/>
        </p:scale>
        <p:origin x="684" y="124"/>
      </p:cViewPr>
      <p:guideLst>
        <p:guide orient="horz" pos="214"/>
        <p:guide orient="horz" pos="2835"/>
        <p:guide orient="horz" pos="864"/>
        <p:guide pos="5472"/>
        <p:guide pos="2937"/>
        <p:guide pos="288"/>
        <p:guide pos="2824"/>
      </p:guideLst>
    </p:cSldViewPr>
  </p:slideViewPr>
  <p:notesTextViewPr>
    <p:cViewPr>
      <p:scale>
        <a:sx n="1" d="1"/>
        <a:sy n="1" d="1"/>
      </p:scale>
      <p:origin x="0" y="0"/>
    </p:cViewPr>
  </p:notesTextViewPr>
  <p:sorterViewPr>
    <p:cViewPr>
      <p:scale>
        <a:sx n="66" d="100"/>
        <a:sy n="66" d="100"/>
      </p:scale>
      <p:origin x="0" y="0"/>
    </p:cViewPr>
  </p:sorterViewPr>
  <p:notesViewPr>
    <p:cSldViewPr snapToGrid="0" snapToObjects="1" showGuides="1">
      <p:cViewPr varScale="1">
        <p:scale>
          <a:sx n="52" d="100"/>
          <a:sy n="52" d="100"/>
        </p:scale>
        <p:origin x="2680" y="6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heme" Target="theme/theme1.xml"/><Relationship Id="rId21" Type="http://schemas.openxmlformats.org/officeDocument/2006/relationships/slide" Target="slides/slide17.xml"/><Relationship Id="rId34"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handoutMaster" Target="handoutMasters/handoutMaster1.xml"/><Relationship Id="rId8" Type="http://schemas.openxmlformats.org/officeDocument/2006/relationships/slide" Target="slides/slide4.xml"/><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latin typeface="Arial"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61BB60FF-ACF0-5A4A-9C79-4881E6B16567}" type="datetimeFigureOut">
              <a:rPr lang="en-US" smtClean="0">
                <a:latin typeface="Arial" charset="0"/>
              </a:rPr>
              <a:pPr/>
              <a:t>1/28/2021</a:t>
            </a:fld>
            <a:endParaRPr lang="en-US" dirty="0">
              <a:latin typeface="Arial" charset="0"/>
            </a:endParaRPr>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latin typeface="Arial" charset="0"/>
            </a:endParaRP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56ABA786-EB35-BA4C-A7F7-24740D3067F1}" type="slidenum">
              <a:rPr lang="en-US" smtClean="0">
                <a:latin typeface="Arial" charset="0"/>
              </a:rPr>
              <a:pPr/>
              <a:t>‹#›</a:t>
            </a:fld>
            <a:endParaRPr lang="en-US" dirty="0">
              <a:latin typeface="Arial" charset="0"/>
            </a:endParaRPr>
          </a:p>
        </p:txBody>
      </p:sp>
    </p:spTree>
    <p:extLst>
      <p:ext uri="{BB962C8B-B14F-4D97-AF65-F5344CB8AC3E}">
        <p14:creationId xmlns:p14="http://schemas.microsoft.com/office/powerpoint/2010/main" val="237994723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b="0" i="0">
                <a:latin typeface="Arial" charset="0"/>
              </a:defRPr>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b="0" i="0">
                <a:latin typeface="Arial" charset="0"/>
              </a:defRPr>
            </a:lvl1pPr>
          </a:lstStyle>
          <a:p>
            <a:fld id="{0C4595FF-6E7F-4C41-B8DF-4AE76FC1F075}" type="datetimeFigureOut">
              <a:rPr lang="en-US" smtClean="0"/>
              <a:pPr/>
              <a:t>1/28/2021</a:t>
            </a:fld>
            <a:endParaRPr lang="en-U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b="0" i="0">
                <a:latin typeface="Arial" charset="0"/>
              </a:defRPr>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b="0" i="0">
                <a:latin typeface="Arial" charset="0"/>
              </a:defRPr>
            </a:lvl1pPr>
          </a:lstStyle>
          <a:p>
            <a:fld id="{5A6330BE-D91A-D240-B266-E5D5F99B4CCE}" type="slidenum">
              <a:rPr lang="en-US" smtClean="0"/>
              <a:pPr/>
              <a:t>‹#›</a:t>
            </a:fld>
            <a:endParaRPr lang="en-US" dirty="0"/>
          </a:p>
        </p:txBody>
      </p:sp>
    </p:spTree>
    <p:extLst>
      <p:ext uri="{BB962C8B-B14F-4D97-AF65-F5344CB8AC3E}">
        <p14:creationId xmlns:p14="http://schemas.microsoft.com/office/powerpoint/2010/main" val="3126316716"/>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b="0" i="0" kern="1200">
        <a:solidFill>
          <a:schemeClr val="tx1"/>
        </a:solidFill>
        <a:latin typeface="Arial" charset="0"/>
        <a:ea typeface="+mn-ea"/>
        <a:cs typeface="+mn-cs"/>
      </a:defRPr>
    </a:lvl1pPr>
    <a:lvl2pPr marL="457200" algn="l" defTabSz="457200" rtl="0" eaLnBrk="1" latinLnBrk="0" hangingPunct="1">
      <a:defRPr sz="1200" b="0" i="0" kern="1200">
        <a:solidFill>
          <a:schemeClr val="tx1"/>
        </a:solidFill>
        <a:latin typeface="Arial" charset="0"/>
        <a:ea typeface="+mn-ea"/>
        <a:cs typeface="+mn-cs"/>
      </a:defRPr>
    </a:lvl2pPr>
    <a:lvl3pPr marL="914400" algn="l" defTabSz="457200" rtl="0" eaLnBrk="1" latinLnBrk="0" hangingPunct="1">
      <a:defRPr sz="1200" b="0" i="0" kern="1200">
        <a:solidFill>
          <a:schemeClr val="tx1"/>
        </a:solidFill>
        <a:latin typeface="Arial" charset="0"/>
        <a:ea typeface="+mn-ea"/>
        <a:cs typeface="+mn-cs"/>
      </a:defRPr>
    </a:lvl3pPr>
    <a:lvl4pPr marL="1371600" algn="l" defTabSz="457200" rtl="0" eaLnBrk="1" latinLnBrk="0" hangingPunct="1">
      <a:defRPr sz="1200" b="0" i="0" kern="1200">
        <a:solidFill>
          <a:schemeClr val="tx1"/>
        </a:solidFill>
        <a:latin typeface="Arial" charset="0"/>
        <a:ea typeface="+mn-ea"/>
        <a:cs typeface="+mn-cs"/>
      </a:defRPr>
    </a:lvl4pPr>
    <a:lvl5pPr marL="1828800" algn="l" defTabSz="457200" rtl="0" eaLnBrk="1" latinLnBrk="0" hangingPunct="1">
      <a:defRPr sz="1200" b="0" i="0" kern="1200">
        <a:solidFill>
          <a:schemeClr val="tx1"/>
        </a:solidFill>
        <a:latin typeface="Arial" charset="0"/>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5A6330BE-D91A-D240-B266-E5D5F99B4CCE}" type="slidenum">
              <a:rPr lang="en-US" smtClean="0"/>
              <a:pPr/>
              <a:t>8</a:t>
            </a:fld>
            <a:endParaRPr lang="en-US" dirty="0"/>
          </a:p>
        </p:txBody>
      </p:sp>
    </p:spTree>
    <p:extLst>
      <p:ext uri="{BB962C8B-B14F-4D97-AF65-F5344CB8AC3E}">
        <p14:creationId xmlns:p14="http://schemas.microsoft.com/office/powerpoint/2010/main" val="130627370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a:p>
        </p:txBody>
      </p:sp>
      <p:sp>
        <p:nvSpPr>
          <p:cNvPr id="4" name="Slide Number Placeholder 3"/>
          <p:cNvSpPr>
            <a:spLocks noGrp="1"/>
          </p:cNvSpPr>
          <p:nvPr>
            <p:ph type="sldNum" sz="quarter" idx="10"/>
          </p:nvPr>
        </p:nvSpPr>
        <p:spPr/>
        <p:txBody>
          <a:bodyPr/>
          <a:lstStyle/>
          <a:p>
            <a:fld id="{5A6330BE-D91A-D240-B266-E5D5F99B4CCE}" type="slidenum">
              <a:rPr lang="en-US" smtClean="0"/>
              <a:pPr/>
              <a:t>29</a:t>
            </a:fld>
            <a:endParaRPr lang="en-US"/>
          </a:p>
        </p:txBody>
      </p:sp>
    </p:spTree>
    <p:extLst>
      <p:ext uri="{BB962C8B-B14F-4D97-AF65-F5344CB8AC3E}">
        <p14:creationId xmlns:p14="http://schemas.microsoft.com/office/powerpoint/2010/main" val="926178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9</a:t>
            </a:fld>
            <a:endParaRPr lang="en-US" dirty="0"/>
          </a:p>
        </p:txBody>
      </p:sp>
    </p:spTree>
    <p:extLst>
      <p:ext uri="{BB962C8B-B14F-4D97-AF65-F5344CB8AC3E}">
        <p14:creationId xmlns:p14="http://schemas.microsoft.com/office/powerpoint/2010/main" val="30730872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1</a:t>
            </a:fld>
            <a:endParaRPr lang="en-US" dirty="0"/>
          </a:p>
        </p:txBody>
      </p:sp>
    </p:spTree>
    <p:extLst>
      <p:ext uri="{BB962C8B-B14F-4D97-AF65-F5344CB8AC3E}">
        <p14:creationId xmlns:p14="http://schemas.microsoft.com/office/powerpoint/2010/main" val="20969068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6330BE-D91A-D240-B266-E5D5F99B4CCE}" type="slidenum">
              <a:rPr lang="en-US" smtClean="0"/>
              <a:pPr/>
              <a:t>12</a:t>
            </a:fld>
            <a:endParaRPr lang="en-US" dirty="0"/>
          </a:p>
        </p:txBody>
      </p:sp>
    </p:spTree>
    <p:extLst>
      <p:ext uri="{BB962C8B-B14F-4D97-AF65-F5344CB8AC3E}">
        <p14:creationId xmlns:p14="http://schemas.microsoft.com/office/powerpoint/2010/main" val="35138918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baseline="0" dirty="0"/>
              <a:t>Key visual to be updated </a:t>
            </a:r>
          </a:p>
        </p:txBody>
      </p:sp>
      <p:sp>
        <p:nvSpPr>
          <p:cNvPr id="4" name="Slide Number Placeholder 3"/>
          <p:cNvSpPr>
            <a:spLocks noGrp="1"/>
          </p:cNvSpPr>
          <p:nvPr>
            <p:ph type="sldNum" sz="quarter" idx="10"/>
          </p:nvPr>
        </p:nvSpPr>
        <p:spPr/>
        <p:txBody>
          <a:bodyPr/>
          <a:lstStyle/>
          <a:p>
            <a:fld id="{5A6330BE-D91A-D240-B266-E5D5F99B4CCE}" type="slidenum">
              <a:rPr lang="en-US" smtClean="0"/>
              <a:pPr/>
              <a:t>19</a:t>
            </a:fld>
            <a:endParaRPr lang="en-US" dirty="0"/>
          </a:p>
        </p:txBody>
      </p:sp>
    </p:spTree>
    <p:extLst>
      <p:ext uri="{BB962C8B-B14F-4D97-AF65-F5344CB8AC3E}">
        <p14:creationId xmlns:p14="http://schemas.microsoft.com/office/powerpoint/2010/main" val="40706382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A6330BE-D91A-D240-B266-E5D5F99B4CCE}" type="slidenum">
              <a:rPr lang="en-US" smtClean="0"/>
              <a:pPr/>
              <a:t>20</a:t>
            </a:fld>
            <a:endParaRPr lang="en-US" dirty="0"/>
          </a:p>
        </p:txBody>
      </p:sp>
    </p:spTree>
    <p:extLst>
      <p:ext uri="{BB962C8B-B14F-4D97-AF65-F5344CB8AC3E}">
        <p14:creationId xmlns:p14="http://schemas.microsoft.com/office/powerpoint/2010/main" val="322842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A6330BE-D91A-D240-B266-E5D5F99B4CCE}" type="slidenum">
              <a:rPr lang="en-US" smtClean="0"/>
              <a:pPr/>
              <a:t>21</a:t>
            </a:fld>
            <a:endParaRPr lang="en-US" dirty="0"/>
          </a:p>
        </p:txBody>
      </p:sp>
    </p:spTree>
    <p:extLst>
      <p:ext uri="{BB962C8B-B14F-4D97-AF65-F5344CB8AC3E}">
        <p14:creationId xmlns:p14="http://schemas.microsoft.com/office/powerpoint/2010/main" val="11088549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A6330BE-D91A-D240-B266-E5D5F99B4CCE}" type="slidenum">
              <a:rPr lang="en-US" smtClean="0"/>
              <a:pPr/>
              <a:t>22</a:t>
            </a:fld>
            <a:endParaRPr lang="en-US" dirty="0"/>
          </a:p>
        </p:txBody>
      </p:sp>
    </p:spTree>
    <p:extLst>
      <p:ext uri="{BB962C8B-B14F-4D97-AF65-F5344CB8AC3E}">
        <p14:creationId xmlns:p14="http://schemas.microsoft.com/office/powerpoint/2010/main" val="22995289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6330BE-D91A-D240-B266-E5D5F99B4CCE}" type="slidenum">
              <a:rPr lang="en-US" smtClean="0"/>
              <a:pPr/>
              <a:t>24</a:t>
            </a:fld>
            <a:endParaRPr lang="en-US" dirty="0"/>
          </a:p>
        </p:txBody>
      </p:sp>
    </p:spTree>
    <p:extLst>
      <p:ext uri="{BB962C8B-B14F-4D97-AF65-F5344CB8AC3E}">
        <p14:creationId xmlns:p14="http://schemas.microsoft.com/office/powerpoint/2010/main" val="345971237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4.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jp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 Id="rId4" Type="http://schemas.openxmlformats.org/officeDocument/2006/relationships/image" Target="../media/image6.jp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29" name="Picture 28"/>
          <p:cNvPicPr>
            <a:picLocks noChangeAspect="1"/>
          </p:cNvPicPr>
          <p:nvPr userDrawn="1"/>
        </p:nvPicPr>
        <p:blipFill>
          <a:blip r:embed="rId2"/>
          <a:stretch>
            <a:fillRect/>
          </a:stretch>
        </p:blipFill>
        <p:spPr>
          <a:xfrm>
            <a:off x="0" y="6956"/>
            <a:ext cx="1051249" cy="5129588"/>
          </a:xfrm>
          <a:prstGeom prst="rect">
            <a:avLst/>
          </a:prstGeom>
        </p:spPr>
      </p:pic>
      <p:grpSp>
        <p:nvGrpSpPr>
          <p:cNvPr id="5" name="Group 4"/>
          <p:cNvGrpSpPr/>
          <p:nvPr userDrawn="1"/>
        </p:nvGrpSpPr>
        <p:grpSpPr>
          <a:xfrm>
            <a:off x="-137160" y="-137160"/>
            <a:ext cx="9418320" cy="5422392"/>
            <a:chOff x="-137160" y="-137160"/>
            <a:chExt cx="9418320" cy="5422392"/>
          </a:xfrm>
        </p:grpSpPr>
        <p:cxnSp>
          <p:nvCxnSpPr>
            <p:cNvPr id="8" name="Straight Connector 7"/>
            <p:cNvCxnSpPr/>
            <p:nvPr userDrawn="1"/>
          </p:nvCxnSpPr>
          <p:spPr>
            <a:xfrm flipV="1">
              <a:off x="1050626"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userDrawn="1"/>
          </p:nvCxnSpPr>
          <p:spPr>
            <a:xfrm flipV="1">
              <a:off x="86868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1" name="Straight Connector 10"/>
            <p:cNvCxnSpPr/>
            <p:nvPr userDrawn="1"/>
          </p:nvCxnSpPr>
          <p:spPr>
            <a:xfrm flipV="1">
              <a:off x="1050626"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userDrawn="1"/>
          </p:nvCxnSpPr>
          <p:spPr>
            <a:xfrm flipV="1">
              <a:off x="86868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flipV="1">
              <a:off x="16002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flipV="1">
              <a:off x="16002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9189720" y="1188720"/>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137160" y="1188720"/>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9189720" y="640080"/>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137160" y="640080"/>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grpSp>
      <p:sp>
        <p:nvSpPr>
          <p:cNvPr id="2" name="Title 1"/>
          <p:cNvSpPr>
            <a:spLocks noGrp="1"/>
          </p:cNvSpPr>
          <p:nvPr>
            <p:ph type="ctrTitle"/>
          </p:nvPr>
        </p:nvSpPr>
        <p:spPr bwMode="auto">
          <a:xfrm>
            <a:off x="1600200" y="3108959"/>
            <a:ext cx="7086600" cy="914400"/>
          </a:xfrm>
        </p:spPr>
        <p:txBody>
          <a:bodyPr anchor="b" anchorCtr="0">
            <a:noAutofit/>
          </a:bodyPr>
          <a:lstStyle>
            <a:lvl1pPr>
              <a:defRPr sz="3200" b="0" baseline="0">
                <a:solidFill>
                  <a:schemeClr val="tx1"/>
                </a:solidFill>
              </a:defRPr>
            </a:lvl1pPr>
          </a:lstStyle>
          <a:p>
            <a:r>
              <a:rPr lang="en-US"/>
              <a:t>Click to edit Master title style</a:t>
            </a:r>
            <a:endParaRPr lang="en-US" dirty="0"/>
          </a:p>
        </p:txBody>
      </p:sp>
      <p:sp>
        <p:nvSpPr>
          <p:cNvPr id="3" name="Subtitle 2"/>
          <p:cNvSpPr>
            <a:spLocks noGrp="1"/>
          </p:cNvSpPr>
          <p:nvPr>
            <p:ph type="subTitle" idx="1"/>
          </p:nvPr>
        </p:nvSpPr>
        <p:spPr bwMode="auto">
          <a:xfrm>
            <a:off x="1600200" y="4114800"/>
            <a:ext cx="5029200" cy="731520"/>
          </a:xfrm>
          <a:noFill/>
        </p:spPr>
        <p:txBody>
          <a:bodyPr>
            <a:noAutofit/>
          </a:bodyPr>
          <a:lstStyle>
            <a:lvl1pPr marL="0" indent="0" algn="l">
              <a:lnSpc>
                <a:spcPct val="100000"/>
              </a:lnSpc>
              <a:spcBef>
                <a:spcPts val="0"/>
              </a:spcBef>
              <a:buNone/>
              <a:defRPr sz="1400" b="1" i="0" baseline="0">
                <a:solidFill>
                  <a:schemeClr val="tx1"/>
                </a:solidFill>
                <a:latin typeface="+mn-lt"/>
                <a:ea typeface="Arial Regular" charset="0"/>
                <a:cs typeface="Arial Regular"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27" name="Picture Placeholder 3"/>
          <p:cNvSpPr>
            <a:spLocks noGrp="1"/>
          </p:cNvSpPr>
          <p:nvPr>
            <p:ph type="pic" sz="quarter" idx="10" hasCustomPrompt="1"/>
          </p:nvPr>
        </p:nvSpPr>
        <p:spPr>
          <a:xfrm>
            <a:off x="525624" y="330011"/>
            <a:ext cx="8157600" cy="2681999"/>
          </a:xfrm>
          <a:solidFill>
            <a:srgbClr val="CCCCCC"/>
          </a:solidFill>
        </p:spPr>
        <p:txBody>
          <a:bodyPr tIns="1116000" anchor="t" anchorCtr="0">
            <a:normAutofit/>
          </a:bodyPr>
          <a:lstStyle>
            <a:lvl1pPr marL="1079500" marR="0" indent="0" algn="l" defTabSz="914400" rtl="0" eaLnBrk="1" fontAlgn="auto" latinLnBrk="0" hangingPunct="1">
              <a:lnSpc>
                <a:spcPct val="100000"/>
              </a:lnSpc>
              <a:spcBef>
                <a:spcPts val="1200"/>
              </a:spcBef>
              <a:spcAft>
                <a:spcPts val="0"/>
              </a:spcAft>
              <a:buClrTx/>
              <a:buSzPct val="120000"/>
              <a:buFont typeface="Arial" pitchFamily="34" charset="0"/>
              <a:buNone/>
              <a:tabLst>
                <a:tab pos="3998913" algn="r"/>
                <a:tab pos="8229600" algn="r"/>
              </a:tabLst>
              <a:defRPr lang="en-US" sz="950" smtClean="0">
                <a:effectLst/>
                <a:latin typeface="+mn-lt"/>
              </a:defRPr>
            </a:lvl1pPr>
          </a:lstStyle>
          <a:p>
            <a:r>
              <a:rPr lang="en-US" dirty="0"/>
              <a:t>This space is reserved for cropped images only sourced from Novartis Brand Lab at https://</a:t>
            </a:r>
            <a:r>
              <a:rPr lang="en-US" dirty="0" err="1"/>
              <a:t>www.novartisbrandlab.com</a:t>
            </a:r>
            <a:r>
              <a:rPr lang="en-US" dirty="0"/>
              <a:t>/resources/assets/5982</a:t>
            </a:r>
            <a:br>
              <a:rPr lang="en-US" dirty="0"/>
            </a:br>
            <a:r>
              <a:rPr lang="en-US" dirty="0"/>
              <a:t>Once you have chosen your image, select the asset for download from the drop-down menu.                                                            For this template, you would download the image cropped to fit the </a:t>
            </a:r>
            <a:r>
              <a:rPr lang="en-US" dirty="0">
                <a:solidFill>
                  <a:srgbClr val="000000"/>
                </a:solidFill>
                <a:effectLst/>
                <a:latin typeface="Arial" charset="0"/>
              </a:rPr>
              <a:t>PPT Presentation Wide Screen 16:9 template</a:t>
            </a:r>
            <a:r>
              <a:rPr lang="en-US" dirty="0"/>
              <a:t>.</a:t>
            </a:r>
            <a:br>
              <a:rPr lang="en-US" dirty="0"/>
            </a:br>
            <a:r>
              <a:rPr lang="en-US" dirty="0"/>
              <a:t>Illustrations, graphics or icons are not allowed. Photography must follow our </a:t>
            </a:r>
            <a:r>
              <a:rPr lang="en-US" dirty="0" err="1"/>
              <a:t>monocolor</a:t>
            </a:r>
            <a:r>
              <a:rPr lang="en-US" dirty="0"/>
              <a:t> rule.                                                                 That means for this template in Novartis Blue </a:t>
            </a:r>
            <a:r>
              <a:rPr lang="en-US" dirty="0" err="1"/>
              <a:t>monocolor</a:t>
            </a:r>
            <a:r>
              <a:rPr lang="en-US" dirty="0"/>
              <a:t> theme, choose an image with a pop of Novartis Blue color.</a:t>
            </a:r>
          </a:p>
        </p:txBody>
      </p:sp>
      <p:sp>
        <p:nvSpPr>
          <p:cNvPr id="24" name="Text Placeholder 7"/>
          <p:cNvSpPr>
            <a:spLocks noGrp="1"/>
          </p:cNvSpPr>
          <p:nvPr>
            <p:ph type="body" sz="quarter" idx="12" hasCustomPrompt="1"/>
          </p:nvPr>
        </p:nvSpPr>
        <p:spPr bwMode="gray">
          <a:xfrm>
            <a:off x="0" y="640080"/>
            <a:ext cx="2286000" cy="548640"/>
          </a:xfrm>
          <a:solidFill>
            <a:schemeClr val="accent2"/>
          </a:solidFill>
        </p:spPr>
        <p:txBody>
          <a:bodyPr lIns="182880" tIns="45720" rIns="91440" bIns="45720" anchor="ctr" anchorCtr="0">
            <a:normAutofit/>
          </a:bodyPr>
          <a:lstStyle>
            <a:lvl1pPr marL="0" marR="0" indent="0" algn="l" defTabSz="914400" rtl="0" eaLnBrk="1" fontAlgn="auto" latinLnBrk="0" hangingPunct="1">
              <a:lnSpc>
                <a:spcPct val="100000"/>
              </a:lnSpc>
              <a:spcBef>
                <a:spcPts val="0"/>
              </a:spcBef>
              <a:spcAft>
                <a:spcPts val="0"/>
              </a:spcAft>
              <a:buClrTx/>
              <a:buSzPct val="120000"/>
              <a:buFont typeface="Arial"/>
              <a:buNone/>
              <a:tabLst>
                <a:tab pos="3998913" algn="r"/>
                <a:tab pos="8229600" algn="r"/>
              </a:tabLst>
              <a:defRPr lang="en-US" sz="1000" b="1" i="0" kern="1200" spc="0" baseline="0" dirty="0">
                <a:solidFill>
                  <a:srgbClr val="FFFFFF"/>
                </a:solidFill>
                <a:latin typeface="+mn-lt"/>
                <a:ea typeface="Arial Regular" charset="0"/>
                <a:cs typeface="Arial Regular" charset="0"/>
              </a:defRPr>
            </a:lvl1pPr>
            <a:lvl2pPr marL="0" indent="0" algn="l">
              <a:spcBef>
                <a:spcPts val="0"/>
              </a:spcBef>
              <a:buFont typeface="Arial"/>
              <a:buNone/>
              <a:defRPr sz="900" b="1">
                <a:solidFill>
                  <a:schemeClr val="bg1"/>
                </a:solidFill>
              </a:defRPr>
            </a:lvl2pPr>
            <a:lvl3pPr marL="0" indent="0">
              <a:spcBef>
                <a:spcPts val="0"/>
              </a:spcBef>
              <a:buFont typeface="Arial"/>
              <a:buNone/>
              <a:defRPr sz="1000" b="1">
                <a:solidFill>
                  <a:schemeClr val="bg1"/>
                </a:solidFill>
              </a:defRPr>
            </a:lvl3pPr>
            <a:lvl4pPr marL="0" indent="0">
              <a:spcBef>
                <a:spcPts val="0"/>
              </a:spcBef>
              <a:buFont typeface="Arial"/>
              <a:buNone/>
              <a:defRPr sz="1000" b="1">
                <a:solidFill>
                  <a:schemeClr val="bg1"/>
                </a:solidFill>
              </a:defRPr>
            </a:lvl4pPr>
            <a:lvl5pPr marL="0" indent="0">
              <a:spcBef>
                <a:spcPts val="0"/>
              </a:spcBef>
              <a:buFont typeface="Arial"/>
              <a:buNone/>
              <a:defRPr sz="1000" b="1">
                <a:solidFill>
                  <a:schemeClr val="bg1"/>
                </a:solidFill>
              </a:defRPr>
            </a:lvl5pPr>
          </a:lstStyle>
          <a:p>
            <a:pPr marL="0" marR="0" lvl="0" indent="0" algn="l" defTabSz="914400" rtl="0" eaLnBrk="1" fontAlgn="auto" latinLnBrk="0" hangingPunct="1">
              <a:lnSpc>
                <a:spcPct val="100000"/>
              </a:lnSpc>
              <a:spcBef>
                <a:spcPts val="0"/>
              </a:spcBef>
              <a:spcAft>
                <a:spcPts val="0"/>
              </a:spcAft>
              <a:buClrTx/>
              <a:buSzPct val="120000"/>
              <a:buFont typeface="Arial"/>
              <a:buNone/>
              <a:tabLst>
                <a:tab pos="3998913" algn="r"/>
                <a:tab pos="8229600" algn="r"/>
              </a:tabLst>
              <a:defRPr/>
            </a:pPr>
            <a:r>
              <a:rPr lang="en-US" dirty="0">
                <a:solidFill>
                  <a:srgbClr val="FFFFFF"/>
                </a:solidFill>
              </a:rPr>
              <a:t>Sandoz Digital &amp; NBS IT</a:t>
            </a:r>
            <a:br>
              <a:rPr lang="en-US" dirty="0">
                <a:solidFill>
                  <a:srgbClr val="FFFFFF"/>
                </a:solidFill>
              </a:rPr>
            </a:br>
            <a:r>
              <a:rPr lang="en-US" b="0" dirty="0">
                <a:solidFill>
                  <a:srgbClr val="FFFFFF"/>
                </a:solidFill>
              </a:rPr>
              <a:t>Scout </a:t>
            </a:r>
          </a:p>
        </p:txBody>
      </p:sp>
      <p:pic>
        <p:nvPicPr>
          <p:cNvPr id="23" name="Picture 22">
            <a:extLst>
              <a:ext uri="{FF2B5EF4-FFF2-40B4-BE49-F238E27FC236}">
                <a16:creationId xmlns:a16="http://schemas.microsoft.com/office/drawing/2014/main" id="{F5F8178D-BECF-194D-A4A6-14876CABB04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26786" y="4726757"/>
            <a:ext cx="1463040" cy="177483"/>
          </a:xfrm>
          <a:prstGeom prst="rect">
            <a:avLst/>
          </a:prstGeom>
        </p:spPr>
      </p:pic>
    </p:spTree>
    <p:extLst>
      <p:ext uri="{BB962C8B-B14F-4D97-AF65-F5344CB8AC3E}">
        <p14:creationId xmlns:p14="http://schemas.microsoft.com/office/powerpoint/2010/main" val="1808711482"/>
      </p:ext>
    </p:extLst>
  </p:cSld>
  <p:clrMapOvr>
    <a:masterClrMapping/>
  </p:clrMapOvr>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3 Pictures">
    <p:spTree>
      <p:nvGrpSpPr>
        <p:cNvPr id="1" name=""/>
        <p:cNvGrpSpPr/>
        <p:nvPr/>
      </p:nvGrpSpPr>
      <p:grpSpPr>
        <a:xfrm>
          <a:off x="0" y="0"/>
          <a:ext cx="0" cy="0"/>
          <a:chOff x="0" y="0"/>
          <a:chExt cx="0" cy="0"/>
        </a:xfrm>
      </p:grpSpPr>
      <p:sp>
        <p:nvSpPr>
          <p:cNvPr id="4" name="Title 3"/>
          <p:cNvSpPr>
            <a:spLocks noGrp="1"/>
          </p:cNvSpPr>
          <p:nvPr>
            <p:ph type="title"/>
          </p:nvPr>
        </p:nvSpPr>
        <p:spPr>
          <a:xfrm>
            <a:off x="457200" y="342900"/>
            <a:ext cx="8229600" cy="960120"/>
          </a:xfrm>
        </p:spPr>
        <p:txBody>
          <a:bodyPr/>
          <a:lstStyle/>
          <a:p>
            <a:r>
              <a:rPr lang="en-US"/>
              <a:t>Click to edit Master title style</a:t>
            </a:r>
            <a:endParaRPr lang="en-US" dirty="0"/>
          </a:p>
        </p:txBody>
      </p:sp>
      <p:sp>
        <p:nvSpPr>
          <p:cNvPr id="2" name="Footer Placeholder 1"/>
          <p:cNvSpPr>
            <a:spLocks noGrp="1"/>
          </p:cNvSpPr>
          <p:nvPr>
            <p:ph type="ftr" sz="quarter" idx="20"/>
          </p:nvPr>
        </p:nvSpPr>
        <p:spPr/>
        <p:txBody>
          <a:bodyPr/>
          <a:lstStyle/>
          <a:p>
            <a:r>
              <a:rPr lang="en-US"/>
              <a:t>Scout l What is Roll-out? l August 2020</a:t>
            </a:r>
            <a:endParaRPr lang="fr-FR" dirty="0"/>
          </a:p>
        </p:txBody>
      </p:sp>
      <p:sp>
        <p:nvSpPr>
          <p:cNvPr id="3" name="Slide Number Placeholder 2"/>
          <p:cNvSpPr>
            <a:spLocks noGrp="1"/>
          </p:cNvSpPr>
          <p:nvPr>
            <p:ph type="sldNum" sz="quarter" idx="21"/>
          </p:nvPr>
        </p:nvSpPr>
        <p:spPr/>
        <p:txBody>
          <a:bodyPr/>
          <a:lstStyle/>
          <a:p>
            <a:fld id="{47547CF9-5B10-D24F-A8D7-45A9778164F7}" type="slidenum">
              <a:rPr lang="uk-UA" smtClean="0"/>
              <a:pPr/>
              <a:t>‹#›</a:t>
            </a:fld>
            <a:endParaRPr lang="uk-UA" dirty="0"/>
          </a:p>
        </p:txBody>
      </p:sp>
      <p:sp>
        <p:nvSpPr>
          <p:cNvPr id="19" name="Content Placeholder 2"/>
          <p:cNvSpPr>
            <a:spLocks noGrp="1"/>
          </p:cNvSpPr>
          <p:nvPr>
            <p:ph sz="half" idx="22"/>
          </p:nvPr>
        </p:nvSpPr>
        <p:spPr>
          <a:xfrm>
            <a:off x="457200" y="1786467"/>
            <a:ext cx="2606040" cy="2282613"/>
          </a:xfrm>
          <a:solidFill>
            <a:srgbClr val="CCCCCC"/>
          </a:solidFill>
        </p:spPr>
        <p:txBody>
          <a:bodyPr anchor="ctr" anchorCtr="0">
            <a:normAutofit/>
          </a:bodyPr>
          <a:lstStyle>
            <a:lvl1pPr marL="0" indent="0" algn="ctr">
              <a:spcBef>
                <a:spcPts val="0"/>
              </a:spcBef>
              <a:buNone/>
              <a:defRPr sz="1000" b="0" i="0" spc="30" baseline="0">
                <a:noFill/>
                <a:latin typeface="Arial" charset="0"/>
                <a:ea typeface="Arial" charset="0"/>
                <a:cs typeface="Arial" charset="0"/>
              </a:defRPr>
            </a:lvl1pPr>
            <a:lvl2pPr marL="0" indent="0" algn="ctr">
              <a:spcBef>
                <a:spcPts val="0"/>
              </a:spcBef>
              <a:buNone/>
              <a:defRPr sz="1200"/>
            </a:lvl2pPr>
            <a:lvl3pPr marL="0" indent="0" algn="ctr">
              <a:spcBef>
                <a:spcPts val="0"/>
              </a:spcBef>
              <a:buNone/>
              <a:defRPr sz="1200"/>
            </a:lvl3pPr>
            <a:lvl4pPr marL="0" indent="0" algn="ctr">
              <a:spcBef>
                <a:spcPts val="0"/>
              </a:spcBef>
              <a:buNone/>
              <a:defRPr sz="1200"/>
            </a:lvl4pPr>
            <a:lvl5pPr marL="0" indent="0" algn="ctr">
              <a:spcBef>
                <a:spcPts val="0"/>
              </a:spcBef>
              <a:buNone/>
              <a:defRPr sz="1200"/>
            </a:lvl5pPr>
            <a:lvl6pPr>
              <a:defRPr sz="1800"/>
            </a:lvl6pPr>
            <a:lvl7pPr>
              <a:defRPr sz="1800"/>
            </a:lvl7pPr>
            <a:lvl8pPr>
              <a:defRPr sz="1800"/>
            </a:lvl8pPr>
            <a:lvl9pPr>
              <a:defRPr sz="1800"/>
            </a:lvl9pPr>
          </a:lstStyle>
          <a:p>
            <a:pPr lvl="0"/>
            <a:r>
              <a:rPr lang="en-US"/>
              <a:t>Edit Master text styles</a:t>
            </a:r>
          </a:p>
        </p:txBody>
      </p:sp>
      <p:sp>
        <p:nvSpPr>
          <p:cNvPr id="20" name="Content Placeholder 2"/>
          <p:cNvSpPr>
            <a:spLocks noGrp="1"/>
          </p:cNvSpPr>
          <p:nvPr>
            <p:ph sz="half" idx="23"/>
          </p:nvPr>
        </p:nvSpPr>
        <p:spPr>
          <a:xfrm>
            <a:off x="3268980" y="1786467"/>
            <a:ext cx="2606040" cy="2282613"/>
          </a:xfrm>
          <a:solidFill>
            <a:srgbClr val="CCCCCC"/>
          </a:solidFill>
        </p:spPr>
        <p:txBody>
          <a:bodyPr anchor="ctr" anchorCtr="0">
            <a:normAutofit/>
          </a:bodyPr>
          <a:lstStyle>
            <a:lvl1pPr marL="0" indent="0" algn="ctr">
              <a:spcBef>
                <a:spcPts val="0"/>
              </a:spcBef>
              <a:buNone/>
              <a:defRPr sz="1000" b="0" i="0" spc="30" baseline="0">
                <a:noFill/>
                <a:latin typeface="Arial" charset="0"/>
                <a:ea typeface="Arial" charset="0"/>
                <a:cs typeface="Arial" charset="0"/>
              </a:defRPr>
            </a:lvl1pPr>
            <a:lvl2pPr marL="0" indent="0" algn="ctr">
              <a:spcBef>
                <a:spcPts val="0"/>
              </a:spcBef>
              <a:buNone/>
              <a:defRPr sz="1200"/>
            </a:lvl2pPr>
            <a:lvl3pPr marL="0" indent="0" algn="ctr">
              <a:spcBef>
                <a:spcPts val="0"/>
              </a:spcBef>
              <a:buNone/>
              <a:defRPr sz="1200"/>
            </a:lvl3pPr>
            <a:lvl4pPr marL="0" indent="0" algn="ctr">
              <a:spcBef>
                <a:spcPts val="0"/>
              </a:spcBef>
              <a:buNone/>
              <a:defRPr sz="1200"/>
            </a:lvl4pPr>
            <a:lvl5pPr marL="0" indent="0" algn="ctr">
              <a:spcBef>
                <a:spcPts val="0"/>
              </a:spcBef>
              <a:buNone/>
              <a:defRPr sz="1200"/>
            </a:lvl5pPr>
            <a:lvl6pPr>
              <a:defRPr sz="1800"/>
            </a:lvl6pPr>
            <a:lvl7pPr>
              <a:defRPr sz="1800"/>
            </a:lvl7pPr>
            <a:lvl8pPr>
              <a:defRPr sz="1800"/>
            </a:lvl8pPr>
            <a:lvl9pPr>
              <a:defRPr sz="1800"/>
            </a:lvl9pPr>
          </a:lstStyle>
          <a:p>
            <a:pPr lvl="0"/>
            <a:r>
              <a:rPr lang="en-US"/>
              <a:t>Edit Master text styles</a:t>
            </a:r>
          </a:p>
        </p:txBody>
      </p:sp>
      <p:sp>
        <p:nvSpPr>
          <p:cNvPr id="21" name="Content Placeholder 2"/>
          <p:cNvSpPr>
            <a:spLocks noGrp="1"/>
          </p:cNvSpPr>
          <p:nvPr>
            <p:ph sz="half" idx="24"/>
          </p:nvPr>
        </p:nvSpPr>
        <p:spPr>
          <a:xfrm>
            <a:off x="6080760" y="1786467"/>
            <a:ext cx="2606040" cy="2282613"/>
          </a:xfrm>
          <a:solidFill>
            <a:srgbClr val="CCCCCC"/>
          </a:solidFill>
        </p:spPr>
        <p:txBody>
          <a:bodyPr anchor="ctr" anchorCtr="0">
            <a:normAutofit/>
          </a:bodyPr>
          <a:lstStyle>
            <a:lvl1pPr marL="0" indent="0" algn="ctr">
              <a:spcBef>
                <a:spcPts val="0"/>
              </a:spcBef>
              <a:buNone/>
              <a:defRPr sz="1000" b="0" i="0" spc="30" baseline="0">
                <a:noFill/>
                <a:latin typeface="Arial" charset="0"/>
                <a:ea typeface="Arial" charset="0"/>
                <a:cs typeface="Arial" charset="0"/>
              </a:defRPr>
            </a:lvl1pPr>
            <a:lvl2pPr marL="0" indent="0" algn="ctr">
              <a:spcBef>
                <a:spcPts val="0"/>
              </a:spcBef>
              <a:buNone/>
              <a:defRPr sz="1200"/>
            </a:lvl2pPr>
            <a:lvl3pPr marL="0" indent="0" algn="ctr">
              <a:spcBef>
                <a:spcPts val="0"/>
              </a:spcBef>
              <a:buNone/>
              <a:defRPr sz="1200"/>
            </a:lvl3pPr>
            <a:lvl4pPr marL="0" indent="0" algn="ctr">
              <a:spcBef>
                <a:spcPts val="0"/>
              </a:spcBef>
              <a:buNone/>
              <a:defRPr sz="1200"/>
            </a:lvl4pPr>
            <a:lvl5pPr marL="0" indent="0" algn="ctr">
              <a:spcBef>
                <a:spcPts val="0"/>
              </a:spcBef>
              <a:buNone/>
              <a:defRPr sz="1200"/>
            </a:lvl5pPr>
            <a:lvl6pPr>
              <a:defRPr sz="1800"/>
            </a:lvl6pPr>
            <a:lvl7pPr>
              <a:defRPr sz="1800"/>
            </a:lvl7pPr>
            <a:lvl8pPr>
              <a:defRPr sz="1800"/>
            </a:lvl8pPr>
            <a:lvl9pPr>
              <a:defRPr sz="1800"/>
            </a:lvl9pPr>
          </a:lstStyle>
          <a:p>
            <a:pPr lvl="0"/>
            <a:r>
              <a:rPr lang="en-US"/>
              <a:t>Edit Master text styles</a:t>
            </a:r>
          </a:p>
        </p:txBody>
      </p:sp>
      <p:sp>
        <p:nvSpPr>
          <p:cNvPr id="13" name="Text Placeholder 7"/>
          <p:cNvSpPr>
            <a:spLocks noGrp="1"/>
          </p:cNvSpPr>
          <p:nvPr>
            <p:ph type="body" sz="quarter" idx="12" hasCustomPrompt="1"/>
          </p:nvPr>
        </p:nvSpPr>
        <p:spPr>
          <a:xfrm>
            <a:off x="457200" y="1371600"/>
            <a:ext cx="8229600" cy="361445"/>
          </a:xfrm>
        </p:spPr>
        <p:txBody>
          <a:bodyPr anchor="t" anchorCtr="0">
            <a:normAutofit/>
          </a:bodyPr>
          <a:lstStyle>
            <a:lvl1pPr marL="0" indent="0">
              <a:spcBef>
                <a:spcPts val="0"/>
              </a:spcBef>
              <a:buFont typeface="Arial"/>
              <a:buNone/>
              <a:defRPr sz="1800" b="0" baseline="0">
                <a:solidFill>
                  <a:srgbClr val="000000"/>
                </a:solidFill>
              </a:defRPr>
            </a:lvl1pPr>
            <a:lvl2pPr marL="0" indent="0">
              <a:spcBef>
                <a:spcPts val="0"/>
              </a:spcBef>
              <a:buFont typeface="Arial"/>
              <a:buNone/>
              <a:defRPr sz="1800" b="0">
                <a:solidFill>
                  <a:srgbClr val="000000"/>
                </a:solidFill>
              </a:defRPr>
            </a:lvl2pPr>
            <a:lvl3pPr marL="0" indent="0">
              <a:spcBef>
                <a:spcPts val="0"/>
              </a:spcBef>
              <a:buFont typeface="Arial"/>
              <a:buNone/>
              <a:defRPr sz="1800" b="0">
                <a:solidFill>
                  <a:srgbClr val="000000"/>
                </a:solidFill>
              </a:defRPr>
            </a:lvl3pPr>
            <a:lvl4pPr marL="0" indent="0">
              <a:spcBef>
                <a:spcPts val="0"/>
              </a:spcBef>
              <a:buFont typeface="Arial"/>
              <a:buNone/>
              <a:defRPr sz="1800" b="0">
                <a:solidFill>
                  <a:srgbClr val="000000"/>
                </a:solidFill>
              </a:defRPr>
            </a:lvl4pPr>
            <a:lvl5pPr marL="0" indent="0">
              <a:spcBef>
                <a:spcPts val="0"/>
              </a:spcBef>
              <a:buFont typeface="Arial"/>
              <a:buNone/>
              <a:defRPr sz="1800" b="0">
                <a:solidFill>
                  <a:srgbClr val="000000"/>
                </a:solidFill>
              </a:defRPr>
            </a:lvl5pPr>
          </a:lstStyle>
          <a:p>
            <a:pPr lvl="0"/>
            <a:r>
              <a:rPr lang="en-US" dirty="0"/>
              <a:t>Optional picture title</a:t>
            </a:r>
          </a:p>
        </p:txBody>
      </p:sp>
      <p:sp>
        <p:nvSpPr>
          <p:cNvPr id="22" name="Text Placeholder 7"/>
          <p:cNvSpPr>
            <a:spLocks noGrp="1"/>
          </p:cNvSpPr>
          <p:nvPr>
            <p:ph type="body" sz="quarter" idx="18" hasCustomPrompt="1"/>
          </p:nvPr>
        </p:nvSpPr>
        <p:spPr>
          <a:xfrm>
            <a:off x="457200" y="4160520"/>
            <a:ext cx="2606040" cy="320040"/>
          </a:xfrm>
        </p:spPr>
        <p:txBody>
          <a:bodyPr anchor="t" anchorCtr="0">
            <a:noAutofit/>
          </a:bodyPr>
          <a:lstStyle>
            <a:lvl1pPr marL="0" indent="0">
              <a:spcBef>
                <a:spcPts val="0"/>
              </a:spcBef>
              <a:buFont typeface="Arial"/>
              <a:buNone/>
              <a:defRPr sz="1000" b="0" i="0" baseline="0">
                <a:solidFill>
                  <a:srgbClr val="000000"/>
                </a:solidFill>
                <a:latin typeface="+mn-lt"/>
              </a:defRPr>
            </a:lvl1pPr>
            <a:lvl2pPr marL="0" indent="0">
              <a:spcBef>
                <a:spcPts val="0"/>
              </a:spcBef>
              <a:buFont typeface="Arial"/>
              <a:buNone/>
              <a:defRPr sz="1000" b="1" i="0">
                <a:solidFill>
                  <a:srgbClr val="000000"/>
                </a:solidFill>
                <a:latin typeface="+mn-lt"/>
              </a:defRPr>
            </a:lvl2pPr>
            <a:lvl3pPr marL="0" indent="0">
              <a:spcBef>
                <a:spcPts val="0"/>
              </a:spcBef>
              <a:buFont typeface="Arial"/>
              <a:buNone/>
              <a:defRPr sz="1000" b="1" i="0">
                <a:solidFill>
                  <a:srgbClr val="000000"/>
                </a:solidFill>
                <a:latin typeface="+mn-lt"/>
              </a:defRPr>
            </a:lvl3pPr>
            <a:lvl4pPr marL="0" indent="0">
              <a:spcBef>
                <a:spcPts val="0"/>
              </a:spcBef>
              <a:buFont typeface="Arial"/>
              <a:buNone/>
              <a:defRPr sz="1000" b="1" i="0">
                <a:solidFill>
                  <a:srgbClr val="000000"/>
                </a:solidFill>
                <a:latin typeface="+mn-lt"/>
              </a:defRPr>
            </a:lvl4pPr>
            <a:lvl5pPr marL="0" indent="0">
              <a:spcBef>
                <a:spcPts val="0"/>
              </a:spcBef>
              <a:buFont typeface="Arial"/>
              <a:buNone/>
              <a:defRPr sz="1000" b="1" i="0">
                <a:solidFill>
                  <a:srgbClr val="000000"/>
                </a:solidFill>
                <a:latin typeface="+mn-lt"/>
              </a:defRPr>
            </a:lvl5pPr>
          </a:lstStyle>
          <a:p>
            <a:pPr lvl="0"/>
            <a:r>
              <a:rPr lang="en-US" dirty="0"/>
              <a:t>Optional picture caption</a:t>
            </a:r>
          </a:p>
        </p:txBody>
      </p:sp>
      <p:sp>
        <p:nvSpPr>
          <p:cNvPr id="23" name="Text Placeholder 7"/>
          <p:cNvSpPr>
            <a:spLocks noGrp="1"/>
          </p:cNvSpPr>
          <p:nvPr>
            <p:ph type="body" sz="quarter" idx="25" hasCustomPrompt="1"/>
          </p:nvPr>
        </p:nvSpPr>
        <p:spPr>
          <a:xfrm>
            <a:off x="3268980" y="4160520"/>
            <a:ext cx="2606040" cy="320040"/>
          </a:xfrm>
        </p:spPr>
        <p:txBody>
          <a:bodyPr anchor="t" anchorCtr="0">
            <a:noAutofit/>
          </a:bodyPr>
          <a:lstStyle>
            <a:lvl1pPr marL="0" indent="0">
              <a:spcBef>
                <a:spcPts val="0"/>
              </a:spcBef>
              <a:buFont typeface="Arial"/>
              <a:buNone/>
              <a:defRPr sz="1000" b="0" i="0" baseline="0">
                <a:solidFill>
                  <a:srgbClr val="000000"/>
                </a:solidFill>
                <a:latin typeface="+mn-lt"/>
              </a:defRPr>
            </a:lvl1pPr>
            <a:lvl2pPr marL="0" indent="0">
              <a:spcBef>
                <a:spcPts val="0"/>
              </a:spcBef>
              <a:buFont typeface="Arial"/>
              <a:buNone/>
              <a:defRPr sz="1000" b="1" i="0">
                <a:solidFill>
                  <a:srgbClr val="000000"/>
                </a:solidFill>
                <a:latin typeface="+mn-lt"/>
              </a:defRPr>
            </a:lvl2pPr>
            <a:lvl3pPr marL="0" indent="0">
              <a:spcBef>
                <a:spcPts val="0"/>
              </a:spcBef>
              <a:buFont typeface="Arial"/>
              <a:buNone/>
              <a:defRPr sz="1000" b="1" i="0">
                <a:solidFill>
                  <a:srgbClr val="000000"/>
                </a:solidFill>
                <a:latin typeface="+mn-lt"/>
              </a:defRPr>
            </a:lvl3pPr>
            <a:lvl4pPr marL="0" indent="0">
              <a:spcBef>
                <a:spcPts val="0"/>
              </a:spcBef>
              <a:buFont typeface="Arial"/>
              <a:buNone/>
              <a:defRPr sz="1000" b="1" i="0">
                <a:solidFill>
                  <a:srgbClr val="000000"/>
                </a:solidFill>
                <a:latin typeface="+mn-lt"/>
              </a:defRPr>
            </a:lvl4pPr>
            <a:lvl5pPr marL="0" indent="0">
              <a:spcBef>
                <a:spcPts val="0"/>
              </a:spcBef>
              <a:buFont typeface="Arial"/>
              <a:buNone/>
              <a:defRPr sz="1000" b="1" i="0">
                <a:solidFill>
                  <a:srgbClr val="000000"/>
                </a:solidFill>
                <a:latin typeface="+mn-lt"/>
              </a:defRPr>
            </a:lvl5pPr>
          </a:lstStyle>
          <a:p>
            <a:pPr lvl="0"/>
            <a:r>
              <a:rPr lang="en-US" dirty="0"/>
              <a:t>Optional picture caption</a:t>
            </a:r>
          </a:p>
        </p:txBody>
      </p:sp>
      <p:sp>
        <p:nvSpPr>
          <p:cNvPr id="24" name="Text Placeholder 7"/>
          <p:cNvSpPr>
            <a:spLocks noGrp="1"/>
          </p:cNvSpPr>
          <p:nvPr>
            <p:ph type="body" sz="quarter" idx="26" hasCustomPrompt="1"/>
          </p:nvPr>
        </p:nvSpPr>
        <p:spPr>
          <a:xfrm>
            <a:off x="6080760" y="4160520"/>
            <a:ext cx="2606040" cy="320040"/>
          </a:xfrm>
        </p:spPr>
        <p:txBody>
          <a:bodyPr anchor="t" anchorCtr="0">
            <a:noAutofit/>
          </a:bodyPr>
          <a:lstStyle>
            <a:lvl1pPr marL="0" indent="0">
              <a:spcBef>
                <a:spcPts val="0"/>
              </a:spcBef>
              <a:buFont typeface="Arial"/>
              <a:buNone/>
              <a:defRPr sz="1000" b="0" i="0" baseline="0">
                <a:solidFill>
                  <a:srgbClr val="000000"/>
                </a:solidFill>
                <a:latin typeface="+mn-lt"/>
              </a:defRPr>
            </a:lvl1pPr>
            <a:lvl2pPr marL="0" indent="0">
              <a:spcBef>
                <a:spcPts val="0"/>
              </a:spcBef>
              <a:buFont typeface="Arial"/>
              <a:buNone/>
              <a:defRPr sz="1000" b="1" i="0">
                <a:solidFill>
                  <a:srgbClr val="000000"/>
                </a:solidFill>
                <a:latin typeface="+mn-lt"/>
              </a:defRPr>
            </a:lvl2pPr>
            <a:lvl3pPr marL="0" indent="0">
              <a:spcBef>
                <a:spcPts val="0"/>
              </a:spcBef>
              <a:buFont typeface="Arial"/>
              <a:buNone/>
              <a:defRPr sz="1000" b="1" i="0">
                <a:solidFill>
                  <a:srgbClr val="000000"/>
                </a:solidFill>
                <a:latin typeface="+mn-lt"/>
              </a:defRPr>
            </a:lvl3pPr>
            <a:lvl4pPr marL="0" indent="0">
              <a:spcBef>
                <a:spcPts val="0"/>
              </a:spcBef>
              <a:buFont typeface="Arial"/>
              <a:buNone/>
              <a:defRPr sz="1000" b="1" i="0">
                <a:solidFill>
                  <a:srgbClr val="000000"/>
                </a:solidFill>
                <a:latin typeface="+mn-lt"/>
              </a:defRPr>
            </a:lvl4pPr>
            <a:lvl5pPr marL="0" indent="0">
              <a:spcBef>
                <a:spcPts val="0"/>
              </a:spcBef>
              <a:buFont typeface="Arial"/>
              <a:buNone/>
              <a:defRPr sz="1000" b="1" i="0">
                <a:solidFill>
                  <a:srgbClr val="000000"/>
                </a:solidFill>
                <a:latin typeface="+mn-lt"/>
              </a:defRPr>
            </a:lvl5pPr>
          </a:lstStyle>
          <a:p>
            <a:pPr lvl="0"/>
            <a:r>
              <a:rPr lang="en-US" dirty="0"/>
              <a:t>Optional picture caption</a:t>
            </a:r>
          </a:p>
        </p:txBody>
      </p:sp>
    </p:spTree>
    <p:extLst>
      <p:ext uri="{BB962C8B-B14F-4D97-AF65-F5344CB8AC3E}">
        <p14:creationId xmlns:p14="http://schemas.microsoft.com/office/powerpoint/2010/main" val="119340729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icture and Big Statement">
    <p:spTree>
      <p:nvGrpSpPr>
        <p:cNvPr id="1" name=""/>
        <p:cNvGrpSpPr/>
        <p:nvPr/>
      </p:nvGrpSpPr>
      <p:grpSpPr>
        <a:xfrm>
          <a:off x="0" y="0"/>
          <a:ext cx="0" cy="0"/>
          <a:chOff x="0" y="0"/>
          <a:chExt cx="0" cy="0"/>
        </a:xfrm>
      </p:grpSpPr>
      <p:sp>
        <p:nvSpPr>
          <p:cNvPr id="8" name="Content Placeholder 3"/>
          <p:cNvSpPr>
            <a:spLocks noGrp="1"/>
          </p:cNvSpPr>
          <p:nvPr>
            <p:ph sz="half" idx="2"/>
          </p:nvPr>
        </p:nvSpPr>
        <p:spPr>
          <a:xfrm>
            <a:off x="4663440" y="1371600"/>
            <a:ext cx="4023360" cy="3108960"/>
          </a:xfrm>
        </p:spPr>
        <p:txBody>
          <a:bodyPr>
            <a:normAutofit/>
          </a:bodyPr>
          <a:lstStyle>
            <a:lvl1pPr marL="0" indent="0">
              <a:lnSpc>
                <a:spcPct val="90000"/>
              </a:lnSpc>
              <a:spcBef>
                <a:spcPts val="0"/>
              </a:spcBef>
              <a:buFont typeface="Arial"/>
              <a:buNone/>
              <a:defRPr sz="3600" b="0" i="0" spc="0" baseline="0">
                <a:solidFill>
                  <a:schemeClr val="accent2"/>
                </a:solidFill>
                <a:latin typeface="+mn-lt"/>
                <a:ea typeface="Arial" charset="0"/>
                <a:cs typeface="Arial" charset="0"/>
              </a:defRPr>
            </a:lvl1pPr>
            <a:lvl2pPr marL="0" indent="0">
              <a:lnSpc>
                <a:spcPct val="90000"/>
              </a:lnSpc>
              <a:spcBef>
                <a:spcPts val="0"/>
              </a:spcBef>
              <a:buFont typeface="Arial"/>
              <a:buNone/>
              <a:defRPr sz="4400">
                <a:solidFill>
                  <a:srgbClr val="0460A9"/>
                </a:solidFill>
              </a:defRPr>
            </a:lvl2pPr>
            <a:lvl3pPr marL="0" indent="0">
              <a:lnSpc>
                <a:spcPct val="90000"/>
              </a:lnSpc>
              <a:spcBef>
                <a:spcPts val="0"/>
              </a:spcBef>
              <a:buFont typeface="Arial"/>
              <a:buNone/>
              <a:defRPr sz="4400">
                <a:solidFill>
                  <a:srgbClr val="0460A9"/>
                </a:solidFill>
              </a:defRPr>
            </a:lvl3pPr>
            <a:lvl4pPr marL="0" indent="0">
              <a:lnSpc>
                <a:spcPct val="90000"/>
              </a:lnSpc>
              <a:spcBef>
                <a:spcPts val="0"/>
              </a:spcBef>
              <a:buFont typeface="Arial"/>
              <a:buNone/>
              <a:defRPr sz="4400">
                <a:solidFill>
                  <a:srgbClr val="0460A9"/>
                </a:solidFill>
              </a:defRPr>
            </a:lvl4pPr>
            <a:lvl5pPr marL="0" indent="0">
              <a:lnSpc>
                <a:spcPct val="90000"/>
              </a:lnSpc>
              <a:spcBef>
                <a:spcPts val="0"/>
              </a:spcBef>
              <a:buFont typeface="Arial"/>
              <a:buNone/>
              <a:defRPr sz="4400">
                <a:solidFill>
                  <a:srgbClr val="0460A9"/>
                </a:solidFill>
              </a:defRPr>
            </a:lvl5pPr>
            <a:lvl6pPr>
              <a:defRPr sz="1800"/>
            </a:lvl6pPr>
            <a:lvl7pPr>
              <a:defRPr sz="1800"/>
            </a:lvl7pPr>
            <a:lvl8pPr>
              <a:defRPr sz="1800"/>
            </a:lvl8pPr>
            <a:lvl9pPr>
              <a:defRPr sz="1800"/>
            </a:lvl9pPr>
          </a:lstStyle>
          <a:p>
            <a:pPr lvl="0"/>
            <a:r>
              <a:rPr lang="en-US"/>
              <a:t>Edit Master text styles</a:t>
            </a:r>
          </a:p>
        </p:txBody>
      </p:sp>
      <p:sp>
        <p:nvSpPr>
          <p:cNvPr id="3" name="Footer Placeholder 2"/>
          <p:cNvSpPr>
            <a:spLocks noGrp="1"/>
          </p:cNvSpPr>
          <p:nvPr>
            <p:ph type="ftr" sz="quarter" idx="19"/>
          </p:nvPr>
        </p:nvSpPr>
        <p:spPr/>
        <p:txBody>
          <a:bodyPr/>
          <a:lstStyle/>
          <a:p>
            <a:r>
              <a:rPr lang="en-US"/>
              <a:t>Scout l What is Roll-out? l August 2020</a:t>
            </a:r>
            <a:endParaRPr lang="fr-FR" dirty="0"/>
          </a:p>
        </p:txBody>
      </p:sp>
      <p:sp>
        <p:nvSpPr>
          <p:cNvPr id="4" name="Slide Number Placeholder 3"/>
          <p:cNvSpPr>
            <a:spLocks noGrp="1"/>
          </p:cNvSpPr>
          <p:nvPr>
            <p:ph type="sldNum" sz="quarter" idx="20"/>
          </p:nvPr>
        </p:nvSpPr>
        <p:spPr/>
        <p:txBody>
          <a:bodyPr/>
          <a:lstStyle/>
          <a:p>
            <a:fld id="{47547CF9-5B10-D24F-A8D7-45A9778164F7}" type="slidenum">
              <a:rPr lang="uk-UA" smtClean="0"/>
              <a:pPr/>
              <a:t>‹#›</a:t>
            </a:fld>
            <a:endParaRPr lang="uk-UA" dirty="0"/>
          </a:p>
        </p:txBody>
      </p:sp>
      <p:sp>
        <p:nvSpPr>
          <p:cNvPr id="9" name="Content Placeholder 2"/>
          <p:cNvSpPr>
            <a:spLocks noGrp="1"/>
          </p:cNvSpPr>
          <p:nvPr>
            <p:ph sz="half" idx="17"/>
          </p:nvPr>
        </p:nvSpPr>
        <p:spPr>
          <a:xfrm>
            <a:off x="457200" y="1371600"/>
            <a:ext cx="4023360" cy="2697480"/>
          </a:xfrm>
          <a:solidFill>
            <a:srgbClr val="CCCCCC"/>
          </a:solidFill>
        </p:spPr>
        <p:txBody>
          <a:bodyPr anchor="ctr" anchorCtr="0">
            <a:normAutofit/>
          </a:bodyPr>
          <a:lstStyle>
            <a:lvl1pPr marL="0" indent="0" algn="ctr">
              <a:spcBef>
                <a:spcPts val="0"/>
              </a:spcBef>
              <a:buNone/>
              <a:defRPr sz="1000" b="0" i="0" spc="30" baseline="0">
                <a:noFill/>
                <a:latin typeface="Arial" charset="0"/>
                <a:ea typeface="Arial" charset="0"/>
                <a:cs typeface="Arial" charset="0"/>
              </a:defRPr>
            </a:lvl1pPr>
            <a:lvl2pPr marL="0" indent="0" algn="ctr">
              <a:spcBef>
                <a:spcPts val="0"/>
              </a:spcBef>
              <a:buNone/>
              <a:defRPr sz="1200"/>
            </a:lvl2pPr>
            <a:lvl3pPr marL="0" indent="0" algn="ctr">
              <a:spcBef>
                <a:spcPts val="0"/>
              </a:spcBef>
              <a:buNone/>
              <a:defRPr sz="1200"/>
            </a:lvl3pPr>
            <a:lvl4pPr marL="0" indent="0" algn="ctr">
              <a:spcBef>
                <a:spcPts val="0"/>
              </a:spcBef>
              <a:buNone/>
              <a:defRPr sz="1200"/>
            </a:lvl4pPr>
            <a:lvl5pPr marL="0" indent="0" algn="ctr">
              <a:spcBef>
                <a:spcPts val="0"/>
              </a:spcBef>
              <a:buNone/>
              <a:defRPr sz="1200"/>
            </a:lvl5pPr>
            <a:lvl6pPr>
              <a:defRPr sz="1800"/>
            </a:lvl6pPr>
            <a:lvl7pPr>
              <a:defRPr sz="1800"/>
            </a:lvl7pPr>
            <a:lvl8pPr>
              <a:defRPr sz="1800"/>
            </a:lvl8pPr>
            <a:lvl9pPr>
              <a:defRPr sz="1800"/>
            </a:lvl9pPr>
          </a:lstStyle>
          <a:p>
            <a:pPr lvl="0"/>
            <a:r>
              <a:rPr lang="en-US"/>
              <a:t>Edit Master text styles</a:t>
            </a:r>
          </a:p>
        </p:txBody>
      </p:sp>
      <p:sp>
        <p:nvSpPr>
          <p:cNvPr id="10" name="Text Placeholder 7"/>
          <p:cNvSpPr>
            <a:spLocks noGrp="1"/>
          </p:cNvSpPr>
          <p:nvPr>
            <p:ph type="body" sz="quarter" idx="21" hasCustomPrompt="1"/>
          </p:nvPr>
        </p:nvSpPr>
        <p:spPr>
          <a:xfrm>
            <a:off x="457200" y="4160520"/>
            <a:ext cx="4023360" cy="320040"/>
          </a:xfrm>
        </p:spPr>
        <p:txBody>
          <a:bodyPr anchor="t" anchorCtr="0">
            <a:noAutofit/>
          </a:bodyPr>
          <a:lstStyle>
            <a:lvl1pPr marL="0" indent="0">
              <a:spcBef>
                <a:spcPts val="0"/>
              </a:spcBef>
              <a:buFont typeface="Arial"/>
              <a:buNone/>
              <a:defRPr sz="1000" b="0" i="0" baseline="0">
                <a:solidFill>
                  <a:srgbClr val="000000"/>
                </a:solidFill>
                <a:latin typeface="+mn-lt"/>
              </a:defRPr>
            </a:lvl1pPr>
            <a:lvl2pPr marL="0" indent="0">
              <a:spcBef>
                <a:spcPts val="0"/>
              </a:spcBef>
              <a:buFont typeface="Arial"/>
              <a:buNone/>
              <a:defRPr sz="1000" b="1" i="0">
                <a:solidFill>
                  <a:srgbClr val="000000"/>
                </a:solidFill>
                <a:latin typeface="+mn-lt"/>
              </a:defRPr>
            </a:lvl2pPr>
            <a:lvl3pPr marL="0" indent="0">
              <a:spcBef>
                <a:spcPts val="0"/>
              </a:spcBef>
              <a:buFont typeface="Arial"/>
              <a:buNone/>
              <a:defRPr sz="1000" b="1" i="0">
                <a:solidFill>
                  <a:srgbClr val="000000"/>
                </a:solidFill>
                <a:latin typeface="+mn-lt"/>
              </a:defRPr>
            </a:lvl3pPr>
            <a:lvl4pPr marL="0" indent="0">
              <a:spcBef>
                <a:spcPts val="0"/>
              </a:spcBef>
              <a:buFont typeface="Arial"/>
              <a:buNone/>
              <a:defRPr sz="1000" b="1" i="0">
                <a:solidFill>
                  <a:srgbClr val="000000"/>
                </a:solidFill>
                <a:latin typeface="+mn-lt"/>
              </a:defRPr>
            </a:lvl4pPr>
            <a:lvl5pPr marL="0" indent="0">
              <a:spcBef>
                <a:spcPts val="0"/>
              </a:spcBef>
              <a:buFont typeface="Arial"/>
              <a:buNone/>
              <a:defRPr sz="1000" b="1" i="0">
                <a:solidFill>
                  <a:srgbClr val="000000"/>
                </a:solidFill>
                <a:latin typeface="+mn-lt"/>
              </a:defRPr>
            </a:lvl5pPr>
          </a:lstStyle>
          <a:p>
            <a:pPr lvl="0"/>
            <a:r>
              <a:rPr lang="en-US" dirty="0"/>
              <a:t>Optional picture caption</a:t>
            </a:r>
          </a:p>
        </p:txBody>
      </p:sp>
      <p:sp>
        <p:nvSpPr>
          <p:cNvPr id="6" name="Title 5"/>
          <p:cNvSpPr>
            <a:spLocks noGrp="1"/>
          </p:cNvSpPr>
          <p:nvPr>
            <p:ph type="title"/>
          </p:nvPr>
        </p:nvSpPr>
        <p:spPr>
          <a:xfrm>
            <a:off x="457200" y="342900"/>
            <a:ext cx="8229600" cy="960120"/>
          </a:xfrm>
        </p:spPr>
        <p:txBody>
          <a:bodyPr/>
          <a:lstStyle/>
          <a:p>
            <a:r>
              <a:rPr lang="en-US"/>
              <a:t>Click to edit Master title style</a:t>
            </a:r>
            <a:endParaRPr lang="en-US" dirty="0"/>
          </a:p>
        </p:txBody>
      </p:sp>
    </p:spTree>
    <p:extLst>
      <p:ext uri="{BB962C8B-B14F-4D97-AF65-F5344CB8AC3E}">
        <p14:creationId xmlns:p14="http://schemas.microsoft.com/office/powerpoint/2010/main" val="81862609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icture and Big Statement - Alternate">
    <p:spTree>
      <p:nvGrpSpPr>
        <p:cNvPr id="1" name=""/>
        <p:cNvGrpSpPr/>
        <p:nvPr/>
      </p:nvGrpSpPr>
      <p:grpSpPr>
        <a:xfrm>
          <a:off x="0" y="0"/>
          <a:ext cx="0" cy="0"/>
          <a:chOff x="0" y="0"/>
          <a:chExt cx="0" cy="0"/>
        </a:xfrm>
      </p:grpSpPr>
      <p:sp>
        <p:nvSpPr>
          <p:cNvPr id="8" name="Content Placeholder 3"/>
          <p:cNvSpPr>
            <a:spLocks noGrp="1"/>
          </p:cNvSpPr>
          <p:nvPr>
            <p:ph sz="half" idx="2"/>
          </p:nvPr>
        </p:nvSpPr>
        <p:spPr>
          <a:xfrm>
            <a:off x="3246120" y="1371600"/>
            <a:ext cx="5440680" cy="3108960"/>
          </a:xfrm>
        </p:spPr>
        <p:txBody>
          <a:bodyPr>
            <a:normAutofit/>
          </a:bodyPr>
          <a:lstStyle>
            <a:lvl1pPr marL="0" indent="0">
              <a:lnSpc>
                <a:spcPct val="90000"/>
              </a:lnSpc>
              <a:spcBef>
                <a:spcPts val="0"/>
              </a:spcBef>
              <a:buFont typeface="Arial"/>
              <a:buNone/>
              <a:defRPr sz="3600" b="0" i="0" spc="0" baseline="0">
                <a:solidFill>
                  <a:schemeClr val="accent2"/>
                </a:solidFill>
                <a:latin typeface="+mn-lt"/>
                <a:ea typeface="Arial" charset="0"/>
                <a:cs typeface="Arial" charset="0"/>
              </a:defRPr>
            </a:lvl1pPr>
            <a:lvl2pPr marL="0" indent="0">
              <a:lnSpc>
                <a:spcPct val="90000"/>
              </a:lnSpc>
              <a:spcBef>
                <a:spcPts val="0"/>
              </a:spcBef>
              <a:buFont typeface="Arial"/>
              <a:buNone/>
              <a:defRPr sz="4400">
                <a:solidFill>
                  <a:srgbClr val="0460A9"/>
                </a:solidFill>
              </a:defRPr>
            </a:lvl2pPr>
            <a:lvl3pPr marL="0" indent="0">
              <a:lnSpc>
                <a:spcPct val="90000"/>
              </a:lnSpc>
              <a:spcBef>
                <a:spcPts val="0"/>
              </a:spcBef>
              <a:buFont typeface="Arial"/>
              <a:buNone/>
              <a:defRPr sz="4400">
                <a:solidFill>
                  <a:srgbClr val="0460A9"/>
                </a:solidFill>
              </a:defRPr>
            </a:lvl3pPr>
            <a:lvl4pPr marL="0" indent="0">
              <a:lnSpc>
                <a:spcPct val="90000"/>
              </a:lnSpc>
              <a:spcBef>
                <a:spcPts val="0"/>
              </a:spcBef>
              <a:buFont typeface="Arial"/>
              <a:buNone/>
              <a:defRPr sz="4400">
                <a:solidFill>
                  <a:srgbClr val="0460A9"/>
                </a:solidFill>
              </a:defRPr>
            </a:lvl4pPr>
            <a:lvl5pPr marL="0" indent="0">
              <a:lnSpc>
                <a:spcPct val="90000"/>
              </a:lnSpc>
              <a:spcBef>
                <a:spcPts val="0"/>
              </a:spcBef>
              <a:buFont typeface="Arial"/>
              <a:buNone/>
              <a:defRPr sz="4400">
                <a:solidFill>
                  <a:srgbClr val="0460A9"/>
                </a:solidFill>
              </a:defRPr>
            </a:lvl5pPr>
            <a:lvl6pPr>
              <a:defRPr sz="1800"/>
            </a:lvl6pPr>
            <a:lvl7pPr>
              <a:defRPr sz="1800"/>
            </a:lvl7pPr>
            <a:lvl8pPr>
              <a:defRPr sz="1800"/>
            </a:lvl8pPr>
            <a:lvl9pPr>
              <a:defRPr sz="1800"/>
            </a:lvl9pPr>
          </a:lstStyle>
          <a:p>
            <a:pPr lvl="0"/>
            <a:r>
              <a:rPr lang="en-US"/>
              <a:t>Edit Master text styles</a:t>
            </a:r>
          </a:p>
        </p:txBody>
      </p:sp>
      <p:sp>
        <p:nvSpPr>
          <p:cNvPr id="3" name="Footer Placeholder 2"/>
          <p:cNvSpPr>
            <a:spLocks noGrp="1"/>
          </p:cNvSpPr>
          <p:nvPr>
            <p:ph type="ftr" sz="quarter" idx="19"/>
          </p:nvPr>
        </p:nvSpPr>
        <p:spPr/>
        <p:txBody>
          <a:bodyPr/>
          <a:lstStyle/>
          <a:p>
            <a:r>
              <a:rPr lang="en-US"/>
              <a:t>Scout l What is Roll-out? l August 2020</a:t>
            </a:r>
            <a:endParaRPr lang="fr-FR" dirty="0"/>
          </a:p>
        </p:txBody>
      </p:sp>
      <p:sp>
        <p:nvSpPr>
          <p:cNvPr id="4" name="Slide Number Placeholder 3"/>
          <p:cNvSpPr>
            <a:spLocks noGrp="1"/>
          </p:cNvSpPr>
          <p:nvPr>
            <p:ph type="sldNum" sz="quarter" idx="20"/>
          </p:nvPr>
        </p:nvSpPr>
        <p:spPr/>
        <p:txBody>
          <a:bodyPr/>
          <a:lstStyle/>
          <a:p>
            <a:fld id="{47547CF9-5B10-D24F-A8D7-45A9778164F7}" type="slidenum">
              <a:rPr lang="uk-UA" smtClean="0"/>
              <a:pPr/>
              <a:t>‹#›</a:t>
            </a:fld>
            <a:endParaRPr lang="uk-UA" dirty="0"/>
          </a:p>
        </p:txBody>
      </p:sp>
      <p:sp>
        <p:nvSpPr>
          <p:cNvPr id="9" name="Content Placeholder 2"/>
          <p:cNvSpPr>
            <a:spLocks noGrp="1"/>
          </p:cNvSpPr>
          <p:nvPr>
            <p:ph sz="half" idx="17"/>
          </p:nvPr>
        </p:nvSpPr>
        <p:spPr>
          <a:xfrm>
            <a:off x="457200" y="1371600"/>
            <a:ext cx="2606040" cy="2697480"/>
          </a:xfrm>
          <a:solidFill>
            <a:srgbClr val="CCCCCC"/>
          </a:solidFill>
        </p:spPr>
        <p:txBody>
          <a:bodyPr anchor="ctr" anchorCtr="0">
            <a:normAutofit/>
          </a:bodyPr>
          <a:lstStyle>
            <a:lvl1pPr marL="0" indent="0" algn="ctr">
              <a:spcBef>
                <a:spcPts val="0"/>
              </a:spcBef>
              <a:buNone/>
              <a:defRPr sz="1000" b="0" i="0" spc="30" baseline="0">
                <a:noFill/>
                <a:latin typeface="Arial" charset="0"/>
                <a:ea typeface="Arial" charset="0"/>
                <a:cs typeface="Arial" charset="0"/>
              </a:defRPr>
            </a:lvl1pPr>
            <a:lvl2pPr marL="0" indent="0" algn="ctr">
              <a:spcBef>
                <a:spcPts val="0"/>
              </a:spcBef>
              <a:buNone/>
              <a:defRPr sz="1200"/>
            </a:lvl2pPr>
            <a:lvl3pPr marL="0" indent="0" algn="ctr">
              <a:spcBef>
                <a:spcPts val="0"/>
              </a:spcBef>
              <a:buNone/>
              <a:defRPr sz="1200"/>
            </a:lvl3pPr>
            <a:lvl4pPr marL="0" indent="0" algn="ctr">
              <a:spcBef>
                <a:spcPts val="0"/>
              </a:spcBef>
              <a:buNone/>
              <a:defRPr sz="1200"/>
            </a:lvl4pPr>
            <a:lvl5pPr marL="0" indent="0" algn="ctr">
              <a:spcBef>
                <a:spcPts val="0"/>
              </a:spcBef>
              <a:buNone/>
              <a:defRPr sz="1200"/>
            </a:lvl5pPr>
            <a:lvl6pPr>
              <a:defRPr sz="1800"/>
            </a:lvl6pPr>
            <a:lvl7pPr>
              <a:defRPr sz="1800"/>
            </a:lvl7pPr>
            <a:lvl8pPr>
              <a:defRPr sz="1800"/>
            </a:lvl8pPr>
            <a:lvl9pPr>
              <a:defRPr sz="1800"/>
            </a:lvl9pPr>
          </a:lstStyle>
          <a:p>
            <a:pPr lvl="0"/>
            <a:r>
              <a:rPr lang="en-US"/>
              <a:t>Edit Master text styles</a:t>
            </a:r>
          </a:p>
        </p:txBody>
      </p:sp>
      <p:sp>
        <p:nvSpPr>
          <p:cNvPr id="10" name="Text Placeholder 7"/>
          <p:cNvSpPr>
            <a:spLocks noGrp="1"/>
          </p:cNvSpPr>
          <p:nvPr>
            <p:ph type="body" sz="quarter" idx="21" hasCustomPrompt="1"/>
          </p:nvPr>
        </p:nvSpPr>
        <p:spPr>
          <a:xfrm>
            <a:off x="457200" y="4160520"/>
            <a:ext cx="2606040" cy="320040"/>
          </a:xfrm>
        </p:spPr>
        <p:txBody>
          <a:bodyPr anchor="t" anchorCtr="0">
            <a:noAutofit/>
          </a:bodyPr>
          <a:lstStyle>
            <a:lvl1pPr marL="0" indent="0">
              <a:spcBef>
                <a:spcPts val="0"/>
              </a:spcBef>
              <a:buFont typeface="Arial"/>
              <a:buNone/>
              <a:defRPr sz="1000" b="0" i="0" baseline="0">
                <a:solidFill>
                  <a:srgbClr val="000000"/>
                </a:solidFill>
                <a:latin typeface="+mn-lt"/>
              </a:defRPr>
            </a:lvl1pPr>
            <a:lvl2pPr marL="0" indent="0">
              <a:spcBef>
                <a:spcPts val="0"/>
              </a:spcBef>
              <a:buFont typeface="Arial"/>
              <a:buNone/>
              <a:defRPr sz="1000" b="1" i="0">
                <a:solidFill>
                  <a:srgbClr val="000000"/>
                </a:solidFill>
                <a:latin typeface="+mn-lt"/>
              </a:defRPr>
            </a:lvl2pPr>
            <a:lvl3pPr marL="0" indent="0">
              <a:spcBef>
                <a:spcPts val="0"/>
              </a:spcBef>
              <a:buFont typeface="Arial"/>
              <a:buNone/>
              <a:defRPr sz="1000" b="1" i="0">
                <a:solidFill>
                  <a:srgbClr val="000000"/>
                </a:solidFill>
                <a:latin typeface="+mn-lt"/>
              </a:defRPr>
            </a:lvl3pPr>
            <a:lvl4pPr marL="0" indent="0">
              <a:spcBef>
                <a:spcPts val="0"/>
              </a:spcBef>
              <a:buFont typeface="Arial"/>
              <a:buNone/>
              <a:defRPr sz="1000" b="1" i="0">
                <a:solidFill>
                  <a:srgbClr val="000000"/>
                </a:solidFill>
                <a:latin typeface="+mn-lt"/>
              </a:defRPr>
            </a:lvl4pPr>
            <a:lvl5pPr marL="0" indent="0">
              <a:spcBef>
                <a:spcPts val="0"/>
              </a:spcBef>
              <a:buFont typeface="Arial"/>
              <a:buNone/>
              <a:defRPr sz="1000" b="1" i="0">
                <a:solidFill>
                  <a:srgbClr val="000000"/>
                </a:solidFill>
                <a:latin typeface="+mn-lt"/>
              </a:defRPr>
            </a:lvl5pPr>
          </a:lstStyle>
          <a:p>
            <a:pPr lvl="0"/>
            <a:r>
              <a:rPr lang="en-US" dirty="0"/>
              <a:t>Optional picture caption</a:t>
            </a:r>
          </a:p>
        </p:txBody>
      </p:sp>
      <p:sp>
        <p:nvSpPr>
          <p:cNvPr id="6" name="Title 5"/>
          <p:cNvSpPr>
            <a:spLocks noGrp="1"/>
          </p:cNvSpPr>
          <p:nvPr>
            <p:ph type="title"/>
          </p:nvPr>
        </p:nvSpPr>
        <p:spPr>
          <a:xfrm>
            <a:off x="457200" y="342900"/>
            <a:ext cx="8229600" cy="960120"/>
          </a:xfrm>
        </p:spPr>
        <p:txBody>
          <a:bodyPr/>
          <a:lstStyle/>
          <a:p>
            <a:r>
              <a:rPr lang="en-US"/>
              <a:t>Click to edit Master title style</a:t>
            </a:r>
            <a:endParaRPr lang="en-US" dirty="0"/>
          </a:p>
        </p:txBody>
      </p:sp>
    </p:spTree>
    <p:extLst>
      <p:ext uri="{BB962C8B-B14F-4D97-AF65-F5344CB8AC3E}">
        <p14:creationId xmlns:p14="http://schemas.microsoft.com/office/powerpoint/2010/main" val="229751404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Big Quote">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p:txBody>
          <a:bodyPr/>
          <a:lstStyle/>
          <a:p>
            <a:fld id="{47547CF9-5B10-D24F-A8D7-45A9778164F7}" type="slidenum">
              <a:rPr lang="uk-UA" smtClean="0"/>
              <a:pPr/>
              <a:t>‹#›</a:t>
            </a:fld>
            <a:endParaRPr lang="uk-UA" dirty="0"/>
          </a:p>
        </p:txBody>
      </p:sp>
      <p:grpSp>
        <p:nvGrpSpPr>
          <p:cNvPr id="9" name="Group 8"/>
          <p:cNvGrpSpPr/>
          <p:nvPr userDrawn="1"/>
        </p:nvGrpSpPr>
        <p:grpSpPr>
          <a:xfrm>
            <a:off x="1050626" y="-137160"/>
            <a:ext cx="7636174" cy="5422392"/>
            <a:chOff x="1050626" y="-137160"/>
            <a:chExt cx="7636174" cy="5422392"/>
          </a:xfrm>
        </p:grpSpPr>
        <p:cxnSp>
          <p:nvCxnSpPr>
            <p:cNvPr id="11" name="Straight Connector 10"/>
            <p:cNvCxnSpPr/>
            <p:nvPr userDrawn="1"/>
          </p:nvCxnSpPr>
          <p:spPr>
            <a:xfrm flipV="1">
              <a:off x="1050626"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userDrawn="1"/>
          </p:nvCxnSpPr>
          <p:spPr>
            <a:xfrm flipV="1">
              <a:off x="86868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userDrawn="1"/>
          </p:nvCxnSpPr>
          <p:spPr>
            <a:xfrm flipV="1">
              <a:off x="1050626"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flipV="1">
              <a:off x="86868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flipV="1">
              <a:off x="16002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flipV="1">
              <a:off x="16002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grpSp>
      <p:sp>
        <p:nvSpPr>
          <p:cNvPr id="3" name="Text Placeholder 2"/>
          <p:cNvSpPr>
            <a:spLocks noGrp="1"/>
          </p:cNvSpPr>
          <p:nvPr>
            <p:ph type="body" sz="quarter" idx="12" hasCustomPrompt="1"/>
          </p:nvPr>
        </p:nvSpPr>
        <p:spPr>
          <a:xfrm>
            <a:off x="1600200" y="1005839"/>
            <a:ext cx="7086600" cy="3104949"/>
          </a:xfrm>
        </p:spPr>
        <p:txBody>
          <a:bodyPr anchor="ctr" anchorCtr="0"/>
          <a:lstStyle>
            <a:lvl1pPr marL="0" indent="0">
              <a:lnSpc>
                <a:spcPct val="90000"/>
              </a:lnSpc>
              <a:spcBef>
                <a:spcPts val="0"/>
              </a:spcBef>
              <a:buNone/>
              <a:defRPr sz="4800" b="0" i="0" spc="0" baseline="0">
                <a:solidFill>
                  <a:schemeClr val="accent2"/>
                </a:solidFill>
                <a:latin typeface="+mn-lt"/>
                <a:ea typeface="Arial" charset="0"/>
                <a:cs typeface="Arial" charset="0"/>
              </a:defRPr>
            </a:lvl1pPr>
            <a:lvl2pPr marL="230188" indent="-230188">
              <a:spcBef>
                <a:spcPts val="600"/>
              </a:spcBef>
              <a:defRPr b="0" i="0" baseline="0">
                <a:latin typeface="+mn-lt"/>
                <a:ea typeface="Arial" charset="0"/>
                <a:cs typeface="Arial" charset="0"/>
              </a:defRPr>
            </a:lvl2pPr>
            <a:lvl3pPr marL="230188" indent="0">
              <a:spcBef>
                <a:spcPts val="600"/>
              </a:spcBef>
              <a:buNone/>
              <a:defRPr/>
            </a:lvl3pPr>
            <a:lvl4pPr marL="685800" indent="-230188">
              <a:spcBef>
                <a:spcPts val="600"/>
              </a:spcBef>
              <a:defRPr/>
            </a:lvl4pPr>
            <a:lvl5pPr marL="917575" indent="-231775">
              <a:spcBef>
                <a:spcPts val="600"/>
              </a:spcBef>
              <a:defRPr/>
            </a:lvl5pPr>
          </a:lstStyle>
          <a:p>
            <a:pPr lvl="0"/>
            <a:r>
              <a:rPr lang="en-US" dirty="0"/>
              <a:t>“Quote goes here.”</a:t>
            </a:r>
          </a:p>
          <a:p>
            <a:pPr lvl="1"/>
            <a:r>
              <a:rPr lang="en-US" dirty="0"/>
              <a:t>Attribution, if needed</a:t>
            </a:r>
          </a:p>
        </p:txBody>
      </p:sp>
      <p:pic>
        <p:nvPicPr>
          <p:cNvPr id="19" name="Picture 18">
            <a:extLst>
              <a:ext uri="{FF2B5EF4-FFF2-40B4-BE49-F238E27FC236}">
                <a16:creationId xmlns:a16="http://schemas.microsoft.com/office/drawing/2014/main" id="{F5F8178D-BECF-194D-A4A6-14876CABB04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226786" y="4726757"/>
            <a:ext cx="1463040" cy="177483"/>
          </a:xfrm>
          <a:prstGeom prst="rect">
            <a:avLst/>
          </a:prstGeom>
        </p:spPr>
      </p:pic>
      <p:pic>
        <p:nvPicPr>
          <p:cNvPr id="20" name="Picture 19"/>
          <p:cNvPicPr>
            <a:picLocks noChangeAspect="1"/>
          </p:cNvPicPr>
          <p:nvPr userDrawn="1"/>
        </p:nvPicPr>
        <p:blipFill>
          <a:blip r:embed="rId3"/>
          <a:stretch>
            <a:fillRect/>
          </a:stretch>
        </p:blipFill>
        <p:spPr>
          <a:xfrm>
            <a:off x="0" y="6956"/>
            <a:ext cx="1051249" cy="5129588"/>
          </a:xfrm>
          <a:prstGeom prst="rect">
            <a:avLst/>
          </a:prstGeom>
        </p:spPr>
      </p:pic>
    </p:spTree>
    <p:extLst>
      <p:ext uri="{BB962C8B-B14F-4D97-AF65-F5344CB8AC3E}">
        <p14:creationId xmlns:p14="http://schemas.microsoft.com/office/powerpoint/2010/main" val="269771557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pic>
        <p:nvPicPr>
          <p:cNvPr id="19" name="Picture 18"/>
          <p:cNvPicPr>
            <a:picLocks noChangeAspect="1"/>
          </p:cNvPicPr>
          <p:nvPr userDrawn="1"/>
        </p:nvPicPr>
        <p:blipFill>
          <a:blip r:embed="rId2"/>
          <a:stretch>
            <a:fillRect/>
          </a:stretch>
        </p:blipFill>
        <p:spPr>
          <a:xfrm>
            <a:off x="0" y="6956"/>
            <a:ext cx="1051249" cy="5129588"/>
          </a:xfrm>
          <a:prstGeom prst="rect">
            <a:avLst/>
          </a:prstGeom>
        </p:spPr>
      </p:pic>
      <p:grpSp>
        <p:nvGrpSpPr>
          <p:cNvPr id="41" name="Group 40"/>
          <p:cNvGrpSpPr/>
          <p:nvPr userDrawn="1"/>
        </p:nvGrpSpPr>
        <p:grpSpPr>
          <a:xfrm>
            <a:off x="-137160" y="-137160"/>
            <a:ext cx="9418320" cy="5422392"/>
            <a:chOff x="-137160" y="-137160"/>
            <a:chExt cx="9418320" cy="5422392"/>
          </a:xfrm>
        </p:grpSpPr>
        <p:cxnSp>
          <p:nvCxnSpPr>
            <p:cNvPr id="42" name="Straight Connector 41"/>
            <p:cNvCxnSpPr/>
            <p:nvPr userDrawn="1"/>
          </p:nvCxnSpPr>
          <p:spPr>
            <a:xfrm flipV="1">
              <a:off x="1050626"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userDrawn="1"/>
          </p:nvCxnSpPr>
          <p:spPr>
            <a:xfrm flipV="1">
              <a:off x="86868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userDrawn="1"/>
          </p:nvCxnSpPr>
          <p:spPr>
            <a:xfrm flipV="1">
              <a:off x="1050626"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45" name="Straight Connector 44"/>
            <p:cNvCxnSpPr/>
            <p:nvPr userDrawn="1"/>
          </p:nvCxnSpPr>
          <p:spPr>
            <a:xfrm flipV="1">
              <a:off x="86868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46" name="Straight Connector 45"/>
            <p:cNvCxnSpPr/>
            <p:nvPr userDrawn="1"/>
          </p:nvCxnSpPr>
          <p:spPr>
            <a:xfrm flipV="1">
              <a:off x="16002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47" name="Straight Connector 46"/>
            <p:cNvCxnSpPr/>
            <p:nvPr userDrawn="1"/>
          </p:nvCxnSpPr>
          <p:spPr>
            <a:xfrm flipV="1">
              <a:off x="16002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52" name="Straight Connector 51"/>
            <p:cNvCxnSpPr/>
            <p:nvPr userDrawn="1"/>
          </p:nvCxnSpPr>
          <p:spPr>
            <a:xfrm>
              <a:off x="9189720" y="4389119"/>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53" name="Straight Connector 52"/>
            <p:cNvCxnSpPr/>
            <p:nvPr userDrawn="1"/>
          </p:nvCxnSpPr>
          <p:spPr>
            <a:xfrm>
              <a:off x="-137160" y="4389119"/>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grpSp>
      <p:sp>
        <p:nvSpPr>
          <p:cNvPr id="55" name="Title 1"/>
          <p:cNvSpPr>
            <a:spLocks noGrp="1"/>
          </p:cNvSpPr>
          <p:nvPr>
            <p:ph type="ctrTitle"/>
          </p:nvPr>
        </p:nvSpPr>
        <p:spPr bwMode="auto">
          <a:xfrm>
            <a:off x="1600200" y="3108960"/>
            <a:ext cx="7086600" cy="914400"/>
          </a:xfrm>
        </p:spPr>
        <p:txBody>
          <a:bodyPr anchor="b" anchorCtr="0">
            <a:noAutofit/>
          </a:bodyPr>
          <a:lstStyle>
            <a:lvl1pPr>
              <a:defRPr sz="3200">
                <a:solidFill>
                  <a:schemeClr val="tx1"/>
                </a:solidFill>
              </a:defRPr>
            </a:lvl1pPr>
          </a:lstStyle>
          <a:p>
            <a:r>
              <a:rPr lang="en-US"/>
              <a:t>Click to edit Master title style</a:t>
            </a:r>
            <a:endParaRPr lang="en-US" dirty="0"/>
          </a:p>
        </p:txBody>
      </p:sp>
      <p:sp>
        <p:nvSpPr>
          <p:cNvPr id="56" name="Subtitle 2"/>
          <p:cNvSpPr>
            <a:spLocks noGrp="1"/>
          </p:cNvSpPr>
          <p:nvPr>
            <p:ph type="subTitle" idx="1" hasCustomPrompt="1"/>
          </p:nvPr>
        </p:nvSpPr>
        <p:spPr bwMode="auto">
          <a:xfrm>
            <a:off x="1600200" y="4114800"/>
            <a:ext cx="5029200" cy="731520"/>
          </a:xfrm>
        </p:spPr>
        <p:txBody>
          <a:bodyPr>
            <a:noAutofit/>
          </a:bodyPr>
          <a:lstStyle>
            <a:lvl1pPr marL="0" indent="0" algn="l">
              <a:lnSpc>
                <a:spcPct val="100000"/>
              </a:lnSpc>
              <a:spcBef>
                <a:spcPts val="0"/>
              </a:spcBef>
              <a:buNone/>
              <a:defRPr sz="1400" b="1" i="0" spc="0" baseline="0">
                <a:solidFill>
                  <a:schemeClr val="tx1"/>
                </a:solidFill>
                <a:latin typeface="+mn-lt"/>
                <a:ea typeface="Arial Regular" charset="0"/>
                <a:cs typeface="Arial Regular"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a:t>
            </a:r>
            <a:r>
              <a:rPr lang="en-US" dirty="0" err="1"/>
              <a:t>su</a:t>
            </a:r>
            <a:r>
              <a:rPr lang="en-US" dirty="0"/>
              <a:t>   </a:t>
            </a:r>
            <a:r>
              <a:rPr lang="en-US" dirty="0" err="1"/>
              <a:t>btitle</a:t>
            </a:r>
            <a:r>
              <a:rPr lang="en-US" dirty="0"/>
              <a:t> style</a:t>
            </a:r>
          </a:p>
        </p:txBody>
      </p:sp>
      <p:sp>
        <p:nvSpPr>
          <p:cNvPr id="16" name="Picture Placeholder 3"/>
          <p:cNvSpPr>
            <a:spLocks noGrp="1"/>
          </p:cNvSpPr>
          <p:nvPr>
            <p:ph type="pic" sz="quarter" idx="10" hasCustomPrompt="1"/>
          </p:nvPr>
        </p:nvSpPr>
        <p:spPr>
          <a:xfrm>
            <a:off x="525624" y="316156"/>
            <a:ext cx="8157600" cy="2635200"/>
          </a:xfrm>
          <a:solidFill>
            <a:srgbClr val="CCCCCC"/>
          </a:solidFill>
        </p:spPr>
        <p:txBody>
          <a:bodyPr tIns="0" anchor="ctr" anchorCtr="0">
            <a:normAutofit/>
          </a:bodyPr>
          <a:lstStyle>
            <a:lvl1pPr marL="1079500" marR="0" indent="0" algn="l" defTabSz="914400" rtl="0" eaLnBrk="1" fontAlgn="auto" latinLnBrk="0" hangingPunct="1">
              <a:lnSpc>
                <a:spcPct val="100000"/>
              </a:lnSpc>
              <a:spcBef>
                <a:spcPts val="1200"/>
              </a:spcBef>
              <a:spcAft>
                <a:spcPts val="0"/>
              </a:spcAft>
              <a:buClrTx/>
              <a:buSzPct val="120000"/>
              <a:buFont typeface="Arial" pitchFamily="34" charset="0"/>
              <a:buNone/>
              <a:tabLst>
                <a:tab pos="3998913" algn="r"/>
                <a:tab pos="8229600" algn="r"/>
              </a:tabLst>
              <a:defRPr lang="en-US" sz="950" smtClean="0">
                <a:effectLst/>
                <a:latin typeface="+mn-lt"/>
              </a:defRPr>
            </a:lvl1pPr>
          </a:lstStyle>
          <a:p>
            <a:r>
              <a:rPr lang="en-US" dirty="0"/>
              <a:t>This space is reserved for cropped images only sourced from Novartis Brand Lab at https://</a:t>
            </a:r>
            <a:r>
              <a:rPr lang="en-US" dirty="0" err="1"/>
              <a:t>www.novartisbrandlab.com</a:t>
            </a:r>
            <a:r>
              <a:rPr lang="en-US" dirty="0"/>
              <a:t>/resources/assets/5982</a:t>
            </a:r>
            <a:br>
              <a:rPr lang="en-US" dirty="0"/>
            </a:br>
            <a:r>
              <a:rPr lang="en-US" dirty="0"/>
              <a:t>Once you have chosen your image, select the asset for download from the drop-down menu.                                                            For this template, you would download the image cropped to fit the </a:t>
            </a:r>
            <a:r>
              <a:rPr lang="en-US" dirty="0">
                <a:solidFill>
                  <a:srgbClr val="000000"/>
                </a:solidFill>
                <a:effectLst/>
                <a:latin typeface="Arial" charset="0"/>
              </a:rPr>
              <a:t>PPT Presentation Wide Screen 16:9 template</a:t>
            </a:r>
            <a:r>
              <a:rPr lang="en-US" dirty="0"/>
              <a:t>.</a:t>
            </a:r>
            <a:br>
              <a:rPr lang="en-US" dirty="0"/>
            </a:br>
            <a:r>
              <a:rPr lang="en-US" dirty="0"/>
              <a:t>Illustrations, graphics or icons are not allowed. Photography must follow our </a:t>
            </a:r>
            <a:r>
              <a:rPr lang="en-US" dirty="0" err="1"/>
              <a:t>monocolor</a:t>
            </a:r>
            <a:r>
              <a:rPr lang="en-US" dirty="0"/>
              <a:t> rule.                                                                 That means for this template in Novartis Blue </a:t>
            </a:r>
            <a:r>
              <a:rPr lang="en-US" dirty="0" err="1"/>
              <a:t>monocolor</a:t>
            </a:r>
            <a:r>
              <a:rPr lang="en-US" dirty="0"/>
              <a:t> theme, choose an image with a pop of Novartis Blue color.</a:t>
            </a:r>
          </a:p>
        </p:txBody>
      </p:sp>
      <p:pic>
        <p:nvPicPr>
          <p:cNvPr id="18" name="Picture 17">
            <a:extLst>
              <a:ext uri="{FF2B5EF4-FFF2-40B4-BE49-F238E27FC236}">
                <a16:creationId xmlns:a16="http://schemas.microsoft.com/office/drawing/2014/main" id="{F5F8178D-BECF-194D-A4A6-14876CABB04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26786" y="4726757"/>
            <a:ext cx="1463040" cy="177483"/>
          </a:xfrm>
          <a:prstGeom prst="rect">
            <a:avLst/>
          </a:prstGeom>
        </p:spPr>
      </p:pic>
    </p:spTree>
    <p:extLst>
      <p:ext uri="{BB962C8B-B14F-4D97-AF65-F5344CB8AC3E}">
        <p14:creationId xmlns:p14="http://schemas.microsoft.com/office/powerpoint/2010/main" val="24802151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Section Header - No Picture">
    <p:spTree>
      <p:nvGrpSpPr>
        <p:cNvPr id="1" name=""/>
        <p:cNvGrpSpPr/>
        <p:nvPr/>
      </p:nvGrpSpPr>
      <p:grpSpPr>
        <a:xfrm>
          <a:off x="0" y="0"/>
          <a:ext cx="0" cy="0"/>
          <a:chOff x="0" y="0"/>
          <a:chExt cx="0" cy="0"/>
        </a:xfrm>
      </p:grpSpPr>
      <p:grpSp>
        <p:nvGrpSpPr>
          <p:cNvPr id="14" name="Group 13"/>
          <p:cNvGrpSpPr/>
          <p:nvPr userDrawn="1"/>
        </p:nvGrpSpPr>
        <p:grpSpPr>
          <a:xfrm>
            <a:off x="1050626" y="-137160"/>
            <a:ext cx="7636174" cy="5422392"/>
            <a:chOff x="1050626" y="-137160"/>
            <a:chExt cx="7636174" cy="5422392"/>
          </a:xfrm>
        </p:grpSpPr>
        <p:cxnSp>
          <p:nvCxnSpPr>
            <p:cNvPr id="15" name="Straight Connector 14"/>
            <p:cNvCxnSpPr/>
            <p:nvPr userDrawn="1"/>
          </p:nvCxnSpPr>
          <p:spPr>
            <a:xfrm flipV="1">
              <a:off x="1050626"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flipV="1">
              <a:off x="86868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flipV="1">
              <a:off x="1050626"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flipV="1">
              <a:off x="86868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flipV="1">
              <a:off x="16002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flipV="1">
              <a:off x="16002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grpSp>
      <p:sp>
        <p:nvSpPr>
          <p:cNvPr id="18" name="Title 1"/>
          <p:cNvSpPr>
            <a:spLocks noGrp="1"/>
          </p:cNvSpPr>
          <p:nvPr>
            <p:ph type="ctrTitle"/>
          </p:nvPr>
        </p:nvSpPr>
        <p:spPr bwMode="auto">
          <a:xfrm>
            <a:off x="1600200" y="1463040"/>
            <a:ext cx="7086600" cy="2102185"/>
          </a:xfrm>
        </p:spPr>
        <p:txBody>
          <a:bodyPr anchor="b" anchorCtr="0">
            <a:noAutofit/>
          </a:bodyPr>
          <a:lstStyle>
            <a:lvl1pPr>
              <a:defRPr sz="3200" baseline="0"/>
            </a:lvl1pPr>
          </a:lstStyle>
          <a:p>
            <a:r>
              <a:rPr lang="en-US"/>
              <a:t>Click to edit Master title style</a:t>
            </a:r>
            <a:endParaRPr lang="en-US" dirty="0"/>
          </a:p>
        </p:txBody>
      </p:sp>
      <p:sp>
        <p:nvSpPr>
          <p:cNvPr id="19" name="Subtitle 2"/>
          <p:cNvSpPr>
            <a:spLocks noGrp="1"/>
          </p:cNvSpPr>
          <p:nvPr>
            <p:ph type="subTitle" idx="1"/>
          </p:nvPr>
        </p:nvSpPr>
        <p:spPr bwMode="auto">
          <a:xfrm>
            <a:off x="1600200" y="3657600"/>
            <a:ext cx="7086600" cy="822960"/>
          </a:xfrm>
        </p:spPr>
        <p:txBody>
          <a:bodyPr>
            <a:noAutofit/>
          </a:bodyPr>
          <a:lstStyle>
            <a:lvl1pPr marL="0" indent="0" algn="l">
              <a:lnSpc>
                <a:spcPct val="100000"/>
              </a:lnSpc>
              <a:spcBef>
                <a:spcPts val="0"/>
              </a:spcBef>
              <a:buNone/>
              <a:defRPr sz="1400" b="1" i="0" baseline="0">
                <a:solidFill>
                  <a:srgbClr val="000000"/>
                </a:solidFill>
                <a:latin typeface="+mn-lt"/>
                <a:ea typeface="Arial Regular" charset="0"/>
                <a:cs typeface="Arial Regular"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20" name="Picture 19">
            <a:extLst>
              <a:ext uri="{FF2B5EF4-FFF2-40B4-BE49-F238E27FC236}">
                <a16:creationId xmlns:a16="http://schemas.microsoft.com/office/drawing/2014/main" id="{F5F8178D-BECF-194D-A4A6-14876CABB04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226786" y="4726757"/>
            <a:ext cx="1463040" cy="177483"/>
          </a:xfrm>
          <a:prstGeom prst="rect">
            <a:avLst/>
          </a:prstGeom>
        </p:spPr>
      </p:pic>
      <p:pic>
        <p:nvPicPr>
          <p:cNvPr id="25" name="Picture 24"/>
          <p:cNvPicPr>
            <a:picLocks noChangeAspect="1"/>
          </p:cNvPicPr>
          <p:nvPr userDrawn="1"/>
        </p:nvPicPr>
        <p:blipFill>
          <a:blip r:embed="rId3"/>
          <a:stretch>
            <a:fillRect/>
          </a:stretch>
        </p:blipFill>
        <p:spPr>
          <a:xfrm>
            <a:off x="0" y="6956"/>
            <a:ext cx="1051249" cy="5129588"/>
          </a:xfrm>
          <a:prstGeom prst="rect">
            <a:avLst/>
          </a:prstGeom>
        </p:spPr>
      </p:pic>
    </p:spTree>
    <p:extLst>
      <p:ext uri="{BB962C8B-B14F-4D97-AF65-F5344CB8AC3E}">
        <p14:creationId xmlns:p14="http://schemas.microsoft.com/office/powerpoint/2010/main" val="6115762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Scout l What is Roll-out? l August 2020</a:t>
            </a:r>
            <a:endParaRPr lang="fr-FR" dirty="0"/>
          </a:p>
        </p:txBody>
      </p:sp>
      <p:sp>
        <p:nvSpPr>
          <p:cNvPr id="4" name="Slide Number Placeholder 3"/>
          <p:cNvSpPr>
            <a:spLocks noGrp="1"/>
          </p:cNvSpPr>
          <p:nvPr>
            <p:ph type="sldNum" sz="quarter" idx="11"/>
          </p:nvPr>
        </p:nvSpPr>
        <p:spPr/>
        <p:txBody>
          <a:bodyPr/>
          <a:lstStyle/>
          <a:p>
            <a:fld id="{47547CF9-5B10-D24F-A8D7-45A9778164F7}" type="slidenum">
              <a:rPr lang="uk-UA" smtClean="0"/>
              <a:pPr/>
              <a:t>‹#›</a:t>
            </a:fld>
            <a:endParaRPr lang="uk-UA"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958306" y="53563"/>
            <a:ext cx="755164" cy="309617"/>
          </a:xfrm>
          <a:prstGeom prst="rect">
            <a:avLst/>
          </a:prstGeom>
        </p:spPr>
      </p:pic>
    </p:spTree>
    <p:extLst>
      <p:ext uri="{BB962C8B-B14F-4D97-AF65-F5344CB8AC3E}">
        <p14:creationId xmlns:p14="http://schemas.microsoft.com/office/powerpoint/2010/main" val="21242546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lang="en-US"/>
              <a:t>Scout l What is Roll-out? l August 2020</a:t>
            </a:r>
            <a:endParaRPr lang="fr-FR" dirty="0"/>
          </a:p>
        </p:txBody>
      </p:sp>
      <p:sp>
        <p:nvSpPr>
          <p:cNvPr id="3" name="Slide Number Placeholder 2"/>
          <p:cNvSpPr>
            <a:spLocks noGrp="1"/>
          </p:cNvSpPr>
          <p:nvPr>
            <p:ph type="sldNum" sz="quarter" idx="11"/>
          </p:nvPr>
        </p:nvSpPr>
        <p:spPr/>
        <p:txBody>
          <a:bodyPr/>
          <a:lstStyle/>
          <a:p>
            <a:fld id="{47547CF9-5B10-D24F-A8D7-45A9778164F7}" type="slidenum">
              <a:rPr lang="uk-UA" smtClean="0"/>
              <a:pPr/>
              <a:t>‹#›</a:t>
            </a:fld>
            <a:endParaRPr lang="uk-UA" dirty="0"/>
          </a:p>
        </p:txBody>
      </p:sp>
    </p:spTree>
    <p:extLst>
      <p:ext uri="{BB962C8B-B14F-4D97-AF65-F5344CB8AC3E}">
        <p14:creationId xmlns:p14="http://schemas.microsoft.com/office/powerpoint/2010/main" val="85200980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pic>
        <p:nvPicPr>
          <p:cNvPr id="18" name="Picture 17"/>
          <p:cNvPicPr>
            <a:picLocks noChangeAspect="1"/>
          </p:cNvPicPr>
          <p:nvPr userDrawn="1"/>
        </p:nvPicPr>
        <p:blipFill>
          <a:blip r:embed="rId2"/>
          <a:stretch>
            <a:fillRect/>
          </a:stretch>
        </p:blipFill>
        <p:spPr>
          <a:xfrm>
            <a:off x="0" y="6956"/>
            <a:ext cx="1051249" cy="5129588"/>
          </a:xfrm>
          <a:prstGeom prst="rect">
            <a:avLst/>
          </a:prstGeom>
        </p:spPr>
      </p:pic>
      <p:sp>
        <p:nvSpPr>
          <p:cNvPr id="19" name="Title 1"/>
          <p:cNvSpPr txBox="1">
            <a:spLocks/>
          </p:cNvSpPr>
          <p:nvPr userDrawn="1"/>
        </p:nvSpPr>
        <p:spPr>
          <a:xfrm>
            <a:off x="1600200" y="3108960"/>
            <a:ext cx="7086600" cy="914984"/>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pPr>
              <a:lnSpc>
                <a:spcPct val="90000"/>
              </a:lnSpc>
            </a:pPr>
            <a:r>
              <a:rPr lang="en-US" sz="3200" b="1" i="0" spc="-100" dirty="0">
                <a:latin typeface="+mj-lt"/>
                <a:ea typeface="Arial Black" charset="0"/>
                <a:cs typeface="Arial Black" charset="0"/>
              </a:rPr>
              <a:t>Thank</a:t>
            </a:r>
            <a:r>
              <a:rPr lang="en-US" sz="3200" b="1" i="0" spc="-100" baseline="0" dirty="0">
                <a:latin typeface="+mj-lt"/>
                <a:ea typeface="Arial Black" charset="0"/>
                <a:cs typeface="Arial Black" charset="0"/>
              </a:rPr>
              <a:t> you</a:t>
            </a:r>
            <a:endParaRPr lang="en-US" sz="3200" b="1" i="0" spc="-100" dirty="0">
              <a:latin typeface="+mj-lt"/>
              <a:ea typeface="Arial Black" charset="0"/>
              <a:cs typeface="Arial Black" charset="0"/>
            </a:endParaRPr>
          </a:p>
        </p:txBody>
      </p:sp>
      <p:grpSp>
        <p:nvGrpSpPr>
          <p:cNvPr id="37" name="Group 36"/>
          <p:cNvGrpSpPr/>
          <p:nvPr userDrawn="1"/>
        </p:nvGrpSpPr>
        <p:grpSpPr>
          <a:xfrm>
            <a:off x="-137160" y="-137160"/>
            <a:ext cx="9418320" cy="5422392"/>
            <a:chOff x="-137160" y="-137160"/>
            <a:chExt cx="9418320" cy="5422392"/>
          </a:xfrm>
        </p:grpSpPr>
        <p:cxnSp>
          <p:nvCxnSpPr>
            <p:cNvPr id="38" name="Straight Connector 37"/>
            <p:cNvCxnSpPr/>
            <p:nvPr userDrawn="1"/>
          </p:nvCxnSpPr>
          <p:spPr>
            <a:xfrm flipV="1">
              <a:off x="1050626"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flipV="1">
              <a:off x="86868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flipV="1">
              <a:off x="1050626"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flipV="1">
              <a:off x="86868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flipV="1">
              <a:off x="16002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userDrawn="1"/>
          </p:nvCxnSpPr>
          <p:spPr>
            <a:xfrm flipV="1">
              <a:off x="16002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48" name="Straight Connector 47"/>
            <p:cNvCxnSpPr/>
            <p:nvPr userDrawn="1"/>
          </p:nvCxnSpPr>
          <p:spPr>
            <a:xfrm>
              <a:off x="9189720" y="4389119"/>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49" name="Straight Connector 48"/>
            <p:cNvCxnSpPr/>
            <p:nvPr userDrawn="1"/>
          </p:nvCxnSpPr>
          <p:spPr>
            <a:xfrm>
              <a:off x="-137160" y="4389119"/>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grpSp>
      <p:sp>
        <p:nvSpPr>
          <p:cNvPr id="15" name="Picture Placeholder 3"/>
          <p:cNvSpPr>
            <a:spLocks noGrp="1"/>
          </p:cNvSpPr>
          <p:nvPr>
            <p:ph type="pic" sz="quarter" idx="10" hasCustomPrompt="1"/>
          </p:nvPr>
        </p:nvSpPr>
        <p:spPr>
          <a:xfrm>
            <a:off x="525624" y="316156"/>
            <a:ext cx="8157600" cy="2635200"/>
          </a:xfrm>
          <a:solidFill>
            <a:srgbClr val="CCCCCC"/>
          </a:solidFill>
        </p:spPr>
        <p:txBody>
          <a:bodyPr tIns="0" anchor="ctr" anchorCtr="0">
            <a:normAutofit/>
          </a:bodyPr>
          <a:lstStyle>
            <a:lvl1pPr marL="1079500" marR="0" indent="0" algn="l" defTabSz="914400" rtl="0" eaLnBrk="1" fontAlgn="auto" latinLnBrk="0" hangingPunct="1">
              <a:lnSpc>
                <a:spcPct val="100000"/>
              </a:lnSpc>
              <a:spcBef>
                <a:spcPts val="1200"/>
              </a:spcBef>
              <a:spcAft>
                <a:spcPts val="0"/>
              </a:spcAft>
              <a:buClrTx/>
              <a:buSzPct val="120000"/>
              <a:buFont typeface="Arial" pitchFamily="34" charset="0"/>
              <a:buNone/>
              <a:tabLst>
                <a:tab pos="3998913" algn="r"/>
                <a:tab pos="8229600" algn="r"/>
              </a:tabLst>
              <a:defRPr lang="en-US" sz="950" smtClean="0">
                <a:effectLst/>
                <a:latin typeface="+mn-lt"/>
              </a:defRPr>
            </a:lvl1pPr>
          </a:lstStyle>
          <a:p>
            <a:r>
              <a:rPr lang="en-US" dirty="0"/>
              <a:t>This space is reserved for cropped images only sourced from Novartis Brand Lab at https://</a:t>
            </a:r>
            <a:r>
              <a:rPr lang="en-US" dirty="0" err="1"/>
              <a:t>www.novartisbrandlab.com</a:t>
            </a:r>
            <a:r>
              <a:rPr lang="en-US" dirty="0"/>
              <a:t>/resources/assets/5982</a:t>
            </a:r>
            <a:br>
              <a:rPr lang="en-US" dirty="0"/>
            </a:br>
            <a:r>
              <a:rPr lang="en-US" dirty="0"/>
              <a:t>Once you have chosen your image, select the asset for download from the drop-down menu.                                                            For this template, you would download the image cropped to fit the </a:t>
            </a:r>
            <a:r>
              <a:rPr lang="en-US" dirty="0">
                <a:solidFill>
                  <a:srgbClr val="000000"/>
                </a:solidFill>
                <a:effectLst/>
                <a:latin typeface="Arial" charset="0"/>
              </a:rPr>
              <a:t>PPT Presentation Wide Screen 16:9 template</a:t>
            </a:r>
            <a:r>
              <a:rPr lang="en-US" dirty="0"/>
              <a:t>.</a:t>
            </a:r>
            <a:br>
              <a:rPr lang="en-US" dirty="0"/>
            </a:br>
            <a:r>
              <a:rPr lang="en-US" dirty="0"/>
              <a:t>Illustrations, graphics or icons are not allowed. Photography must follow our </a:t>
            </a:r>
            <a:r>
              <a:rPr lang="en-US" dirty="0" err="1"/>
              <a:t>monocolor</a:t>
            </a:r>
            <a:r>
              <a:rPr lang="en-US" dirty="0"/>
              <a:t> rule.                                                                 That means for this template in Novartis Blue </a:t>
            </a:r>
            <a:r>
              <a:rPr lang="en-US" dirty="0" err="1"/>
              <a:t>monocolor</a:t>
            </a:r>
            <a:r>
              <a:rPr lang="en-US" dirty="0"/>
              <a:t> theme, choose an image with a pop of Novartis Blue color.</a:t>
            </a:r>
          </a:p>
        </p:txBody>
      </p:sp>
      <p:pic>
        <p:nvPicPr>
          <p:cNvPr id="17" name="Picture 16">
            <a:extLst>
              <a:ext uri="{FF2B5EF4-FFF2-40B4-BE49-F238E27FC236}">
                <a16:creationId xmlns:a16="http://schemas.microsoft.com/office/drawing/2014/main" id="{F5F8178D-BECF-194D-A4A6-14876CABB04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26786" y="4726757"/>
            <a:ext cx="1463040" cy="177483"/>
          </a:xfrm>
          <a:prstGeom prst="rect">
            <a:avLst/>
          </a:prstGeom>
        </p:spPr>
      </p:pic>
    </p:spTree>
    <p:extLst>
      <p:ext uri="{BB962C8B-B14F-4D97-AF65-F5344CB8AC3E}">
        <p14:creationId xmlns:p14="http://schemas.microsoft.com/office/powerpoint/2010/main" val="31282186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End Slide - No Picture">
    <p:spTree>
      <p:nvGrpSpPr>
        <p:cNvPr id="1" name=""/>
        <p:cNvGrpSpPr/>
        <p:nvPr/>
      </p:nvGrpSpPr>
      <p:grpSpPr>
        <a:xfrm>
          <a:off x="0" y="0"/>
          <a:ext cx="0" cy="0"/>
          <a:chOff x="0" y="0"/>
          <a:chExt cx="0" cy="0"/>
        </a:xfrm>
      </p:grpSpPr>
      <p:pic>
        <p:nvPicPr>
          <p:cNvPr id="19" name="Picture 18"/>
          <p:cNvPicPr>
            <a:picLocks noChangeAspect="1"/>
          </p:cNvPicPr>
          <p:nvPr userDrawn="1"/>
        </p:nvPicPr>
        <p:blipFill>
          <a:blip r:embed="rId2"/>
          <a:stretch>
            <a:fillRect/>
          </a:stretch>
        </p:blipFill>
        <p:spPr>
          <a:xfrm>
            <a:off x="0" y="6956"/>
            <a:ext cx="1051249" cy="5129588"/>
          </a:xfrm>
          <a:prstGeom prst="rect">
            <a:avLst/>
          </a:prstGeom>
        </p:spPr>
      </p:pic>
      <p:grpSp>
        <p:nvGrpSpPr>
          <p:cNvPr id="13" name="Group 12"/>
          <p:cNvGrpSpPr/>
          <p:nvPr userDrawn="1"/>
        </p:nvGrpSpPr>
        <p:grpSpPr>
          <a:xfrm>
            <a:off x="1050626" y="-137160"/>
            <a:ext cx="7636174" cy="5422392"/>
            <a:chOff x="1050626" y="-137160"/>
            <a:chExt cx="7636174" cy="5422392"/>
          </a:xfrm>
        </p:grpSpPr>
        <p:cxnSp>
          <p:nvCxnSpPr>
            <p:cNvPr id="14" name="Straight Connector 13"/>
            <p:cNvCxnSpPr/>
            <p:nvPr userDrawn="1"/>
          </p:nvCxnSpPr>
          <p:spPr>
            <a:xfrm flipV="1">
              <a:off x="1050626"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flipV="1">
              <a:off x="86868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flipV="1">
              <a:off x="1050626"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flipV="1">
              <a:off x="86868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flipV="1">
              <a:off x="16002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flipV="1">
              <a:off x="16002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grpSp>
      <p:sp>
        <p:nvSpPr>
          <p:cNvPr id="26" name="Title 1"/>
          <p:cNvSpPr txBox="1">
            <a:spLocks/>
          </p:cNvSpPr>
          <p:nvPr userDrawn="1"/>
        </p:nvSpPr>
        <p:spPr>
          <a:xfrm>
            <a:off x="1600200" y="1463040"/>
            <a:ext cx="7086600" cy="2103120"/>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pPr>
              <a:lnSpc>
                <a:spcPct val="90000"/>
              </a:lnSpc>
            </a:pPr>
            <a:r>
              <a:rPr lang="en-US" sz="3200" b="1" i="0" spc="-100" dirty="0">
                <a:latin typeface="+mj-lt"/>
                <a:ea typeface="Arial Black" charset="0"/>
                <a:cs typeface="Arial Black" charset="0"/>
              </a:rPr>
              <a:t>Thank</a:t>
            </a:r>
            <a:r>
              <a:rPr lang="en-US" sz="3200" b="1" i="0" spc="-100" baseline="0" dirty="0">
                <a:latin typeface="+mj-lt"/>
                <a:ea typeface="Arial Black" charset="0"/>
                <a:cs typeface="Arial Black" charset="0"/>
              </a:rPr>
              <a:t> you</a:t>
            </a:r>
            <a:endParaRPr lang="en-US" sz="3200" b="1" i="0" spc="-100" dirty="0">
              <a:latin typeface="+mj-lt"/>
              <a:ea typeface="Arial Black" charset="0"/>
              <a:cs typeface="Arial Black" charset="0"/>
            </a:endParaRPr>
          </a:p>
        </p:txBody>
      </p:sp>
      <p:pic>
        <p:nvPicPr>
          <p:cNvPr id="18" name="Picture 17">
            <a:extLst>
              <a:ext uri="{FF2B5EF4-FFF2-40B4-BE49-F238E27FC236}">
                <a16:creationId xmlns:a16="http://schemas.microsoft.com/office/drawing/2014/main" id="{F5F8178D-BECF-194D-A4A6-14876CABB04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26786" y="4726757"/>
            <a:ext cx="1463040" cy="177483"/>
          </a:xfrm>
          <a:prstGeom prst="rect">
            <a:avLst/>
          </a:prstGeom>
        </p:spPr>
      </p:pic>
    </p:spTree>
    <p:extLst>
      <p:ext uri="{BB962C8B-B14F-4D97-AF65-F5344CB8AC3E}">
        <p14:creationId xmlns:p14="http://schemas.microsoft.com/office/powerpoint/2010/main" val="39816637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No Picture">
    <p:spTree>
      <p:nvGrpSpPr>
        <p:cNvPr id="1" name=""/>
        <p:cNvGrpSpPr/>
        <p:nvPr/>
      </p:nvGrpSpPr>
      <p:grpSpPr>
        <a:xfrm>
          <a:off x="0" y="0"/>
          <a:ext cx="0" cy="0"/>
          <a:chOff x="0" y="0"/>
          <a:chExt cx="0" cy="0"/>
        </a:xfrm>
      </p:grpSpPr>
      <p:pic>
        <p:nvPicPr>
          <p:cNvPr id="21" name="Picture 20"/>
          <p:cNvPicPr>
            <a:picLocks noChangeAspect="1"/>
          </p:cNvPicPr>
          <p:nvPr userDrawn="1"/>
        </p:nvPicPr>
        <p:blipFill>
          <a:blip r:embed="rId2"/>
          <a:stretch>
            <a:fillRect/>
          </a:stretch>
        </p:blipFill>
        <p:spPr>
          <a:xfrm>
            <a:off x="0" y="6956"/>
            <a:ext cx="1051249" cy="5129588"/>
          </a:xfrm>
          <a:prstGeom prst="rect">
            <a:avLst/>
          </a:prstGeom>
        </p:spPr>
      </p:pic>
      <p:grpSp>
        <p:nvGrpSpPr>
          <p:cNvPr id="24" name="Group 23"/>
          <p:cNvGrpSpPr/>
          <p:nvPr userDrawn="1"/>
        </p:nvGrpSpPr>
        <p:grpSpPr>
          <a:xfrm>
            <a:off x="-137160" y="-137160"/>
            <a:ext cx="9418320" cy="5422392"/>
            <a:chOff x="-137160" y="-137160"/>
            <a:chExt cx="9418320" cy="5422392"/>
          </a:xfrm>
        </p:grpSpPr>
        <p:cxnSp>
          <p:nvCxnSpPr>
            <p:cNvPr id="28" name="Straight Connector 27"/>
            <p:cNvCxnSpPr/>
            <p:nvPr userDrawn="1"/>
          </p:nvCxnSpPr>
          <p:spPr>
            <a:xfrm flipV="1">
              <a:off x="1050626"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flipV="1">
              <a:off x="86868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flipV="1">
              <a:off x="1050626"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flipV="1">
              <a:off x="86868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flipV="1">
              <a:off x="16002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flipV="1">
              <a:off x="16002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9189720" y="1188720"/>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137160" y="1188720"/>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9189720" y="640080"/>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137160" y="640080"/>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grpSp>
      <p:sp>
        <p:nvSpPr>
          <p:cNvPr id="2" name="Title 1"/>
          <p:cNvSpPr>
            <a:spLocks noGrp="1"/>
          </p:cNvSpPr>
          <p:nvPr>
            <p:ph type="ctrTitle"/>
          </p:nvPr>
        </p:nvSpPr>
        <p:spPr bwMode="auto">
          <a:xfrm>
            <a:off x="1600200" y="1463040"/>
            <a:ext cx="7086600" cy="2102185"/>
          </a:xfrm>
        </p:spPr>
        <p:txBody>
          <a:bodyPr anchor="b" anchorCtr="0">
            <a:noAutofit/>
          </a:bodyPr>
          <a:lstStyle>
            <a:lvl1pPr>
              <a:defRPr sz="3200" b="0"/>
            </a:lvl1pPr>
          </a:lstStyle>
          <a:p>
            <a:r>
              <a:rPr lang="en-US"/>
              <a:t>Click to edit Master title style</a:t>
            </a:r>
            <a:endParaRPr lang="en-US" dirty="0"/>
          </a:p>
        </p:txBody>
      </p:sp>
      <p:sp>
        <p:nvSpPr>
          <p:cNvPr id="3" name="Subtitle 2"/>
          <p:cNvSpPr>
            <a:spLocks noGrp="1"/>
          </p:cNvSpPr>
          <p:nvPr>
            <p:ph type="subTitle" idx="1"/>
          </p:nvPr>
        </p:nvSpPr>
        <p:spPr bwMode="auto">
          <a:xfrm>
            <a:off x="1600200" y="3657600"/>
            <a:ext cx="7086600" cy="822960"/>
          </a:xfrm>
        </p:spPr>
        <p:txBody>
          <a:bodyPr>
            <a:noAutofit/>
          </a:bodyPr>
          <a:lstStyle>
            <a:lvl1pPr marL="0" indent="0" algn="l">
              <a:lnSpc>
                <a:spcPct val="100000"/>
              </a:lnSpc>
              <a:spcBef>
                <a:spcPts val="0"/>
              </a:spcBef>
              <a:buNone/>
              <a:defRPr sz="1400" b="1" i="0" baseline="0">
                <a:solidFill>
                  <a:srgbClr val="000000"/>
                </a:solidFill>
                <a:latin typeface="+mn-lt"/>
                <a:ea typeface="Arial Regular" charset="0"/>
                <a:cs typeface="Arial Regular"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8" name="Text Placeholder 7"/>
          <p:cNvSpPr>
            <a:spLocks noGrp="1"/>
          </p:cNvSpPr>
          <p:nvPr>
            <p:ph type="body" sz="quarter" idx="12" hasCustomPrompt="1"/>
          </p:nvPr>
        </p:nvSpPr>
        <p:spPr bwMode="gray">
          <a:xfrm>
            <a:off x="0" y="640080"/>
            <a:ext cx="2286000" cy="548640"/>
          </a:xfrm>
          <a:solidFill>
            <a:schemeClr val="accent2"/>
          </a:solidFill>
        </p:spPr>
        <p:txBody>
          <a:bodyPr lIns="182880" tIns="45720" rIns="91440" bIns="45720" anchor="ctr" anchorCtr="0">
            <a:normAutofit/>
          </a:bodyPr>
          <a:lstStyle>
            <a:lvl1pPr marL="0" marR="0" indent="0" algn="l" defTabSz="914400" rtl="0" eaLnBrk="1" fontAlgn="auto" latinLnBrk="0" hangingPunct="1">
              <a:lnSpc>
                <a:spcPct val="100000"/>
              </a:lnSpc>
              <a:spcBef>
                <a:spcPts val="0"/>
              </a:spcBef>
              <a:spcAft>
                <a:spcPts val="0"/>
              </a:spcAft>
              <a:buClrTx/>
              <a:buSzPct val="120000"/>
              <a:buFont typeface="Arial"/>
              <a:buNone/>
              <a:tabLst>
                <a:tab pos="3998913" algn="r"/>
                <a:tab pos="8229600" algn="r"/>
              </a:tabLst>
              <a:defRPr sz="1000" b="1" i="0" spc="0" baseline="0">
                <a:solidFill>
                  <a:schemeClr val="bg1"/>
                </a:solidFill>
                <a:latin typeface="+mn-lt"/>
                <a:ea typeface="Arial Regular" charset="0"/>
                <a:cs typeface="Arial Regular" charset="0"/>
              </a:defRPr>
            </a:lvl1pPr>
            <a:lvl2pPr marL="0" indent="0" algn="l">
              <a:spcBef>
                <a:spcPts val="0"/>
              </a:spcBef>
              <a:buFont typeface="Arial"/>
              <a:buNone/>
              <a:defRPr sz="900" b="1">
                <a:solidFill>
                  <a:schemeClr val="bg1"/>
                </a:solidFill>
              </a:defRPr>
            </a:lvl2pPr>
            <a:lvl3pPr marL="0" indent="0">
              <a:spcBef>
                <a:spcPts val="0"/>
              </a:spcBef>
              <a:buFont typeface="Arial"/>
              <a:buNone/>
              <a:defRPr sz="1000" b="1">
                <a:solidFill>
                  <a:schemeClr val="bg1"/>
                </a:solidFill>
              </a:defRPr>
            </a:lvl3pPr>
            <a:lvl4pPr marL="0" indent="0">
              <a:spcBef>
                <a:spcPts val="0"/>
              </a:spcBef>
              <a:buFont typeface="Arial"/>
              <a:buNone/>
              <a:defRPr sz="1000" b="1">
                <a:solidFill>
                  <a:schemeClr val="bg1"/>
                </a:solidFill>
              </a:defRPr>
            </a:lvl4pPr>
            <a:lvl5pPr marL="0" indent="0">
              <a:spcBef>
                <a:spcPts val="0"/>
              </a:spcBef>
              <a:buFont typeface="Arial"/>
              <a:buNone/>
              <a:defRPr sz="1000" b="1">
                <a:solidFill>
                  <a:schemeClr val="bg1"/>
                </a:solidFill>
              </a:defRPr>
            </a:lvl5pPr>
          </a:lstStyle>
          <a:p>
            <a:pPr marL="0" marR="0" lvl="0" indent="0" algn="l" defTabSz="914400" rtl="0" eaLnBrk="1" fontAlgn="auto" latinLnBrk="0" hangingPunct="1">
              <a:lnSpc>
                <a:spcPct val="100000"/>
              </a:lnSpc>
              <a:spcBef>
                <a:spcPts val="0"/>
              </a:spcBef>
              <a:spcAft>
                <a:spcPts val="0"/>
              </a:spcAft>
              <a:buClrTx/>
              <a:buSzPct val="120000"/>
              <a:buFont typeface="Arial"/>
              <a:buNone/>
              <a:tabLst>
                <a:tab pos="3998913" algn="r"/>
                <a:tab pos="8229600" algn="r"/>
              </a:tabLst>
              <a:defRPr/>
            </a:pPr>
            <a:r>
              <a:rPr lang="en-US" dirty="0">
                <a:solidFill>
                  <a:srgbClr val="FFFFFF"/>
                </a:solidFill>
              </a:rPr>
              <a:t>Sandoz Digital &amp; NBS IT</a:t>
            </a:r>
            <a:br>
              <a:rPr lang="en-US" dirty="0">
                <a:solidFill>
                  <a:srgbClr val="FFFFFF"/>
                </a:solidFill>
              </a:rPr>
            </a:br>
            <a:r>
              <a:rPr lang="en-US" b="0" dirty="0">
                <a:solidFill>
                  <a:srgbClr val="FFFFFF"/>
                </a:solidFill>
              </a:rPr>
              <a:t>Scout </a:t>
            </a:r>
          </a:p>
        </p:txBody>
      </p:sp>
      <p:pic>
        <p:nvPicPr>
          <p:cNvPr id="20" name="Picture 19">
            <a:extLst>
              <a:ext uri="{FF2B5EF4-FFF2-40B4-BE49-F238E27FC236}">
                <a16:creationId xmlns:a16="http://schemas.microsoft.com/office/drawing/2014/main" id="{F5F8178D-BECF-194D-A4A6-14876CABB04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26786" y="4726757"/>
            <a:ext cx="1463040" cy="177483"/>
          </a:xfrm>
          <a:prstGeom prst="rect">
            <a:avLst/>
          </a:prstGeom>
        </p:spPr>
      </p:pic>
    </p:spTree>
    <p:extLst>
      <p:ext uri="{BB962C8B-B14F-4D97-AF65-F5344CB8AC3E}">
        <p14:creationId xmlns:p14="http://schemas.microsoft.com/office/powerpoint/2010/main" val="244898507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590" name="think-cell Slide" r:id="rId5" imgW="416" imgH="416" progId="TCLayout.ActiveDocument.1">
                  <p:embed/>
                </p:oleObj>
              </mc:Choice>
              <mc:Fallback>
                <p:oleObj name="think-cell Slide" r:id="rId5" imgW="416" imgH="416"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1800" b="0" i="0" baseline="0" dirty="0">
              <a:latin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478854" y="339725"/>
            <a:ext cx="8196834" cy="287810"/>
          </a:xfrm>
          <a:prstGeom prst="rect">
            <a:avLst/>
          </a:prstGeom>
        </p:spPr>
        <p:txBody>
          <a:bodyPr lIns="0" tIns="0" rIns="0" bIns="0" anchor="ctr">
            <a:noAutofit/>
          </a:bodyPr>
          <a:lstStyle>
            <a:lvl1pPr>
              <a:defRPr lang="en-US" sz="3200" b="0" i="0" kern="1200" spc="-100" baseline="0" dirty="0">
                <a:solidFill>
                  <a:srgbClr val="575757"/>
                </a:solidFill>
                <a:latin typeface="+mj-lt"/>
                <a:ea typeface="Arial Black" charset="0"/>
                <a:cs typeface="Arial Black" charset="0"/>
              </a:defRPr>
            </a:lvl1pPr>
          </a:lstStyle>
          <a:p>
            <a:pPr marL="0" lvl="0" indent="0" algn="l" defTabSz="914400" rtl="0" eaLnBrk="1" latinLnBrk="0" hangingPunct="1">
              <a:spcBef>
                <a:spcPts val="900"/>
              </a:spcBef>
              <a:buClrTx/>
              <a:buSzPct val="100000"/>
              <a:buFont typeface="Wingdings" charset="2"/>
              <a:buNone/>
              <a:tabLst>
                <a:tab pos="3998913" algn="r"/>
                <a:tab pos="8229600" algn="r"/>
              </a:tabLst>
            </a:pPr>
            <a:r>
              <a:rPr lang="en-US" dirty="0"/>
              <a:t>Click to edit Master title style</a:t>
            </a:r>
          </a:p>
        </p:txBody>
      </p:sp>
      <p:sp>
        <p:nvSpPr>
          <p:cNvPr id="3" name="Slide Number Placeholder 2"/>
          <p:cNvSpPr>
            <a:spLocks noGrp="1"/>
          </p:cNvSpPr>
          <p:nvPr>
            <p:ph type="sldNum" sz="quarter" idx="10"/>
          </p:nvPr>
        </p:nvSpPr>
        <p:spPr/>
        <p:txBody>
          <a:bodyPr/>
          <a:lstStyle/>
          <a:p>
            <a:fld id="{47547CF9-5B10-D24F-A8D7-45A9778164F7}" type="slidenum">
              <a:rPr lang="en-US" smtClean="0"/>
              <a:pPr/>
              <a:t>‹#›</a:t>
            </a:fld>
            <a:endParaRPr lang="en-US" dirty="0"/>
          </a:p>
        </p:txBody>
      </p:sp>
      <p:sp>
        <p:nvSpPr>
          <p:cNvPr id="4" name="Footer Placeholder 3"/>
          <p:cNvSpPr>
            <a:spLocks noGrp="1"/>
          </p:cNvSpPr>
          <p:nvPr>
            <p:ph type="ftr" sz="quarter" idx="11"/>
          </p:nvPr>
        </p:nvSpPr>
        <p:spPr/>
        <p:txBody>
          <a:bodyPr/>
          <a:lstStyle/>
          <a:p>
            <a:r>
              <a:rPr lang="en-US"/>
              <a:t>Scout l What is Roll-out? l August 2020</a:t>
            </a:r>
            <a:endParaRPr lang="en-GB" dirty="0"/>
          </a:p>
        </p:txBody>
      </p:sp>
      <p:pic>
        <p:nvPicPr>
          <p:cNvPr id="7" name="Picture 6"/>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7958306" y="53563"/>
            <a:ext cx="755164" cy="309617"/>
          </a:xfrm>
          <a:prstGeom prst="rect">
            <a:avLst/>
          </a:prstGeom>
        </p:spPr>
      </p:pic>
    </p:spTree>
    <p:extLst>
      <p:ext uri="{BB962C8B-B14F-4D97-AF65-F5344CB8AC3E}">
        <p14:creationId xmlns:p14="http://schemas.microsoft.com/office/powerpoint/2010/main" val="362779577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96000" y="488701"/>
            <a:ext cx="8352000" cy="567941"/>
          </a:xfrm>
          <a:prstGeom prst="rect">
            <a:avLst/>
          </a:prstGeom>
        </p:spPr>
        <p:txBody>
          <a:bodyPr lIns="0" tIns="0" rIns="0" bIns="0">
            <a:noAutofit/>
          </a:bodyPr>
          <a:lstStyle>
            <a:lvl1pPr marL="0" indent="0">
              <a:buNone/>
              <a:defRPr sz="1500" b="0">
                <a:solidFill>
                  <a:srgbClr val="575757"/>
                </a:solidFill>
              </a:defRPr>
            </a:lvl1pPr>
          </a:lstStyle>
          <a:p>
            <a:pPr lvl="0"/>
            <a:r>
              <a:rPr lang="en-US" dirty="0"/>
              <a:t>Click to add subtitle</a:t>
            </a:r>
          </a:p>
        </p:txBody>
      </p:sp>
      <p:sp>
        <p:nvSpPr>
          <p:cNvPr id="11" name="Title Placeholder 1"/>
          <p:cNvSpPr>
            <a:spLocks noGrp="1"/>
          </p:cNvSpPr>
          <p:nvPr>
            <p:ph type="title" hasCustomPrompt="1"/>
          </p:nvPr>
        </p:nvSpPr>
        <p:spPr>
          <a:xfrm>
            <a:off x="396000" y="221762"/>
            <a:ext cx="8352000" cy="352119"/>
          </a:xfrm>
          <a:prstGeom prst="rect">
            <a:avLst/>
          </a:prstGeom>
        </p:spPr>
        <p:txBody>
          <a:bodyPr vert="horz" lIns="0" tIns="0" rIns="0" bIns="0" rtlCol="0" anchor="t" anchorCtr="0">
            <a:noAutofit/>
          </a:bodyPr>
          <a:lstStyle>
            <a:lvl1pPr>
              <a:defRPr/>
            </a:lvl1pPr>
          </a:lstStyle>
          <a:p>
            <a:r>
              <a:rPr lang="en-US" dirty="0"/>
              <a:t>Click to add title</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958306" y="53563"/>
            <a:ext cx="755164" cy="309617"/>
          </a:xfrm>
          <a:prstGeom prst="rect">
            <a:avLst/>
          </a:prstGeom>
        </p:spPr>
      </p:pic>
    </p:spTree>
    <p:extLst>
      <p:ext uri="{BB962C8B-B14F-4D97-AF65-F5344CB8AC3E}">
        <p14:creationId xmlns:p14="http://schemas.microsoft.com/office/powerpoint/2010/main" val="1202419921"/>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1_End Slide">
    <p:spTree>
      <p:nvGrpSpPr>
        <p:cNvPr id="1" name=""/>
        <p:cNvGrpSpPr/>
        <p:nvPr/>
      </p:nvGrpSpPr>
      <p:grpSpPr>
        <a:xfrm>
          <a:off x="0" y="0"/>
          <a:ext cx="0" cy="0"/>
          <a:chOff x="0" y="0"/>
          <a:chExt cx="0" cy="0"/>
        </a:xfrm>
      </p:grpSpPr>
      <p:pic>
        <p:nvPicPr>
          <p:cNvPr id="18" name="Picture 17"/>
          <p:cNvPicPr>
            <a:picLocks noChangeAspect="1"/>
          </p:cNvPicPr>
          <p:nvPr userDrawn="1"/>
        </p:nvPicPr>
        <p:blipFill>
          <a:blip r:embed="rId2"/>
          <a:stretch>
            <a:fillRect/>
          </a:stretch>
        </p:blipFill>
        <p:spPr>
          <a:xfrm>
            <a:off x="0" y="6956"/>
            <a:ext cx="1051249" cy="5129588"/>
          </a:xfrm>
          <a:prstGeom prst="rect">
            <a:avLst/>
          </a:prstGeom>
        </p:spPr>
      </p:pic>
      <p:sp>
        <p:nvSpPr>
          <p:cNvPr id="19" name="Title 1"/>
          <p:cNvSpPr txBox="1">
            <a:spLocks/>
          </p:cNvSpPr>
          <p:nvPr userDrawn="1"/>
        </p:nvSpPr>
        <p:spPr>
          <a:xfrm>
            <a:off x="1600200" y="3108960"/>
            <a:ext cx="7086600" cy="914984"/>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pPr>
              <a:lnSpc>
                <a:spcPct val="90000"/>
              </a:lnSpc>
            </a:pPr>
            <a:r>
              <a:rPr lang="en-US" sz="3200" b="1" i="0" spc="-100" dirty="0">
                <a:latin typeface="+mj-lt"/>
                <a:ea typeface="Arial Black" charset="0"/>
                <a:cs typeface="Arial Black" charset="0"/>
              </a:rPr>
              <a:t>Thank</a:t>
            </a:r>
            <a:r>
              <a:rPr lang="en-US" sz="3200" b="1" i="0" spc="-100" baseline="0" dirty="0">
                <a:latin typeface="+mj-lt"/>
                <a:ea typeface="Arial Black" charset="0"/>
                <a:cs typeface="Arial Black" charset="0"/>
              </a:rPr>
              <a:t> you</a:t>
            </a:r>
            <a:endParaRPr lang="en-US" sz="3200" b="1" i="0" spc="-100" dirty="0">
              <a:latin typeface="+mj-lt"/>
              <a:ea typeface="Arial Black" charset="0"/>
              <a:cs typeface="Arial Black" charset="0"/>
            </a:endParaRPr>
          </a:p>
        </p:txBody>
      </p:sp>
      <p:grpSp>
        <p:nvGrpSpPr>
          <p:cNvPr id="37" name="Group 36"/>
          <p:cNvGrpSpPr/>
          <p:nvPr userDrawn="1"/>
        </p:nvGrpSpPr>
        <p:grpSpPr>
          <a:xfrm>
            <a:off x="-137160" y="-137160"/>
            <a:ext cx="9418320" cy="5422392"/>
            <a:chOff x="-137160" y="-137160"/>
            <a:chExt cx="9418320" cy="5422392"/>
          </a:xfrm>
        </p:grpSpPr>
        <p:cxnSp>
          <p:nvCxnSpPr>
            <p:cNvPr id="38" name="Straight Connector 37"/>
            <p:cNvCxnSpPr/>
            <p:nvPr userDrawn="1"/>
          </p:nvCxnSpPr>
          <p:spPr>
            <a:xfrm flipV="1">
              <a:off x="1050626"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flipV="1">
              <a:off x="86868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flipV="1">
              <a:off x="1050626"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flipV="1">
              <a:off x="86868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flipV="1">
              <a:off x="16002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userDrawn="1"/>
          </p:nvCxnSpPr>
          <p:spPr>
            <a:xfrm flipV="1">
              <a:off x="16002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48" name="Straight Connector 47"/>
            <p:cNvCxnSpPr/>
            <p:nvPr userDrawn="1"/>
          </p:nvCxnSpPr>
          <p:spPr>
            <a:xfrm>
              <a:off x="9189720" y="4389119"/>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49" name="Straight Connector 48"/>
            <p:cNvCxnSpPr/>
            <p:nvPr userDrawn="1"/>
          </p:nvCxnSpPr>
          <p:spPr>
            <a:xfrm>
              <a:off x="-137160" y="4389119"/>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grpSp>
      <p:pic>
        <p:nvPicPr>
          <p:cNvPr id="17" name="Picture 16">
            <a:extLst>
              <a:ext uri="{FF2B5EF4-FFF2-40B4-BE49-F238E27FC236}">
                <a16:creationId xmlns:a16="http://schemas.microsoft.com/office/drawing/2014/main" id="{F5F8178D-BECF-194D-A4A6-14876CABB04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26786" y="4726757"/>
            <a:ext cx="1463040" cy="177483"/>
          </a:xfrm>
          <a:prstGeom prst="rect">
            <a:avLst/>
          </a:prstGeom>
        </p:spPr>
      </p:pic>
      <p:pic>
        <p:nvPicPr>
          <p:cNvPr id="16" name="Picture 15"/>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33400" y="330011"/>
            <a:ext cx="8156448" cy="2682240"/>
          </a:xfrm>
          <a:prstGeom prst="rect">
            <a:avLst/>
          </a:prstGeom>
        </p:spPr>
      </p:pic>
      <p:pic>
        <p:nvPicPr>
          <p:cNvPr id="24" name="Picture 23"/>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209800" y="4392864"/>
            <a:ext cx="524852" cy="667786"/>
          </a:xfrm>
          <a:prstGeom prst="rect">
            <a:avLst/>
          </a:prstGeom>
        </p:spPr>
      </p:pic>
      <p:pic>
        <p:nvPicPr>
          <p:cNvPr id="25" name="Picture 2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600200" y="4392865"/>
            <a:ext cx="524852" cy="667786"/>
          </a:xfrm>
          <a:prstGeom prst="rect">
            <a:avLst/>
          </a:prstGeom>
        </p:spPr>
      </p:pic>
      <p:sp>
        <p:nvSpPr>
          <p:cNvPr id="26" name="TextBox 25"/>
          <p:cNvSpPr txBox="1"/>
          <p:nvPr userDrawn="1"/>
        </p:nvSpPr>
        <p:spPr>
          <a:xfrm>
            <a:off x="1600200" y="4152001"/>
            <a:ext cx="658194" cy="215444"/>
          </a:xfrm>
          <a:prstGeom prst="rect">
            <a:avLst/>
          </a:prstGeom>
          <a:noFill/>
        </p:spPr>
        <p:txBody>
          <a:bodyPr wrap="none" lIns="0" rtlCol="0">
            <a:spAutoFit/>
          </a:bodyPr>
          <a:lstStyle/>
          <a:p>
            <a:r>
              <a:rPr lang="en-US" sz="800" b="1" dirty="0">
                <a:solidFill>
                  <a:schemeClr val="tx1"/>
                </a:solidFill>
              </a:rPr>
              <a:t>Visit</a:t>
            </a:r>
            <a:r>
              <a:rPr lang="en-US" sz="800" b="1" baseline="0" dirty="0">
                <a:solidFill>
                  <a:schemeClr val="tx1"/>
                </a:solidFill>
              </a:rPr>
              <a:t> Scout!</a:t>
            </a:r>
            <a:endParaRPr lang="en-US" sz="800" b="1" dirty="0">
              <a:solidFill>
                <a:schemeClr val="tx1"/>
              </a:solidFill>
            </a:endParaRPr>
          </a:p>
        </p:txBody>
      </p:sp>
    </p:spTree>
    <p:extLst>
      <p:ext uri="{BB962C8B-B14F-4D97-AF65-F5344CB8AC3E}">
        <p14:creationId xmlns:p14="http://schemas.microsoft.com/office/powerpoint/2010/main" val="331271858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pic>
        <p:nvPicPr>
          <p:cNvPr id="29" name="Picture 28"/>
          <p:cNvPicPr>
            <a:picLocks noChangeAspect="1"/>
          </p:cNvPicPr>
          <p:nvPr userDrawn="1"/>
        </p:nvPicPr>
        <p:blipFill>
          <a:blip r:embed="rId2"/>
          <a:stretch>
            <a:fillRect/>
          </a:stretch>
        </p:blipFill>
        <p:spPr>
          <a:xfrm>
            <a:off x="0" y="6956"/>
            <a:ext cx="1051249" cy="5129588"/>
          </a:xfrm>
          <a:prstGeom prst="rect">
            <a:avLst/>
          </a:prstGeom>
        </p:spPr>
      </p:pic>
      <p:grpSp>
        <p:nvGrpSpPr>
          <p:cNvPr id="5" name="Group 4"/>
          <p:cNvGrpSpPr/>
          <p:nvPr userDrawn="1"/>
        </p:nvGrpSpPr>
        <p:grpSpPr>
          <a:xfrm>
            <a:off x="-137160" y="-137160"/>
            <a:ext cx="9418320" cy="5422392"/>
            <a:chOff x="-137160" y="-137160"/>
            <a:chExt cx="9418320" cy="5422392"/>
          </a:xfrm>
        </p:grpSpPr>
        <p:cxnSp>
          <p:nvCxnSpPr>
            <p:cNvPr id="8" name="Straight Connector 7"/>
            <p:cNvCxnSpPr/>
            <p:nvPr userDrawn="1"/>
          </p:nvCxnSpPr>
          <p:spPr>
            <a:xfrm flipV="1">
              <a:off x="1050626"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userDrawn="1"/>
          </p:nvCxnSpPr>
          <p:spPr>
            <a:xfrm flipV="1">
              <a:off x="86868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1" name="Straight Connector 10"/>
            <p:cNvCxnSpPr/>
            <p:nvPr userDrawn="1"/>
          </p:nvCxnSpPr>
          <p:spPr>
            <a:xfrm flipV="1">
              <a:off x="1050626"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userDrawn="1"/>
          </p:nvCxnSpPr>
          <p:spPr>
            <a:xfrm flipV="1">
              <a:off x="86868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flipV="1">
              <a:off x="16002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flipV="1">
              <a:off x="16002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9189720" y="1188720"/>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137160" y="1188720"/>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9189720" y="640080"/>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137160" y="640080"/>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grpSp>
      <p:sp>
        <p:nvSpPr>
          <p:cNvPr id="2" name="Title 1"/>
          <p:cNvSpPr>
            <a:spLocks noGrp="1"/>
          </p:cNvSpPr>
          <p:nvPr>
            <p:ph type="ctrTitle"/>
          </p:nvPr>
        </p:nvSpPr>
        <p:spPr bwMode="auto">
          <a:xfrm>
            <a:off x="1600200" y="3108959"/>
            <a:ext cx="7086600" cy="914400"/>
          </a:xfrm>
        </p:spPr>
        <p:txBody>
          <a:bodyPr anchor="b" anchorCtr="0">
            <a:noAutofit/>
          </a:bodyPr>
          <a:lstStyle>
            <a:lvl1pPr>
              <a:defRPr sz="3200" b="0" baseline="0">
                <a:solidFill>
                  <a:schemeClr val="tx1"/>
                </a:solidFill>
              </a:defRPr>
            </a:lvl1pPr>
          </a:lstStyle>
          <a:p>
            <a:r>
              <a:rPr lang="en-US"/>
              <a:t>Click to edit Master title style</a:t>
            </a:r>
            <a:endParaRPr lang="en-US" dirty="0"/>
          </a:p>
        </p:txBody>
      </p:sp>
      <p:sp>
        <p:nvSpPr>
          <p:cNvPr id="3" name="Subtitle 2"/>
          <p:cNvSpPr>
            <a:spLocks noGrp="1"/>
          </p:cNvSpPr>
          <p:nvPr>
            <p:ph type="subTitle" idx="1"/>
          </p:nvPr>
        </p:nvSpPr>
        <p:spPr bwMode="auto">
          <a:xfrm>
            <a:off x="1600200" y="4114800"/>
            <a:ext cx="5029200" cy="731520"/>
          </a:xfrm>
          <a:noFill/>
        </p:spPr>
        <p:txBody>
          <a:bodyPr>
            <a:noAutofit/>
          </a:bodyPr>
          <a:lstStyle>
            <a:lvl1pPr marL="0" indent="0" algn="l">
              <a:lnSpc>
                <a:spcPct val="100000"/>
              </a:lnSpc>
              <a:spcBef>
                <a:spcPts val="0"/>
              </a:spcBef>
              <a:buNone/>
              <a:defRPr sz="1400" b="1" i="0" baseline="0">
                <a:solidFill>
                  <a:schemeClr val="tx1"/>
                </a:solidFill>
                <a:latin typeface="+mn-lt"/>
                <a:ea typeface="Arial Regular" charset="0"/>
                <a:cs typeface="Arial Regular"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23" name="Picture 22">
            <a:extLst>
              <a:ext uri="{FF2B5EF4-FFF2-40B4-BE49-F238E27FC236}">
                <a16:creationId xmlns:a16="http://schemas.microsoft.com/office/drawing/2014/main" id="{F5F8178D-BECF-194D-A4A6-14876CABB04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26786" y="4726757"/>
            <a:ext cx="1463040" cy="177483"/>
          </a:xfrm>
          <a:prstGeom prst="rect">
            <a:avLst/>
          </a:prstGeom>
        </p:spPr>
      </p:pic>
      <p:pic>
        <p:nvPicPr>
          <p:cNvPr id="4" name="Picture 3"/>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33400" y="330011"/>
            <a:ext cx="8156448" cy="2682240"/>
          </a:xfrm>
          <a:prstGeom prst="rect">
            <a:avLst/>
          </a:prstGeom>
        </p:spPr>
      </p:pic>
      <p:sp>
        <p:nvSpPr>
          <p:cNvPr id="24" name="Text Placeholder 7"/>
          <p:cNvSpPr>
            <a:spLocks noGrp="1"/>
          </p:cNvSpPr>
          <p:nvPr>
            <p:ph type="body" sz="quarter" idx="12" hasCustomPrompt="1"/>
          </p:nvPr>
        </p:nvSpPr>
        <p:spPr bwMode="gray">
          <a:xfrm>
            <a:off x="0" y="640080"/>
            <a:ext cx="2286000" cy="548640"/>
          </a:xfrm>
          <a:solidFill>
            <a:schemeClr val="accent2"/>
          </a:solidFill>
        </p:spPr>
        <p:txBody>
          <a:bodyPr lIns="182880" tIns="45720" rIns="91440" bIns="45720" anchor="ctr" anchorCtr="0">
            <a:normAutofit/>
          </a:bodyPr>
          <a:lstStyle>
            <a:lvl1pPr marL="0" marR="0" indent="0" algn="l" defTabSz="914400" rtl="0" eaLnBrk="1" fontAlgn="auto" latinLnBrk="0" hangingPunct="1">
              <a:lnSpc>
                <a:spcPct val="100000"/>
              </a:lnSpc>
              <a:spcBef>
                <a:spcPts val="0"/>
              </a:spcBef>
              <a:spcAft>
                <a:spcPts val="0"/>
              </a:spcAft>
              <a:buClrTx/>
              <a:buSzPct val="120000"/>
              <a:buFont typeface="Arial"/>
              <a:buNone/>
              <a:tabLst>
                <a:tab pos="3998913" algn="r"/>
                <a:tab pos="8229600" algn="r"/>
              </a:tabLst>
              <a:defRPr lang="en-US" sz="1000" b="1" i="0" kern="1200" spc="0" baseline="0" dirty="0">
                <a:solidFill>
                  <a:srgbClr val="FFFFFF"/>
                </a:solidFill>
                <a:latin typeface="+mn-lt"/>
                <a:ea typeface="Arial Regular" charset="0"/>
                <a:cs typeface="Arial Regular" charset="0"/>
              </a:defRPr>
            </a:lvl1pPr>
            <a:lvl2pPr marL="0" indent="0" algn="l">
              <a:spcBef>
                <a:spcPts val="0"/>
              </a:spcBef>
              <a:buFont typeface="Arial"/>
              <a:buNone/>
              <a:defRPr sz="900" b="1">
                <a:solidFill>
                  <a:schemeClr val="bg1"/>
                </a:solidFill>
              </a:defRPr>
            </a:lvl2pPr>
            <a:lvl3pPr marL="0" indent="0">
              <a:spcBef>
                <a:spcPts val="0"/>
              </a:spcBef>
              <a:buFont typeface="Arial"/>
              <a:buNone/>
              <a:defRPr sz="1000" b="1">
                <a:solidFill>
                  <a:schemeClr val="bg1"/>
                </a:solidFill>
              </a:defRPr>
            </a:lvl3pPr>
            <a:lvl4pPr marL="0" indent="0">
              <a:spcBef>
                <a:spcPts val="0"/>
              </a:spcBef>
              <a:buFont typeface="Arial"/>
              <a:buNone/>
              <a:defRPr sz="1000" b="1">
                <a:solidFill>
                  <a:schemeClr val="bg1"/>
                </a:solidFill>
              </a:defRPr>
            </a:lvl4pPr>
            <a:lvl5pPr marL="0" indent="0">
              <a:spcBef>
                <a:spcPts val="0"/>
              </a:spcBef>
              <a:buFont typeface="Arial"/>
              <a:buNone/>
              <a:defRPr sz="1000" b="1">
                <a:solidFill>
                  <a:schemeClr val="bg1"/>
                </a:solidFill>
              </a:defRPr>
            </a:lvl5pPr>
          </a:lstStyle>
          <a:p>
            <a:pPr marL="0" marR="0" lvl="0" indent="0" algn="l" defTabSz="914400" rtl="0" eaLnBrk="1" fontAlgn="auto" latinLnBrk="0" hangingPunct="1">
              <a:lnSpc>
                <a:spcPct val="100000"/>
              </a:lnSpc>
              <a:spcBef>
                <a:spcPts val="0"/>
              </a:spcBef>
              <a:spcAft>
                <a:spcPts val="0"/>
              </a:spcAft>
              <a:buClrTx/>
              <a:buSzPct val="120000"/>
              <a:buFont typeface="Arial"/>
              <a:buNone/>
              <a:tabLst>
                <a:tab pos="3998913" algn="r"/>
                <a:tab pos="8229600" algn="r"/>
              </a:tabLst>
              <a:defRPr/>
            </a:pPr>
            <a:r>
              <a:rPr lang="en-US" dirty="0">
                <a:solidFill>
                  <a:srgbClr val="FFFFFF"/>
                </a:solidFill>
              </a:rPr>
              <a:t>Sandoz Digital &amp; NBS IT</a:t>
            </a:r>
            <a:br>
              <a:rPr lang="en-US" dirty="0">
                <a:solidFill>
                  <a:srgbClr val="FFFFFF"/>
                </a:solidFill>
              </a:rPr>
            </a:br>
            <a:r>
              <a:rPr lang="en-US" b="0" dirty="0">
                <a:solidFill>
                  <a:srgbClr val="FFFFFF"/>
                </a:solidFill>
              </a:rPr>
              <a:t>Scout </a:t>
            </a:r>
          </a:p>
        </p:txBody>
      </p:sp>
    </p:spTree>
    <p:extLst>
      <p:ext uri="{BB962C8B-B14F-4D97-AF65-F5344CB8AC3E}">
        <p14:creationId xmlns:p14="http://schemas.microsoft.com/office/powerpoint/2010/main" val="1733713779"/>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0"/>
            </a:lvl1pPr>
          </a:lstStyle>
          <a:p>
            <a:r>
              <a:rPr lang="en-US"/>
              <a:t>Click to edit Master title style</a:t>
            </a:r>
            <a:endParaRPr lang="en-US" dirty="0"/>
          </a:p>
        </p:txBody>
      </p:sp>
      <p:sp>
        <p:nvSpPr>
          <p:cNvPr id="3" name="Content Placeholder 2"/>
          <p:cNvSpPr>
            <a:spLocks noGrp="1"/>
          </p:cNvSpPr>
          <p:nvPr>
            <p:ph idx="1"/>
          </p:nvPr>
        </p:nvSpPr>
        <p:spPr/>
        <p:txBody>
          <a:bodyPr/>
          <a:lstStyle>
            <a:lvl1pPr marL="341313" indent="-341313">
              <a:buSzPct val="100000"/>
              <a:buFont typeface="+mj-lt"/>
              <a:buAutoNum type="arabicPeriod"/>
              <a:tabLst>
                <a:tab pos="3998913" algn="r"/>
                <a:tab pos="8229600" algn="r"/>
              </a:tabLst>
              <a:defRPr baseline="0"/>
            </a:lvl1pPr>
            <a:lvl2pPr marL="574675" indent="-233363">
              <a:defRPr baseline="0"/>
            </a:lvl2pPr>
            <a:lvl3pPr marL="801688" indent="-227013">
              <a:defRPr baseline="0"/>
            </a:lvl3pPr>
            <a:lvl4pPr marL="1028700" indent="-227013">
              <a:defRPr baseline="0"/>
            </a:lvl4pPr>
            <a:lvl5pPr marL="1257300" indent="-228600">
              <a:defRPr baseline="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Footer Placeholder 3"/>
          <p:cNvSpPr>
            <a:spLocks noGrp="1"/>
          </p:cNvSpPr>
          <p:nvPr>
            <p:ph type="ftr" sz="quarter" idx="10"/>
          </p:nvPr>
        </p:nvSpPr>
        <p:spPr/>
        <p:txBody>
          <a:bodyPr/>
          <a:lstStyle/>
          <a:p>
            <a:r>
              <a:rPr lang="en-US"/>
              <a:t>Scout l What is Roll-out? l August 2020</a:t>
            </a:r>
            <a:endParaRPr lang="fr-FR" dirty="0"/>
          </a:p>
        </p:txBody>
      </p:sp>
      <p:sp>
        <p:nvSpPr>
          <p:cNvPr id="5" name="Slide Number Placeholder 4"/>
          <p:cNvSpPr>
            <a:spLocks noGrp="1"/>
          </p:cNvSpPr>
          <p:nvPr>
            <p:ph type="sldNum" sz="quarter" idx="11"/>
          </p:nvPr>
        </p:nvSpPr>
        <p:spPr/>
        <p:txBody>
          <a:bodyPr/>
          <a:lstStyle/>
          <a:p>
            <a:fld id="{47547CF9-5B10-D24F-A8D7-45A9778164F7}" type="slidenum">
              <a:rPr lang="uk-UA" smtClean="0"/>
              <a:pPr/>
              <a:t>‹#›</a:t>
            </a:fld>
            <a:endParaRPr lang="uk-UA" dirty="0"/>
          </a:p>
        </p:txBody>
      </p:sp>
    </p:spTree>
    <p:extLst>
      <p:ext uri="{BB962C8B-B14F-4D97-AF65-F5344CB8AC3E}">
        <p14:creationId xmlns:p14="http://schemas.microsoft.com/office/powerpoint/2010/main" val="406307594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lvl1pPr marL="228600" indent="-228600">
              <a:buSzPct val="100000"/>
              <a:buFont typeface="Wingdings" charset="2"/>
              <a:buChar char="§"/>
              <a:defRPr spc="0" baseline="0"/>
            </a:lvl1pPr>
            <a:lvl2pPr>
              <a:defRPr spc="0" baseline="0"/>
            </a:lvl2pPr>
            <a:lvl3pPr>
              <a:defRPr spc="0" baseline="0"/>
            </a:lvl3pPr>
            <a:lvl4pPr>
              <a:defRPr spc="0" baseline="0"/>
            </a:lvl4pPr>
            <a:lvl5pPr>
              <a:defRPr spc="0" baseline="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Footer Placeholder 3"/>
          <p:cNvSpPr>
            <a:spLocks noGrp="1"/>
          </p:cNvSpPr>
          <p:nvPr>
            <p:ph type="ftr" sz="quarter" idx="10"/>
          </p:nvPr>
        </p:nvSpPr>
        <p:spPr/>
        <p:txBody>
          <a:bodyPr/>
          <a:lstStyle/>
          <a:p>
            <a:r>
              <a:rPr lang="en-US"/>
              <a:t>Scout l What is Roll-out? l August 2020</a:t>
            </a:r>
            <a:endParaRPr lang="fr-FR" dirty="0"/>
          </a:p>
        </p:txBody>
      </p:sp>
      <p:sp>
        <p:nvSpPr>
          <p:cNvPr id="5" name="Slide Number Placeholder 4"/>
          <p:cNvSpPr>
            <a:spLocks noGrp="1"/>
          </p:cNvSpPr>
          <p:nvPr>
            <p:ph type="sldNum" sz="quarter" idx="11"/>
          </p:nvPr>
        </p:nvSpPr>
        <p:spPr/>
        <p:txBody>
          <a:bodyPr/>
          <a:lstStyle/>
          <a:p>
            <a:fld id="{47547CF9-5B10-D24F-A8D7-45A9778164F7}" type="slidenum">
              <a:rPr lang="uk-UA" smtClean="0"/>
              <a:pPr/>
              <a:t>‹#›</a:t>
            </a:fld>
            <a:endParaRPr lang="uk-UA" dirty="0"/>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958306" y="53563"/>
            <a:ext cx="755164" cy="309617"/>
          </a:xfrm>
          <a:prstGeom prst="rect">
            <a:avLst/>
          </a:prstGeom>
        </p:spPr>
      </p:pic>
    </p:spTree>
    <p:extLst>
      <p:ext uri="{BB962C8B-B14F-4D97-AF65-F5344CB8AC3E}">
        <p14:creationId xmlns:p14="http://schemas.microsoft.com/office/powerpoint/2010/main" val="427836720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371600"/>
            <a:ext cx="4021138" cy="3108960"/>
          </a:xfrm>
        </p:spPr>
        <p:txBody>
          <a:bodyPr>
            <a:normAutofit/>
          </a:bodyPr>
          <a:lstStyle>
            <a:lvl1pPr marL="228600" indent="-228600">
              <a:buSzPct val="100000"/>
              <a:buFont typeface="Wingdings" charset="2"/>
              <a:buChar char="§"/>
              <a:defRPr sz="1800" baseline="0"/>
            </a:lvl1pPr>
            <a:lvl2pPr>
              <a:defRPr sz="1600" baseline="0"/>
            </a:lvl2pPr>
            <a:lvl3pPr>
              <a:defRPr sz="1600" baseline="0"/>
            </a:lvl3pPr>
            <a:lvl4pPr>
              <a:defRPr sz="1600" baseline="0"/>
            </a:lvl4pPr>
            <a:lvl5pPr>
              <a:defRPr sz="1600" baseline="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63440" y="1371600"/>
            <a:ext cx="4023360" cy="3108960"/>
          </a:xfrm>
        </p:spPr>
        <p:txBody>
          <a:bodyPr>
            <a:normAutofit/>
          </a:bodyPr>
          <a:lstStyle>
            <a:lvl1pPr marL="228600" indent="-228600">
              <a:buSzPct val="100000"/>
              <a:buFont typeface="Wingdings" charset="2"/>
              <a:buChar char="§"/>
              <a:defRPr sz="1800" baseline="0"/>
            </a:lvl1pPr>
            <a:lvl2pPr>
              <a:defRPr sz="1600" baseline="0"/>
            </a:lvl2pPr>
            <a:lvl3pPr>
              <a:defRPr sz="1600" baseline="0"/>
            </a:lvl3pPr>
            <a:lvl4pPr>
              <a:defRPr sz="1600" baseline="0"/>
            </a:lvl4pPr>
            <a:lvl5pPr>
              <a:defRPr sz="1600" baseline="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0"/>
          </p:nvPr>
        </p:nvSpPr>
        <p:spPr/>
        <p:txBody>
          <a:bodyPr/>
          <a:lstStyle/>
          <a:p>
            <a:r>
              <a:rPr lang="en-US"/>
              <a:t>Scout l What is Roll-out? l August 2020</a:t>
            </a:r>
            <a:endParaRPr lang="fr-FR" dirty="0"/>
          </a:p>
        </p:txBody>
      </p:sp>
      <p:sp>
        <p:nvSpPr>
          <p:cNvPr id="6" name="Slide Number Placeholder 5"/>
          <p:cNvSpPr>
            <a:spLocks noGrp="1"/>
          </p:cNvSpPr>
          <p:nvPr>
            <p:ph type="sldNum" sz="quarter" idx="11"/>
          </p:nvPr>
        </p:nvSpPr>
        <p:spPr/>
        <p:txBody>
          <a:bodyPr/>
          <a:lstStyle/>
          <a:p>
            <a:fld id="{47547CF9-5B10-D24F-A8D7-45A9778164F7}" type="slidenum">
              <a:rPr lang="uk-UA" smtClean="0"/>
              <a:pPr/>
              <a:t>‹#›</a:t>
            </a:fld>
            <a:endParaRPr lang="uk-UA" dirty="0"/>
          </a:p>
        </p:txBody>
      </p:sp>
      <p:sp>
        <p:nvSpPr>
          <p:cNvPr id="7" name="Title 6"/>
          <p:cNvSpPr>
            <a:spLocks noGrp="1"/>
          </p:cNvSpPr>
          <p:nvPr>
            <p:ph type="title"/>
          </p:nvPr>
        </p:nvSpPr>
        <p:spPr>
          <a:xfrm>
            <a:off x="457200" y="342900"/>
            <a:ext cx="8229600" cy="960120"/>
          </a:xfrm>
        </p:spPr>
        <p:txBody>
          <a:bodyPr/>
          <a:lstStyle/>
          <a:p>
            <a:r>
              <a:rPr lang="en-US"/>
              <a:t>Click to edit Master title style</a:t>
            </a:r>
            <a:endParaRPr lang="en-US" dirty="0"/>
          </a:p>
        </p:txBody>
      </p:sp>
    </p:spTree>
    <p:extLst>
      <p:ext uri="{BB962C8B-B14F-4D97-AF65-F5344CB8AC3E}">
        <p14:creationId xmlns:p14="http://schemas.microsoft.com/office/powerpoint/2010/main" val="11469757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371600"/>
            <a:ext cx="2606040" cy="3108960"/>
          </a:xfrm>
        </p:spPr>
        <p:txBody>
          <a:bodyPr>
            <a:normAutofit/>
          </a:bodyPr>
          <a:lstStyle>
            <a:lvl1pPr marL="228600" indent="-228600">
              <a:buSzPct val="100000"/>
              <a:buFont typeface="Wingdings" charset="2"/>
              <a:buChar char="§"/>
              <a:defRPr sz="1800" baseline="0"/>
            </a:lvl1pPr>
            <a:lvl2pPr>
              <a:defRPr sz="1600" baseline="0"/>
            </a:lvl2pPr>
            <a:lvl3pPr>
              <a:defRPr sz="1600" baseline="0"/>
            </a:lvl3pPr>
            <a:lvl4pPr>
              <a:defRPr sz="1600" baseline="0"/>
            </a:lvl4pPr>
            <a:lvl5pPr>
              <a:defRPr sz="1600" baseline="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3268980" y="1371600"/>
            <a:ext cx="2606040" cy="3108960"/>
          </a:xfrm>
        </p:spPr>
        <p:txBody>
          <a:bodyPr>
            <a:normAutofit/>
          </a:bodyPr>
          <a:lstStyle>
            <a:lvl1pPr marL="228600" indent="-228600">
              <a:buSzPct val="100000"/>
              <a:buFont typeface="Wingdings" charset="2"/>
              <a:buChar char="§"/>
              <a:defRPr sz="1800" baseline="0"/>
            </a:lvl1pPr>
            <a:lvl2pPr>
              <a:defRPr sz="1600" baseline="0"/>
            </a:lvl2pPr>
            <a:lvl3pPr>
              <a:defRPr sz="1600" baseline="0"/>
            </a:lvl3pPr>
            <a:lvl4pPr>
              <a:defRPr sz="1600" baseline="0"/>
            </a:lvl4pPr>
            <a:lvl5pPr>
              <a:defRPr sz="1600" baseline="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0"/>
          </p:nvPr>
        </p:nvSpPr>
        <p:spPr/>
        <p:txBody>
          <a:bodyPr/>
          <a:lstStyle/>
          <a:p>
            <a:r>
              <a:rPr lang="en-US"/>
              <a:t>Scout l What is Roll-out? l August 2020</a:t>
            </a:r>
            <a:endParaRPr lang="fr-FR" dirty="0"/>
          </a:p>
        </p:txBody>
      </p:sp>
      <p:sp>
        <p:nvSpPr>
          <p:cNvPr id="6" name="Slide Number Placeholder 5"/>
          <p:cNvSpPr>
            <a:spLocks noGrp="1"/>
          </p:cNvSpPr>
          <p:nvPr>
            <p:ph type="sldNum" sz="quarter" idx="11"/>
          </p:nvPr>
        </p:nvSpPr>
        <p:spPr/>
        <p:txBody>
          <a:bodyPr/>
          <a:lstStyle/>
          <a:p>
            <a:fld id="{47547CF9-5B10-D24F-A8D7-45A9778164F7}" type="slidenum">
              <a:rPr lang="uk-UA" smtClean="0"/>
              <a:pPr/>
              <a:t>‹#›</a:t>
            </a:fld>
            <a:endParaRPr lang="uk-UA" dirty="0"/>
          </a:p>
        </p:txBody>
      </p:sp>
      <p:sp>
        <p:nvSpPr>
          <p:cNvPr id="7" name="Title 6"/>
          <p:cNvSpPr>
            <a:spLocks noGrp="1"/>
          </p:cNvSpPr>
          <p:nvPr>
            <p:ph type="title"/>
          </p:nvPr>
        </p:nvSpPr>
        <p:spPr>
          <a:xfrm>
            <a:off x="457200" y="342900"/>
            <a:ext cx="8229600" cy="960120"/>
          </a:xfrm>
        </p:spPr>
        <p:txBody>
          <a:bodyPr/>
          <a:lstStyle/>
          <a:p>
            <a:r>
              <a:rPr lang="en-US"/>
              <a:t>Click to edit Master title style</a:t>
            </a:r>
            <a:endParaRPr lang="en-US" dirty="0"/>
          </a:p>
        </p:txBody>
      </p:sp>
      <p:sp>
        <p:nvSpPr>
          <p:cNvPr id="11" name="Content Placeholder 3"/>
          <p:cNvSpPr>
            <a:spLocks noGrp="1"/>
          </p:cNvSpPr>
          <p:nvPr>
            <p:ph sz="half" idx="25"/>
          </p:nvPr>
        </p:nvSpPr>
        <p:spPr>
          <a:xfrm>
            <a:off x="6080760" y="1371600"/>
            <a:ext cx="2606040" cy="3108960"/>
          </a:xfrm>
        </p:spPr>
        <p:txBody>
          <a:bodyPr>
            <a:normAutofit/>
          </a:bodyPr>
          <a:lstStyle>
            <a:lvl1pPr marL="228600" indent="-228600">
              <a:buSzPct val="100000"/>
              <a:buFont typeface="Wingdings" charset="2"/>
              <a:buChar char="§"/>
              <a:defRPr sz="18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7930814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Text and 1 Picture">
    <p:spTree>
      <p:nvGrpSpPr>
        <p:cNvPr id="1" name=""/>
        <p:cNvGrpSpPr/>
        <p:nvPr/>
      </p:nvGrpSpPr>
      <p:grpSpPr>
        <a:xfrm>
          <a:off x="0" y="0"/>
          <a:ext cx="0" cy="0"/>
          <a:chOff x="0" y="0"/>
          <a:chExt cx="0" cy="0"/>
        </a:xfrm>
      </p:grpSpPr>
      <p:sp>
        <p:nvSpPr>
          <p:cNvPr id="8" name="Content Placeholder 2"/>
          <p:cNvSpPr>
            <a:spLocks noGrp="1"/>
          </p:cNvSpPr>
          <p:nvPr>
            <p:ph sz="half" idx="1"/>
          </p:nvPr>
        </p:nvSpPr>
        <p:spPr>
          <a:xfrm>
            <a:off x="457200" y="1371600"/>
            <a:ext cx="4023360" cy="3108960"/>
          </a:xfrm>
        </p:spPr>
        <p:txBody>
          <a:bodyPr>
            <a:normAutofit/>
          </a:bodyPr>
          <a:lstStyle>
            <a:lvl1pPr marL="228600" indent="-228600">
              <a:buSzPct val="100000"/>
              <a:buFont typeface="Wingdings" charset="2"/>
              <a:buChar char="§"/>
              <a:defRPr sz="1800" baseline="0"/>
            </a:lvl1pPr>
            <a:lvl2pPr>
              <a:defRPr sz="1600" baseline="0"/>
            </a:lvl2pPr>
            <a:lvl3pPr>
              <a:defRPr sz="1600" baseline="0"/>
            </a:lvl3pPr>
            <a:lvl4pPr>
              <a:defRPr sz="1600" baseline="0"/>
            </a:lvl4pPr>
            <a:lvl5pPr>
              <a:defRPr sz="1600" baseline="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2"/>
          <p:cNvSpPr>
            <a:spLocks noGrp="1"/>
          </p:cNvSpPr>
          <p:nvPr>
            <p:ph type="ftr" sz="quarter" idx="15"/>
          </p:nvPr>
        </p:nvSpPr>
        <p:spPr/>
        <p:txBody>
          <a:bodyPr/>
          <a:lstStyle/>
          <a:p>
            <a:r>
              <a:rPr lang="en-US"/>
              <a:t>Scout l What is Roll-out? l August 2020</a:t>
            </a:r>
            <a:endParaRPr lang="fr-FR" dirty="0"/>
          </a:p>
        </p:txBody>
      </p:sp>
      <p:sp>
        <p:nvSpPr>
          <p:cNvPr id="4" name="Slide Number Placeholder 3"/>
          <p:cNvSpPr>
            <a:spLocks noGrp="1"/>
          </p:cNvSpPr>
          <p:nvPr>
            <p:ph type="sldNum" sz="quarter" idx="16"/>
          </p:nvPr>
        </p:nvSpPr>
        <p:spPr/>
        <p:txBody>
          <a:bodyPr/>
          <a:lstStyle/>
          <a:p>
            <a:fld id="{47547CF9-5B10-D24F-A8D7-45A9778164F7}" type="slidenum">
              <a:rPr lang="uk-UA" smtClean="0"/>
              <a:pPr/>
              <a:t>‹#›</a:t>
            </a:fld>
            <a:endParaRPr lang="uk-UA" dirty="0"/>
          </a:p>
        </p:txBody>
      </p:sp>
      <p:sp>
        <p:nvSpPr>
          <p:cNvPr id="11" name="Content Placeholder 2"/>
          <p:cNvSpPr>
            <a:spLocks noGrp="1"/>
          </p:cNvSpPr>
          <p:nvPr>
            <p:ph sz="half" idx="17"/>
          </p:nvPr>
        </p:nvSpPr>
        <p:spPr>
          <a:xfrm>
            <a:off x="4663440" y="1371600"/>
            <a:ext cx="4023360" cy="2697480"/>
          </a:xfrm>
          <a:solidFill>
            <a:srgbClr val="CCCCCC"/>
          </a:solidFill>
        </p:spPr>
        <p:txBody>
          <a:bodyPr anchor="ctr" anchorCtr="0">
            <a:normAutofit/>
          </a:bodyPr>
          <a:lstStyle>
            <a:lvl1pPr marL="0" indent="0" algn="ctr">
              <a:spcBef>
                <a:spcPts val="0"/>
              </a:spcBef>
              <a:buNone/>
              <a:defRPr sz="1000" b="0" i="0" spc="30" baseline="0">
                <a:noFill/>
                <a:latin typeface="Arial" charset="0"/>
                <a:ea typeface="Arial" charset="0"/>
                <a:cs typeface="Arial" charset="0"/>
              </a:defRPr>
            </a:lvl1pPr>
            <a:lvl2pPr marL="0" indent="0" algn="ctr">
              <a:spcBef>
                <a:spcPts val="0"/>
              </a:spcBef>
              <a:buNone/>
              <a:defRPr sz="1200"/>
            </a:lvl2pPr>
            <a:lvl3pPr marL="0" indent="0" algn="ctr">
              <a:spcBef>
                <a:spcPts val="0"/>
              </a:spcBef>
              <a:buNone/>
              <a:defRPr sz="1200"/>
            </a:lvl3pPr>
            <a:lvl4pPr marL="0" indent="0" algn="ctr">
              <a:spcBef>
                <a:spcPts val="0"/>
              </a:spcBef>
              <a:buNone/>
              <a:defRPr sz="1200"/>
            </a:lvl4pPr>
            <a:lvl5pPr marL="0" indent="0" algn="ctr">
              <a:spcBef>
                <a:spcPts val="0"/>
              </a:spcBef>
              <a:buNone/>
              <a:defRPr sz="1200"/>
            </a:lvl5pPr>
            <a:lvl6pPr>
              <a:defRPr sz="1800"/>
            </a:lvl6pPr>
            <a:lvl7pPr>
              <a:defRPr sz="1800"/>
            </a:lvl7pPr>
            <a:lvl8pPr>
              <a:defRPr sz="1800"/>
            </a:lvl8pPr>
            <a:lvl9pPr>
              <a:defRPr sz="1800"/>
            </a:lvl9pPr>
          </a:lstStyle>
          <a:p>
            <a:pPr lvl="0"/>
            <a:r>
              <a:rPr lang="en-US"/>
              <a:t>Edit Master text styles</a:t>
            </a:r>
          </a:p>
        </p:txBody>
      </p:sp>
      <p:sp>
        <p:nvSpPr>
          <p:cNvPr id="5" name="Title 4"/>
          <p:cNvSpPr>
            <a:spLocks noGrp="1"/>
          </p:cNvSpPr>
          <p:nvPr>
            <p:ph type="title"/>
          </p:nvPr>
        </p:nvSpPr>
        <p:spPr>
          <a:xfrm>
            <a:off x="457200" y="342900"/>
            <a:ext cx="8229600" cy="960120"/>
          </a:xfrm>
        </p:spPr>
        <p:txBody>
          <a:bodyPr/>
          <a:lstStyle/>
          <a:p>
            <a:r>
              <a:rPr lang="en-US"/>
              <a:t>Click to edit Master title style</a:t>
            </a:r>
            <a:endParaRPr lang="en-US" dirty="0"/>
          </a:p>
        </p:txBody>
      </p:sp>
      <p:sp>
        <p:nvSpPr>
          <p:cNvPr id="10" name="Text Placeholder 7"/>
          <p:cNvSpPr>
            <a:spLocks noGrp="1"/>
          </p:cNvSpPr>
          <p:nvPr>
            <p:ph type="body" sz="quarter" idx="18" hasCustomPrompt="1"/>
          </p:nvPr>
        </p:nvSpPr>
        <p:spPr>
          <a:xfrm>
            <a:off x="4663440" y="4160520"/>
            <a:ext cx="4023360" cy="320040"/>
          </a:xfrm>
        </p:spPr>
        <p:txBody>
          <a:bodyPr anchor="t" anchorCtr="0">
            <a:noAutofit/>
          </a:bodyPr>
          <a:lstStyle>
            <a:lvl1pPr marL="0" indent="0">
              <a:spcBef>
                <a:spcPts val="0"/>
              </a:spcBef>
              <a:buFont typeface="Arial"/>
              <a:buNone/>
              <a:defRPr sz="1000" b="0" i="0" baseline="0">
                <a:solidFill>
                  <a:srgbClr val="000000"/>
                </a:solidFill>
                <a:latin typeface="+mn-lt"/>
              </a:defRPr>
            </a:lvl1pPr>
            <a:lvl2pPr marL="0" indent="0">
              <a:spcBef>
                <a:spcPts val="0"/>
              </a:spcBef>
              <a:buFont typeface="Arial"/>
              <a:buNone/>
              <a:defRPr sz="1000" b="1" i="0">
                <a:solidFill>
                  <a:srgbClr val="000000"/>
                </a:solidFill>
                <a:latin typeface="+mn-lt"/>
              </a:defRPr>
            </a:lvl2pPr>
            <a:lvl3pPr marL="0" indent="0">
              <a:spcBef>
                <a:spcPts val="0"/>
              </a:spcBef>
              <a:buFont typeface="Arial"/>
              <a:buNone/>
              <a:defRPr sz="1000" b="1" i="0">
                <a:solidFill>
                  <a:srgbClr val="000000"/>
                </a:solidFill>
                <a:latin typeface="+mn-lt"/>
              </a:defRPr>
            </a:lvl3pPr>
            <a:lvl4pPr marL="0" indent="0">
              <a:spcBef>
                <a:spcPts val="0"/>
              </a:spcBef>
              <a:buFont typeface="Arial"/>
              <a:buNone/>
              <a:defRPr sz="1000" b="1" i="0">
                <a:solidFill>
                  <a:srgbClr val="000000"/>
                </a:solidFill>
                <a:latin typeface="+mn-lt"/>
              </a:defRPr>
            </a:lvl4pPr>
            <a:lvl5pPr marL="0" indent="0">
              <a:spcBef>
                <a:spcPts val="0"/>
              </a:spcBef>
              <a:buFont typeface="Arial"/>
              <a:buNone/>
              <a:defRPr sz="1000" b="1" i="0">
                <a:solidFill>
                  <a:srgbClr val="000000"/>
                </a:solidFill>
                <a:latin typeface="+mn-lt"/>
              </a:defRPr>
            </a:lvl5pPr>
          </a:lstStyle>
          <a:p>
            <a:pPr lvl="0"/>
            <a:r>
              <a:rPr lang="en-US" dirty="0"/>
              <a:t>Optional picture caption</a:t>
            </a:r>
          </a:p>
        </p:txBody>
      </p:sp>
    </p:spTree>
    <p:extLst>
      <p:ext uri="{BB962C8B-B14F-4D97-AF65-F5344CB8AC3E}">
        <p14:creationId xmlns:p14="http://schemas.microsoft.com/office/powerpoint/2010/main" val="73834281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1 Picture">
    <p:spTree>
      <p:nvGrpSpPr>
        <p:cNvPr id="1" name=""/>
        <p:cNvGrpSpPr/>
        <p:nvPr/>
      </p:nvGrpSpPr>
      <p:grpSpPr>
        <a:xfrm>
          <a:off x="0" y="0"/>
          <a:ext cx="0" cy="0"/>
          <a:chOff x="0" y="0"/>
          <a:chExt cx="0" cy="0"/>
        </a:xfrm>
      </p:grpSpPr>
      <p:sp>
        <p:nvSpPr>
          <p:cNvPr id="2" name="Title 1"/>
          <p:cNvSpPr>
            <a:spLocks noGrp="1"/>
          </p:cNvSpPr>
          <p:nvPr>
            <p:ph type="title"/>
          </p:nvPr>
        </p:nvSpPr>
        <p:spPr>
          <a:xfrm>
            <a:off x="457200" y="342900"/>
            <a:ext cx="8229600" cy="960120"/>
          </a:xfrm>
        </p:spPr>
        <p:txBody>
          <a:bodyPr/>
          <a:lstStyle/>
          <a:p>
            <a:r>
              <a:rPr lang="en-US"/>
              <a:t>Click to edit Master title style</a:t>
            </a:r>
            <a:endParaRPr lang="en-US" dirty="0"/>
          </a:p>
        </p:txBody>
      </p:sp>
      <p:sp>
        <p:nvSpPr>
          <p:cNvPr id="6" name="Text Placeholder 7"/>
          <p:cNvSpPr>
            <a:spLocks noGrp="1"/>
          </p:cNvSpPr>
          <p:nvPr>
            <p:ph type="body" sz="quarter" idx="12" hasCustomPrompt="1"/>
          </p:nvPr>
        </p:nvSpPr>
        <p:spPr>
          <a:xfrm>
            <a:off x="457200" y="1371600"/>
            <a:ext cx="8229600" cy="361445"/>
          </a:xfrm>
        </p:spPr>
        <p:txBody>
          <a:bodyPr anchor="t" anchorCtr="0">
            <a:normAutofit/>
          </a:bodyPr>
          <a:lstStyle>
            <a:lvl1pPr marL="0" indent="0">
              <a:spcBef>
                <a:spcPts val="0"/>
              </a:spcBef>
              <a:buFont typeface="Arial"/>
              <a:buNone/>
              <a:defRPr sz="1800" b="0" baseline="0">
                <a:solidFill>
                  <a:srgbClr val="000000"/>
                </a:solidFill>
              </a:defRPr>
            </a:lvl1pPr>
            <a:lvl2pPr marL="0" indent="0">
              <a:spcBef>
                <a:spcPts val="0"/>
              </a:spcBef>
              <a:buFont typeface="Arial"/>
              <a:buNone/>
              <a:defRPr sz="1800" b="0">
                <a:solidFill>
                  <a:srgbClr val="000000"/>
                </a:solidFill>
              </a:defRPr>
            </a:lvl2pPr>
            <a:lvl3pPr marL="0" indent="0">
              <a:spcBef>
                <a:spcPts val="0"/>
              </a:spcBef>
              <a:buFont typeface="Arial"/>
              <a:buNone/>
              <a:defRPr sz="1800" b="0">
                <a:solidFill>
                  <a:srgbClr val="000000"/>
                </a:solidFill>
              </a:defRPr>
            </a:lvl3pPr>
            <a:lvl4pPr marL="0" indent="0">
              <a:spcBef>
                <a:spcPts val="0"/>
              </a:spcBef>
              <a:buFont typeface="Arial"/>
              <a:buNone/>
              <a:defRPr sz="1800" b="0">
                <a:solidFill>
                  <a:srgbClr val="000000"/>
                </a:solidFill>
              </a:defRPr>
            </a:lvl4pPr>
            <a:lvl5pPr marL="0" indent="0">
              <a:spcBef>
                <a:spcPts val="0"/>
              </a:spcBef>
              <a:buFont typeface="Arial"/>
              <a:buNone/>
              <a:defRPr sz="1800" b="0">
                <a:solidFill>
                  <a:srgbClr val="000000"/>
                </a:solidFill>
              </a:defRPr>
            </a:lvl5pPr>
          </a:lstStyle>
          <a:p>
            <a:pPr lvl="0"/>
            <a:r>
              <a:rPr lang="en-US" dirty="0"/>
              <a:t>Optional picture title</a:t>
            </a:r>
          </a:p>
        </p:txBody>
      </p:sp>
      <p:sp>
        <p:nvSpPr>
          <p:cNvPr id="3" name="Footer Placeholder 2"/>
          <p:cNvSpPr>
            <a:spLocks noGrp="1"/>
          </p:cNvSpPr>
          <p:nvPr>
            <p:ph type="ftr" sz="quarter" idx="14"/>
          </p:nvPr>
        </p:nvSpPr>
        <p:spPr/>
        <p:txBody>
          <a:bodyPr/>
          <a:lstStyle/>
          <a:p>
            <a:r>
              <a:rPr lang="en-US"/>
              <a:t>Scout l What is Roll-out? l August 2020</a:t>
            </a:r>
            <a:endParaRPr lang="fr-FR" dirty="0"/>
          </a:p>
        </p:txBody>
      </p:sp>
      <p:sp>
        <p:nvSpPr>
          <p:cNvPr id="4" name="Slide Number Placeholder 3"/>
          <p:cNvSpPr>
            <a:spLocks noGrp="1"/>
          </p:cNvSpPr>
          <p:nvPr>
            <p:ph type="sldNum" sz="quarter" idx="15"/>
          </p:nvPr>
        </p:nvSpPr>
        <p:spPr/>
        <p:txBody>
          <a:bodyPr/>
          <a:lstStyle/>
          <a:p>
            <a:fld id="{47547CF9-5B10-D24F-A8D7-45A9778164F7}" type="slidenum">
              <a:rPr lang="uk-UA" smtClean="0"/>
              <a:pPr/>
              <a:t>‹#›</a:t>
            </a:fld>
            <a:endParaRPr lang="uk-UA" dirty="0"/>
          </a:p>
        </p:txBody>
      </p:sp>
      <p:sp>
        <p:nvSpPr>
          <p:cNvPr id="9" name="Content Placeholder 2"/>
          <p:cNvSpPr>
            <a:spLocks noGrp="1"/>
          </p:cNvSpPr>
          <p:nvPr>
            <p:ph sz="half" idx="17"/>
          </p:nvPr>
        </p:nvSpPr>
        <p:spPr>
          <a:xfrm>
            <a:off x="457200" y="1786467"/>
            <a:ext cx="8229600" cy="2282613"/>
          </a:xfrm>
          <a:solidFill>
            <a:srgbClr val="CCCCCC"/>
          </a:solidFill>
        </p:spPr>
        <p:txBody>
          <a:bodyPr anchor="ctr" anchorCtr="0">
            <a:normAutofit/>
          </a:bodyPr>
          <a:lstStyle>
            <a:lvl1pPr marL="0" indent="0" algn="ctr">
              <a:spcBef>
                <a:spcPts val="0"/>
              </a:spcBef>
              <a:buNone/>
              <a:defRPr sz="1000" b="0" i="0" spc="30" baseline="0">
                <a:noFill/>
                <a:latin typeface="Arial" charset="0"/>
                <a:ea typeface="Arial" charset="0"/>
                <a:cs typeface="Arial" charset="0"/>
              </a:defRPr>
            </a:lvl1pPr>
            <a:lvl2pPr marL="0" indent="0" algn="ctr">
              <a:spcBef>
                <a:spcPts val="0"/>
              </a:spcBef>
              <a:buNone/>
              <a:defRPr sz="1200"/>
            </a:lvl2pPr>
            <a:lvl3pPr marL="0" indent="0" algn="ctr">
              <a:spcBef>
                <a:spcPts val="0"/>
              </a:spcBef>
              <a:buNone/>
              <a:defRPr sz="1200"/>
            </a:lvl3pPr>
            <a:lvl4pPr marL="0" indent="0" algn="ctr">
              <a:spcBef>
                <a:spcPts val="0"/>
              </a:spcBef>
              <a:buNone/>
              <a:defRPr sz="1200"/>
            </a:lvl4pPr>
            <a:lvl5pPr marL="0" indent="0" algn="ctr">
              <a:spcBef>
                <a:spcPts val="0"/>
              </a:spcBef>
              <a:buNone/>
              <a:defRPr sz="1200"/>
            </a:lvl5pPr>
            <a:lvl6pPr>
              <a:defRPr sz="1800"/>
            </a:lvl6pPr>
            <a:lvl7pPr>
              <a:defRPr sz="1800"/>
            </a:lvl7pPr>
            <a:lvl8pPr>
              <a:defRPr sz="1800"/>
            </a:lvl8pPr>
            <a:lvl9pPr>
              <a:defRPr sz="1800"/>
            </a:lvl9pPr>
          </a:lstStyle>
          <a:p>
            <a:pPr lvl="0"/>
            <a:r>
              <a:rPr lang="en-US"/>
              <a:t>Edit Master text styles</a:t>
            </a:r>
          </a:p>
        </p:txBody>
      </p:sp>
      <p:sp>
        <p:nvSpPr>
          <p:cNvPr id="12" name="Text Placeholder 7"/>
          <p:cNvSpPr>
            <a:spLocks noGrp="1"/>
          </p:cNvSpPr>
          <p:nvPr>
            <p:ph type="body" sz="quarter" idx="18" hasCustomPrompt="1"/>
          </p:nvPr>
        </p:nvSpPr>
        <p:spPr>
          <a:xfrm>
            <a:off x="457200" y="4160520"/>
            <a:ext cx="8229600" cy="320040"/>
          </a:xfrm>
        </p:spPr>
        <p:txBody>
          <a:bodyPr anchor="t" anchorCtr="0">
            <a:noAutofit/>
          </a:bodyPr>
          <a:lstStyle>
            <a:lvl1pPr marL="0" indent="0">
              <a:spcBef>
                <a:spcPts val="0"/>
              </a:spcBef>
              <a:buFont typeface="Arial"/>
              <a:buNone/>
              <a:defRPr sz="1000" b="0" i="0" baseline="0">
                <a:solidFill>
                  <a:srgbClr val="000000"/>
                </a:solidFill>
                <a:latin typeface="+mn-lt"/>
              </a:defRPr>
            </a:lvl1pPr>
            <a:lvl2pPr marL="0" indent="0">
              <a:spcBef>
                <a:spcPts val="0"/>
              </a:spcBef>
              <a:buFont typeface="Arial"/>
              <a:buNone/>
              <a:defRPr sz="1000" b="1" i="0">
                <a:solidFill>
                  <a:srgbClr val="000000"/>
                </a:solidFill>
                <a:latin typeface="+mn-lt"/>
              </a:defRPr>
            </a:lvl2pPr>
            <a:lvl3pPr marL="0" indent="0">
              <a:spcBef>
                <a:spcPts val="0"/>
              </a:spcBef>
              <a:buFont typeface="Arial"/>
              <a:buNone/>
              <a:defRPr sz="1000" b="1" i="0">
                <a:solidFill>
                  <a:srgbClr val="000000"/>
                </a:solidFill>
                <a:latin typeface="+mn-lt"/>
              </a:defRPr>
            </a:lvl3pPr>
            <a:lvl4pPr marL="0" indent="0">
              <a:spcBef>
                <a:spcPts val="0"/>
              </a:spcBef>
              <a:buFont typeface="Arial"/>
              <a:buNone/>
              <a:defRPr sz="1000" b="1" i="0">
                <a:solidFill>
                  <a:srgbClr val="000000"/>
                </a:solidFill>
                <a:latin typeface="+mn-lt"/>
              </a:defRPr>
            </a:lvl4pPr>
            <a:lvl5pPr marL="0" indent="0">
              <a:spcBef>
                <a:spcPts val="0"/>
              </a:spcBef>
              <a:buFont typeface="Arial"/>
              <a:buNone/>
              <a:defRPr sz="1000" b="1" i="0">
                <a:solidFill>
                  <a:srgbClr val="000000"/>
                </a:solidFill>
                <a:latin typeface="+mn-lt"/>
              </a:defRPr>
            </a:lvl5pPr>
          </a:lstStyle>
          <a:p>
            <a:pPr lvl="0"/>
            <a:r>
              <a:rPr lang="en-US" dirty="0"/>
              <a:t>Optional picture caption</a:t>
            </a:r>
          </a:p>
        </p:txBody>
      </p:sp>
    </p:spTree>
    <p:extLst>
      <p:ext uri="{BB962C8B-B14F-4D97-AF65-F5344CB8AC3E}">
        <p14:creationId xmlns:p14="http://schemas.microsoft.com/office/powerpoint/2010/main" val="26620877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2 Pictures">
    <p:spTree>
      <p:nvGrpSpPr>
        <p:cNvPr id="1" name=""/>
        <p:cNvGrpSpPr/>
        <p:nvPr/>
      </p:nvGrpSpPr>
      <p:grpSpPr>
        <a:xfrm>
          <a:off x="0" y="0"/>
          <a:ext cx="0" cy="0"/>
          <a:chOff x="0" y="0"/>
          <a:chExt cx="0" cy="0"/>
        </a:xfrm>
      </p:grpSpPr>
      <p:sp>
        <p:nvSpPr>
          <p:cNvPr id="2" name="Title 1"/>
          <p:cNvSpPr>
            <a:spLocks noGrp="1"/>
          </p:cNvSpPr>
          <p:nvPr>
            <p:ph type="title"/>
          </p:nvPr>
        </p:nvSpPr>
        <p:spPr>
          <a:xfrm>
            <a:off x="457200" y="342900"/>
            <a:ext cx="8229600" cy="960120"/>
          </a:xfrm>
        </p:spPr>
        <p:txBody>
          <a:bodyPr/>
          <a:lstStyle/>
          <a:p>
            <a:r>
              <a:rPr lang="en-US"/>
              <a:t>Click to edit Master title style</a:t>
            </a:r>
            <a:endParaRPr lang="en-US" dirty="0"/>
          </a:p>
        </p:txBody>
      </p:sp>
      <p:sp>
        <p:nvSpPr>
          <p:cNvPr id="3" name="Footer Placeholder 2"/>
          <p:cNvSpPr>
            <a:spLocks noGrp="1"/>
          </p:cNvSpPr>
          <p:nvPr>
            <p:ph type="ftr" sz="quarter" idx="16"/>
          </p:nvPr>
        </p:nvSpPr>
        <p:spPr/>
        <p:txBody>
          <a:bodyPr/>
          <a:lstStyle/>
          <a:p>
            <a:r>
              <a:rPr lang="en-US"/>
              <a:t>Scout l What is Roll-out? l August 2020</a:t>
            </a:r>
            <a:endParaRPr lang="fr-FR" dirty="0"/>
          </a:p>
        </p:txBody>
      </p:sp>
      <p:sp>
        <p:nvSpPr>
          <p:cNvPr id="4" name="Slide Number Placeholder 3"/>
          <p:cNvSpPr>
            <a:spLocks noGrp="1"/>
          </p:cNvSpPr>
          <p:nvPr>
            <p:ph type="sldNum" sz="quarter" idx="17"/>
          </p:nvPr>
        </p:nvSpPr>
        <p:spPr/>
        <p:txBody>
          <a:bodyPr/>
          <a:lstStyle/>
          <a:p>
            <a:fld id="{47547CF9-5B10-D24F-A8D7-45A9778164F7}" type="slidenum">
              <a:rPr lang="uk-UA" smtClean="0"/>
              <a:pPr/>
              <a:t>‹#›</a:t>
            </a:fld>
            <a:endParaRPr lang="uk-UA" dirty="0"/>
          </a:p>
        </p:txBody>
      </p:sp>
      <p:sp>
        <p:nvSpPr>
          <p:cNvPr id="14" name="Content Placeholder 2"/>
          <p:cNvSpPr>
            <a:spLocks noGrp="1"/>
          </p:cNvSpPr>
          <p:nvPr>
            <p:ph sz="half" idx="18"/>
          </p:nvPr>
        </p:nvSpPr>
        <p:spPr>
          <a:xfrm>
            <a:off x="457200" y="1786467"/>
            <a:ext cx="4023360" cy="2282613"/>
          </a:xfrm>
          <a:solidFill>
            <a:srgbClr val="CCCCCC"/>
          </a:solidFill>
        </p:spPr>
        <p:txBody>
          <a:bodyPr anchor="ctr" anchorCtr="0">
            <a:normAutofit/>
          </a:bodyPr>
          <a:lstStyle>
            <a:lvl1pPr marL="0" indent="0" algn="ctr">
              <a:spcBef>
                <a:spcPts val="0"/>
              </a:spcBef>
              <a:buNone/>
              <a:defRPr sz="1000" b="0" i="0" spc="30" baseline="0">
                <a:noFill/>
                <a:latin typeface="Arial" charset="0"/>
                <a:ea typeface="Arial" charset="0"/>
                <a:cs typeface="Arial" charset="0"/>
              </a:defRPr>
            </a:lvl1pPr>
            <a:lvl2pPr marL="0" indent="0" algn="ctr">
              <a:spcBef>
                <a:spcPts val="0"/>
              </a:spcBef>
              <a:buNone/>
              <a:defRPr sz="1200"/>
            </a:lvl2pPr>
            <a:lvl3pPr marL="0" indent="0" algn="ctr">
              <a:spcBef>
                <a:spcPts val="0"/>
              </a:spcBef>
              <a:buNone/>
              <a:defRPr sz="1200"/>
            </a:lvl3pPr>
            <a:lvl4pPr marL="0" indent="0" algn="ctr">
              <a:spcBef>
                <a:spcPts val="0"/>
              </a:spcBef>
              <a:buNone/>
              <a:defRPr sz="1200"/>
            </a:lvl4pPr>
            <a:lvl5pPr marL="0" indent="0" algn="ctr">
              <a:spcBef>
                <a:spcPts val="0"/>
              </a:spcBef>
              <a:buNone/>
              <a:defRPr sz="1200"/>
            </a:lvl5pPr>
            <a:lvl6pPr>
              <a:defRPr sz="1800"/>
            </a:lvl6pPr>
            <a:lvl7pPr>
              <a:defRPr sz="1800"/>
            </a:lvl7pPr>
            <a:lvl8pPr>
              <a:defRPr sz="1800"/>
            </a:lvl8pPr>
            <a:lvl9pPr>
              <a:defRPr sz="1800"/>
            </a:lvl9pPr>
          </a:lstStyle>
          <a:p>
            <a:pPr lvl="0"/>
            <a:r>
              <a:rPr lang="en-US"/>
              <a:t>Edit Master text styles</a:t>
            </a:r>
          </a:p>
        </p:txBody>
      </p:sp>
      <p:sp>
        <p:nvSpPr>
          <p:cNvPr id="15" name="Content Placeholder 2"/>
          <p:cNvSpPr>
            <a:spLocks noGrp="1"/>
          </p:cNvSpPr>
          <p:nvPr>
            <p:ph sz="half" idx="19"/>
          </p:nvPr>
        </p:nvSpPr>
        <p:spPr>
          <a:xfrm>
            <a:off x="4663440" y="1786467"/>
            <a:ext cx="4023360" cy="2282613"/>
          </a:xfrm>
          <a:solidFill>
            <a:srgbClr val="CCCCCC"/>
          </a:solidFill>
        </p:spPr>
        <p:txBody>
          <a:bodyPr anchor="ctr" anchorCtr="0">
            <a:normAutofit/>
          </a:bodyPr>
          <a:lstStyle>
            <a:lvl1pPr marL="0" indent="0" algn="ctr">
              <a:spcBef>
                <a:spcPts val="0"/>
              </a:spcBef>
              <a:buNone/>
              <a:defRPr sz="1000" b="0" i="0" spc="30" baseline="0">
                <a:noFill/>
                <a:latin typeface="Arial" charset="0"/>
                <a:ea typeface="Arial" charset="0"/>
                <a:cs typeface="Arial" charset="0"/>
              </a:defRPr>
            </a:lvl1pPr>
            <a:lvl2pPr marL="0" indent="0" algn="ctr">
              <a:spcBef>
                <a:spcPts val="0"/>
              </a:spcBef>
              <a:buNone/>
              <a:defRPr sz="1200"/>
            </a:lvl2pPr>
            <a:lvl3pPr marL="0" indent="0" algn="ctr">
              <a:spcBef>
                <a:spcPts val="0"/>
              </a:spcBef>
              <a:buNone/>
              <a:defRPr sz="1200"/>
            </a:lvl3pPr>
            <a:lvl4pPr marL="0" indent="0" algn="ctr">
              <a:spcBef>
                <a:spcPts val="0"/>
              </a:spcBef>
              <a:buNone/>
              <a:defRPr sz="1200"/>
            </a:lvl4pPr>
            <a:lvl5pPr marL="0" indent="0" algn="ctr">
              <a:spcBef>
                <a:spcPts val="0"/>
              </a:spcBef>
              <a:buNone/>
              <a:defRPr sz="1200"/>
            </a:lvl5pPr>
            <a:lvl6pPr>
              <a:defRPr sz="1800"/>
            </a:lvl6pPr>
            <a:lvl7pPr>
              <a:defRPr sz="1800"/>
            </a:lvl7pPr>
            <a:lvl8pPr>
              <a:defRPr sz="1800"/>
            </a:lvl8pPr>
            <a:lvl9pPr>
              <a:defRPr sz="1800"/>
            </a:lvl9pPr>
          </a:lstStyle>
          <a:p>
            <a:pPr lvl="0"/>
            <a:r>
              <a:rPr lang="en-US"/>
              <a:t>Edit Master text styles</a:t>
            </a:r>
          </a:p>
        </p:txBody>
      </p:sp>
      <p:sp>
        <p:nvSpPr>
          <p:cNvPr id="10" name="Text Placeholder 7"/>
          <p:cNvSpPr>
            <a:spLocks noGrp="1"/>
          </p:cNvSpPr>
          <p:nvPr>
            <p:ph type="body" sz="quarter" idx="12" hasCustomPrompt="1"/>
          </p:nvPr>
        </p:nvSpPr>
        <p:spPr>
          <a:xfrm>
            <a:off x="457200" y="1371600"/>
            <a:ext cx="8229600" cy="361445"/>
          </a:xfrm>
        </p:spPr>
        <p:txBody>
          <a:bodyPr anchor="t" anchorCtr="0">
            <a:normAutofit/>
          </a:bodyPr>
          <a:lstStyle>
            <a:lvl1pPr marL="0" indent="0">
              <a:spcBef>
                <a:spcPts val="0"/>
              </a:spcBef>
              <a:buFont typeface="Arial"/>
              <a:buNone/>
              <a:defRPr sz="1800" b="0" baseline="0">
                <a:solidFill>
                  <a:srgbClr val="000000"/>
                </a:solidFill>
              </a:defRPr>
            </a:lvl1pPr>
            <a:lvl2pPr marL="0" indent="0">
              <a:spcBef>
                <a:spcPts val="0"/>
              </a:spcBef>
              <a:buFont typeface="Arial"/>
              <a:buNone/>
              <a:defRPr sz="1800" b="0">
                <a:solidFill>
                  <a:srgbClr val="000000"/>
                </a:solidFill>
              </a:defRPr>
            </a:lvl2pPr>
            <a:lvl3pPr marL="0" indent="0">
              <a:spcBef>
                <a:spcPts val="0"/>
              </a:spcBef>
              <a:buFont typeface="Arial"/>
              <a:buNone/>
              <a:defRPr sz="1800" b="0">
                <a:solidFill>
                  <a:srgbClr val="000000"/>
                </a:solidFill>
              </a:defRPr>
            </a:lvl3pPr>
            <a:lvl4pPr marL="0" indent="0">
              <a:spcBef>
                <a:spcPts val="0"/>
              </a:spcBef>
              <a:buFont typeface="Arial"/>
              <a:buNone/>
              <a:defRPr sz="1800" b="0">
                <a:solidFill>
                  <a:srgbClr val="000000"/>
                </a:solidFill>
              </a:defRPr>
            </a:lvl4pPr>
            <a:lvl5pPr marL="0" indent="0">
              <a:spcBef>
                <a:spcPts val="0"/>
              </a:spcBef>
              <a:buFont typeface="Arial"/>
              <a:buNone/>
              <a:defRPr sz="1800" b="0">
                <a:solidFill>
                  <a:srgbClr val="000000"/>
                </a:solidFill>
              </a:defRPr>
            </a:lvl5pPr>
          </a:lstStyle>
          <a:p>
            <a:pPr lvl="0"/>
            <a:r>
              <a:rPr lang="en-US" dirty="0"/>
              <a:t>Optional picture title</a:t>
            </a:r>
          </a:p>
        </p:txBody>
      </p:sp>
      <p:sp>
        <p:nvSpPr>
          <p:cNvPr id="17" name="Text Placeholder 7"/>
          <p:cNvSpPr>
            <a:spLocks noGrp="1"/>
          </p:cNvSpPr>
          <p:nvPr>
            <p:ph type="body" sz="quarter" idx="20" hasCustomPrompt="1"/>
          </p:nvPr>
        </p:nvSpPr>
        <p:spPr>
          <a:xfrm>
            <a:off x="457200" y="4160520"/>
            <a:ext cx="4023360" cy="320040"/>
          </a:xfrm>
        </p:spPr>
        <p:txBody>
          <a:bodyPr anchor="t" anchorCtr="0">
            <a:noAutofit/>
          </a:bodyPr>
          <a:lstStyle>
            <a:lvl1pPr marL="0" indent="0">
              <a:spcBef>
                <a:spcPts val="0"/>
              </a:spcBef>
              <a:buFont typeface="Arial"/>
              <a:buNone/>
              <a:defRPr sz="1000" b="0" i="0" baseline="0">
                <a:solidFill>
                  <a:srgbClr val="000000"/>
                </a:solidFill>
                <a:latin typeface="+mn-lt"/>
              </a:defRPr>
            </a:lvl1pPr>
            <a:lvl2pPr marL="0" indent="0">
              <a:spcBef>
                <a:spcPts val="0"/>
              </a:spcBef>
              <a:buFont typeface="Arial"/>
              <a:buNone/>
              <a:defRPr sz="1000" b="1" i="0">
                <a:solidFill>
                  <a:srgbClr val="000000"/>
                </a:solidFill>
                <a:latin typeface="+mn-lt"/>
              </a:defRPr>
            </a:lvl2pPr>
            <a:lvl3pPr marL="0" indent="0">
              <a:spcBef>
                <a:spcPts val="0"/>
              </a:spcBef>
              <a:buFont typeface="Arial"/>
              <a:buNone/>
              <a:defRPr sz="1000" b="1" i="0">
                <a:solidFill>
                  <a:srgbClr val="000000"/>
                </a:solidFill>
                <a:latin typeface="+mn-lt"/>
              </a:defRPr>
            </a:lvl3pPr>
            <a:lvl4pPr marL="0" indent="0">
              <a:spcBef>
                <a:spcPts val="0"/>
              </a:spcBef>
              <a:buFont typeface="Arial"/>
              <a:buNone/>
              <a:defRPr sz="1000" b="1" i="0">
                <a:solidFill>
                  <a:srgbClr val="000000"/>
                </a:solidFill>
                <a:latin typeface="+mn-lt"/>
              </a:defRPr>
            </a:lvl4pPr>
            <a:lvl5pPr marL="0" indent="0">
              <a:spcBef>
                <a:spcPts val="0"/>
              </a:spcBef>
              <a:buFont typeface="Arial"/>
              <a:buNone/>
              <a:defRPr sz="1000" b="1" i="0">
                <a:solidFill>
                  <a:srgbClr val="000000"/>
                </a:solidFill>
                <a:latin typeface="+mn-lt"/>
              </a:defRPr>
            </a:lvl5pPr>
          </a:lstStyle>
          <a:p>
            <a:pPr lvl="0"/>
            <a:r>
              <a:rPr lang="en-US" dirty="0"/>
              <a:t>Optional picture caption</a:t>
            </a:r>
          </a:p>
        </p:txBody>
      </p:sp>
      <p:sp>
        <p:nvSpPr>
          <p:cNvPr id="18" name="Text Placeholder 7"/>
          <p:cNvSpPr>
            <a:spLocks noGrp="1"/>
          </p:cNvSpPr>
          <p:nvPr>
            <p:ph type="body" sz="quarter" idx="21" hasCustomPrompt="1"/>
          </p:nvPr>
        </p:nvSpPr>
        <p:spPr>
          <a:xfrm>
            <a:off x="4663440" y="4160520"/>
            <a:ext cx="4023360" cy="320040"/>
          </a:xfrm>
        </p:spPr>
        <p:txBody>
          <a:bodyPr anchor="t" anchorCtr="0">
            <a:noAutofit/>
          </a:bodyPr>
          <a:lstStyle>
            <a:lvl1pPr marL="0" indent="0">
              <a:spcBef>
                <a:spcPts val="0"/>
              </a:spcBef>
              <a:buFont typeface="Arial"/>
              <a:buNone/>
              <a:defRPr sz="1000" b="0" i="0" baseline="0">
                <a:solidFill>
                  <a:srgbClr val="000000"/>
                </a:solidFill>
                <a:latin typeface="+mn-lt"/>
              </a:defRPr>
            </a:lvl1pPr>
            <a:lvl2pPr marL="0" indent="0">
              <a:spcBef>
                <a:spcPts val="0"/>
              </a:spcBef>
              <a:buFont typeface="Arial"/>
              <a:buNone/>
              <a:defRPr sz="1000" b="1" i="0">
                <a:solidFill>
                  <a:srgbClr val="000000"/>
                </a:solidFill>
                <a:latin typeface="+mn-lt"/>
              </a:defRPr>
            </a:lvl2pPr>
            <a:lvl3pPr marL="0" indent="0">
              <a:spcBef>
                <a:spcPts val="0"/>
              </a:spcBef>
              <a:buFont typeface="Arial"/>
              <a:buNone/>
              <a:defRPr sz="1000" b="1" i="0">
                <a:solidFill>
                  <a:srgbClr val="000000"/>
                </a:solidFill>
                <a:latin typeface="+mn-lt"/>
              </a:defRPr>
            </a:lvl3pPr>
            <a:lvl4pPr marL="0" indent="0">
              <a:spcBef>
                <a:spcPts val="0"/>
              </a:spcBef>
              <a:buFont typeface="Arial"/>
              <a:buNone/>
              <a:defRPr sz="1000" b="1" i="0">
                <a:solidFill>
                  <a:srgbClr val="000000"/>
                </a:solidFill>
                <a:latin typeface="+mn-lt"/>
              </a:defRPr>
            </a:lvl4pPr>
            <a:lvl5pPr marL="0" indent="0">
              <a:spcBef>
                <a:spcPts val="0"/>
              </a:spcBef>
              <a:buFont typeface="Arial"/>
              <a:buNone/>
              <a:defRPr sz="1000" b="1" i="0">
                <a:solidFill>
                  <a:srgbClr val="000000"/>
                </a:solidFill>
                <a:latin typeface="+mn-lt"/>
              </a:defRPr>
            </a:lvl5pPr>
          </a:lstStyle>
          <a:p>
            <a:pPr lvl="0"/>
            <a:r>
              <a:rPr lang="en-US" dirty="0"/>
              <a:t>Optional picture caption</a:t>
            </a:r>
          </a:p>
        </p:txBody>
      </p:sp>
    </p:spTree>
    <p:extLst>
      <p:ext uri="{BB962C8B-B14F-4D97-AF65-F5344CB8AC3E}">
        <p14:creationId xmlns:p14="http://schemas.microsoft.com/office/powerpoint/2010/main" val="362364525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3.xml"/><Relationship Id="rId30"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6"/>
            </p:custDataLst>
            <p:extLst>
              <p:ext uri="{D42A27DB-BD31-4B8C-83A1-F6EECF244321}">
                <p14:modId xmlns:p14="http://schemas.microsoft.com/office/powerpoint/2010/main" val="25838377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37" name="think-cell Slide" r:id="rId28" imgW="415" imgH="416" progId="TCLayout.ActiveDocument.1">
                  <p:embed/>
                </p:oleObj>
              </mc:Choice>
              <mc:Fallback>
                <p:oleObj name="think-cell Slide" r:id="rId28" imgW="415" imgH="416" progId="TCLayout.ActiveDocument.1">
                  <p:embed/>
                  <p:pic>
                    <p:nvPicPr>
                      <p:cNvPr id="0" name=""/>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27"/>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endParaRPr lang="en-US" sz="2400" b="1" i="0" baseline="0" dirty="0">
              <a:latin typeface="Arial Black" panose="020B0A04020102020204" pitchFamily="34" charset="0"/>
              <a:sym typeface="Arial Black" panose="020B0A04020102020204" pitchFamily="34" charset="0"/>
            </a:endParaRPr>
          </a:p>
        </p:txBody>
      </p:sp>
      <p:grpSp>
        <p:nvGrpSpPr>
          <p:cNvPr id="7" name="Group 6"/>
          <p:cNvGrpSpPr/>
          <p:nvPr userDrawn="1"/>
        </p:nvGrpSpPr>
        <p:grpSpPr>
          <a:xfrm>
            <a:off x="-137160" y="-137160"/>
            <a:ext cx="9418320" cy="5422392"/>
            <a:chOff x="-137160" y="-137160"/>
            <a:chExt cx="9418320" cy="5422392"/>
          </a:xfrm>
        </p:grpSpPr>
        <p:cxnSp>
          <p:nvCxnSpPr>
            <p:cNvPr id="12" name="Straight Connector 11"/>
            <p:cNvCxnSpPr/>
            <p:nvPr userDrawn="1"/>
          </p:nvCxnSpPr>
          <p:spPr>
            <a:xfrm flipV="1">
              <a:off x="4572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userDrawn="1"/>
          </p:nvCxnSpPr>
          <p:spPr>
            <a:xfrm flipV="1">
              <a:off x="86868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flipV="1">
              <a:off x="4572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flipV="1">
              <a:off x="86868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flipV="1">
              <a:off x="448056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flipV="1">
              <a:off x="448056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flipV="1">
              <a:off x="466344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flipV="1">
              <a:off x="466344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9189720" y="1371375"/>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9189720" y="4480560"/>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137160" y="1371375"/>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137160" y="4480560"/>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9189720" y="342900"/>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137160" y="342900"/>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grpSp>
      <p:sp>
        <p:nvSpPr>
          <p:cNvPr id="2" name="Title Placeholder 1"/>
          <p:cNvSpPr>
            <a:spLocks noGrp="1"/>
          </p:cNvSpPr>
          <p:nvPr userDrawn="1">
            <p:ph type="title"/>
          </p:nvPr>
        </p:nvSpPr>
        <p:spPr>
          <a:xfrm>
            <a:off x="457200" y="342900"/>
            <a:ext cx="8229600" cy="960919"/>
          </a:xfrm>
          <a:prstGeom prst="rect">
            <a:avLst/>
          </a:prstGeom>
          <a:noFill/>
        </p:spPr>
        <p:txBody>
          <a:bodyPr vert="horz" lIns="0" tIns="0" rIns="0" bIns="0" rtlCol="0" anchor="t" anchorCtr="0">
            <a:normAutofit/>
          </a:bodyPr>
          <a:lstStyle/>
          <a:p>
            <a:r>
              <a:rPr lang="en-US" dirty="0"/>
              <a:t>Click to edit Master title style</a:t>
            </a:r>
          </a:p>
        </p:txBody>
      </p:sp>
      <p:sp>
        <p:nvSpPr>
          <p:cNvPr id="3" name="Text Placeholder 2"/>
          <p:cNvSpPr>
            <a:spLocks noGrp="1"/>
          </p:cNvSpPr>
          <p:nvPr userDrawn="1">
            <p:ph type="body" idx="1"/>
          </p:nvPr>
        </p:nvSpPr>
        <p:spPr>
          <a:xfrm>
            <a:off x="457200" y="1371375"/>
            <a:ext cx="8229600" cy="3105375"/>
          </a:xfrm>
          <a:prstGeom prst="rect">
            <a:avLst/>
          </a:prstGeom>
        </p:spPr>
        <p:txBody>
          <a:bodyPr vert="horz" lIns="0" tIns="0" rIns="0" bIns="0" spcCol="18288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3"/>
          <p:cNvSpPr>
            <a:spLocks noGrp="1"/>
          </p:cNvSpPr>
          <p:nvPr userDrawn="1">
            <p:ph type="sldNum" sz="quarter" idx="4"/>
          </p:nvPr>
        </p:nvSpPr>
        <p:spPr>
          <a:xfrm>
            <a:off x="459422" y="4781550"/>
            <a:ext cx="228600" cy="228600"/>
          </a:xfrm>
          <a:prstGeom prst="rect">
            <a:avLst/>
          </a:prstGeom>
        </p:spPr>
        <p:txBody>
          <a:bodyPr vert="horz" lIns="0" tIns="0" rIns="0" bIns="0" rtlCol="0" anchor="t" anchorCtr="0"/>
          <a:lstStyle>
            <a:lvl1pPr>
              <a:defRPr lang="en-US" sz="900" b="0" i="0" spc="0" baseline="0" smtClean="0">
                <a:solidFill>
                  <a:srgbClr val="7F7F7F"/>
                </a:solidFill>
                <a:latin typeface="+mn-lt"/>
              </a:defRPr>
            </a:lvl1pPr>
          </a:lstStyle>
          <a:p>
            <a:fld id="{47547CF9-5B10-D24F-A8D7-45A9778164F7}" type="slidenum">
              <a:rPr lang="uk-UA" smtClean="0"/>
              <a:pPr/>
              <a:t>‹#›</a:t>
            </a:fld>
            <a:endParaRPr lang="uk-UA" dirty="0"/>
          </a:p>
        </p:txBody>
      </p:sp>
      <p:sp>
        <p:nvSpPr>
          <p:cNvPr id="5" name="Footer Placeholder 4"/>
          <p:cNvSpPr>
            <a:spLocks noGrp="1"/>
          </p:cNvSpPr>
          <p:nvPr userDrawn="1">
            <p:ph type="ftr" sz="quarter" idx="3"/>
          </p:nvPr>
        </p:nvSpPr>
        <p:spPr>
          <a:xfrm>
            <a:off x="688022" y="4781550"/>
            <a:ext cx="3792538" cy="228600"/>
          </a:xfrm>
          <a:prstGeom prst="rect">
            <a:avLst/>
          </a:prstGeom>
          <a:noFill/>
        </p:spPr>
        <p:txBody>
          <a:bodyPr wrap="square" lIns="0" tIns="0" rIns="0" bIns="0" rtlCol="0" anchor="t" anchorCtr="0">
            <a:noAutofit/>
          </a:bodyPr>
          <a:lstStyle>
            <a:lvl1pPr>
              <a:defRPr lang="en-US" sz="900" b="0" i="0" spc="0" baseline="0" dirty="0">
                <a:solidFill>
                  <a:srgbClr val="7F7F7F"/>
                </a:solidFill>
                <a:latin typeface="+mn-lt"/>
              </a:defRPr>
            </a:lvl1pPr>
          </a:lstStyle>
          <a:p>
            <a:r>
              <a:rPr lang="en-US"/>
              <a:t>Scout l What is Roll-out? l August 2020</a:t>
            </a:r>
            <a:endParaRPr lang="fr-FR" dirty="0"/>
          </a:p>
        </p:txBody>
      </p:sp>
      <p:pic>
        <p:nvPicPr>
          <p:cNvPr id="26" name="Picture 25">
            <a:extLst>
              <a:ext uri="{FF2B5EF4-FFF2-40B4-BE49-F238E27FC236}">
                <a16:creationId xmlns:a16="http://schemas.microsoft.com/office/drawing/2014/main" id="{F5F8178D-BECF-194D-A4A6-14876CABB04C}"/>
              </a:ext>
            </a:extLst>
          </p:cNvPr>
          <p:cNvPicPr>
            <a:picLocks noChangeAspect="1"/>
          </p:cNvPicPr>
          <p:nvPr userDrawn="1"/>
        </p:nvPicPr>
        <p:blipFill>
          <a:blip r:embed="rId30">
            <a:extLst>
              <a:ext uri="{28A0092B-C50C-407E-A947-70E740481C1C}">
                <a14:useLocalDpi xmlns:a14="http://schemas.microsoft.com/office/drawing/2010/main" val="0"/>
              </a:ext>
            </a:extLst>
          </a:blip>
          <a:stretch>
            <a:fillRect/>
          </a:stretch>
        </p:blipFill>
        <p:spPr>
          <a:xfrm>
            <a:off x="7226786" y="4726757"/>
            <a:ext cx="1463040" cy="177483"/>
          </a:xfrm>
          <a:prstGeom prst="rect">
            <a:avLst/>
          </a:prstGeom>
        </p:spPr>
      </p:pic>
    </p:spTree>
    <p:extLst>
      <p:ext uri="{BB962C8B-B14F-4D97-AF65-F5344CB8AC3E}">
        <p14:creationId xmlns:p14="http://schemas.microsoft.com/office/powerpoint/2010/main" val="1686022313"/>
      </p:ext>
    </p:extLst>
  </p:cSld>
  <p:clrMap bg1="lt1" tx1="dk1" bg2="lt2" tx2="dk2" accent1="accent1" accent2="accent2" accent3="accent3" accent4="accent4" accent5="accent5" accent6="accent6" hlink="hlink" folHlink="folHlink"/>
  <p:sldLayoutIdLst>
    <p:sldLayoutId id="2147483649" r:id="rId1"/>
    <p:sldLayoutId id="2147483674" r:id="rId2"/>
    <p:sldLayoutId id="2147483662" r:id="rId3"/>
    <p:sldLayoutId id="2147483650" r:id="rId4"/>
    <p:sldLayoutId id="2147483652" r:id="rId5"/>
    <p:sldLayoutId id="2147483676" r:id="rId6"/>
    <p:sldLayoutId id="2147483667" r:id="rId7"/>
    <p:sldLayoutId id="2147483663" r:id="rId8"/>
    <p:sldLayoutId id="2147483664" r:id="rId9"/>
    <p:sldLayoutId id="2147483665" r:id="rId10"/>
    <p:sldLayoutId id="2147483666" r:id="rId11"/>
    <p:sldLayoutId id="2147483680" r:id="rId12"/>
    <p:sldLayoutId id="2147483677" r:id="rId13"/>
    <p:sldLayoutId id="2147483651" r:id="rId14"/>
    <p:sldLayoutId id="2147483673" r:id="rId15"/>
    <p:sldLayoutId id="2147483670" r:id="rId16"/>
    <p:sldLayoutId id="2147483671" r:id="rId17"/>
    <p:sldLayoutId id="2147483669" r:id="rId18"/>
    <p:sldLayoutId id="2147483668" r:id="rId19"/>
    <p:sldLayoutId id="2147483685" r:id="rId20"/>
    <p:sldLayoutId id="2147483686" r:id="rId21"/>
    <p:sldLayoutId id="2147483687" r:id="rId22"/>
    <p:sldLayoutId id="2147483688" r:id="rId23"/>
  </p:sldLayoutIdLst>
  <p:hf hdr="0" dt="0"/>
  <p:txStyles>
    <p:titleStyle>
      <a:lvl1pPr algn="l" defTabSz="914400" rtl="0" eaLnBrk="1" latinLnBrk="0" hangingPunct="1">
        <a:lnSpc>
          <a:spcPct val="90000"/>
        </a:lnSpc>
        <a:spcBef>
          <a:spcPct val="0"/>
        </a:spcBef>
        <a:buNone/>
        <a:defRPr sz="3200" b="1" i="0" kern="1200" spc="-100" baseline="0">
          <a:solidFill>
            <a:schemeClr val="tx1"/>
          </a:solidFill>
          <a:latin typeface="+mj-lt"/>
          <a:ea typeface="Arial Black" charset="0"/>
          <a:cs typeface="Arial Black" charset="0"/>
        </a:defRPr>
      </a:lvl1pPr>
    </p:titleStyle>
    <p:bodyStyle>
      <a:lvl1pPr marL="228600" indent="-228600" algn="l" defTabSz="914400" rtl="0" eaLnBrk="1" latinLnBrk="0" hangingPunct="1">
        <a:spcBef>
          <a:spcPts val="900"/>
        </a:spcBef>
        <a:buClrTx/>
        <a:buSzPct val="100000"/>
        <a:buFont typeface="Wingdings" charset="2"/>
        <a:buChar char="§"/>
        <a:tabLst>
          <a:tab pos="3998913" algn="r"/>
          <a:tab pos="8229600" algn="r"/>
        </a:tabLst>
        <a:defRPr sz="1800" b="0" i="0" kern="1200" spc="0" baseline="0">
          <a:solidFill>
            <a:schemeClr val="tx1"/>
          </a:solidFill>
          <a:latin typeface="+mn-lt"/>
          <a:ea typeface="+mn-ea"/>
          <a:cs typeface="+mn-cs"/>
        </a:defRPr>
      </a:lvl1pPr>
      <a:lvl2pPr marL="457200" indent="-228600" algn="l" defTabSz="914400" rtl="0" eaLnBrk="1" latinLnBrk="0" hangingPunct="1">
        <a:spcBef>
          <a:spcPts val="300"/>
        </a:spcBef>
        <a:buClrTx/>
        <a:buSzPct val="100000"/>
        <a:buFont typeface="Arial" pitchFamily="34" charset="0"/>
        <a:buChar char="–"/>
        <a:defRPr sz="1600" b="0" i="0" kern="1200" spc="0" baseline="0">
          <a:solidFill>
            <a:schemeClr val="tx1"/>
          </a:solidFill>
          <a:latin typeface="+mn-lt"/>
          <a:ea typeface="+mn-ea"/>
          <a:cs typeface="+mn-cs"/>
        </a:defRPr>
      </a:lvl2pPr>
      <a:lvl3pPr marL="685800" indent="-228600" algn="l" defTabSz="914400" rtl="0" eaLnBrk="1" latinLnBrk="0" hangingPunct="1">
        <a:spcBef>
          <a:spcPts val="300"/>
        </a:spcBef>
        <a:buClrTx/>
        <a:buSzPct val="100000"/>
        <a:buFont typeface="Arial" pitchFamily="34" charset="0"/>
        <a:buChar char="–"/>
        <a:defRPr sz="1600" b="0" i="0" kern="1200" spc="0" baseline="0">
          <a:solidFill>
            <a:schemeClr val="tx1"/>
          </a:solidFill>
          <a:latin typeface="+mn-lt"/>
          <a:ea typeface="+mn-ea"/>
          <a:cs typeface="+mn-cs"/>
        </a:defRPr>
      </a:lvl3pPr>
      <a:lvl4pPr marL="914400" indent="-228600" algn="l" defTabSz="914400" rtl="0" eaLnBrk="1" latinLnBrk="0" hangingPunct="1">
        <a:spcBef>
          <a:spcPts val="300"/>
        </a:spcBef>
        <a:buClrTx/>
        <a:buSzPct val="100000"/>
        <a:buFont typeface="Arial" pitchFamily="34" charset="0"/>
        <a:buChar char="–"/>
        <a:defRPr sz="1600" b="0" i="0" kern="1200" spc="0" baseline="0">
          <a:solidFill>
            <a:schemeClr val="tx1"/>
          </a:solidFill>
          <a:latin typeface="+mn-lt"/>
          <a:ea typeface="+mn-ea"/>
          <a:cs typeface="+mn-cs"/>
        </a:defRPr>
      </a:lvl4pPr>
      <a:lvl5pPr marL="1143000" indent="-228600" algn="l" defTabSz="914400" rtl="0" eaLnBrk="1" latinLnBrk="0" hangingPunct="1">
        <a:spcBef>
          <a:spcPts val="300"/>
        </a:spcBef>
        <a:buClrTx/>
        <a:buSzPct val="100000"/>
        <a:buFont typeface="Arial" pitchFamily="34" charset="0"/>
        <a:buChar char="–"/>
        <a:defRPr sz="1600" b="0" i="0" kern="1200" spc="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1.xml"/></Relationships>
</file>

<file path=ppt/slides/_rels/slide1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24.xml"/><Relationship Id="rId7" Type="http://schemas.openxmlformats.org/officeDocument/2006/relationships/image" Target="../media/image5.emf"/><Relationship Id="rId2" Type="http://schemas.openxmlformats.org/officeDocument/2006/relationships/tags" Target="../tags/tag23.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4.xml"/><Relationship Id="rId4"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26.xml"/><Relationship Id="rId7" Type="http://schemas.openxmlformats.org/officeDocument/2006/relationships/slideLayout" Target="../slideLayouts/slideLayout20.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tags" Target="../tags/tag29.xml"/><Relationship Id="rId5" Type="http://schemas.openxmlformats.org/officeDocument/2006/relationships/tags" Target="../tags/tag28.xml"/><Relationship Id="rId10" Type="http://schemas.openxmlformats.org/officeDocument/2006/relationships/image" Target="../media/image17.png"/><Relationship Id="rId4" Type="http://schemas.openxmlformats.org/officeDocument/2006/relationships/tags" Target="../tags/tag27.xml"/><Relationship Id="rId9" Type="http://schemas.openxmlformats.org/officeDocument/2006/relationships/image" Target="../media/image1.emf"/></Relationships>
</file>

<file path=ppt/slides/_rels/slide15.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31.xml"/><Relationship Id="rId7" Type="http://schemas.openxmlformats.org/officeDocument/2006/relationships/slideLayout" Target="../slideLayouts/slideLayout20.xml"/><Relationship Id="rId2" Type="http://schemas.openxmlformats.org/officeDocument/2006/relationships/tags" Target="../tags/tag30.xml"/><Relationship Id="rId1" Type="http://schemas.openxmlformats.org/officeDocument/2006/relationships/vmlDrawing" Target="../drawings/vmlDrawing7.vml"/><Relationship Id="rId6" Type="http://schemas.openxmlformats.org/officeDocument/2006/relationships/tags" Target="../tags/tag34.xml"/><Relationship Id="rId5" Type="http://schemas.openxmlformats.org/officeDocument/2006/relationships/tags" Target="../tags/tag33.xml"/><Relationship Id="rId10" Type="http://schemas.openxmlformats.org/officeDocument/2006/relationships/image" Target="../media/image17.png"/><Relationship Id="rId4" Type="http://schemas.openxmlformats.org/officeDocument/2006/relationships/tags" Target="../tags/tag32.xml"/><Relationship Id="rId9" Type="http://schemas.openxmlformats.org/officeDocument/2006/relationships/image" Target="../media/image1.emf"/></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9.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36.xml"/><Relationship Id="rId7" Type="http://schemas.openxmlformats.org/officeDocument/2006/relationships/oleObject" Target="../embeddings/oleObject7.bin"/><Relationship Id="rId2" Type="http://schemas.openxmlformats.org/officeDocument/2006/relationships/tags" Target="../tags/tag35.xml"/><Relationship Id="rId1" Type="http://schemas.openxmlformats.org/officeDocument/2006/relationships/vmlDrawing" Target="../drawings/vmlDrawing8.vml"/><Relationship Id="rId6" Type="http://schemas.openxmlformats.org/officeDocument/2006/relationships/notesSlide" Target="../notesSlides/notesSlide5.xml"/><Relationship Id="rId5" Type="http://schemas.openxmlformats.org/officeDocument/2006/relationships/slideLayout" Target="../slideLayouts/slideLayout1.xml"/><Relationship Id="rId4" Type="http://schemas.openxmlformats.org/officeDocument/2006/relationships/tags" Target="../tags/tag37.xml"/></Relationships>
</file>

<file path=ppt/slides/_rels/slide2.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tags" Target="../tags/tag8.xml"/><Relationship Id="rId7" Type="http://schemas.openxmlformats.org/officeDocument/2006/relationships/tags" Target="../tags/tag12.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tags" Target="../tags/tag11.xml"/><Relationship Id="rId5" Type="http://schemas.openxmlformats.org/officeDocument/2006/relationships/tags" Target="../tags/tag10.xml"/><Relationship Id="rId4" Type="http://schemas.openxmlformats.org/officeDocument/2006/relationships/tags" Target="../tags/tag9.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0.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0.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0.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9.xml.rels><?xml version="1.0" encoding="UTF-8" standalone="yes"?>
<Relationships xmlns="http://schemas.openxmlformats.org/package/2006/relationships"><Relationship Id="rId8" Type="http://schemas.openxmlformats.org/officeDocument/2006/relationships/image" Target="../media/image19.png"/><Relationship Id="rId13" Type="http://schemas.openxmlformats.org/officeDocument/2006/relationships/image" Target="../media/image24.png"/><Relationship Id="rId3" Type="http://schemas.openxmlformats.org/officeDocument/2006/relationships/tags" Target="../tags/tag39.xml"/><Relationship Id="rId7" Type="http://schemas.openxmlformats.org/officeDocument/2006/relationships/image" Target="../media/image18.emf"/><Relationship Id="rId12" Type="http://schemas.openxmlformats.org/officeDocument/2006/relationships/image" Target="../media/image23.png"/><Relationship Id="rId2" Type="http://schemas.openxmlformats.org/officeDocument/2006/relationships/tags" Target="../tags/tag38.xml"/><Relationship Id="rId1" Type="http://schemas.openxmlformats.org/officeDocument/2006/relationships/vmlDrawing" Target="../drawings/vmlDrawing9.vml"/><Relationship Id="rId6" Type="http://schemas.openxmlformats.org/officeDocument/2006/relationships/oleObject" Target="../embeddings/oleObject8.bin"/><Relationship Id="rId11" Type="http://schemas.openxmlformats.org/officeDocument/2006/relationships/image" Target="../media/image22.jpeg"/><Relationship Id="rId5" Type="http://schemas.openxmlformats.org/officeDocument/2006/relationships/notesSlide" Target="../notesSlides/notesSlide10.xml"/><Relationship Id="rId10" Type="http://schemas.openxmlformats.org/officeDocument/2006/relationships/image" Target="../media/image21.png"/><Relationship Id="rId4" Type="http://schemas.openxmlformats.org/officeDocument/2006/relationships/slideLayout" Target="../slideLayouts/slideLayout4.xml"/><Relationship Id="rId9" Type="http://schemas.openxmlformats.org/officeDocument/2006/relationships/image" Target="../media/image20.png"/></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8" Type="http://schemas.openxmlformats.org/officeDocument/2006/relationships/tags" Target="../tags/tag19.xml"/><Relationship Id="rId13" Type="http://schemas.openxmlformats.org/officeDocument/2006/relationships/image" Target="../media/image11.png"/><Relationship Id="rId3" Type="http://schemas.openxmlformats.org/officeDocument/2006/relationships/tags" Target="../tags/tag14.xml"/><Relationship Id="rId7" Type="http://schemas.openxmlformats.org/officeDocument/2006/relationships/tags" Target="../tags/tag18.xml"/><Relationship Id="rId12" Type="http://schemas.openxmlformats.org/officeDocument/2006/relationships/image" Target="../media/image5.emf"/><Relationship Id="rId2" Type="http://schemas.openxmlformats.org/officeDocument/2006/relationships/tags" Target="../tags/tag13.xml"/><Relationship Id="rId1" Type="http://schemas.openxmlformats.org/officeDocument/2006/relationships/vmlDrawing" Target="../drawings/vmlDrawing3.vml"/><Relationship Id="rId6" Type="http://schemas.openxmlformats.org/officeDocument/2006/relationships/tags" Target="../tags/tag17.xml"/><Relationship Id="rId11" Type="http://schemas.openxmlformats.org/officeDocument/2006/relationships/oleObject" Target="../embeddings/oleObject3.bin"/><Relationship Id="rId5" Type="http://schemas.openxmlformats.org/officeDocument/2006/relationships/tags" Target="../tags/tag16.xml"/><Relationship Id="rId10" Type="http://schemas.openxmlformats.org/officeDocument/2006/relationships/slideLayout" Target="../slideLayouts/slideLayout4.xml"/><Relationship Id="rId4" Type="http://schemas.openxmlformats.org/officeDocument/2006/relationships/tags" Target="../tags/tag15.xml"/><Relationship Id="rId9" Type="http://schemas.openxmlformats.org/officeDocument/2006/relationships/tags" Target="../tags/tag2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20.xml"/><Relationship Id="rId4" Type="http://schemas.openxmlformats.org/officeDocument/2006/relationships/image" Target="../media/image14.png"/></Relationships>
</file>

<file path=ppt/slides/_rels/slide8.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15.emf"/><Relationship Id="rId2" Type="http://schemas.openxmlformats.org/officeDocument/2006/relationships/tags" Target="../tags/tag21.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1.xml"/><Relationship Id="rId4"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What is Roll-out?</a:t>
            </a:r>
          </a:p>
        </p:txBody>
      </p:sp>
      <p:sp>
        <p:nvSpPr>
          <p:cNvPr id="3" name="Subtitle 2"/>
          <p:cNvSpPr>
            <a:spLocks noGrp="1"/>
          </p:cNvSpPr>
          <p:nvPr>
            <p:ph type="subTitle" idx="1"/>
          </p:nvPr>
        </p:nvSpPr>
        <p:spPr/>
        <p:txBody>
          <a:bodyPr/>
          <a:lstStyle/>
          <a:p>
            <a:r>
              <a:rPr lang="en-US" dirty="0"/>
              <a:t>November 2020</a:t>
            </a:r>
          </a:p>
        </p:txBody>
      </p:sp>
      <p:sp>
        <p:nvSpPr>
          <p:cNvPr id="4" name="Text Placeholder 3"/>
          <p:cNvSpPr>
            <a:spLocks noGrp="1"/>
          </p:cNvSpPr>
          <p:nvPr>
            <p:ph type="body" sz="quarter" idx="12"/>
          </p:nvPr>
        </p:nvSpPr>
        <p:spPr/>
        <p:txBody>
          <a:bodyPr rIns="0"/>
          <a:lstStyle/>
          <a:p>
            <a:r>
              <a:rPr lang="en-US" dirty="0"/>
              <a:t>Scout</a:t>
            </a:r>
          </a:p>
          <a:p>
            <a:r>
              <a:rPr lang="en-US" b="0" dirty="0"/>
              <a:t>Empowering Customer Engagement</a:t>
            </a:r>
          </a:p>
        </p:txBody>
      </p:sp>
    </p:spTree>
    <p:extLst>
      <p:ext uri="{BB962C8B-B14F-4D97-AF65-F5344CB8AC3E}">
        <p14:creationId xmlns:p14="http://schemas.microsoft.com/office/powerpoint/2010/main" val="38544872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sz="2400" dirty="0">
                <a:solidFill>
                  <a:schemeClr val="accent6">
                    <a:lumMod val="50000"/>
                  </a:schemeClr>
                </a:solidFill>
              </a:rPr>
              <a:t>Country Set-up vs New Requirements</a:t>
            </a:r>
          </a:p>
        </p:txBody>
      </p:sp>
      <p:sp>
        <p:nvSpPr>
          <p:cNvPr id="4" name="Footer Placeholder 3"/>
          <p:cNvSpPr>
            <a:spLocks noGrp="1"/>
          </p:cNvSpPr>
          <p:nvPr>
            <p:ph type="ftr" sz="quarter" idx="10"/>
          </p:nvPr>
        </p:nvSpPr>
        <p:spPr/>
        <p:txBody>
          <a:bodyPr/>
          <a:lstStyle/>
          <a:p>
            <a:r>
              <a:rPr lang="en-US"/>
              <a:t>Scout l What is Roll-out? l August 2020</a:t>
            </a:r>
            <a:endParaRPr lang="fr-FR" dirty="0"/>
          </a:p>
        </p:txBody>
      </p:sp>
      <p:sp>
        <p:nvSpPr>
          <p:cNvPr id="5" name="Slide Number Placeholder 4"/>
          <p:cNvSpPr>
            <a:spLocks noGrp="1"/>
          </p:cNvSpPr>
          <p:nvPr>
            <p:ph type="sldNum" sz="quarter" idx="11"/>
          </p:nvPr>
        </p:nvSpPr>
        <p:spPr/>
        <p:txBody>
          <a:bodyPr/>
          <a:lstStyle/>
          <a:p>
            <a:fld id="{47547CF9-5B10-D24F-A8D7-45A9778164F7}" type="slidenum">
              <a:rPr lang="uk-UA" smtClean="0"/>
              <a:pPr/>
              <a:t>10</a:t>
            </a:fld>
            <a:endParaRPr lang="uk-UA" dirty="0"/>
          </a:p>
        </p:txBody>
      </p:sp>
      <p:sp>
        <p:nvSpPr>
          <p:cNvPr id="154" name="Pentagon 153"/>
          <p:cNvSpPr/>
          <p:nvPr/>
        </p:nvSpPr>
        <p:spPr>
          <a:xfrm>
            <a:off x="84312" y="3968475"/>
            <a:ext cx="5097288" cy="189191"/>
          </a:xfrm>
          <a:prstGeom prst="homePlate">
            <a:avLst/>
          </a:prstGeom>
          <a:solidFill>
            <a:srgbClr val="809BB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100" b="1" dirty="0"/>
              <a:t>RELEASE R</a:t>
            </a:r>
          </a:p>
        </p:txBody>
      </p:sp>
      <p:sp>
        <p:nvSpPr>
          <p:cNvPr id="155" name="Pentagon 154"/>
          <p:cNvSpPr/>
          <p:nvPr/>
        </p:nvSpPr>
        <p:spPr>
          <a:xfrm>
            <a:off x="5334000" y="3985140"/>
            <a:ext cx="3733800" cy="172526"/>
          </a:xfrm>
          <a:prstGeom prst="homePlate">
            <a:avLst/>
          </a:prstGeom>
          <a:solidFill>
            <a:srgbClr val="809BB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100" b="1" dirty="0"/>
              <a:t>RELEASE R+1</a:t>
            </a:r>
          </a:p>
        </p:txBody>
      </p:sp>
      <p:sp>
        <p:nvSpPr>
          <p:cNvPr id="164" name="TextBox 163"/>
          <p:cNvSpPr txBox="1"/>
          <p:nvPr/>
        </p:nvSpPr>
        <p:spPr>
          <a:xfrm>
            <a:off x="7097086" y="1200150"/>
            <a:ext cx="754770" cy="307777"/>
          </a:xfrm>
          <a:prstGeom prst="rect">
            <a:avLst/>
          </a:prstGeom>
          <a:noFill/>
        </p:spPr>
        <p:txBody>
          <a:bodyPr wrap="square" rtlCol="0">
            <a:spAutoFit/>
          </a:bodyPr>
          <a:lstStyle/>
          <a:p>
            <a:r>
              <a:rPr lang="en-GB" sz="700" dirty="0"/>
              <a:t>Wave Go-Live on Release R</a:t>
            </a:r>
          </a:p>
        </p:txBody>
      </p:sp>
      <p:sp>
        <p:nvSpPr>
          <p:cNvPr id="64" name="Pentagon 63"/>
          <p:cNvSpPr/>
          <p:nvPr/>
        </p:nvSpPr>
        <p:spPr>
          <a:xfrm>
            <a:off x="84312" y="4275619"/>
            <a:ext cx="2362200" cy="429731"/>
          </a:xfrm>
          <a:prstGeom prst="homePlate">
            <a:avLst/>
          </a:prstGeom>
          <a:solidFill>
            <a:srgbClr val="809BB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100" b="1" dirty="0"/>
              <a:t>Design of Release R</a:t>
            </a:r>
          </a:p>
          <a:p>
            <a:pPr algn="ctr"/>
            <a:r>
              <a:rPr lang="en-GB" sz="1100" b="1" dirty="0"/>
              <a:t>(Business Champions / SMEs)</a:t>
            </a:r>
          </a:p>
        </p:txBody>
      </p:sp>
      <p:sp>
        <p:nvSpPr>
          <p:cNvPr id="3" name="7-Point Star 2"/>
          <p:cNvSpPr/>
          <p:nvPr/>
        </p:nvSpPr>
        <p:spPr>
          <a:xfrm>
            <a:off x="4262060" y="3910670"/>
            <a:ext cx="320040" cy="304800"/>
          </a:xfrm>
          <a:prstGeom prst="star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200" dirty="0">
                <a:solidFill>
                  <a:schemeClr val="tx1"/>
                </a:solidFill>
              </a:rPr>
              <a:t>R</a:t>
            </a:r>
          </a:p>
        </p:txBody>
      </p:sp>
      <p:sp>
        <p:nvSpPr>
          <p:cNvPr id="67" name="Rectangle 66">
            <a:extLst>
              <a:ext uri="{FF2B5EF4-FFF2-40B4-BE49-F238E27FC236}">
                <a16:creationId xmlns:a16="http://schemas.microsoft.com/office/drawing/2014/main" id="{DDA6647F-C75D-40C3-9816-1317E4A71FC3}"/>
              </a:ext>
            </a:extLst>
          </p:cNvPr>
          <p:cNvSpPr/>
          <p:nvPr/>
        </p:nvSpPr>
        <p:spPr>
          <a:xfrm>
            <a:off x="84312" y="3405485"/>
            <a:ext cx="2362200" cy="461665"/>
          </a:xfrm>
          <a:prstGeom prst="rect">
            <a:avLst/>
          </a:prstGeom>
          <a:noFill/>
          <a:ln>
            <a:noFill/>
          </a:ln>
        </p:spPr>
        <p:style>
          <a:lnRef idx="3">
            <a:schemeClr val="lt1"/>
          </a:lnRef>
          <a:fillRef idx="1">
            <a:schemeClr val="accent5"/>
          </a:fillRef>
          <a:effectRef idx="1">
            <a:schemeClr val="accent5"/>
          </a:effectRef>
          <a:fontRef idx="minor">
            <a:schemeClr val="lt1"/>
          </a:fontRef>
        </p:style>
        <p:txBody>
          <a:bodyPr wrap="square" anchor="ctr">
            <a:spAutoFit/>
          </a:bodyPr>
          <a:lstStyle/>
          <a:p>
            <a:pPr lvl="0" algn="ctr" defTabSz="685800">
              <a:defRPr/>
            </a:pPr>
            <a:r>
              <a:rPr lang="en-US" sz="800" b="1" dirty="0">
                <a:solidFill>
                  <a:schemeClr val="tx1"/>
                </a:solidFill>
              </a:rPr>
              <a:t>Design Team </a:t>
            </a:r>
            <a:r>
              <a:rPr lang="en-US" sz="800" dirty="0">
                <a:solidFill>
                  <a:schemeClr val="tx1"/>
                </a:solidFill>
              </a:rPr>
              <a:t>ensure that the Wave countries legal, regulatory and market requirements are covered in the Global design</a:t>
            </a:r>
          </a:p>
        </p:txBody>
      </p:sp>
      <p:grpSp>
        <p:nvGrpSpPr>
          <p:cNvPr id="6" name="Group 5"/>
          <p:cNvGrpSpPr/>
          <p:nvPr/>
        </p:nvGrpSpPr>
        <p:grpSpPr>
          <a:xfrm>
            <a:off x="381001" y="1480474"/>
            <a:ext cx="8381999" cy="307451"/>
            <a:chOff x="381001" y="1480474"/>
            <a:chExt cx="8381999" cy="307451"/>
          </a:xfrm>
        </p:grpSpPr>
        <p:sp>
          <p:nvSpPr>
            <p:cNvPr id="157" name="Chevron 156"/>
            <p:cNvSpPr/>
            <p:nvPr/>
          </p:nvSpPr>
          <p:spPr>
            <a:xfrm>
              <a:off x="2355220" y="1556675"/>
              <a:ext cx="1306135" cy="231250"/>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700" b="1">
                  <a:solidFill>
                    <a:schemeClr val="bg1"/>
                  </a:solidFill>
                </a:rPr>
                <a:t>Pre Roll-out</a:t>
              </a:r>
              <a:endParaRPr lang="en-GB" sz="700" b="1" dirty="0">
                <a:solidFill>
                  <a:schemeClr val="bg1"/>
                </a:solidFill>
              </a:endParaRPr>
            </a:p>
          </p:txBody>
        </p:sp>
        <p:sp>
          <p:nvSpPr>
            <p:cNvPr id="158" name="Chevron 157"/>
            <p:cNvSpPr/>
            <p:nvPr/>
          </p:nvSpPr>
          <p:spPr>
            <a:xfrm>
              <a:off x="3630631" y="1556675"/>
              <a:ext cx="1306135" cy="231250"/>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700" b="1" dirty="0">
                  <a:solidFill>
                    <a:schemeClr val="bg1"/>
                  </a:solidFill>
                </a:rPr>
                <a:t>Preparation</a:t>
              </a:r>
            </a:p>
          </p:txBody>
        </p:sp>
        <p:sp>
          <p:nvSpPr>
            <p:cNvPr id="159" name="Chevron 158"/>
            <p:cNvSpPr/>
            <p:nvPr/>
          </p:nvSpPr>
          <p:spPr>
            <a:xfrm>
              <a:off x="4906042" y="1558613"/>
              <a:ext cx="1306135" cy="226661"/>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700" b="1" dirty="0">
                  <a:solidFill>
                    <a:schemeClr val="bg1"/>
                  </a:solidFill>
                </a:rPr>
                <a:t>Implementation</a:t>
              </a:r>
            </a:p>
          </p:txBody>
        </p:sp>
        <p:sp>
          <p:nvSpPr>
            <p:cNvPr id="160" name="Chevron 159"/>
            <p:cNvSpPr/>
            <p:nvPr/>
          </p:nvSpPr>
          <p:spPr>
            <a:xfrm>
              <a:off x="6181453" y="1556675"/>
              <a:ext cx="1306135" cy="231250"/>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700" b="1" dirty="0">
                  <a:solidFill>
                    <a:schemeClr val="bg1"/>
                  </a:solidFill>
                </a:rPr>
                <a:t>Roll-out</a:t>
              </a:r>
            </a:p>
          </p:txBody>
        </p:sp>
        <p:sp>
          <p:nvSpPr>
            <p:cNvPr id="161" name="Chevron 160"/>
            <p:cNvSpPr/>
            <p:nvPr/>
          </p:nvSpPr>
          <p:spPr>
            <a:xfrm>
              <a:off x="7456865" y="1556675"/>
              <a:ext cx="1306135" cy="231250"/>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700" b="1" dirty="0">
                  <a:solidFill>
                    <a:schemeClr val="bg1"/>
                  </a:solidFill>
                </a:rPr>
                <a:t>Operate/Adopt</a:t>
              </a:r>
            </a:p>
          </p:txBody>
        </p:sp>
        <p:sp>
          <p:nvSpPr>
            <p:cNvPr id="163" name="Flowchart: Decision 162"/>
            <p:cNvSpPr/>
            <p:nvPr/>
          </p:nvSpPr>
          <p:spPr>
            <a:xfrm>
              <a:off x="7391400" y="1558610"/>
              <a:ext cx="166142" cy="226664"/>
            </a:xfrm>
            <a:prstGeom prst="flowChartDecision">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700"/>
            </a:p>
          </p:txBody>
        </p:sp>
        <p:sp>
          <p:nvSpPr>
            <p:cNvPr id="66" name="7-Point Star 65"/>
            <p:cNvSpPr/>
            <p:nvPr/>
          </p:nvSpPr>
          <p:spPr>
            <a:xfrm>
              <a:off x="7314451" y="1480474"/>
              <a:ext cx="320040" cy="304800"/>
            </a:xfrm>
            <a:prstGeom prst="star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200" dirty="0">
                  <a:solidFill>
                    <a:schemeClr val="tx1"/>
                  </a:solidFill>
                </a:rPr>
                <a:t>R</a:t>
              </a:r>
            </a:p>
          </p:txBody>
        </p:sp>
        <p:sp>
          <p:nvSpPr>
            <p:cNvPr id="69" name="Chevron 68"/>
            <p:cNvSpPr/>
            <p:nvPr/>
          </p:nvSpPr>
          <p:spPr>
            <a:xfrm>
              <a:off x="381001" y="1556675"/>
              <a:ext cx="2002924" cy="228599"/>
            </a:xfrm>
            <a:prstGeom prst="chevron">
              <a:avLst/>
            </a:prstGeom>
            <a:solidFill>
              <a:srgbClr val="809BB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700" b="1" dirty="0">
                  <a:solidFill>
                    <a:schemeClr val="bg1"/>
                  </a:solidFill>
                </a:rPr>
                <a:t>Early engagement / Walkthroughs (tbc)</a:t>
              </a:r>
            </a:p>
          </p:txBody>
        </p:sp>
      </p:grpSp>
      <p:sp>
        <p:nvSpPr>
          <p:cNvPr id="70" name="Rectangle 69">
            <a:extLst>
              <a:ext uri="{FF2B5EF4-FFF2-40B4-BE49-F238E27FC236}">
                <a16:creationId xmlns:a16="http://schemas.microsoft.com/office/drawing/2014/main" id="{DDA6647F-C75D-40C3-9816-1317E4A71FC3}"/>
              </a:ext>
            </a:extLst>
          </p:cNvPr>
          <p:cNvSpPr/>
          <p:nvPr/>
        </p:nvSpPr>
        <p:spPr>
          <a:xfrm>
            <a:off x="2982887" y="1813357"/>
            <a:ext cx="3317159" cy="830997"/>
          </a:xfrm>
          <a:prstGeom prst="rect">
            <a:avLst/>
          </a:prstGeom>
          <a:noFill/>
          <a:ln>
            <a:noFill/>
          </a:ln>
        </p:spPr>
        <p:style>
          <a:lnRef idx="3">
            <a:schemeClr val="lt1"/>
          </a:lnRef>
          <a:fillRef idx="1">
            <a:schemeClr val="accent5"/>
          </a:fillRef>
          <a:effectRef idx="1">
            <a:schemeClr val="accent5"/>
          </a:effectRef>
          <a:fontRef idx="minor">
            <a:schemeClr val="lt1"/>
          </a:fontRef>
        </p:style>
        <p:txBody>
          <a:bodyPr wrap="square" anchor="ctr">
            <a:spAutoFit/>
          </a:bodyPr>
          <a:lstStyle/>
          <a:p>
            <a:pPr lvl="0" algn="ctr" defTabSz="685800">
              <a:defRPr/>
            </a:pPr>
            <a:r>
              <a:rPr lang="en-US" sz="800" b="1" dirty="0">
                <a:solidFill>
                  <a:schemeClr val="tx1"/>
                </a:solidFill>
              </a:rPr>
              <a:t>Roll-out Team </a:t>
            </a:r>
            <a:r>
              <a:rPr lang="en-US" sz="800" dirty="0">
                <a:solidFill>
                  <a:schemeClr val="tx1"/>
                </a:solidFill>
              </a:rPr>
              <a:t>works with countries to capture their ‘Country Set-up’: localizations of existing released functionality: </a:t>
            </a:r>
          </a:p>
          <a:p>
            <a:pPr marL="171450" lvl="0" indent="-171450" algn="ctr" defTabSz="685800">
              <a:buFont typeface="Arial" panose="020B0604020202020204" pitchFamily="34" charset="0"/>
              <a:buChar char="•"/>
              <a:defRPr/>
            </a:pPr>
            <a:r>
              <a:rPr lang="en-US" sz="800" dirty="0">
                <a:solidFill>
                  <a:schemeClr val="tx1"/>
                </a:solidFill>
              </a:rPr>
              <a:t>Translations of labels </a:t>
            </a:r>
            <a:r>
              <a:rPr lang="en-US" sz="800" dirty="0" err="1">
                <a:solidFill>
                  <a:schemeClr val="tx1"/>
                </a:solidFill>
              </a:rPr>
              <a:t>etc</a:t>
            </a:r>
            <a:endParaRPr lang="en-US" sz="800" dirty="0">
              <a:solidFill>
                <a:schemeClr val="tx1"/>
              </a:solidFill>
            </a:endParaRPr>
          </a:p>
          <a:p>
            <a:pPr marL="171450" lvl="0" indent="-171450" algn="ctr" defTabSz="685800">
              <a:buFont typeface="Arial" panose="020B0604020202020204" pitchFamily="34" charset="0"/>
              <a:buChar char="•"/>
              <a:defRPr/>
            </a:pPr>
            <a:r>
              <a:rPr lang="en-US" sz="800" dirty="0">
                <a:solidFill>
                  <a:schemeClr val="tx1"/>
                </a:solidFill>
              </a:rPr>
              <a:t>Content files for Detailing</a:t>
            </a:r>
          </a:p>
          <a:p>
            <a:pPr marL="171450" lvl="0" indent="-171450" algn="ctr" defTabSz="685800">
              <a:buFont typeface="Arial" panose="020B0604020202020204" pitchFamily="34" charset="0"/>
              <a:buChar char="•"/>
              <a:defRPr/>
            </a:pPr>
            <a:r>
              <a:rPr lang="en-US" sz="800" dirty="0">
                <a:solidFill>
                  <a:schemeClr val="tx1"/>
                </a:solidFill>
              </a:rPr>
              <a:t>Local versions of global email templates (language, address </a:t>
            </a:r>
            <a:r>
              <a:rPr lang="en-US" sz="800" dirty="0" err="1">
                <a:solidFill>
                  <a:schemeClr val="tx1"/>
                </a:solidFill>
              </a:rPr>
              <a:t>etc</a:t>
            </a:r>
            <a:r>
              <a:rPr lang="en-US" sz="800" dirty="0">
                <a:solidFill>
                  <a:schemeClr val="tx1"/>
                </a:solidFill>
              </a:rPr>
              <a:t>)</a:t>
            </a:r>
          </a:p>
          <a:p>
            <a:pPr marL="171450" lvl="0" indent="-171450" algn="ctr" defTabSz="685800">
              <a:buFont typeface="Arial" panose="020B0604020202020204" pitchFamily="34" charset="0"/>
              <a:buChar char="•"/>
              <a:defRPr/>
            </a:pPr>
            <a:r>
              <a:rPr lang="en-US" sz="800" dirty="0">
                <a:solidFill>
                  <a:schemeClr val="tx1"/>
                </a:solidFill>
              </a:rPr>
              <a:t>Country Territory Hierarchy…etc</a:t>
            </a:r>
          </a:p>
        </p:txBody>
      </p:sp>
      <p:sp>
        <p:nvSpPr>
          <p:cNvPr id="72" name="Rectangle 71">
            <a:extLst>
              <a:ext uri="{FF2B5EF4-FFF2-40B4-BE49-F238E27FC236}">
                <a16:creationId xmlns:a16="http://schemas.microsoft.com/office/drawing/2014/main" id="{DDA6647F-C75D-40C3-9816-1317E4A71FC3}"/>
              </a:ext>
            </a:extLst>
          </p:cNvPr>
          <p:cNvSpPr/>
          <p:nvPr/>
        </p:nvSpPr>
        <p:spPr>
          <a:xfrm>
            <a:off x="1980451" y="2693301"/>
            <a:ext cx="5577091" cy="338554"/>
          </a:xfrm>
          <a:prstGeom prst="rect">
            <a:avLst/>
          </a:prstGeom>
          <a:solidFill>
            <a:schemeClr val="accent1">
              <a:lumMod val="50000"/>
              <a:lumOff val="50000"/>
            </a:schemeClr>
          </a:solidFill>
          <a:ln>
            <a:noFill/>
          </a:ln>
        </p:spPr>
        <p:style>
          <a:lnRef idx="3">
            <a:schemeClr val="lt1"/>
          </a:lnRef>
          <a:fillRef idx="1">
            <a:schemeClr val="accent5"/>
          </a:fillRef>
          <a:effectRef idx="1">
            <a:schemeClr val="accent5"/>
          </a:effectRef>
          <a:fontRef idx="minor">
            <a:schemeClr val="lt1"/>
          </a:fontRef>
        </p:style>
        <p:txBody>
          <a:bodyPr wrap="square" anchor="ctr">
            <a:spAutoFit/>
          </a:bodyPr>
          <a:lstStyle/>
          <a:p>
            <a:pPr lvl="0" algn="ctr" defTabSz="685800">
              <a:defRPr/>
            </a:pPr>
            <a:r>
              <a:rPr lang="en-US" sz="800" b="1" dirty="0">
                <a:solidFill>
                  <a:schemeClr val="tx1"/>
                </a:solidFill>
              </a:rPr>
              <a:t>If during the Roll-out process new REQUIREMENTS are identified, these will be brought to the Lead Product Owners for triage, and a Governance Process will need to be implemented to determine how they are managed</a:t>
            </a:r>
          </a:p>
        </p:txBody>
      </p:sp>
      <p:sp>
        <p:nvSpPr>
          <p:cNvPr id="73" name="Rectangle 72">
            <a:extLst>
              <a:ext uri="{FF2B5EF4-FFF2-40B4-BE49-F238E27FC236}">
                <a16:creationId xmlns:a16="http://schemas.microsoft.com/office/drawing/2014/main" id="{DDA6647F-C75D-40C3-9816-1317E4A71FC3}"/>
              </a:ext>
            </a:extLst>
          </p:cNvPr>
          <p:cNvSpPr/>
          <p:nvPr/>
        </p:nvSpPr>
        <p:spPr>
          <a:xfrm>
            <a:off x="2355220" y="3132708"/>
            <a:ext cx="4800600" cy="338554"/>
          </a:xfrm>
          <a:prstGeom prst="rect">
            <a:avLst/>
          </a:prstGeom>
          <a:solidFill>
            <a:schemeClr val="accent1">
              <a:lumMod val="50000"/>
              <a:lumOff val="50000"/>
            </a:schemeClr>
          </a:solidFill>
          <a:ln>
            <a:noFill/>
          </a:ln>
        </p:spPr>
        <p:style>
          <a:lnRef idx="3">
            <a:schemeClr val="lt1"/>
          </a:lnRef>
          <a:fillRef idx="1">
            <a:schemeClr val="accent5"/>
          </a:fillRef>
          <a:effectRef idx="1">
            <a:schemeClr val="accent5"/>
          </a:effectRef>
          <a:fontRef idx="minor">
            <a:schemeClr val="lt1"/>
          </a:fontRef>
        </p:style>
        <p:txBody>
          <a:bodyPr wrap="square" anchor="ctr">
            <a:spAutoFit/>
          </a:bodyPr>
          <a:lstStyle/>
          <a:p>
            <a:pPr lvl="0" algn="ctr" defTabSz="685800">
              <a:defRPr/>
            </a:pPr>
            <a:r>
              <a:rPr lang="en-US" sz="800" b="1" dirty="0">
                <a:solidFill>
                  <a:schemeClr val="tx1"/>
                </a:solidFill>
              </a:rPr>
              <a:t>Example: </a:t>
            </a:r>
            <a:r>
              <a:rPr lang="en-US" sz="800" dirty="0">
                <a:solidFill>
                  <a:schemeClr val="tx1"/>
                </a:solidFill>
              </a:rPr>
              <a:t>Name of Approver in an existing Approval Process: </a:t>
            </a:r>
            <a:r>
              <a:rPr lang="en-US" sz="800" b="1" dirty="0">
                <a:solidFill>
                  <a:schemeClr val="tx1"/>
                </a:solidFill>
              </a:rPr>
              <a:t>Country Set-up</a:t>
            </a:r>
            <a:r>
              <a:rPr lang="en-US" sz="800" dirty="0">
                <a:solidFill>
                  <a:schemeClr val="tx1"/>
                </a:solidFill>
              </a:rPr>
              <a:t>. Adding another level/threshold of an Approval Process: </a:t>
            </a:r>
            <a:r>
              <a:rPr lang="en-US" sz="800" b="1" dirty="0">
                <a:solidFill>
                  <a:schemeClr val="tx1"/>
                </a:solidFill>
              </a:rPr>
              <a:t>New Requirement</a:t>
            </a:r>
          </a:p>
        </p:txBody>
      </p:sp>
    </p:spTree>
    <p:extLst>
      <p:ext uri="{BB962C8B-B14F-4D97-AF65-F5344CB8AC3E}">
        <p14:creationId xmlns:p14="http://schemas.microsoft.com/office/powerpoint/2010/main" val="35287026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6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6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70"/>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72"/>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7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4" grpId="0"/>
      <p:bldP spid="3" grpId="0" animBg="1"/>
      <p:bldP spid="67" grpId="0"/>
      <p:bldP spid="70" grpId="0"/>
      <p:bldP spid="72" grpId="0" animBg="1"/>
      <p:bldP spid="73"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1250" name="Title 1"/>
          <p:cNvSpPr>
            <a:spLocks noGrp="1"/>
          </p:cNvSpPr>
          <p:nvPr>
            <p:ph type="title"/>
          </p:nvPr>
        </p:nvSpPr>
        <p:spPr>
          <a:xfrm>
            <a:off x="479178" y="315776"/>
            <a:ext cx="8352000" cy="352119"/>
          </a:xfrm>
        </p:spPr>
        <p:txBody>
          <a:bodyPr/>
          <a:lstStyle/>
          <a:p>
            <a:r>
              <a:rPr lang="en-US" sz="2400" dirty="0">
                <a:solidFill>
                  <a:schemeClr val="accent6">
                    <a:lumMod val="50000"/>
                  </a:schemeClr>
                </a:solidFill>
              </a:rPr>
              <a:t>Roll-out Dependencies</a:t>
            </a:r>
          </a:p>
        </p:txBody>
      </p:sp>
      <p:grpSp>
        <p:nvGrpSpPr>
          <p:cNvPr id="11" name="Group 10"/>
          <p:cNvGrpSpPr/>
          <p:nvPr/>
        </p:nvGrpSpPr>
        <p:grpSpPr>
          <a:xfrm>
            <a:off x="2362200" y="1572023"/>
            <a:ext cx="4562705" cy="3132736"/>
            <a:chOff x="2362200" y="1635352"/>
            <a:chExt cx="4562705" cy="3132736"/>
          </a:xfrm>
        </p:grpSpPr>
        <p:sp>
          <p:nvSpPr>
            <p:cNvPr id="54" name="Oval 2"/>
            <p:cNvSpPr>
              <a:spLocks noChangeArrowheads="1"/>
            </p:cNvSpPr>
            <p:nvPr/>
          </p:nvSpPr>
          <p:spPr bwMode="auto">
            <a:xfrm>
              <a:off x="5488802" y="3221406"/>
              <a:ext cx="1436103" cy="694928"/>
            </a:xfrm>
            <a:prstGeom prst="ellipse">
              <a:avLst/>
            </a:prstGeom>
            <a:solidFill>
              <a:schemeClr val="bg2"/>
            </a:solidFill>
            <a:ln w="6350" algn="ctr">
              <a:noFill/>
              <a:round/>
              <a:headEnd/>
              <a:tailEnd/>
            </a:ln>
          </p:spPr>
          <p:txBody>
            <a:bodyPr lIns="27000" tIns="27000" rIns="27000" bIns="27000" anchor="ctr" anchorCtr="1"/>
            <a:lstStyle/>
            <a:p>
              <a:pPr algn="ctr" eaLnBrk="1" hangingPunct="1">
                <a:lnSpc>
                  <a:spcPct val="106000"/>
                </a:lnSpc>
                <a:spcBef>
                  <a:spcPct val="80000"/>
                </a:spcBef>
              </a:pPr>
              <a:r>
                <a:rPr lang="en-US" altLang="ja-JP" sz="900" dirty="0">
                  <a:ea typeface="ＭＳ Ｐゴシック" pitchFamily="50" charset="-128"/>
                </a:rPr>
                <a:t>Pitcher</a:t>
              </a:r>
            </a:p>
            <a:p>
              <a:pPr algn="ctr" eaLnBrk="1" hangingPunct="1">
                <a:lnSpc>
                  <a:spcPct val="106000"/>
                </a:lnSpc>
                <a:spcBef>
                  <a:spcPct val="80000"/>
                </a:spcBef>
              </a:pPr>
              <a:r>
                <a:rPr lang="en-US" altLang="ja-JP" sz="900" dirty="0" err="1">
                  <a:ea typeface="ＭＳ Ｐゴシック" pitchFamily="50" charset="-128"/>
                </a:rPr>
                <a:t>Axtria</a:t>
              </a:r>
              <a:endParaRPr lang="en-US" altLang="ja-JP" sz="900" dirty="0">
                <a:ea typeface="ＭＳ Ｐゴシック" pitchFamily="50" charset="-128"/>
              </a:endParaRPr>
            </a:p>
          </p:txBody>
        </p:sp>
        <p:sp>
          <p:nvSpPr>
            <p:cNvPr id="57" name="Oval 56"/>
            <p:cNvSpPr>
              <a:spLocks noChangeArrowheads="1"/>
            </p:cNvSpPr>
            <p:nvPr/>
          </p:nvSpPr>
          <p:spPr bwMode="auto">
            <a:xfrm>
              <a:off x="3059736" y="4073160"/>
              <a:ext cx="1436103" cy="694928"/>
            </a:xfrm>
            <a:prstGeom prst="ellipse">
              <a:avLst/>
            </a:prstGeom>
            <a:solidFill>
              <a:schemeClr val="bg2"/>
            </a:solidFill>
            <a:ln w="6350" algn="ctr">
              <a:noFill/>
              <a:round/>
              <a:headEnd/>
              <a:tailEnd/>
            </a:ln>
          </p:spPr>
          <p:txBody>
            <a:bodyPr lIns="27000" tIns="27000" rIns="27000" bIns="27000" anchor="ctr" anchorCtr="1"/>
            <a:lstStyle/>
            <a:p>
              <a:pPr algn="ctr">
                <a:lnSpc>
                  <a:spcPct val="106000"/>
                </a:lnSpc>
                <a:spcBef>
                  <a:spcPct val="80000"/>
                </a:spcBef>
              </a:pPr>
              <a:r>
                <a:rPr lang="en-US" altLang="ja-JP" sz="900" dirty="0">
                  <a:ea typeface="ＭＳ Ｐゴシック" pitchFamily="50" charset="-128"/>
                </a:rPr>
                <a:t>Application Build</a:t>
              </a:r>
            </a:p>
          </p:txBody>
        </p:sp>
        <p:sp>
          <p:nvSpPr>
            <p:cNvPr id="58" name="Oval 57"/>
            <p:cNvSpPr>
              <a:spLocks noChangeArrowheads="1"/>
            </p:cNvSpPr>
            <p:nvPr/>
          </p:nvSpPr>
          <p:spPr bwMode="auto">
            <a:xfrm>
              <a:off x="4794001" y="4073160"/>
              <a:ext cx="1437471" cy="694928"/>
            </a:xfrm>
            <a:prstGeom prst="ellipse">
              <a:avLst/>
            </a:prstGeom>
            <a:solidFill>
              <a:schemeClr val="bg2"/>
            </a:solidFill>
            <a:ln w="6350" algn="ctr">
              <a:noFill/>
              <a:round/>
              <a:headEnd/>
              <a:tailEnd/>
            </a:ln>
          </p:spPr>
          <p:txBody>
            <a:bodyPr lIns="27000" tIns="27000" rIns="27000" bIns="27000" anchor="ctr" anchorCtr="1"/>
            <a:lstStyle/>
            <a:p>
              <a:pPr algn="ctr">
                <a:lnSpc>
                  <a:spcPct val="106000"/>
                </a:lnSpc>
                <a:spcBef>
                  <a:spcPct val="80000"/>
                </a:spcBef>
              </a:pPr>
              <a:r>
                <a:rPr lang="en-US" altLang="ja-JP" sz="900" dirty="0">
                  <a:ea typeface="ＭＳ Ｐゴシック" pitchFamily="50" charset="-128"/>
                </a:rPr>
                <a:t>Release Management</a:t>
              </a:r>
            </a:p>
          </p:txBody>
        </p:sp>
        <p:sp>
          <p:nvSpPr>
            <p:cNvPr id="59" name="Oval 58"/>
            <p:cNvSpPr>
              <a:spLocks noChangeArrowheads="1"/>
            </p:cNvSpPr>
            <p:nvPr/>
          </p:nvSpPr>
          <p:spPr bwMode="auto">
            <a:xfrm>
              <a:off x="3828393" y="2503459"/>
              <a:ext cx="1653571" cy="1117926"/>
            </a:xfrm>
            <a:prstGeom prst="ellipse">
              <a:avLst/>
            </a:prstGeom>
            <a:solidFill>
              <a:schemeClr val="accent1"/>
            </a:solidFill>
            <a:ln w="6350">
              <a:noFill/>
              <a:round/>
              <a:headEnd/>
              <a:tailEnd/>
            </a:ln>
          </p:spPr>
          <p:txBody>
            <a:bodyPr lIns="27000" tIns="27000" rIns="27000" bIns="27000" anchor="ctr" anchorCtr="1"/>
            <a:lstStyle/>
            <a:p>
              <a:pPr algn="ctr" eaLnBrk="1" hangingPunct="1">
                <a:lnSpc>
                  <a:spcPct val="106000"/>
                </a:lnSpc>
                <a:spcBef>
                  <a:spcPct val="80000"/>
                </a:spcBef>
                <a:defRPr/>
              </a:pPr>
              <a:r>
                <a:rPr lang="en-US" altLang="ja-JP" sz="900" b="1" dirty="0">
                  <a:solidFill>
                    <a:schemeClr val="bg1"/>
                  </a:solidFill>
                  <a:ea typeface="ＭＳ Ｐゴシック" pitchFamily="50" charset="-128"/>
                </a:rPr>
                <a:t>Scout</a:t>
              </a:r>
            </a:p>
            <a:p>
              <a:pPr algn="ctr" eaLnBrk="1" hangingPunct="1">
                <a:lnSpc>
                  <a:spcPct val="106000"/>
                </a:lnSpc>
                <a:spcBef>
                  <a:spcPts val="60"/>
                </a:spcBef>
                <a:defRPr/>
              </a:pPr>
              <a:r>
                <a:rPr lang="en-US" altLang="ja-JP" sz="900" b="1" dirty="0">
                  <a:solidFill>
                    <a:schemeClr val="bg1"/>
                  </a:solidFill>
                  <a:ea typeface="ＭＳ Ｐゴシック" pitchFamily="50" charset="-128"/>
                </a:rPr>
                <a:t>Roll-out</a:t>
              </a:r>
            </a:p>
          </p:txBody>
        </p:sp>
        <p:sp>
          <p:nvSpPr>
            <p:cNvPr id="60" name="Oval 59"/>
            <p:cNvSpPr>
              <a:spLocks noChangeArrowheads="1"/>
            </p:cNvSpPr>
            <p:nvPr/>
          </p:nvSpPr>
          <p:spPr bwMode="auto">
            <a:xfrm>
              <a:off x="3937127" y="1635352"/>
              <a:ext cx="1436103" cy="694927"/>
            </a:xfrm>
            <a:prstGeom prst="ellipse">
              <a:avLst/>
            </a:prstGeom>
            <a:solidFill>
              <a:schemeClr val="bg2"/>
            </a:solidFill>
            <a:ln w="6350" algn="ctr">
              <a:noFill/>
              <a:round/>
              <a:headEnd/>
              <a:tailEnd/>
            </a:ln>
          </p:spPr>
          <p:txBody>
            <a:bodyPr lIns="27000" tIns="27000" rIns="27000" bIns="27000" anchor="ctr" anchorCtr="1"/>
            <a:lstStyle/>
            <a:p>
              <a:pPr algn="ctr" eaLnBrk="1" hangingPunct="1">
                <a:lnSpc>
                  <a:spcPct val="106000"/>
                </a:lnSpc>
                <a:spcBef>
                  <a:spcPct val="80000"/>
                </a:spcBef>
              </a:pPr>
              <a:r>
                <a:rPr lang="en-US" altLang="ja-JP" sz="900" dirty="0">
                  <a:ea typeface="ＭＳ Ｐゴシック" pitchFamily="50" charset="-128"/>
                </a:rPr>
                <a:t>Release Planning</a:t>
              </a:r>
            </a:p>
            <a:p>
              <a:pPr algn="ctr" eaLnBrk="1" hangingPunct="1">
                <a:lnSpc>
                  <a:spcPct val="106000"/>
                </a:lnSpc>
              </a:pPr>
              <a:r>
                <a:rPr lang="en-US" altLang="ja-JP" sz="900" dirty="0">
                  <a:ea typeface="ＭＳ Ｐゴシック" pitchFamily="50" charset="-128"/>
                </a:rPr>
                <a:t>(CRM, OM, CLM)</a:t>
              </a:r>
            </a:p>
          </p:txBody>
        </p:sp>
        <p:sp>
          <p:nvSpPr>
            <p:cNvPr id="61" name="Oval 60"/>
            <p:cNvSpPr>
              <a:spLocks noChangeArrowheads="1"/>
            </p:cNvSpPr>
            <p:nvPr/>
          </p:nvSpPr>
          <p:spPr bwMode="auto">
            <a:xfrm>
              <a:off x="5488802" y="2198439"/>
              <a:ext cx="1436103" cy="696366"/>
            </a:xfrm>
            <a:prstGeom prst="ellipse">
              <a:avLst/>
            </a:prstGeom>
            <a:solidFill>
              <a:schemeClr val="bg2"/>
            </a:solidFill>
            <a:ln w="6350" algn="ctr">
              <a:noFill/>
              <a:round/>
              <a:headEnd/>
              <a:tailEnd/>
            </a:ln>
          </p:spPr>
          <p:txBody>
            <a:bodyPr lIns="27000" tIns="27000" rIns="27000" bIns="27000" anchor="ctr" anchorCtr="1"/>
            <a:lstStyle/>
            <a:p>
              <a:pPr algn="ctr">
                <a:lnSpc>
                  <a:spcPct val="106000"/>
                </a:lnSpc>
                <a:spcBef>
                  <a:spcPct val="80000"/>
                </a:spcBef>
              </a:pPr>
              <a:r>
                <a:rPr lang="en-US" altLang="ja-JP" sz="900" dirty="0">
                  <a:ea typeface="ＭＳ Ｐゴシック" pitchFamily="50" charset="-128"/>
                </a:rPr>
                <a:t>Design </a:t>
              </a:r>
            </a:p>
            <a:p>
              <a:pPr algn="ctr">
                <a:lnSpc>
                  <a:spcPct val="106000"/>
                </a:lnSpc>
              </a:pPr>
              <a:r>
                <a:rPr lang="en-US" altLang="ja-JP" sz="900" dirty="0">
                  <a:ea typeface="ＭＳ Ｐゴシック" pitchFamily="50" charset="-128"/>
                </a:rPr>
                <a:t>(CRM, OM, CLM)</a:t>
              </a:r>
            </a:p>
          </p:txBody>
        </p:sp>
        <p:sp>
          <p:nvSpPr>
            <p:cNvPr id="62" name="Oval 61"/>
            <p:cNvSpPr>
              <a:spLocks noChangeArrowheads="1"/>
            </p:cNvSpPr>
            <p:nvPr/>
          </p:nvSpPr>
          <p:spPr bwMode="auto">
            <a:xfrm>
              <a:off x="2362200" y="2198439"/>
              <a:ext cx="1436103" cy="696366"/>
            </a:xfrm>
            <a:prstGeom prst="ellipse">
              <a:avLst/>
            </a:prstGeom>
            <a:solidFill>
              <a:schemeClr val="bg2"/>
            </a:solidFill>
            <a:ln w="6350" algn="ctr">
              <a:noFill/>
              <a:round/>
              <a:headEnd/>
              <a:tailEnd/>
            </a:ln>
          </p:spPr>
          <p:txBody>
            <a:bodyPr lIns="27000" tIns="27000" rIns="27000" bIns="27000" anchor="ctr" anchorCtr="1"/>
            <a:lstStyle/>
            <a:p>
              <a:pPr algn="ctr" eaLnBrk="1" hangingPunct="1">
                <a:lnSpc>
                  <a:spcPct val="106000"/>
                </a:lnSpc>
                <a:spcBef>
                  <a:spcPct val="80000"/>
                </a:spcBef>
              </a:pPr>
              <a:r>
                <a:rPr lang="en-US" altLang="ja-JP" sz="900" dirty="0">
                  <a:ea typeface="ＭＳ Ｐゴシック" pitchFamily="50" charset="-128"/>
                </a:rPr>
                <a:t>Data Migration</a:t>
              </a:r>
            </a:p>
          </p:txBody>
        </p:sp>
        <p:sp>
          <p:nvSpPr>
            <p:cNvPr id="63" name="Oval 62"/>
            <p:cNvSpPr>
              <a:spLocks noChangeArrowheads="1"/>
            </p:cNvSpPr>
            <p:nvPr/>
          </p:nvSpPr>
          <p:spPr bwMode="auto">
            <a:xfrm>
              <a:off x="2362200" y="3221406"/>
              <a:ext cx="1436103" cy="694928"/>
            </a:xfrm>
            <a:prstGeom prst="ellipse">
              <a:avLst/>
            </a:prstGeom>
            <a:solidFill>
              <a:schemeClr val="bg2"/>
            </a:solidFill>
            <a:ln w="6350" algn="ctr">
              <a:noFill/>
              <a:round/>
              <a:headEnd/>
              <a:tailEnd/>
            </a:ln>
          </p:spPr>
          <p:txBody>
            <a:bodyPr lIns="27000" tIns="27000" rIns="27000" bIns="27000" anchor="ctr" anchorCtr="1"/>
            <a:lstStyle/>
            <a:p>
              <a:pPr algn="ctr">
                <a:lnSpc>
                  <a:spcPct val="106000"/>
                </a:lnSpc>
                <a:spcBef>
                  <a:spcPct val="80000"/>
                </a:spcBef>
              </a:pPr>
              <a:r>
                <a:rPr lang="en-US" altLang="ja-JP" sz="900" dirty="0">
                  <a:ea typeface="ＭＳ Ｐゴシック" pitchFamily="50" charset="-128"/>
                </a:rPr>
                <a:t>Integration</a:t>
              </a:r>
            </a:p>
          </p:txBody>
        </p:sp>
        <p:cxnSp>
          <p:nvCxnSpPr>
            <p:cNvPr id="64" name="AutoShape 13"/>
            <p:cNvCxnSpPr>
              <a:cxnSpLocks noChangeShapeType="1"/>
              <a:stCxn id="59" idx="0"/>
              <a:endCxn id="60" idx="4"/>
            </p:cNvCxnSpPr>
            <p:nvPr/>
          </p:nvCxnSpPr>
          <p:spPr bwMode="auto">
            <a:xfrm flipV="1">
              <a:off x="4655179" y="2330279"/>
              <a:ext cx="0" cy="173180"/>
            </a:xfrm>
            <a:prstGeom prst="straightConnector1">
              <a:avLst/>
            </a:prstGeom>
            <a:noFill/>
            <a:ln w="6350">
              <a:solidFill>
                <a:srgbClr val="BBBCBC"/>
              </a:solidFill>
              <a:round/>
              <a:headEnd type="triangle" w="med" len="med"/>
              <a:tailEnd type="triangle" w="med" len="med"/>
            </a:ln>
          </p:spPr>
        </p:cxnSp>
        <p:cxnSp>
          <p:nvCxnSpPr>
            <p:cNvPr id="72" name="AutoShape 21"/>
            <p:cNvCxnSpPr>
              <a:cxnSpLocks noChangeShapeType="1"/>
              <a:stCxn id="59" idx="3"/>
              <a:endCxn id="63" idx="6"/>
            </p:cNvCxnSpPr>
            <p:nvPr/>
          </p:nvCxnSpPr>
          <p:spPr bwMode="auto">
            <a:xfrm rot="5400000">
              <a:off x="3878827" y="3377144"/>
              <a:ext cx="111202" cy="272249"/>
            </a:xfrm>
            <a:prstGeom prst="straightConnector1">
              <a:avLst/>
            </a:prstGeom>
            <a:noFill/>
            <a:ln w="6350">
              <a:solidFill>
                <a:srgbClr val="BBBCBC"/>
              </a:solidFill>
              <a:round/>
              <a:headEnd type="triangle" w="med" len="med"/>
              <a:tailEnd type="triangle" w="med" len="med"/>
            </a:ln>
          </p:spPr>
        </p:cxnSp>
        <p:cxnSp>
          <p:nvCxnSpPr>
            <p:cNvPr id="73" name="AutoShape 22"/>
            <p:cNvCxnSpPr>
              <a:cxnSpLocks noChangeShapeType="1"/>
              <a:stCxn id="59" idx="5"/>
              <a:endCxn id="54" idx="2"/>
            </p:cNvCxnSpPr>
            <p:nvPr/>
          </p:nvCxnSpPr>
          <p:spPr bwMode="auto">
            <a:xfrm rot="16200000" flipH="1">
              <a:off x="5308702" y="3388770"/>
              <a:ext cx="111202" cy="248998"/>
            </a:xfrm>
            <a:prstGeom prst="straightConnector1">
              <a:avLst/>
            </a:prstGeom>
            <a:noFill/>
            <a:ln w="6350">
              <a:solidFill>
                <a:srgbClr val="BBBCBC"/>
              </a:solidFill>
              <a:round/>
              <a:headEnd type="triangle" w="med" len="med"/>
              <a:tailEnd type="triangle" w="med" len="med"/>
            </a:ln>
          </p:spPr>
        </p:cxnSp>
        <p:cxnSp>
          <p:nvCxnSpPr>
            <p:cNvPr id="74" name="AutoShape 23"/>
            <p:cNvCxnSpPr>
              <a:cxnSpLocks noChangeShapeType="1"/>
              <a:stCxn id="59" idx="7"/>
              <a:endCxn id="61" idx="2"/>
            </p:cNvCxnSpPr>
            <p:nvPr/>
          </p:nvCxnSpPr>
          <p:spPr bwMode="auto">
            <a:xfrm rot="5400000" flipH="1" flipV="1">
              <a:off x="5304027" y="2482400"/>
              <a:ext cx="120553" cy="248998"/>
            </a:xfrm>
            <a:prstGeom prst="straightConnector1">
              <a:avLst/>
            </a:prstGeom>
            <a:noFill/>
            <a:ln w="6350">
              <a:solidFill>
                <a:srgbClr val="BBBCBC"/>
              </a:solidFill>
              <a:round/>
              <a:headEnd type="triangle" w="med" len="med"/>
              <a:tailEnd type="triangle" w="med" len="med"/>
            </a:ln>
          </p:spPr>
        </p:cxnSp>
        <p:cxnSp>
          <p:nvCxnSpPr>
            <p:cNvPr id="75" name="AutoShape 24"/>
            <p:cNvCxnSpPr>
              <a:cxnSpLocks noChangeShapeType="1"/>
              <a:stCxn id="62" idx="6"/>
              <a:endCxn id="59" idx="1"/>
            </p:cNvCxnSpPr>
            <p:nvPr/>
          </p:nvCxnSpPr>
          <p:spPr bwMode="auto">
            <a:xfrm>
              <a:off x="3798303" y="2546622"/>
              <a:ext cx="272249" cy="120553"/>
            </a:xfrm>
            <a:prstGeom prst="straightConnector1">
              <a:avLst/>
            </a:prstGeom>
            <a:noFill/>
            <a:ln w="6350">
              <a:solidFill>
                <a:srgbClr val="BBBCBC"/>
              </a:solidFill>
              <a:round/>
              <a:headEnd type="triangle" w="med" len="med"/>
              <a:tailEnd type="triangle" w="med" len="med"/>
            </a:ln>
          </p:spPr>
        </p:cxnSp>
        <p:cxnSp>
          <p:nvCxnSpPr>
            <p:cNvPr id="76" name="AutoShape 25"/>
            <p:cNvCxnSpPr>
              <a:cxnSpLocks noChangeShapeType="1"/>
            </p:cNvCxnSpPr>
            <p:nvPr/>
          </p:nvCxnSpPr>
          <p:spPr bwMode="auto">
            <a:xfrm rot="5400000" flipH="1" flipV="1">
              <a:off x="4177824" y="3713332"/>
              <a:ext cx="553545" cy="369652"/>
            </a:xfrm>
            <a:prstGeom prst="straightConnector1">
              <a:avLst/>
            </a:prstGeom>
            <a:noFill/>
            <a:ln w="6350">
              <a:solidFill>
                <a:srgbClr val="BBBCBC"/>
              </a:solidFill>
              <a:round/>
              <a:headEnd type="triangle" w="med" len="med"/>
              <a:tailEnd type="triangle" w="med" len="med"/>
            </a:ln>
          </p:spPr>
        </p:cxnSp>
        <p:cxnSp>
          <p:nvCxnSpPr>
            <p:cNvPr id="77" name="AutoShape 26"/>
            <p:cNvCxnSpPr>
              <a:cxnSpLocks noChangeShapeType="1"/>
            </p:cNvCxnSpPr>
            <p:nvPr/>
          </p:nvCxnSpPr>
          <p:spPr bwMode="auto">
            <a:xfrm rot="16200000" flipV="1">
              <a:off x="4568830" y="3723490"/>
              <a:ext cx="553545" cy="349336"/>
            </a:xfrm>
            <a:prstGeom prst="straightConnector1">
              <a:avLst/>
            </a:prstGeom>
            <a:noFill/>
            <a:ln w="6350">
              <a:solidFill>
                <a:srgbClr val="BBBCBC"/>
              </a:solidFill>
              <a:round/>
              <a:headEnd type="triangle" w="med" len="med"/>
              <a:tailEnd type="triangle" w="med" len="med"/>
            </a:ln>
          </p:spPr>
        </p:cxnSp>
      </p:grpSp>
      <p:sp>
        <p:nvSpPr>
          <p:cNvPr id="10" name="Rounded Rectangle 9"/>
          <p:cNvSpPr/>
          <p:nvPr/>
        </p:nvSpPr>
        <p:spPr>
          <a:xfrm>
            <a:off x="4007478" y="735041"/>
            <a:ext cx="1295400" cy="617509"/>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900" dirty="0"/>
              <a:t>Timelines, resource dependencies &amp; availability, scope of R1</a:t>
            </a:r>
          </a:p>
        </p:txBody>
      </p:sp>
      <p:sp>
        <p:nvSpPr>
          <p:cNvPr id="35" name="Rounded Rectangle 34"/>
          <p:cNvSpPr/>
          <p:nvPr/>
        </p:nvSpPr>
        <p:spPr>
          <a:xfrm>
            <a:off x="7212824" y="1695881"/>
            <a:ext cx="1295400" cy="617509"/>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900" dirty="0"/>
              <a:t>Input to Country Set-up Workbook including Translations</a:t>
            </a:r>
          </a:p>
        </p:txBody>
      </p:sp>
      <p:sp>
        <p:nvSpPr>
          <p:cNvPr id="37" name="Rounded Rectangle 36"/>
          <p:cNvSpPr/>
          <p:nvPr/>
        </p:nvSpPr>
        <p:spPr>
          <a:xfrm>
            <a:off x="7467600" y="3084822"/>
            <a:ext cx="1295400" cy="617509"/>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900" dirty="0"/>
              <a:t>Input to Country Set-up Workbook including Translations</a:t>
            </a:r>
          </a:p>
          <a:p>
            <a:pPr algn="ctr"/>
            <a:r>
              <a:rPr lang="en-GB" sz="900" b="1" dirty="0"/>
              <a:t>WAVE SET-UP</a:t>
            </a:r>
          </a:p>
        </p:txBody>
      </p:sp>
      <p:sp>
        <p:nvSpPr>
          <p:cNvPr id="38" name="Rounded Rectangle 37"/>
          <p:cNvSpPr/>
          <p:nvPr/>
        </p:nvSpPr>
        <p:spPr>
          <a:xfrm>
            <a:off x="6705600" y="4042210"/>
            <a:ext cx="1295400" cy="617509"/>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900" dirty="0"/>
              <a:t>Support with creating Wave IQ document</a:t>
            </a:r>
          </a:p>
        </p:txBody>
      </p:sp>
      <p:sp>
        <p:nvSpPr>
          <p:cNvPr id="39" name="Rounded Rectangle 38"/>
          <p:cNvSpPr/>
          <p:nvPr/>
        </p:nvSpPr>
        <p:spPr>
          <a:xfrm>
            <a:off x="704495" y="1695881"/>
            <a:ext cx="1295400" cy="617509"/>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900" dirty="0"/>
              <a:t>Provide DM Scope, Templates, Mappings, How-to Guides, KT, </a:t>
            </a:r>
          </a:p>
        </p:txBody>
      </p:sp>
      <p:sp>
        <p:nvSpPr>
          <p:cNvPr id="40" name="Rounded Rectangle 39"/>
          <p:cNvSpPr/>
          <p:nvPr/>
        </p:nvSpPr>
        <p:spPr>
          <a:xfrm>
            <a:off x="457200" y="3084822"/>
            <a:ext cx="1295400" cy="617509"/>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900" dirty="0"/>
              <a:t>Input to Country Set-up Workbook</a:t>
            </a:r>
          </a:p>
          <a:p>
            <a:pPr algn="ctr">
              <a:lnSpc>
                <a:spcPct val="150000"/>
              </a:lnSpc>
            </a:pPr>
            <a:r>
              <a:rPr lang="en-GB" sz="900" b="1" dirty="0"/>
              <a:t>WAVE SET-UP</a:t>
            </a:r>
          </a:p>
        </p:txBody>
      </p:sp>
      <p:sp>
        <p:nvSpPr>
          <p:cNvPr id="41" name="Rounded Rectangle 40"/>
          <p:cNvSpPr/>
          <p:nvPr/>
        </p:nvSpPr>
        <p:spPr>
          <a:xfrm>
            <a:off x="1129912" y="4042209"/>
            <a:ext cx="1295400" cy="617509"/>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900" dirty="0"/>
              <a:t>Translation Workbench Exports</a:t>
            </a:r>
          </a:p>
          <a:p>
            <a:pPr algn="ctr"/>
            <a:r>
              <a:rPr lang="en-GB" sz="900" dirty="0"/>
              <a:t>Support with creating Wave IQ document</a:t>
            </a:r>
          </a:p>
        </p:txBody>
      </p:sp>
      <p:cxnSp>
        <p:nvCxnSpPr>
          <p:cNvPr id="13" name="Straight Arrow Connector 12"/>
          <p:cNvCxnSpPr>
            <a:stCxn id="39" idx="3"/>
            <a:endCxn id="62" idx="1"/>
          </p:cNvCxnSpPr>
          <p:nvPr/>
        </p:nvCxnSpPr>
        <p:spPr>
          <a:xfrm>
            <a:off x="1999895" y="2004636"/>
            <a:ext cx="572617" cy="232454"/>
          </a:xfrm>
          <a:prstGeom prst="straightConnector1">
            <a:avLst/>
          </a:prstGeom>
          <a:ln>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a:stCxn id="40" idx="3"/>
            <a:endCxn id="63" idx="2"/>
          </p:cNvCxnSpPr>
          <p:nvPr/>
        </p:nvCxnSpPr>
        <p:spPr>
          <a:xfrm>
            <a:off x="1752600" y="3393577"/>
            <a:ext cx="609600" cy="111964"/>
          </a:xfrm>
          <a:prstGeom prst="straightConnector1">
            <a:avLst/>
          </a:prstGeom>
          <a:ln>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a:stCxn id="41" idx="3"/>
            <a:endCxn id="57" idx="2"/>
          </p:cNvCxnSpPr>
          <p:nvPr/>
        </p:nvCxnSpPr>
        <p:spPr>
          <a:xfrm>
            <a:off x="2425312" y="4350964"/>
            <a:ext cx="634424" cy="6331"/>
          </a:xfrm>
          <a:prstGeom prst="straightConnector1">
            <a:avLst/>
          </a:prstGeom>
          <a:ln>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a:stCxn id="58" idx="6"/>
            <a:endCxn id="38" idx="1"/>
          </p:cNvCxnSpPr>
          <p:nvPr/>
        </p:nvCxnSpPr>
        <p:spPr>
          <a:xfrm flipV="1">
            <a:off x="6231472" y="4350965"/>
            <a:ext cx="474128" cy="6330"/>
          </a:xfrm>
          <a:prstGeom prst="straightConnector1">
            <a:avLst/>
          </a:prstGeom>
          <a:ln>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a:stCxn id="61" idx="7"/>
            <a:endCxn id="35" idx="1"/>
          </p:cNvCxnSpPr>
          <p:nvPr/>
        </p:nvCxnSpPr>
        <p:spPr>
          <a:xfrm flipV="1">
            <a:off x="6714593" y="2004636"/>
            <a:ext cx="498231" cy="232454"/>
          </a:xfrm>
          <a:prstGeom prst="straightConnector1">
            <a:avLst/>
          </a:prstGeom>
          <a:ln>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8" name="Straight Arrow Connector 77"/>
          <p:cNvCxnSpPr>
            <a:stCxn id="54" idx="6"/>
            <a:endCxn id="37" idx="1"/>
          </p:cNvCxnSpPr>
          <p:nvPr/>
        </p:nvCxnSpPr>
        <p:spPr>
          <a:xfrm flipV="1">
            <a:off x="6924905" y="3393577"/>
            <a:ext cx="542695" cy="111964"/>
          </a:xfrm>
          <a:prstGeom prst="straightConnector1">
            <a:avLst/>
          </a:prstGeom>
          <a:ln>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9" name="Straight Arrow Connector 78"/>
          <p:cNvCxnSpPr>
            <a:stCxn id="60" idx="0"/>
            <a:endCxn id="10" idx="2"/>
          </p:cNvCxnSpPr>
          <p:nvPr/>
        </p:nvCxnSpPr>
        <p:spPr>
          <a:xfrm flipH="1" flipV="1">
            <a:off x="4655178" y="1352550"/>
            <a:ext cx="1" cy="219473"/>
          </a:xfrm>
          <a:prstGeom prst="straightConnector1">
            <a:avLst/>
          </a:prstGeom>
          <a:ln>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25766834"/>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 name="Rectangle 89"/>
          <p:cNvSpPr>
            <a:spLocks/>
          </p:cNvSpPr>
          <p:nvPr/>
        </p:nvSpPr>
        <p:spPr>
          <a:xfrm>
            <a:off x="7593324" y="1003133"/>
            <a:ext cx="1328953" cy="404474"/>
          </a:xfrm>
          <a:prstGeom prst="rect">
            <a:avLst/>
          </a:prstGeom>
          <a:solidFill>
            <a:schemeClr val="tx2"/>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24465" tIns="24465" rIns="24465" bIns="24465" rtlCol="0" anchor="t"/>
          <a:lstStyle/>
          <a:p>
            <a:pPr algn="ctr" fontAlgn="base">
              <a:spcBef>
                <a:spcPct val="0"/>
              </a:spcBef>
              <a:spcAft>
                <a:spcPct val="0"/>
              </a:spcAft>
              <a:buClr>
                <a:srgbClr val="002776"/>
              </a:buClr>
              <a:defRPr/>
            </a:pPr>
            <a:endParaRPr lang="en-US" sz="1000" b="1" dirty="0">
              <a:solidFill>
                <a:schemeClr val="tx1"/>
              </a:solidFill>
            </a:endParaRPr>
          </a:p>
        </p:txBody>
      </p:sp>
      <p:sp>
        <p:nvSpPr>
          <p:cNvPr id="67" name="Rectangle 66"/>
          <p:cNvSpPr>
            <a:spLocks/>
          </p:cNvSpPr>
          <p:nvPr/>
        </p:nvSpPr>
        <p:spPr>
          <a:xfrm>
            <a:off x="4800600" y="989359"/>
            <a:ext cx="1773708" cy="470681"/>
          </a:xfrm>
          <a:prstGeom prst="rect">
            <a:avLst/>
          </a:prstGeom>
          <a:solidFill>
            <a:schemeClr val="tx2"/>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24465" tIns="24465" rIns="24465" bIns="24465" rtlCol="0" anchor="t"/>
          <a:lstStyle/>
          <a:p>
            <a:pPr algn="ctr" fontAlgn="base">
              <a:spcBef>
                <a:spcPct val="0"/>
              </a:spcBef>
              <a:spcAft>
                <a:spcPct val="0"/>
              </a:spcAft>
              <a:buClr>
                <a:srgbClr val="002776"/>
              </a:buClr>
              <a:defRPr/>
            </a:pPr>
            <a:endParaRPr lang="en-US" sz="1000" b="1" dirty="0">
              <a:solidFill>
                <a:schemeClr val="tx1"/>
              </a:solidFill>
            </a:endParaRPr>
          </a:p>
        </p:txBody>
      </p:sp>
      <p:graphicFrame>
        <p:nvGraphicFramePr>
          <p:cNvPr id="6" name="Object 5"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1" name="think-cell Slide" r:id="rId6" imgW="416" imgH="416" progId="TCLayout.ActiveDocument.1">
                  <p:embed/>
                </p:oleObj>
              </mc:Choice>
              <mc:Fallback>
                <p:oleObj name="think-cell Slide" r:id="rId6" imgW="416" imgH="416" progId="TCLayout.ActiveDocument.1">
                  <p:embed/>
                  <p:pic>
                    <p:nvPicPr>
                      <p:cNvPr id="6" name="Object 5"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dirty="0">
              <a:latin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normAutofit/>
          </a:bodyPr>
          <a:lstStyle/>
          <a:p>
            <a:r>
              <a:rPr lang="en-US" sz="2400" b="0" dirty="0">
                <a:solidFill>
                  <a:schemeClr val="accent6">
                    <a:lumMod val="50000"/>
                  </a:schemeClr>
                </a:solidFill>
              </a:rPr>
              <a:t>Who are the Roll-out </a:t>
            </a:r>
            <a:r>
              <a:rPr lang="en-US" sz="2400" b="0">
                <a:solidFill>
                  <a:schemeClr val="accent6">
                    <a:lumMod val="50000"/>
                  </a:schemeClr>
                </a:solidFill>
              </a:rPr>
              <a:t>Team?</a:t>
            </a:r>
            <a:endParaRPr lang="en-US" sz="2400" b="0" dirty="0">
              <a:solidFill>
                <a:schemeClr val="accent6">
                  <a:lumMod val="50000"/>
                </a:schemeClr>
              </a:solidFill>
            </a:endParaRPr>
          </a:p>
        </p:txBody>
      </p:sp>
      <p:sp>
        <p:nvSpPr>
          <p:cNvPr id="43" name="Rectangle 42"/>
          <p:cNvSpPr>
            <a:spLocks/>
          </p:cNvSpPr>
          <p:nvPr/>
        </p:nvSpPr>
        <p:spPr>
          <a:xfrm>
            <a:off x="457200" y="971550"/>
            <a:ext cx="1773708" cy="506299"/>
          </a:xfrm>
          <a:prstGeom prst="rect">
            <a:avLst/>
          </a:prstGeom>
          <a:solidFill>
            <a:schemeClr val="accent4"/>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24465" tIns="24465" rIns="24465" bIns="24465" rtlCol="0" anchor="t"/>
          <a:lstStyle/>
          <a:p>
            <a:pPr algn="ctr" fontAlgn="base">
              <a:spcBef>
                <a:spcPct val="0"/>
              </a:spcBef>
              <a:spcAft>
                <a:spcPct val="0"/>
              </a:spcAft>
              <a:buClr>
                <a:srgbClr val="002776"/>
              </a:buClr>
              <a:defRPr/>
            </a:pPr>
            <a:endParaRPr lang="en-US" sz="1000" b="1" dirty="0">
              <a:solidFill>
                <a:schemeClr val="tx1"/>
              </a:solidFill>
            </a:endParaRPr>
          </a:p>
        </p:txBody>
      </p:sp>
      <p:sp>
        <p:nvSpPr>
          <p:cNvPr id="44" name="Rectangle 43"/>
          <p:cNvSpPr>
            <a:spLocks/>
          </p:cNvSpPr>
          <p:nvPr/>
        </p:nvSpPr>
        <p:spPr>
          <a:xfrm>
            <a:off x="501196" y="1022740"/>
            <a:ext cx="1685715" cy="403918"/>
          </a:xfrm>
          <a:prstGeom prst="rect">
            <a:avLst/>
          </a:prstGeom>
          <a:solidFill>
            <a:schemeClr val="accent3"/>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24465" tIns="24465" rIns="24465" bIns="24465" rtlCol="0" anchor="ctr" anchorCtr="0"/>
          <a:lstStyle/>
          <a:p>
            <a:pPr algn="ctr" fontAlgn="base">
              <a:spcBef>
                <a:spcPct val="0"/>
              </a:spcBef>
              <a:spcAft>
                <a:spcPct val="0"/>
              </a:spcAft>
              <a:buClr>
                <a:schemeClr val="bg1"/>
              </a:buClr>
              <a:defRPr/>
            </a:pPr>
            <a:r>
              <a:rPr lang="en-US" sz="900" b="1" dirty="0">
                <a:solidFill>
                  <a:srgbClr val="FFFFFF"/>
                </a:solidFill>
              </a:rPr>
              <a:t>Regional CRM/Scout Lead</a:t>
            </a:r>
          </a:p>
          <a:p>
            <a:pPr algn="ctr" fontAlgn="base">
              <a:spcBef>
                <a:spcPct val="0"/>
              </a:spcBef>
              <a:spcAft>
                <a:spcPct val="0"/>
              </a:spcAft>
              <a:buClr>
                <a:schemeClr val="bg1"/>
              </a:buClr>
              <a:defRPr/>
            </a:pPr>
            <a:r>
              <a:rPr lang="en-US" sz="900" b="1" dirty="0">
                <a:solidFill>
                  <a:srgbClr val="FFFFFF"/>
                </a:solidFill>
              </a:rPr>
              <a:t>(Chiara Ippoliti / </a:t>
            </a:r>
          </a:p>
          <a:p>
            <a:pPr algn="ctr" fontAlgn="base">
              <a:spcBef>
                <a:spcPct val="0"/>
              </a:spcBef>
              <a:spcAft>
                <a:spcPct val="0"/>
              </a:spcAft>
              <a:buClr>
                <a:schemeClr val="bg1"/>
              </a:buClr>
              <a:defRPr/>
            </a:pPr>
            <a:r>
              <a:rPr lang="en-US" sz="900" b="1" dirty="0">
                <a:solidFill>
                  <a:srgbClr val="FFFFFF"/>
                </a:solidFill>
              </a:rPr>
              <a:t>Ludmilla Reina)</a:t>
            </a:r>
            <a:endParaRPr lang="en-US" sz="900" dirty="0">
              <a:solidFill>
                <a:srgbClr val="FFFFFF"/>
              </a:solidFill>
            </a:endParaRPr>
          </a:p>
        </p:txBody>
      </p:sp>
      <p:sp>
        <p:nvSpPr>
          <p:cNvPr id="69" name="Rectangle 68"/>
          <p:cNvSpPr>
            <a:spLocks/>
          </p:cNvSpPr>
          <p:nvPr/>
        </p:nvSpPr>
        <p:spPr>
          <a:xfrm>
            <a:off x="4844597" y="1054582"/>
            <a:ext cx="1685715" cy="340235"/>
          </a:xfrm>
          <a:prstGeom prst="rect">
            <a:avLst/>
          </a:prstGeom>
          <a:solidFill>
            <a:schemeClr val="accent1">
              <a:lumMod val="90000"/>
              <a:lumOff val="10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24465" tIns="24465" rIns="24465" bIns="24465" rtlCol="0" anchor="ctr" anchorCtr="0"/>
          <a:lstStyle/>
          <a:p>
            <a:pPr algn="ctr" fontAlgn="base">
              <a:spcBef>
                <a:spcPct val="0"/>
              </a:spcBef>
              <a:spcAft>
                <a:spcPct val="0"/>
              </a:spcAft>
              <a:buClr>
                <a:schemeClr val="bg1"/>
              </a:buClr>
              <a:defRPr/>
            </a:pPr>
            <a:r>
              <a:rPr lang="en-US" sz="900" b="1" dirty="0">
                <a:solidFill>
                  <a:srgbClr val="FFFFFF"/>
                </a:solidFill>
              </a:rPr>
              <a:t>Program Roll-out Lead</a:t>
            </a:r>
          </a:p>
          <a:p>
            <a:pPr algn="ctr" fontAlgn="base">
              <a:spcBef>
                <a:spcPct val="0"/>
              </a:spcBef>
              <a:spcAft>
                <a:spcPct val="0"/>
              </a:spcAft>
              <a:buClr>
                <a:schemeClr val="bg1"/>
              </a:buClr>
              <a:defRPr/>
            </a:pPr>
            <a:r>
              <a:rPr lang="en-US" sz="900" b="1" dirty="0">
                <a:solidFill>
                  <a:srgbClr val="FFFFFF"/>
                </a:solidFill>
              </a:rPr>
              <a:t>(Helen Lewis)</a:t>
            </a:r>
            <a:endParaRPr lang="en-US" sz="900" dirty="0">
              <a:solidFill>
                <a:srgbClr val="FFFFFF"/>
              </a:solidFill>
            </a:endParaRPr>
          </a:p>
        </p:txBody>
      </p:sp>
      <p:sp>
        <p:nvSpPr>
          <p:cNvPr id="72" name="Rectangle 71"/>
          <p:cNvSpPr>
            <a:spLocks/>
          </p:cNvSpPr>
          <p:nvPr/>
        </p:nvSpPr>
        <p:spPr>
          <a:xfrm>
            <a:off x="3581400" y="1733550"/>
            <a:ext cx="914400" cy="457200"/>
          </a:xfrm>
          <a:prstGeom prst="rect">
            <a:avLst/>
          </a:prstGeom>
          <a:solidFill>
            <a:schemeClr val="accent1">
              <a:lumMod val="90000"/>
              <a:lumOff val="10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24465" tIns="24465" rIns="24465" bIns="24465" rtlCol="0" anchor="ctr"/>
          <a:lstStyle/>
          <a:p>
            <a:pPr algn="ctr" fontAlgn="base">
              <a:spcBef>
                <a:spcPct val="0"/>
              </a:spcBef>
              <a:spcAft>
                <a:spcPct val="0"/>
              </a:spcAft>
              <a:buClr>
                <a:schemeClr val="bg1"/>
              </a:buClr>
              <a:defRPr/>
            </a:pPr>
            <a:r>
              <a:rPr lang="en-US" sz="800" b="1" dirty="0">
                <a:solidFill>
                  <a:srgbClr val="FFFFFF"/>
                </a:solidFill>
              </a:rPr>
              <a:t>Program Roll-out</a:t>
            </a:r>
          </a:p>
          <a:p>
            <a:pPr algn="ctr" fontAlgn="base">
              <a:spcBef>
                <a:spcPct val="0"/>
              </a:spcBef>
              <a:spcAft>
                <a:spcPct val="0"/>
              </a:spcAft>
              <a:buClr>
                <a:schemeClr val="bg1"/>
              </a:buClr>
              <a:defRPr/>
            </a:pPr>
            <a:r>
              <a:rPr lang="en-US" sz="800" b="1" dirty="0">
                <a:solidFill>
                  <a:srgbClr val="FFFFFF"/>
                </a:solidFill>
              </a:rPr>
              <a:t>Coordinators</a:t>
            </a:r>
          </a:p>
        </p:txBody>
      </p:sp>
      <p:sp>
        <p:nvSpPr>
          <p:cNvPr id="77" name="Rectangle 76"/>
          <p:cNvSpPr>
            <a:spLocks/>
          </p:cNvSpPr>
          <p:nvPr/>
        </p:nvSpPr>
        <p:spPr>
          <a:xfrm>
            <a:off x="4611474" y="1733550"/>
            <a:ext cx="914400" cy="457200"/>
          </a:xfrm>
          <a:prstGeom prst="rect">
            <a:avLst/>
          </a:prstGeom>
          <a:solidFill>
            <a:schemeClr val="accent1">
              <a:lumMod val="90000"/>
              <a:lumOff val="10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24465" tIns="24465" rIns="24465" bIns="24465" rtlCol="0" anchor="ctr"/>
          <a:lstStyle/>
          <a:p>
            <a:pPr algn="ctr" fontAlgn="base">
              <a:spcBef>
                <a:spcPct val="0"/>
              </a:spcBef>
              <a:spcAft>
                <a:spcPct val="0"/>
              </a:spcAft>
              <a:buClr>
                <a:schemeClr val="bg1"/>
              </a:buClr>
              <a:defRPr/>
            </a:pPr>
            <a:r>
              <a:rPr lang="en-US" sz="800" b="1" dirty="0">
                <a:solidFill>
                  <a:srgbClr val="FFFFFF"/>
                </a:solidFill>
              </a:rPr>
              <a:t>Program Roll-out</a:t>
            </a:r>
          </a:p>
          <a:p>
            <a:pPr algn="ctr" fontAlgn="base">
              <a:spcBef>
                <a:spcPct val="0"/>
              </a:spcBef>
              <a:spcAft>
                <a:spcPct val="0"/>
              </a:spcAft>
              <a:buClr>
                <a:schemeClr val="bg1"/>
              </a:buClr>
              <a:defRPr/>
            </a:pPr>
            <a:r>
              <a:rPr lang="en-US" sz="800" b="1" dirty="0">
                <a:solidFill>
                  <a:srgbClr val="FFFFFF"/>
                </a:solidFill>
              </a:rPr>
              <a:t>Local Testing Lead</a:t>
            </a:r>
            <a:endParaRPr lang="en-US" sz="800" dirty="0">
              <a:solidFill>
                <a:srgbClr val="FFFFFF"/>
              </a:solidFill>
            </a:endParaRPr>
          </a:p>
        </p:txBody>
      </p:sp>
      <p:sp>
        <p:nvSpPr>
          <p:cNvPr id="91" name="Rectangle 90"/>
          <p:cNvSpPr>
            <a:spLocks/>
          </p:cNvSpPr>
          <p:nvPr/>
        </p:nvSpPr>
        <p:spPr>
          <a:xfrm>
            <a:off x="5641548" y="1733550"/>
            <a:ext cx="914400" cy="457200"/>
          </a:xfrm>
          <a:prstGeom prst="rect">
            <a:avLst/>
          </a:prstGeom>
          <a:solidFill>
            <a:schemeClr val="accent1">
              <a:lumMod val="90000"/>
              <a:lumOff val="10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24465" tIns="24465" rIns="24465" bIns="24465" rtlCol="0" anchor="ctr"/>
          <a:lstStyle/>
          <a:p>
            <a:pPr algn="ctr" fontAlgn="base">
              <a:spcBef>
                <a:spcPct val="0"/>
              </a:spcBef>
              <a:spcAft>
                <a:spcPct val="0"/>
              </a:spcAft>
              <a:buClr>
                <a:schemeClr val="bg1"/>
              </a:buClr>
              <a:defRPr/>
            </a:pPr>
            <a:r>
              <a:rPr lang="en-US" sz="800" b="1" dirty="0">
                <a:solidFill>
                  <a:srgbClr val="FFFFFF"/>
                </a:solidFill>
              </a:rPr>
              <a:t>Program Roll-out</a:t>
            </a:r>
          </a:p>
          <a:p>
            <a:pPr algn="ctr" fontAlgn="base">
              <a:spcBef>
                <a:spcPct val="0"/>
              </a:spcBef>
              <a:spcAft>
                <a:spcPct val="0"/>
              </a:spcAft>
              <a:buClr>
                <a:schemeClr val="bg1"/>
              </a:buClr>
              <a:defRPr/>
            </a:pPr>
            <a:r>
              <a:rPr lang="en-US" sz="800" b="1" dirty="0">
                <a:solidFill>
                  <a:srgbClr val="FFFFFF"/>
                </a:solidFill>
              </a:rPr>
              <a:t>Local Cutover / Hypercare Lead</a:t>
            </a:r>
            <a:endParaRPr lang="en-US" sz="800" dirty="0">
              <a:solidFill>
                <a:srgbClr val="FFFFFF"/>
              </a:solidFill>
            </a:endParaRPr>
          </a:p>
        </p:txBody>
      </p:sp>
      <p:sp>
        <p:nvSpPr>
          <p:cNvPr id="49" name="Rectangle 48"/>
          <p:cNvSpPr/>
          <p:nvPr/>
        </p:nvSpPr>
        <p:spPr>
          <a:xfrm>
            <a:off x="2209800" y="989147"/>
            <a:ext cx="3733800" cy="5221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a:p>
        </p:txBody>
      </p:sp>
      <p:sp>
        <p:nvSpPr>
          <p:cNvPr id="111" name="Rectangle 110"/>
          <p:cNvSpPr>
            <a:spLocks/>
          </p:cNvSpPr>
          <p:nvPr/>
        </p:nvSpPr>
        <p:spPr>
          <a:xfrm>
            <a:off x="6671622" y="1733550"/>
            <a:ext cx="914400" cy="457200"/>
          </a:xfrm>
          <a:prstGeom prst="rect">
            <a:avLst/>
          </a:prstGeom>
          <a:solidFill>
            <a:schemeClr val="accent1">
              <a:lumMod val="90000"/>
              <a:lumOff val="10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24465" tIns="24465" rIns="24465" bIns="24465" rtlCol="0" anchor="ctr"/>
          <a:lstStyle/>
          <a:p>
            <a:pPr algn="ctr" fontAlgn="base">
              <a:spcBef>
                <a:spcPct val="0"/>
              </a:spcBef>
              <a:spcAft>
                <a:spcPct val="0"/>
              </a:spcAft>
              <a:buClr>
                <a:schemeClr val="bg1"/>
              </a:buClr>
              <a:defRPr/>
            </a:pPr>
            <a:r>
              <a:rPr lang="en-US" sz="800" b="1" dirty="0">
                <a:solidFill>
                  <a:srgbClr val="FFFFFF"/>
                </a:solidFill>
              </a:rPr>
              <a:t>Program Roll-out</a:t>
            </a:r>
          </a:p>
          <a:p>
            <a:pPr algn="ctr" fontAlgn="base">
              <a:spcBef>
                <a:spcPct val="0"/>
              </a:spcBef>
              <a:spcAft>
                <a:spcPct val="0"/>
              </a:spcAft>
              <a:buClr>
                <a:schemeClr val="bg1"/>
              </a:buClr>
              <a:defRPr/>
            </a:pPr>
            <a:r>
              <a:rPr lang="en-US" sz="800" b="1" dirty="0">
                <a:solidFill>
                  <a:srgbClr val="FFFFFF"/>
                </a:solidFill>
              </a:rPr>
              <a:t>Data Analysts</a:t>
            </a:r>
          </a:p>
        </p:txBody>
      </p:sp>
      <p:cxnSp>
        <p:nvCxnSpPr>
          <p:cNvPr id="112" name="Elbow Connector 111"/>
          <p:cNvCxnSpPr>
            <a:stCxn id="67" idx="2"/>
            <a:endCxn id="72" idx="0"/>
          </p:cNvCxnSpPr>
          <p:nvPr/>
        </p:nvCxnSpPr>
        <p:spPr>
          <a:xfrm rot="5400000">
            <a:off x="4726272" y="772368"/>
            <a:ext cx="273510" cy="1648854"/>
          </a:xfrm>
          <a:prstGeom prst="bentConnector3">
            <a:avLst>
              <a:gd name="adj1" fmla="val 50000"/>
            </a:avLst>
          </a:prstGeom>
          <a:ln>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3" name="Elbow Connector 112"/>
          <p:cNvCxnSpPr>
            <a:stCxn id="67" idx="2"/>
            <a:endCxn id="111" idx="0"/>
          </p:cNvCxnSpPr>
          <p:nvPr/>
        </p:nvCxnSpPr>
        <p:spPr>
          <a:xfrm rot="16200000" flipH="1">
            <a:off x="6271383" y="876111"/>
            <a:ext cx="273510" cy="1441368"/>
          </a:xfrm>
          <a:prstGeom prst="bentConnector3">
            <a:avLst>
              <a:gd name="adj1" fmla="val 50000"/>
            </a:avLst>
          </a:prstGeom>
          <a:ln>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5" name="Elbow Connector 114"/>
          <p:cNvCxnSpPr>
            <a:stCxn id="67" idx="2"/>
            <a:endCxn id="91" idx="0"/>
          </p:cNvCxnSpPr>
          <p:nvPr/>
        </p:nvCxnSpPr>
        <p:spPr>
          <a:xfrm rot="16200000" flipH="1">
            <a:off x="5756346" y="1391148"/>
            <a:ext cx="273510" cy="411294"/>
          </a:xfrm>
          <a:prstGeom prst="bentConnector3">
            <a:avLst>
              <a:gd name="adj1" fmla="val 50000"/>
            </a:avLst>
          </a:prstGeom>
          <a:ln>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6" name="Elbow Connector 115"/>
          <p:cNvCxnSpPr>
            <a:stCxn id="67" idx="2"/>
            <a:endCxn id="77" idx="0"/>
          </p:cNvCxnSpPr>
          <p:nvPr/>
        </p:nvCxnSpPr>
        <p:spPr>
          <a:xfrm rot="5400000">
            <a:off x="5241309" y="1287405"/>
            <a:ext cx="273510" cy="618780"/>
          </a:xfrm>
          <a:prstGeom prst="bentConnector3">
            <a:avLst>
              <a:gd name="adj1" fmla="val 50000"/>
            </a:avLst>
          </a:prstGeom>
          <a:ln>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a:stCxn id="43" idx="3"/>
            <a:endCxn id="67" idx="1"/>
          </p:cNvCxnSpPr>
          <p:nvPr/>
        </p:nvCxnSpPr>
        <p:spPr>
          <a:xfrm>
            <a:off x="2230908" y="1224700"/>
            <a:ext cx="256969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Straight Connector 17"/>
          <p:cNvCxnSpPr>
            <a:stCxn id="72" idx="2"/>
            <a:endCxn id="71" idx="0"/>
          </p:cNvCxnSpPr>
          <p:nvPr/>
        </p:nvCxnSpPr>
        <p:spPr>
          <a:xfrm flipH="1">
            <a:off x="2199672" y="2190750"/>
            <a:ext cx="1838928" cy="830832"/>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a:stCxn id="44" idx="2"/>
            <a:endCxn id="71" idx="0"/>
          </p:cNvCxnSpPr>
          <p:nvPr/>
        </p:nvCxnSpPr>
        <p:spPr>
          <a:xfrm>
            <a:off x="1344054" y="1426658"/>
            <a:ext cx="855618" cy="1594924"/>
          </a:xfrm>
          <a:prstGeom prst="line">
            <a:avLst/>
          </a:prstGeom>
          <a:ln>
            <a:prstDash val="solid"/>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a:stCxn id="44" idx="2"/>
            <a:endCxn id="68" idx="0"/>
          </p:cNvCxnSpPr>
          <p:nvPr/>
        </p:nvCxnSpPr>
        <p:spPr>
          <a:xfrm>
            <a:off x="1344054" y="1426658"/>
            <a:ext cx="1994085" cy="1594924"/>
          </a:xfrm>
          <a:prstGeom prst="line">
            <a:avLst/>
          </a:prstGeom>
          <a:ln>
            <a:prstDash val="solid"/>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a:stCxn id="44" idx="2"/>
            <a:endCxn id="93" idx="0"/>
          </p:cNvCxnSpPr>
          <p:nvPr/>
        </p:nvCxnSpPr>
        <p:spPr>
          <a:xfrm>
            <a:off x="1344054" y="1426658"/>
            <a:ext cx="3050602" cy="1594924"/>
          </a:xfrm>
          <a:prstGeom prst="line">
            <a:avLst/>
          </a:prstGeom>
          <a:ln>
            <a:prstDash val="solid"/>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a:stCxn id="44" idx="2"/>
            <a:endCxn id="104" idx="0"/>
          </p:cNvCxnSpPr>
          <p:nvPr/>
        </p:nvCxnSpPr>
        <p:spPr>
          <a:xfrm>
            <a:off x="1344054" y="1426658"/>
            <a:ext cx="4113081" cy="1586496"/>
          </a:xfrm>
          <a:prstGeom prst="line">
            <a:avLst/>
          </a:prstGeom>
          <a:ln>
            <a:prstDash val="solid"/>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a:stCxn id="44" idx="2"/>
            <a:endCxn id="56" idx="0"/>
          </p:cNvCxnSpPr>
          <p:nvPr/>
        </p:nvCxnSpPr>
        <p:spPr>
          <a:xfrm flipH="1">
            <a:off x="916278" y="1426658"/>
            <a:ext cx="427776" cy="1886791"/>
          </a:xfrm>
          <a:prstGeom prst="line">
            <a:avLst/>
          </a:prstGeom>
          <a:ln>
            <a:prstDash val="solid"/>
          </a:ln>
        </p:spPr>
        <p:style>
          <a:lnRef idx="1">
            <a:schemeClr val="accent1"/>
          </a:lnRef>
          <a:fillRef idx="0">
            <a:schemeClr val="accent1"/>
          </a:fillRef>
          <a:effectRef idx="0">
            <a:schemeClr val="accent1"/>
          </a:effectRef>
          <a:fontRef idx="minor">
            <a:schemeClr val="tx1"/>
          </a:fontRef>
        </p:style>
      </p:cxnSp>
      <p:grpSp>
        <p:nvGrpSpPr>
          <p:cNvPr id="39" name="Group 38"/>
          <p:cNvGrpSpPr/>
          <p:nvPr/>
        </p:nvGrpSpPr>
        <p:grpSpPr>
          <a:xfrm>
            <a:off x="179206" y="3013154"/>
            <a:ext cx="5916794" cy="1692196"/>
            <a:chOff x="179206" y="2876919"/>
            <a:chExt cx="6373994" cy="1828431"/>
          </a:xfrm>
        </p:grpSpPr>
        <p:sp>
          <p:nvSpPr>
            <p:cNvPr id="71" name="Rectangle 70"/>
            <p:cNvSpPr>
              <a:spLocks/>
            </p:cNvSpPr>
            <p:nvPr/>
          </p:nvSpPr>
          <p:spPr>
            <a:xfrm>
              <a:off x="1819964" y="2886026"/>
              <a:ext cx="1071664" cy="1819324"/>
            </a:xfrm>
            <a:prstGeom prst="rect">
              <a:avLst/>
            </a:prstGeom>
            <a:solidFill>
              <a:schemeClr val="accent1">
                <a:lumMod val="10000"/>
                <a:lumOff val="9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24465" tIns="24465" rIns="24465" bIns="24465" rtlCol="0" anchor="t"/>
            <a:lstStyle/>
            <a:p>
              <a:pPr algn="ctr" fontAlgn="base">
                <a:spcBef>
                  <a:spcPct val="0"/>
                </a:spcBef>
                <a:spcAft>
                  <a:spcPct val="0"/>
                </a:spcAft>
                <a:buClr>
                  <a:srgbClr val="002776"/>
                </a:buClr>
                <a:defRPr/>
              </a:pPr>
              <a:r>
                <a:rPr lang="en-US" sz="900" b="1" dirty="0">
                  <a:solidFill>
                    <a:schemeClr val="tx1"/>
                  </a:solidFill>
                </a:rPr>
                <a:t>Group 1</a:t>
              </a:r>
            </a:p>
          </p:txBody>
        </p:sp>
        <p:sp>
          <p:nvSpPr>
            <p:cNvPr id="74" name="Rectangle 73"/>
            <p:cNvSpPr>
              <a:spLocks/>
            </p:cNvSpPr>
            <p:nvPr/>
          </p:nvSpPr>
          <p:spPr>
            <a:xfrm>
              <a:off x="1855968" y="3691352"/>
              <a:ext cx="999655" cy="287223"/>
            </a:xfrm>
            <a:prstGeom prst="rect">
              <a:avLst/>
            </a:prstGeom>
            <a:solidFill>
              <a:schemeClr val="accent2">
                <a:lumMod val="60000"/>
                <a:lumOff val="40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24465" tIns="24465" rIns="24465" bIns="24465" rtlCol="0" anchor="ctr" anchorCtr="0"/>
            <a:lstStyle/>
            <a:p>
              <a:pPr algn="ctr" fontAlgn="base">
                <a:spcBef>
                  <a:spcPct val="0"/>
                </a:spcBef>
                <a:spcAft>
                  <a:spcPct val="0"/>
                </a:spcAft>
                <a:buClr>
                  <a:schemeClr val="bg1"/>
                </a:buClr>
                <a:defRPr/>
              </a:pPr>
              <a:r>
                <a:rPr lang="en-US" sz="800" b="1" dirty="0">
                  <a:solidFill>
                    <a:srgbClr val="FFFFFF"/>
                  </a:solidFill>
                </a:rPr>
                <a:t>Country 1</a:t>
              </a:r>
            </a:p>
          </p:txBody>
        </p:sp>
        <p:sp>
          <p:nvSpPr>
            <p:cNvPr id="54" name="Rectangle 53"/>
            <p:cNvSpPr>
              <a:spLocks/>
            </p:cNvSpPr>
            <p:nvPr/>
          </p:nvSpPr>
          <p:spPr>
            <a:xfrm>
              <a:off x="1862861" y="3237509"/>
              <a:ext cx="999655" cy="324841"/>
            </a:xfrm>
            <a:prstGeom prst="rect">
              <a:avLst/>
            </a:prstGeom>
            <a:solidFill>
              <a:schemeClr val="accent3"/>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24465" tIns="24465" rIns="24465" bIns="24465" rtlCol="0" anchor="t"/>
            <a:lstStyle/>
            <a:p>
              <a:pPr algn="ctr" fontAlgn="base">
                <a:spcBef>
                  <a:spcPct val="0"/>
                </a:spcBef>
                <a:spcAft>
                  <a:spcPct val="0"/>
                </a:spcAft>
                <a:buClr>
                  <a:schemeClr val="bg1"/>
                </a:buClr>
                <a:defRPr/>
              </a:pPr>
              <a:r>
                <a:rPr lang="en-US" sz="800" b="1" dirty="0">
                  <a:solidFill>
                    <a:srgbClr val="FFFFFF"/>
                  </a:solidFill>
                </a:rPr>
                <a:t>Local Roll-out Manager</a:t>
              </a:r>
              <a:endParaRPr lang="en-US" sz="800" dirty="0">
                <a:solidFill>
                  <a:srgbClr val="FFFFFF"/>
                </a:solidFill>
              </a:endParaRPr>
            </a:p>
          </p:txBody>
        </p:sp>
        <p:sp>
          <p:nvSpPr>
            <p:cNvPr id="58" name="Rectangle 57"/>
            <p:cNvSpPr>
              <a:spLocks/>
            </p:cNvSpPr>
            <p:nvPr/>
          </p:nvSpPr>
          <p:spPr>
            <a:xfrm>
              <a:off x="1862860" y="4036041"/>
              <a:ext cx="999655" cy="287223"/>
            </a:xfrm>
            <a:prstGeom prst="rect">
              <a:avLst/>
            </a:prstGeom>
            <a:solidFill>
              <a:schemeClr val="accent2">
                <a:lumMod val="60000"/>
                <a:lumOff val="40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24465" tIns="24465" rIns="24465" bIns="24465" rtlCol="0" anchor="ctr" anchorCtr="0"/>
            <a:lstStyle/>
            <a:p>
              <a:pPr algn="ctr" fontAlgn="base">
                <a:spcBef>
                  <a:spcPct val="0"/>
                </a:spcBef>
                <a:spcAft>
                  <a:spcPct val="0"/>
                </a:spcAft>
                <a:buClr>
                  <a:schemeClr val="bg1"/>
                </a:buClr>
                <a:defRPr/>
              </a:pPr>
              <a:r>
                <a:rPr lang="en-US" sz="800" b="1" dirty="0">
                  <a:solidFill>
                    <a:srgbClr val="FFFFFF"/>
                  </a:solidFill>
                </a:rPr>
                <a:t>Country 2</a:t>
              </a:r>
            </a:p>
          </p:txBody>
        </p:sp>
        <p:sp>
          <p:nvSpPr>
            <p:cNvPr id="60" name="Rectangle 59"/>
            <p:cNvSpPr>
              <a:spLocks/>
            </p:cNvSpPr>
            <p:nvPr/>
          </p:nvSpPr>
          <p:spPr>
            <a:xfrm>
              <a:off x="1855967" y="4386007"/>
              <a:ext cx="999655" cy="287223"/>
            </a:xfrm>
            <a:prstGeom prst="rect">
              <a:avLst/>
            </a:prstGeom>
            <a:solidFill>
              <a:schemeClr val="accent2">
                <a:lumMod val="60000"/>
                <a:lumOff val="40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24465" tIns="24465" rIns="24465" bIns="24465" rtlCol="0" anchor="ctr" anchorCtr="0"/>
            <a:lstStyle/>
            <a:p>
              <a:pPr algn="ctr" fontAlgn="base">
                <a:spcBef>
                  <a:spcPct val="0"/>
                </a:spcBef>
                <a:spcAft>
                  <a:spcPct val="0"/>
                </a:spcAft>
                <a:buClr>
                  <a:schemeClr val="bg1"/>
                </a:buClr>
                <a:defRPr/>
              </a:pPr>
              <a:r>
                <a:rPr lang="en-US" sz="800" b="1" dirty="0">
                  <a:solidFill>
                    <a:srgbClr val="FFFFFF"/>
                  </a:solidFill>
                </a:rPr>
                <a:t>Country N</a:t>
              </a:r>
            </a:p>
          </p:txBody>
        </p:sp>
        <p:sp>
          <p:nvSpPr>
            <p:cNvPr id="68" name="Rectangle 67"/>
            <p:cNvSpPr>
              <a:spLocks/>
            </p:cNvSpPr>
            <p:nvPr/>
          </p:nvSpPr>
          <p:spPr>
            <a:xfrm>
              <a:off x="3046402" y="2886026"/>
              <a:ext cx="1071664" cy="1819324"/>
            </a:xfrm>
            <a:prstGeom prst="rect">
              <a:avLst/>
            </a:prstGeom>
            <a:solidFill>
              <a:schemeClr val="accent1">
                <a:lumMod val="10000"/>
                <a:lumOff val="9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24465" tIns="24465" rIns="24465" bIns="24465" rtlCol="0" anchor="t"/>
            <a:lstStyle/>
            <a:p>
              <a:pPr algn="ctr" fontAlgn="base">
                <a:spcBef>
                  <a:spcPct val="0"/>
                </a:spcBef>
                <a:spcAft>
                  <a:spcPct val="0"/>
                </a:spcAft>
                <a:buClr>
                  <a:srgbClr val="002776"/>
                </a:buClr>
                <a:defRPr/>
              </a:pPr>
              <a:r>
                <a:rPr lang="en-US" sz="900" b="1" dirty="0">
                  <a:solidFill>
                    <a:schemeClr val="tx1"/>
                  </a:solidFill>
                </a:rPr>
                <a:t>Group 2</a:t>
              </a:r>
            </a:p>
          </p:txBody>
        </p:sp>
        <p:sp>
          <p:nvSpPr>
            <p:cNvPr id="70" name="Rectangle 69"/>
            <p:cNvSpPr>
              <a:spLocks/>
            </p:cNvSpPr>
            <p:nvPr/>
          </p:nvSpPr>
          <p:spPr>
            <a:xfrm>
              <a:off x="3082406" y="3691352"/>
              <a:ext cx="999655" cy="287223"/>
            </a:xfrm>
            <a:prstGeom prst="rect">
              <a:avLst/>
            </a:prstGeom>
            <a:solidFill>
              <a:schemeClr val="accent2">
                <a:lumMod val="60000"/>
                <a:lumOff val="40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24465" tIns="24465" rIns="24465" bIns="24465" rtlCol="0" anchor="ctr" anchorCtr="0"/>
            <a:lstStyle/>
            <a:p>
              <a:pPr algn="ctr" fontAlgn="base">
                <a:spcBef>
                  <a:spcPct val="0"/>
                </a:spcBef>
                <a:spcAft>
                  <a:spcPct val="0"/>
                </a:spcAft>
                <a:buClr>
                  <a:schemeClr val="bg1"/>
                </a:buClr>
                <a:defRPr/>
              </a:pPr>
              <a:r>
                <a:rPr lang="en-US" sz="800" b="1" dirty="0">
                  <a:solidFill>
                    <a:srgbClr val="FFFFFF"/>
                  </a:solidFill>
                </a:rPr>
                <a:t>Country 1</a:t>
              </a:r>
            </a:p>
          </p:txBody>
        </p:sp>
        <p:sp>
          <p:nvSpPr>
            <p:cNvPr id="85" name="Rectangle 84"/>
            <p:cNvSpPr>
              <a:spLocks/>
            </p:cNvSpPr>
            <p:nvPr/>
          </p:nvSpPr>
          <p:spPr>
            <a:xfrm>
              <a:off x="3089299" y="3237509"/>
              <a:ext cx="999655" cy="324841"/>
            </a:xfrm>
            <a:prstGeom prst="rect">
              <a:avLst/>
            </a:prstGeom>
            <a:solidFill>
              <a:schemeClr val="accent3"/>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24465" tIns="24465" rIns="24465" bIns="24465" rtlCol="0" anchor="t"/>
            <a:lstStyle/>
            <a:p>
              <a:pPr algn="ctr" fontAlgn="base">
                <a:spcBef>
                  <a:spcPct val="0"/>
                </a:spcBef>
                <a:spcAft>
                  <a:spcPct val="0"/>
                </a:spcAft>
                <a:buClr>
                  <a:schemeClr val="bg1"/>
                </a:buClr>
                <a:defRPr/>
              </a:pPr>
              <a:r>
                <a:rPr lang="en-US" sz="800" b="1" dirty="0">
                  <a:solidFill>
                    <a:srgbClr val="FFFFFF"/>
                  </a:solidFill>
                </a:rPr>
                <a:t>Local Roll-out Manager</a:t>
              </a:r>
              <a:endParaRPr lang="en-US" sz="800" dirty="0">
                <a:solidFill>
                  <a:srgbClr val="FFFFFF"/>
                </a:solidFill>
              </a:endParaRPr>
            </a:p>
          </p:txBody>
        </p:sp>
        <p:sp>
          <p:nvSpPr>
            <p:cNvPr id="87" name="Rectangle 86"/>
            <p:cNvSpPr>
              <a:spLocks/>
            </p:cNvSpPr>
            <p:nvPr/>
          </p:nvSpPr>
          <p:spPr>
            <a:xfrm>
              <a:off x="3089298" y="4036041"/>
              <a:ext cx="999655" cy="287223"/>
            </a:xfrm>
            <a:prstGeom prst="rect">
              <a:avLst/>
            </a:prstGeom>
            <a:solidFill>
              <a:schemeClr val="accent2">
                <a:lumMod val="60000"/>
                <a:lumOff val="40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24465" tIns="24465" rIns="24465" bIns="24465" rtlCol="0" anchor="ctr" anchorCtr="0"/>
            <a:lstStyle/>
            <a:p>
              <a:pPr algn="ctr" fontAlgn="base">
                <a:spcBef>
                  <a:spcPct val="0"/>
                </a:spcBef>
                <a:spcAft>
                  <a:spcPct val="0"/>
                </a:spcAft>
                <a:buClr>
                  <a:schemeClr val="bg1"/>
                </a:buClr>
                <a:defRPr/>
              </a:pPr>
              <a:r>
                <a:rPr lang="en-US" sz="800" b="1" dirty="0">
                  <a:solidFill>
                    <a:srgbClr val="FFFFFF"/>
                  </a:solidFill>
                </a:rPr>
                <a:t>Country 2</a:t>
              </a:r>
            </a:p>
          </p:txBody>
        </p:sp>
        <p:sp>
          <p:nvSpPr>
            <p:cNvPr id="88" name="Rectangle 87"/>
            <p:cNvSpPr>
              <a:spLocks/>
            </p:cNvSpPr>
            <p:nvPr/>
          </p:nvSpPr>
          <p:spPr>
            <a:xfrm>
              <a:off x="3082405" y="4380730"/>
              <a:ext cx="999655" cy="287223"/>
            </a:xfrm>
            <a:prstGeom prst="rect">
              <a:avLst/>
            </a:prstGeom>
            <a:solidFill>
              <a:schemeClr val="accent2">
                <a:lumMod val="60000"/>
                <a:lumOff val="40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24465" tIns="24465" rIns="24465" bIns="24465" rtlCol="0" anchor="ctr" anchorCtr="0"/>
            <a:lstStyle/>
            <a:p>
              <a:pPr algn="ctr" fontAlgn="base">
                <a:spcBef>
                  <a:spcPct val="0"/>
                </a:spcBef>
                <a:spcAft>
                  <a:spcPct val="0"/>
                </a:spcAft>
                <a:buClr>
                  <a:schemeClr val="bg1"/>
                </a:buClr>
                <a:defRPr/>
              </a:pPr>
              <a:r>
                <a:rPr lang="en-US" sz="800" b="1" dirty="0">
                  <a:solidFill>
                    <a:srgbClr val="FFFFFF"/>
                  </a:solidFill>
                </a:rPr>
                <a:t>Country N</a:t>
              </a:r>
            </a:p>
          </p:txBody>
        </p:sp>
        <p:sp>
          <p:nvSpPr>
            <p:cNvPr id="93" name="Rectangle 92"/>
            <p:cNvSpPr>
              <a:spLocks/>
            </p:cNvSpPr>
            <p:nvPr/>
          </p:nvSpPr>
          <p:spPr>
            <a:xfrm>
              <a:off x="4184558" y="2886026"/>
              <a:ext cx="1071664" cy="1819324"/>
            </a:xfrm>
            <a:prstGeom prst="rect">
              <a:avLst/>
            </a:prstGeom>
            <a:solidFill>
              <a:schemeClr val="accent1">
                <a:lumMod val="10000"/>
                <a:lumOff val="9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24465" tIns="24465" rIns="24465" bIns="24465" rtlCol="0" anchor="t"/>
            <a:lstStyle/>
            <a:p>
              <a:pPr algn="ctr" fontAlgn="base">
                <a:spcBef>
                  <a:spcPct val="0"/>
                </a:spcBef>
                <a:spcAft>
                  <a:spcPct val="0"/>
                </a:spcAft>
                <a:buClr>
                  <a:srgbClr val="002776"/>
                </a:buClr>
                <a:defRPr/>
              </a:pPr>
              <a:r>
                <a:rPr lang="en-US" sz="900" b="1" dirty="0">
                  <a:solidFill>
                    <a:schemeClr val="tx1"/>
                  </a:solidFill>
                </a:rPr>
                <a:t>Group 3</a:t>
              </a:r>
            </a:p>
          </p:txBody>
        </p:sp>
        <p:sp>
          <p:nvSpPr>
            <p:cNvPr id="95" name="Rectangle 94"/>
            <p:cNvSpPr>
              <a:spLocks/>
            </p:cNvSpPr>
            <p:nvPr/>
          </p:nvSpPr>
          <p:spPr>
            <a:xfrm>
              <a:off x="4220562" y="3691352"/>
              <a:ext cx="999655" cy="287223"/>
            </a:xfrm>
            <a:prstGeom prst="rect">
              <a:avLst/>
            </a:prstGeom>
            <a:solidFill>
              <a:schemeClr val="accent2">
                <a:lumMod val="60000"/>
                <a:lumOff val="40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24465" tIns="24465" rIns="24465" bIns="24465" rtlCol="0" anchor="ctr" anchorCtr="0"/>
            <a:lstStyle/>
            <a:p>
              <a:pPr algn="ctr" fontAlgn="base">
                <a:spcBef>
                  <a:spcPct val="0"/>
                </a:spcBef>
                <a:spcAft>
                  <a:spcPct val="0"/>
                </a:spcAft>
                <a:buClr>
                  <a:schemeClr val="bg1"/>
                </a:buClr>
                <a:defRPr/>
              </a:pPr>
              <a:r>
                <a:rPr lang="en-US" sz="800" b="1" dirty="0">
                  <a:solidFill>
                    <a:srgbClr val="FFFFFF"/>
                  </a:solidFill>
                </a:rPr>
                <a:t>Country 1</a:t>
              </a:r>
            </a:p>
          </p:txBody>
        </p:sp>
        <p:sp>
          <p:nvSpPr>
            <p:cNvPr id="96" name="Rectangle 95"/>
            <p:cNvSpPr>
              <a:spLocks/>
            </p:cNvSpPr>
            <p:nvPr/>
          </p:nvSpPr>
          <p:spPr>
            <a:xfrm>
              <a:off x="4227455" y="3237509"/>
              <a:ext cx="999655" cy="324841"/>
            </a:xfrm>
            <a:prstGeom prst="rect">
              <a:avLst/>
            </a:prstGeom>
            <a:solidFill>
              <a:schemeClr val="accent3"/>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24465" tIns="24465" rIns="24465" bIns="24465" rtlCol="0" anchor="t"/>
            <a:lstStyle/>
            <a:p>
              <a:pPr algn="ctr" fontAlgn="base">
                <a:spcBef>
                  <a:spcPct val="0"/>
                </a:spcBef>
                <a:spcAft>
                  <a:spcPct val="0"/>
                </a:spcAft>
                <a:buClr>
                  <a:schemeClr val="bg1"/>
                </a:buClr>
                <a:defRPr/>
              </a:pPr>
              <a:r>
                <a:rPr lang="en-US" sz="800" b="1" dirty="0">
                  <a:solidFill>
                    <a:srgbClr val="FFFFFF"/>
                  </a:solidFill>
                </a:rPr>
                <a:t>Local Roll-out Manager</a:t>
              </a:r>
              <a:endParaRPr lang="en-US" sz="800" dirty="0">
                <a:solidFill>
                  <a:srgbClr val="FFFFFF"/>
                </a:solidFill>
              </a:endParaRPr>
            </a:p>
          </p:txBody>
        </p:sp>
        <p:sp>
          <p:nvSpPr>
            <p:cNvPr id="97" name="Rectangle 96"/>
            <p:cNvSpPr>
              <a:spLocks/>
            </p:cNvSpPr>
            <p:nvPr/>
          </p:nvSpPr>
          <p:spPr>
            <a:xfrm>
              <a:off x="4227454" y="4036041"/>
              <a:ext cx="999655" cy="287223"/>
            </a:xfrm>
            <a:prstGeom prst="rect">
              <a:avLst/>
            </a:prstGeom>
            <a:solidFill>
              <a:schemeClr val="accent2">
                <a:lumMod val="60000"/>
                <a:lumOff val="40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24465" tIns="24465" rIns="24465" bIns="24465" rtlCol="0" anchor="ctr" anchorCtr="0"/>
            <a:lstStyle/>
            <a:p>
              <a:pPr algn="ctr" fontAlgn="base">
                <a:spcBef>
                  <a:spcPct val="0"/>
                </a:spcBef>
                <a:spcAft>
                  <a:spcPct val="0"/>
                </a:spcAft>
                <a:buClr>
                  <a:schemeClr val="bg1"/>
                </a:buClr>
                <a:defRPr/>
              </a:pPr>
              <a:r>
                <a:rPr lang="en-US" sz="800" b="1" dirty="0">
                  <a:solidFill>
                    <a:srgbClr val="FFFFFF"/>
                  </a:solidFill>
                </a:rPr>
                <a:t>Country 2</a:t>
              </a:r>
            </a:p>
          </p:txBody>
        </p:sp>
        <p:sp>
          <p:nvSpPr>
            <p:cNvPr id="98" name="Rectangle 97"/>
            <p:cNvSpPr>
              <a:spLocks/>
            </p:cNvSpPr>
            <p:nvPr/>
          </p:nvSpPr>
          <p:spPr>
            <a:xfrm>
              <a:off x="4220561" y="4380730"/>
              <a:ext cx="999655" cy="287223"/>
            </a:xfrm>
            <a:prstGeom prst="rect">
              <a:avLst/>
            </a:prstGeom>
            <a:solidFill>
              <a:schemeClr val="accent2">
                <a:lumMod val="60000"/>
                <a:lumOff val="40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24465" tIns="24465" rIns="24465" bIns="24465" rtlCol="0" anchor="ctr" anchorCtr="0"/>
            <a:lstStyle/>
            <a:p>
              <a:pPr algn="ctr" fontAlgn="base">
                <a:spcBef>
                  <a:spcPct val="0"/>
                </a:spcBef>
                <a:spcAft>
                  <a:spcPct val="0"/>
                </a:spcAft>
                <a:buClr>
                  <a:schemeClr val="bg1"/>
                </a:buClr>
                <a:defRPr/>
              </a:pPr>
              <a:r>
                <a:rPr lang="en-US" sz="800" b="1" dirty="0">
                  <a:solidFill>
                    <a:srgbClr val="FFFFFF"/>
                  </a:solidFill>
                </a:rPr>
                <a:t>Country N</a:t>
              </a:r>
            </a:p>
          </p:txBody>
        </p:sp>
        <p:sp>
          <p:nvSpPr>
            <p:cNvPr id="104" name="Rectangle 103"/>
            <p:cNvSpPr>
              <a:spLocks/>
            </p:cNvSpPr>
            <p:nvPr/>
          </p:nvSpPr>
          <p:spPr>
            <a:xfrm>
              <a:off x="5329136" y="2876919"/>
              <a:ext cx="1071664" cy="1819324"/>
            </a:xfrm>
            <a:prstGeom prst="rect">
              <a:avLst/>
            </a:prstGeom>
            <a:solidFill>
              <a:schemeClr val="accent1">
                <a:lumMod val="10000"/>
                <a:lumOff val="9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24465" tIns="24465" rIns="24465" bIns="24465" rtlCol="0" anchor="t"/>
            <a:lstStyle/>
            <a:p>
              <a:pPr algn="ctr" fontAlgn="base">
                <a:spcBef>
                  <a:spcPct val="0"/>
                </a:spcBef>
                <a:spcAft>
                  <a:spcPct val="0"/>
                </a:spcAft>
                <a:buClr>
                  <a:srgbClr val="002776"/>
                </a:buClr>
                <a:defRPr/>
              </a:pPr>
              <a:r>
                <a:rPr lang="en-US" sz="900" b="1" dirty="0">
                  <a:solidFill>
                    <a:schemeClr val="tx1"/>
                  </a:solidFill>
                </a:rPr>
                <a:t>Group N</a:t>
              </a:r>
            </a:p>
          </p:txBody>
        </p:sp>
        <p:sp>
          <p:nvSpPr>
            <p:cNvPr id="106" name="Rectangle 105"/>
            <p:cNvSpPr>
              <a:spLocks/>
            </p:cNvSpPr>
            <p:nvPr/>
          </p:nvSpPr>
          <p:spPr>
            <a:xfrm>
              <a:off x="5365140" y="3682245"/>
              <a:ext cx="999655" cy="287223"/>
            </a:xfrm>
            <a:prstGeom prst="rect">
              <a:avLst/>
            </a:prstGeom>
            <a:solidFill>
              <a:schemeClr val="accent2">
                <a:lumMod val="60000"/>
                <a:lumOff val="40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24465" tIns="24465" rIns="24465" bIns="24465" rtlCol="0" anchor="ctr" anchorCtr="0"/>
            <a:lstStyle/>
            <a:p>
              <a:pPr algn="ctr" fontAlgn="base">
                <a:spcBef>
                  <a:spcPct val="0"/>
                </a:spcBef>
                <a:spcAft>
                  <a:spcPct val="0"/>
                </a:spcAft>
                <a:buClr>
                  <a:schemeClr val="bg1"/>
                </a:buClr>
                <a:defRPr/>
              </a:pPr>
              <a:r>
                <a:rPr lang="en-US" sz="800" b="1" dirty="0">
                  <a:solidFill>
                    <a:srgbClr val="FFFFFF"/>
                  </a:solidFill>
                </a:rPr>
                <a:t>Country 1</a:t>
              </a:r>
            </a:p>
          </p:txBody>
        </p:sp>
        <p:sp>
          <p:nvSpPr>
            <p:cNvPr id="107" name="Rectangle 106"/>
            <p:cNvSpPr>
              <a:spLocks/>
            </p:cNvSpPr>
            <p:nvPr/>
          </p:nvSpPr>
          <p:spPr>
            <a:xfrm>
              <a:off x="5372033" y="3237509"/>
              <a:ext cx="999655" cy="324841"/>
            </a:xfrm>
            <a:prstGeom prst="rect">
              <a:avLst/>
            </a:prstGeom>
            <a:solidFill>
              <a:schemeClr val="accent3"/>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24465" tIns="24465" rIns="24465" bIns="24465" rtlCol="0" anchor="t"/>
            <a:lstStyle/>
            <a:p>
              <a:pPr algn="ctr" fontAlgn="base">
                <a:spcBef>
                  <a:spcPct val="0"/>
                </a:spcBef>
                <a:spcAft>
                  <a:spcPct val="0"/>
                </a:spcAft>
                <a:buClr>
                  <a:schemeClr val="bg1"/>
                </a:buClr>
                <a:defRPr/>
              </a:pPr>
              <a:r>
                <a:rPr lang="en-US" sz="800" b="1" dirty="0">
                  <a:solidFill>
                    <a:srgbClr val="FFFFFF"/>
                  </a:solidFill>
                </a:rPr>
                <a:t>Local Roll-out Manager</a:t>
              </a:r>
              <a:endParaRPr lang="en-US" sz="800" dirty="0">
                <a:solidFill>
                  <a:srgbClr val="FFFFFF"/>
                </a:solidFill>
              </a:endParaRPr>
            </a:p>
          </p:txBody>
        </p:sp>
        <p:sp>
          <p:nvSpPr>
            <p:cNvPr id="108" name="Rectangle 107"/>
            <p:cNvSpPr>
              <a:spLocks/>
            </p:cNvSpPr>
            <p:nvPr/>
          </p:nvSpPr>
          <p:spPr>
            <a:xfrm>
              <a:off x="5372032" y="4026934"/>
              <a:ext cx="999655" cy="287223"/>
            </a:xfrm>
            <a:prstGeom prst="rect">
              <a:avLst/>
            </a:prstGeom>
            <a:solidFill>
              <a:schemeClr val="accent2">
                <a:lumMod val="60000"/>
                <a:lumOff val="40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24465" tIns="24465" rIns="24465" bIns="24465" rtlCol="0" anchor="ctr" anchorCtr="0"/>
            <a:lstStyle/>
            <a:p>
              <a:pPr algn="ctr" fontAlgn="base">
                <a:spcBef>
                  <a:spcPct val="0"/>
                </a:spcBef>
                <a:spcAft>
                  <a:spcPct val="0"/>
                </a:spcAft>
                <a:buClr>
                  <a:schemeClr val="bg1"/>
                </a:buClr>
                <a:defRPr/>
              </a:pPr>
              <a:r>
                <a:rPr lang="en-US" sz="800" b="1" dirty="0">
                  <a:solidFill>
                    <a:srgbClr val="FFFFFF"/>
                  </a:solidFill>
                </a:rPr>
                <a:t>Country 2</a:t>
              </a:r>
            </a:p>
          </p:txBody>
        </p:sp>
        <p:sp>
          <p:nvSpPr>
            <p:cNvPr id="109" name="Rectangle 108"/>
            <p:cNvSpPr>
              <a:spLocks/>
            </p:cNvSpPr>
            <p:nvPr/>
          </p:nvSpPr>
          <p:spPr>
            <a:xfrm>
              <a:off x="5365139" y="4371623"/>
              <a:ext cx="999655" cy="287223"/>
            </a:xfrm>
            <a:prstGeom prst="rect">
              <a:avLst/>
            </a:prstGeom>
            <a:solidFill>
              <a:schemeClr val="accent2">
                <a:lumMod val="60000"/>
                <a:lumOff val="40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24465" tIns="24465" rIns="24465" bIns="24465" rtlCol="0" anchor="ctr" anchorCtr="0"/>
            <a:lstStyle/>
            <a:p>
              <a:pPr algn="ctr" fontAlgn="base">
                <a:spcBef>
                  <a:spcPct val="0"/>
                </a:spcBef>
                <a:spcAft>
                  <a:spcPct val="0"/>
                </a:spcAft>
                <a:buClr>
                  <a:schemeClr val="bg1"/>
                </a:buClr>
                <a:defRPr/>
              </a:pPr>
              <a:r>
                <a:rPr lang="en-US" sz="800" b="1" dirty="0">
                  <a:solidFill>
                    <a:srgbClr val="FFFFFF"/>
                  </a:solidFill>
                </a:rPr>
                <a:t>Country N</a:t>
              </a:r>
            </a:p>
          </p:txBody>
        </p:sp>
        <p:sp>
          <p:nvSpPr>
            <p:cNvPr id="56" name="Rectangle 55"/>
            <p:cNvSpPr>
              <a:spLocks/>
            </p:cNvSpPr>
            <p:nvPr/>
          </p:nvSpPr>
          <p:spPr>
            <a:xfrm>
              <a:off x="361620" y="3201390"/>
              <a:ext cx="1223225" cy="360959"/>
            </a:xfrm>
            <a:prstGeom prst="rect">
              <a:avLst/>
            </a:prstGeom>
            <a:solidFill>
              <a:schemeClr val="accent3"/>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24465" tIns="24465" rIns="24465" bIns="24465" rtlCol="0" anchor="ctr" anchorCtr="0"/>
            <a:lstStyle/>
            <a:p>
              <a:pPr algn="ctr" fontAlgn="base">
                <a:spcBef>
                  <a:spcPct val="0"/>
                </a:spcBef>
                <a:spcAft>
                  <a:spcPct val="0"/>
                </a:spcAft>
                <a:buClr>
                  <a:schemeClr val="bg1"/>
                </a:buClr>
                <a:defRPr/>
              </a:pPr>
              <a:r>
                <a:rPr lang="en-US" sz="800" b="1" dirty="0">
                  <a:solidFill>
                    <a:srgbClr val="FFFFFF"/>
                  </a:solidFill>
                </a:rPr>
                <a:t>Regional </a:t>
              </a:r>
              <a:r>
                <a:rPr lang="en-US" sz="800" b="1" dirty="0" err="1">
                  <a:solidFill>
                    <a:srgbClr val="FFFFFF"/>
                  </a:solidFill>
                </a:rPr>
                <a:t>ComEx</a:t>
              </a:r>
              <a:endParaRPr lang="en-US" sz="800" b="1" dirty="0">
                <a:solidFill>
                  <a:srgbClr val="FFFFFF"/>
                </a:solidFill>
              </a:endParaRPr>
            </a:p>
            <a:p>
              <a:pPr algn="ctr" fontAlgn="base">
                <a:spcBef>
                  <a:spcPct val="0"/>
                </a:spcBef>
                <a:spcAft>
                  <a:spcPct val="0"/>
                </a:spcAft>
                <a:buClr>
                  <a:schemeClr val="bg1"/>
                </a:buClr>
                <a:defRPr/>
              </a:pPr>
              <a:r>
                <a:rPr lang="en-US" sz="800" b="1" dirty="0">
                  <a:solidFill>
                    <a:srgbClr val="FFFFFF"/>
                  </a:solidFill>
                </a:rPr>
                <a:t>Scout Resource Pool</a:t>
              </a:r>
              <a:endParaRPr lang="en-US" sz="800" dirty="0">
                <a:solidFill>
                  <a:srgbClr val="FFFFFF"/>
                </a:solidFill>
              </a:endParaRPr>
            </a:p>
          </p:txBody>
        </p:sp>
        <p:sp>
          <p:nvSpPr>
            <p:cNvPr id="65" name="Rounded Rectangle 64"/>
            <p:cNvSpPr/>
            <p:nvPr/>
          </p:nvSpPr>
          <p:spPr>
            <a:xfrm>
              <a:off x="179206" y="3112799"/>
              <a:ext cx="6373994" cy="511980"/>
            </a:xfrm>
            <a:prstGeom prst="roundRect">
              <a:avLst/>
            </a:prstGeom>
            <a:noFill/>
            <a:ln w="38100">
              <a:solidFill>
                <a:srgbClr val="7030A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1600"/>
            </a:p>
          </p:txBody>
        </p:sp>
      </p:grpSp>
      <p:sp>
        <p:nvSpPr>
          <p:cNvPr id="4" name="Footer Placeholder 3"/>
          <p:cNvSpPr>
            <a:spLocks noGrp="1"/>
          </p:cNvSpPr>
          <p:nvPr>
            <p:ph type="ftr" sz="quarter" idx="10"/>
          </p:nvPr>
        </p:nvSpPr>
        <p:spPr>
          <a:xfrm>
            <a:off x="688022" y="4781550"/>
            <a:ext cx="3792538" cy="228600"/>
          </a:xfrm>
        </p:spPr>
        <p:txBody>
          <a:bodyPr/>
          <a:lstStyle/>
          <a:p>
            <a:r>
              <a:rPr lang="en-US"/>
              <a:t>Scout l What is Roll-out? l August 2020</a:t>
            </a:r>
            <a:endParaRPr lang="fr-FR" dirty="0"/>
          </a:p>
        </p:txBody>
      </p:sp>
      <p:sp>
        <p:nvSpPr>
          <p:cNvPr id="7" name="Slide Number Placeholder 6"/>
          <p:cNvSpPr>
            <a:spLocks noGrp="1"/>
          </p:cNvSpPr>
          <p:nvPr>
            <p:ph type="sldNum" sz="quarter" idx="11"/>
          </p:nvPr>
        </p:nvSpPr>
        <p:spPr>
          <a:xfrm>
            <a:off x="459422" y="4781550"/>
            <a:ext cx="228600" cy="228600"/>
          </a:xfrm>
        </p:spPr>
        <p:txBody>
          <a:bodyPr/>
          <a:lstStyle/>
          <a:p>
            <a:fld id="{47547CF9-5B10-D24F-A8D7-45A9778164F7}" type="slidenum">
              <a:rPr lang="uk-UA" smtClean="0"/>
              <a:pPr/>
              <a:t>12</a:t>
            </a:fld>
            <a:endParaRPr lang="uk-UA" dirty="0"/>
          </a:p>
        </p:txBody>
      </p:sp>
      <p:cxnSp>
        <p:nvCxnSpPr>
          <p:cNvPr id="66" name="Straight Connector 65"/>
          <p:cNvCxnSpPr>
            <a:stCxn id="72" idx="2"/>
            <a:endCxn id="68" idx="0"/>
          </p:cNvCxnSpPr>
          <p:nvPr/>
        </p:nvCxnSpPr>
        <p:spPr>
          <a:xfrm flipH="1">
            <a:off x="3338139" y="2190750"/>
            <a:ext cx="700461" cy="830832"/>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a:stCxn id="72" idx="2"/>
            <a:endCxn id="93" idx="0"/>
          </p:cNvCxnSpPr>
          <p:nvPr/>
        </p:nvCxnSpPr>
        <p:spPr>
          <a:xfrm>
            <a:off x="4038600" y="2190750"/>
            <a:ext cx="356056" cy="830832"/>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a:stCxn id="72" idx="2"/>
            <a:endCxn id="104" idx="0"/>
          </p:cNvCxnSpPr>
          <p:nvPr/>
        </p:nvCxnSpPr>
        <p:spPr>
          <a:xfrm>
            <a:off x="4038600" y="2190750"/>
            <a:ext cx="1418535" cy="822404"/>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sp>
        <p:nvSpPr>
          <p:cNvPr id="76" name="Rectangle 75"/>
          <p:cNvSpPr>
            <a:spLocks/>
          </p:cNvSpPr>
          <p:nvPr/>
        </p:nvSpPr>
        <p:spPr>
          <a:xfrm>
            <a:off x="7848600" y="1769095"/>
            <a:ext cx="1035768" cy="457200"/>
          </a:xfrm>
          <a:prstGeom prst="rect">
            <a:avLst/>
          </a:prstGeom>
          <a:solidFill>
            <a:schemeClr val="accent1">
              <a:lumMod val="90000"/>
              <a:lumOff val="10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24465" tIns="24465" rIns="24465" bIns="24465" rtlCol="0" anchor="t"/>
          <a:lstStyle/>
          <a:p>
            <a:pPr algn="ctr" fontAlgn="base">
              <a:spcBef>
                <a:spcPct val="0"/>
              </a:spcBef>
              <a:spcAft>
                <a:spcPct val="0"/>
              </a:spcAft>
              <a:buClr>
                <a:schemeClr val="bg1"/>
              </a:buClr>
              <a:defRPr/>
            </a:pPr>
            <a:r>
              <a:rPr lang="en-US" sz="800" b="1" dirty="0">
                <a:solidFill>
                  <a:srgbClr val="FFFFFF"/>
                </a:solidFill>
              </a:rPr>
              <a:t>Program  CC&amp;T Roll-out &amp; Release Coaches x(?)</a:t>
            </a:r>
            <a:endParaRPr lang="en-US" sz="800" dirty="0">
              <a:solidFill>
                <a:srgbClr val="FFFFFF"/>
              </a:solidFill>
            </a:endParaRPr>
          </a:p>
        </p:txBody>
      </p:sp>
      <p:sp>
        <p:nvSpPr>
          <p:cNvPr id="83" name="Rectangle 82"/>
          <p:cNvSpPr>
            <a:spLocks/>
          </p:cNvSpPr>
          <p:nvPr/>
        </p:nvSpPr>
        <p:spPr>
          <a:xfrm>
            <a:off x="7689627" y="1049325"/>
            <a:ext cx="1170320" cy="300907"/>
          </a:xfrm>
          <a:prstGeom prst="rect">
            <a:avLst/>
          </a:prstGeom>
          <a:solidFill>
            <a:schemeClr val="accent1">
              <a:lumMod val="90000"/>
              <a:lumOff val="10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24465" tIns="24465" rIns="24465" bIns="24465" rtlCol="0" anchor="t"/>
          <a:lstStyle/>
          <a:p>
            <a:pPr algn="ctr" fontAlgn="base">
              <a:spcBef>
                <a:spcPct val="0"/>
              </a:spcBef>
              <a:spcAft>
                <a:spcPct val="0"/>
              </a:spcAft>
              <a:buClr>
                <a:schemeClr val="bg1"/>
              </a:buClr>
              <a:defRPr/>
            </a:pPr>
            <a:r>
              <a:rPr lang="en-US" sz="900" b="1" dirty="0">
                <a:solidFill>
                  <a:srgbClr val="FFFFFF"/>
                </a:solidFill>
              </a:rPr>
              <a:t>Program CC&amp;T Lead</a:t>
            </a:r>
          </a:p>
          <a:p>
            <a:pPr algn="ctr" fontAlgn="base">
              <a:spcBef>
                <a:spcPct val="0"/>
              </a:spcBef>
              <a:spcAft>
                <a:spcPct val="0"/>
              </a:spcAft>
              <a:buClr>
                <a:schemeClr val="bg1"/>
              </a:buClr>
              <a:defRPr/>
            </a:pPr>
            <a:r>
              <a:rPr lang="en-GB" sz="900" b="1" dirty="0">
                <a:solidFill>
                  <a:srgbClr val="FFFFFF"/>
                </a:solidFill>
              </a:rPr>
              <a:t>(Anja Wittig)</a:t>
            </a:r>
            <a:endParaRPr lang="en-US" sz="900" dirty="0">
              <a:solidFill>
                <a:srgbClr val="FFFFFF"/>
              </a:solidFill>
            </a:endParaRPr>
          </a:p>
        </p:txBody>
      </p:sp>
      <p:cxnSp>
        <p:nvCxnSpPr>
          <p:cNvPr id="198" name="Elbow Connector 197"/>
          <p:cNvCxnSpPr>
            <a:stCxn id="76" idx="0"/>
            <a:endCxn id="69" idx="2"/>
          </p:cNvCxnSpPr>
          <p:nvPr/>
        </p:nvCxnSpPr>
        <p:spPr>
          <a:xfrm rot="16200000" flipV="1">
            <a:off x="6839831" y="242441"/>
            <a:ext cx="374278" cy="2679029"/>
          </a:xfrm>
          <a:prstGeom prst="bentConnector3">
            <a:avLst>
              <a:gd name="adj1" fmla="val 50000"/>
            </a:avLst>
          </a:prstGeom>
          <a:ln>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210" name="Elbow Connector 209"/>
          <p:cNvCxnSpPr>
            <a:stCxn id="76" idx="3"/>
            <a:endCxn id="90" idx="3"/>
          </p:cNvCxnSpPr>
          <p:nvPr/>
        </p:nvCxnSpPr>
        <p:spPr>
          <a:xfrm flipV="1">
            <a:off x="8884368" y="1205370"/>
            <a:ext cx="37909" cy="792325"/>
          </a:xfrm>
          <a:prstGeom prst="bentConnector3">
            <a:avLst>
              <a:gd name="adj1" fmla="val 415870"/>
            </a:avLst>
          </a:prstGeom>
          <a:ln>
            <a:tailEnd type="triangle"/>
          </a:ln>
        </p:spPr>
        <p:style>
          <a:lnRef idx="1">
            <a:schemeClr val="accent1"/>
          </a:lnRef>
          <a:fillRef idx="0">
            <a:schemeClr val="accent1"/>
          </a:fillRef>
          <a:effectRef idx="0">
            <a:schemeClr val="accent1"/>
          </a:effectRef>
          <a:fontRef idx="minor">
            <a:schemeClr val="tx1"/>
          </a:fontRef>
        </p:style>
      </p:cxnSp>
      <p:sp>
        <p:nvSpPr>
          <p:cNvPr id="212" name="Rectangle 211"/>
          <p:cNvSpPr/>
          <p:nvPr/>
        </p:nvSpPr>
        <p:spPr>
          <a:xfrm>
            <a:off x="7492581" y="958081"/>
            <a:ext cx="1530437" cy="488490"/>
          </a:xfrm>
          <a:prstGeom prst="rect">
            <a:avLst/>
          </a:prstGeom>
          <a:solidFill>
            <a:schemeClr val="accent6">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pic>
        <p:nvPicPr>
          <p:cNvPr id="82" name="Picture 8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958306" y="53563"/>
            <a:ext cx="755164" cy="309617"/>
          </a:xfrm>
          <a:prstGeom prst="rect">
            <a:avLst/>
          </a:prstGeom>
        </p:spPr>
      </p:pic>
    </p:spTree>
    <p:extLst>
      <p:ext uri="{BB962C8B-B14F-4D97-AF65-F5344CB8AC3E}">
        <p14:creationId xmlns:p14="http://schemas.microsoft.com/office/powerpoint/2010/main" val="291188421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sp>
        <p:nvSpPr>
          <p:cNvPr id="4" name="Footer Placeholder 3"/>
          <p:cNvSpPr>
            <a:spLocks noGrp="1"/>
          </p:cNvSpPr>
          <p:nvPr>
            <p:ph type="ftr" sz="quarter" idx="10"/>
          </p:nvPr>
        </p:nvSpPr>
        <p:spPr/>
        <p:txBody>
          <a:bodyPr/>
          <a:lstStyle/>
          <a:p>
            <a:r>
              <a:rPr lang="en-US"/>
              <a:t>Scout l What is Roll-out? l August 2020</a:t>
            </a:r>
            <a:endParaRPr lang="fr-FR" dirty="0"/>
          </a:p>
        </p:txBody>
      </p:sp>
      <p:sp>
        <p:nvSpPr>
          <p:cNvPr id="5" name="Slide Number Placeholder 4"/>
          <p:cNvSpPr>
            <a:spLocks noGrp="1"/>
          </p:cNvSpPr>
          <p:nvPr>
            <p:ph type="sldNum" sz="quarter" idx="11"/>
          </p:nvPr>
        </p:nvSpPr>
        <p:spPr/>
        <p:txBody>
          <a:bodyPr/>
          <a:lstStyle/>
          <a:p>
            <a:fld id="{47547CF9-5B10-D24F-A8D7-45A9778164F7}" type="slidenum">
              <a:rPr lang="uk-UA" smtClean="0"/>
              <a:pPr/>
              <a:t>13</a:t>
            </a:fld>
            <a:endParaRPr lang="uk-UA" dirty="0"/>
          </a:p>
        </p:txBody>
      </p:sp>
      <p:pic>
        <p:nvPicPr>
          <p:cNvPr id="6" name="Picture 5"/>
          <p:cNvPicPr>
            <a:picLocks noChangeAspect="1"/>
          </p:cNvPicPr>
          <p:nvPr/>
        </p:nvPicPr>
        <p:blipFill>
          <a:blip r:embed="rId2"/>
          <a:stretch>
            <a:fillRect/>
          </a:stretch>
        </p:blipFill>
        <p:spPr>
          <a:xfrm>
            <a:off x="84515" y="11152"/>
            <a:ext cx="8982032" cy="4998997"/>
          </a:xfrm>
          <a:prstGeom prst="rect">
            <a:avLst/>
          </a:prstGeom>
        </p:spPr>
      </p:pic>
    </p:spTree>
    <p:extLst>
      <p:ext uri="{BB962C8B-B14F-4D97-AF65-F5344CB8AC3E}">
        <p14:creationId xmlns:p14="http://schemas.microsoft.com/office/powerpoint/2010/main" val="338495357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429496729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7F7F7F"/>
                </a:solidFill>
                <a:effectLst/>
                <a:uLnTx/>
                <a:uFillTx/>
                <a:latin typeface="Arial" panose="020B0604020202020204"/>
                <a:ea typeface="+mn-ea"/>
                <a:cs typeface="+mn-cs"/>
              </a:rPr>
              <a:t>Scout l Roll-out Checkpoint 2 l Roll-out Preparation</a:t>
            </a:r>
          </a:p>
        </p:txBody>
      </p:sp>
      <p:graphicFrame>
        <p:nvGraphicFramePr>
          <p:cNvPr id="5" name="Objec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3" name="think-cell Slide" r:id="rId8" imgW="415" imgH="416" progId="TCLayout.ActiveDocument.1">
                  <p:embed/>
                </p:oleObj>
              </mc:Choice>
              <mc:Fallback>
                <p:oleObj name="think-cell Slide" r:id="rId8" imgW="415" imgH="416" progId="TCLayout.ActiveDocument.1">
                  <p:embed/>
                  <p:pic>
                    <p:nvPicPr>
                      <p:cNvPr id="5" name="Object 4"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defRPr/>
            </a:pPr>
            <a:endParaRPr kumimoji="0" lang="en-US" u="none" strike="noStrike" kern="1200" cap="none" spc="0" normalizeH="0" noProof="0">
              <a:ln>
                <a:noFill/>
              </a:ln>
              <a:solidFill>
                <a:srgbClr val="FFFFFF"/>
              </a:solidFill>
              <a:effectLst/>
              <a:uLnTx/>
              <a:uFillTx/>
              <a:latin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noAutofit/>
          </a:bodyPr>
          <a:lstStyle/>
          <a:p>
            <a:r>
              <a:rPr lang="en-US" sz="2400" dirty="0">
                <a:solidFill>
                  <a:schemeClr val="accent6">
                    <a:lumMod val="50000"/>
                  </a:schemeClr>
                </a:solidFill>
              </a:rPr>
              <a:t>Roll-out: High-Level Plan – Wave 1A</a:t>
            </a:r>
          </a:p>
        </p:txBody>
      </p:sp>
      <p:sp>
        <p:nvSpPr>
          <p:cNvPr id="160" name="Rectangle 159">
            <a:extLst>
              <a:ext uri="{FF2B5EF4-FFF2-40B4-BE49-F238E27FC236}">
                <a16:creationId xmlns:a16="http://schemas.microsoft.com/office/drawing/2014/main" id="{20AF0385-710F-43EA-B82D-783DCF8407BA}"/>
              </a:ext>
            </a:extLst>
          </p:cNvPr>
          <p:cNvSpPr/>
          <p:nvPr/>
        </p:nvSpPr>
        <p:spPr>
          <a:xfrm>
            <a:off x="1676400" y="4812072"/>
            <a:ext cx="5867400" cy="27995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 name="Slide Number Placeholder 2"/>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7547CF9-5B10-D24F-A8D7-45A9778164F7}" type="slidenum">
              <a:rPr kumimoji="0" lang="en-US" sz="900" b="0" i="0" u="none" strike="noStrike" kern="1200" cap="none" spc="0" normalizeH="0" baseline="0" noProof="0" smtClean="0">
                <a:ln>
                  <a:noFill/>
                </a:ln>
                <a:solidFill>
                  <a:srgbClr val="7F7F7F"/>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US" sz="900" b="0" i="0" u="none" strike="noStrike" kern="1200" cap="none" spc="0" normalizeH="0" baseline="0" noProof="0">
              <a:ln>
                <a:noFill/>
              </a:ln>
              <a:solidFill>
                <a:srgbClr val="7F7F7F"/>
              </a:solidFill>
              <a:effectLst/>
              <a:uLnTx/>
              <a:uFillTx/>
              <a:latin typeface="Arial" panose="020B0604020202020204"/>
              <a:ea typeface="+mn-ea"/>
              <a:cs typeface="+mn-cs"/>
            </a:endParaRPr>
          </a:p>
        </p:txBody>
      </p:sp>
      <p:sp>
        <p:nvSpPr>
          <p:cNvPr id="155" name="TextBox 154"/>
          <p:cNvSpPr txBox="1"/>
          <p:nvPr/>
        </p:nvSpPr>
        <p:spPr>
          <a:xfrm>
            <a:off x="7105650" y="438150"/>
            <a:ext cx="1570038" cy="184150"/>
          </a:xfrm>
          <a:prstGeom prst="rect">
            <a:avLst/>
          </a:prstGeom>
          <a:noFill/>
        </p:spPr>
        <p:txBody>
          <a:bodyPr wrap="square" rtlCol="0">
            <a:spAutoFit/>
          </a:bodyPr>
          <a:lstStyle/>
          <a:p>
            <a:pPr lvl="0" algn="r" defTabSz="685800">
              <a:defRPr/>
            </a:pPr>
            <a:r>
              <a:rPr lang="en-US" sz="600" dirty="0">
                <a:solidFill>
                  <a:srgbClr val="000000"/>
                </a:solidFill>
              </a:rPr>
              <a:t>Latest Update: 13</a:t>
            </a:r>
            <a:r>
              <a:rPr lang="en-US" sz="600" baseline="30000" dirty="0">
                <a:solidFill>
                  <a:srgbClr val="000000"/>
                </a:solidFill>
              </a:rPr>
              <a:t>th</a:t>
            </a:r>
            <a:r>
              <a:rPr lang="en-US" sz="600" dirty="0">
                <a:solidFill>
                  <a:srgbClr val="000000"/>
                </a:solidFill>
              </a:rPr>
              <a:t> November, 2020</a:t>
            </a:r>
          </a:p>
        </p:txBody>
      </p:sp>
      <p:sp>
        <p:nvSpPr>
          <p:cNvPr id="157" name="Diamond 156">
            <a:extLst>
              <a:ext uri="{FF2B5EF4-FFF2-40B4-BE49-F238E27FC236}">
                <a16:creationId xmlns:a16="http://schemas.microsoft.com/office/drawing/2014/main" id="{8A02CD10-8E56-46CB-877E-60A43357786F}"/>
              </a:ext>
            </a:extLst>
          </p:cNvPr>
          <p:cNvSpPr/>
          <p:nvPr/>
        </p:nvSpPr>
        <p:spPr>
          <a:xfrm>
            <a:off x="3024621" y="4874921"/>
            <a:ext cx="138113" cy="138113"/>
          </a:xfrm>
          <a:prstGeom prst="diamond">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8" name="Rectangle 157">
            <a:extLst>
              <a:ext uri="{FF2B5EF4-FFF2-40B4-BE49-F238E27FC236}">
                <a16:creationId xmlns:a16="http://schemas.microsoft.com/office/drawing/2014/main" id="{DDA6647F-C75D-40C3-9816-1317E4A71FC3}"/>
              </a:ext>
            </a:extLst>
          </p:cNvPr>
          <p:cNvSpPr/>
          <p:nvPr/>
        </p:nvSpPr>
        <p:spPr>
          <a:xfrm>
            <a:off x="3078595" y="4851644"/>
            <a:ext cx="579005" cy="184666"/>
          </a:xfrm>
          <a:prstGeom prst="rect">
            <a:avLst/>
          </a:prstGeom>
        </p:spPr>
        <p:txBody>
          <a:bodyPr wrap="non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Arial" panose="020B0604020202020204"/>
                <a:ea typeface="+mn-ea"/>
                <a:cs typeface="+mn-cs"/>
              </a:rPr>
              <a:t> : Milestone</a:t>
            </a:r>
          </a:p>
        </p:txBody>
      </p:sp>
      <p:sp>
        <p:nvSpPr>
          <p:cNvPr id="159" name="Rectangle 158">
            <a:extLst>
              <a:ext uri="{FF2B5EF4-FFF2-40B4-BE49-F238E27FC236}">
                <a16:creationId xmlns:a16="http://schemas.microsoft.com/office/drawing/2014/main" id="{721F9C99-EF32-43FA-8BA1-48E253D8817B}"/>
              </a:ext>
            </a:extLst>
          </p:cNvPr>
          <p:cNvSpPr/>
          <p:nvPr/>
        </p:nvSpPr>
        <p:spPr>
          <a:xfrm>
            <a:off x="1697623" y="4851644"/>
            <a:ext cx="352982" cy="184666"/>
          </a:xfrm>
          <a:prstGeom prst="rect">
            <a:avLst/>
          </a:prstGeom>
        </p:spPr>
        <p:txBody>
          <a:bodyPr wrap="non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1" i="0" u="sng" strike="noStrike" kern="1200" cap="none" spc="0" normalizeH="0" baseline="0" noProof="0">
                <a:ln>
                  <a:noFill/>
                </a:ln>
                <a:solidFill>
                  <a:srgbClr val="000000"/>
                </a:solidFill>
                <a:effectLst/>
                <a:uLnTx/>
                <a:uFillTx/>
                <a:latin typeface="Arial" panose="020B0604020202020204" pitchFamily="34" charset="0"/>
                <a:ea typeface="+mn-ea"/>
                <a:cs typeface="+mn-cs"/>
              </a:rPr>
              <a:t>Key:</a:t>
            </a:r>
            <a:endParaRPr kumimoji="0" lang="en-US" sz="600" b="1" i="0" u="sng" strike="noStrike" kern="1200" cap="none" spc="0" normalizeH="0" baseline="0" noProof="0">
              <a:ln>
                <a:noFill/>
              </a:ln>
              <a:solidFill>
                <a:srgbClr val="000000"/>
              </a:solidFill>
              <a:effectLst/>
              <a:uLnTx/>
              <a:uFillTx/>
              <a:latin typeface="Arial" panose="020B0604020202020204"/>
              <a:ea typeface="+mn-ea"/>
              <a:cs typeface="+mn-cs"/>
            </a:endParaRPr>
          </a:p>
        </p:txBody>
      </p:sp>
      <p:pic>
        <p:nvPicPr>
          <p:cNvPr id="162" name="Picture 161"/>
          <p:cNvPicPr>
            <a:picLocks noChangeAspect="1"/>
          </p:cNvPicPr>
          <p:nvPr/>
        </p:nvPicPr>
        <p:blipFill>
          <a:blip r:embed="rId10"/>
          <a:stretch>
            <a:fillRect/>
          </a:stretch>
        </p:blipFill>
        <p:spPr>
          <a:xfrm>
            <a:off x="2057400" y="4911433"/>
            <a:ext cx="245888" cy="65088"/>
          </a:xfrm>
          <a:prstGeom prst="rect">
            <a:avLst/>
          </a:prstGeom>
        </p:spPr>
      </p:pic>
      <p:sp>
        <p:nvSpPr>
          <p:cNvPr id="165" name="Rectangle 164">
            <a:extLst>
              <a:ext uri="{FF2B5EF4-FFF2-40B4-BE49-F238E27FC236}">
                <a16:creationId xmlns:a16="http://schemas.microsoft.com/office/drawing/2014/main" id="{DDA6647F-C75D-40C3-9816-1317E4A71FC3}"/>
              </a:ext>
            </a:extLst>
          </p:cNvPr>
          <p:cNvSpPr/>
          <p:nvPr/>
        </p:nvSpPr>
        <p:spPr>
          <a:xfrm>
            <a:off x="2266949" y="4851644"/>
            <a:ext cx="787395" cy="184666"/>
          </a:xfrm>
          <a:prstGeom prst="rect">
            <a:avLst/>
          </a:prstGeom>
        </p:spPr>
        <p:txBody>
          <a:bodyPr wrap="non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Arial" panose="020B0604020202020204"/>
                <a:ea typeface="+mn-ea"/>
                <a:cs typeface="+mn-cs"/>
              </a:rPr>
              <a:t>High-level activity</a:t>
            </a:r>
          </a:p>
        </p:txBody>
      </p:sp>
      <p:sp>
        <p:nvSpPr>
          <p:cNvPr id="193" name="Diamond 192">
            <a:extLst>
              <a:ext uri="{FF2B5EF4-FFF2-40B4-BE49-F238E27FC236}">
                <a16:creationId xmlns:a16="http://schemas.microsoft.com/office/drawing/2014/main" id="{8A02CD10-8E56-46CB-877E-60A43357786F}"/>
              </a:ext>
            </a:extLst>
          </p:cNvPr>
          <p:cNvSpPr/>
          <p:nvPr/>
        </p:nvSpPr>
        <p:spPr>
          <a:xfrm>
            <a:off x="5576887" y="4874921"/>
            <a:ext cx="138113" cy="138113"/>
          </a:xfrm>
          <a:prstGeom prst="diamond">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94" name="Rectangle 193">
            <a:extLst>
              <a:ext uri="{FF2B5EF4-FFF2-40B4-BE49-F238E27FC236}">
                <a16:creationId xmlns:a16="http://schemas.microsoft.com/office/drawing/2014/main" id="{DDA6647F-C75D-40C3-9816-1317E4A71FC3}"/>
              </a:ext>
            </a:extLst>
          </p:cNvPr>
          <p:cNvSpPr/>
          <p:nvPr/>
        </p:nvSpPr>
        <p:spPr>
          <a:xfrm>
            <a:off x="5623137" y="4851644"/>
            <a:ext cx="930063" cy="184666"/>
          </a:xfrm>
          <a:prstGeom prst="rect">
            <a:avLst/>
          </a:prstGeom>
        </p:spPr>
        <p:txBody>
          <a:bodyPr wrap="non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Arial" panose="020B0604020202020204"/>
                <a:ea typeface="+mn-ea"/>
                <a:cs typeface="+mn-cs"/>
              </a:rPr>
              <a:t> : Steering Committee</a:t>
            </a:r>
          </a:p>
        </p:txBody>
      </p:sp>
      <p:graphicFrame>
        <p:nvGraphicFramePr>
          <p:cNvPr id="8" name="Table 7"/>
          <p:cNvGraphicFramePr>
            <a:graphicFrameLocks noGrp="1"/>
          </p:cNvGraphicFramePr>
          <p:nvPr/>
        </p:nvGraphicFramePr>
        <p:xfrm>
          <a:off x="1751492" y="1284978"/>
          <a:ext cx="6935308" cy="3491916"/>
        </p:xfrm>
        <a:graphic>
          <a:graphicData uri="http://schemas.openxmlformats.org/drawingml/2006/table">
            <a:tbl>
              <a:tblPr firstRow="1" bandRow="1">
                <a:tableStyleId>{E8B1032C-EA38-4F05-BA0D-38AFFFC7BED3}</a:tableStyleId>
              </a:tblPr>
              <a:tblGrid>
                <a:gridCol w="239037">
                  <a:extLst>
                    <a:ext uri="{9D8B030D-6E8A-4147-A177-3AD203B41FA5}">
                      <a16:colId xmlns:a16="http://schemas.microsoft.com/office/drawing/2014/main" val="2927690692"/>
                    </a:ext>
                  </a:extLst>
                </a:gridCol>
                <a:gridCol w="239037">
                  <a:extLst>
                    <a:ext uri="{9D8B030D-6E8A-4147-A177-3AD203B41FA5}">
                      <a16:colId xmlns:a16="http://schemas.microsoft.com/office/drawing/2014/main" val="1578996329"/>
                    </a:ext>
                  </a:extLst>
                </a:gridCol>
                <a:gridCol w="239037">
                  <a:extLst>
                    <a:ext uri="{9D8B030D-6E8A-4147-A177-3AD203B41FA5}">
                      <a16:colId xmlns:a16="http://schemas.microsoft.com/office/drawing/2014/main" val="3588441495"/>
                    </a:ext>
                  </a:extLst>
                </a:gridCol>
                <a:gridCol w="239037">
                  <a:extLst>
                    <a:ext uri="{9D8B030D-6E8A-4147-A177-3AD203B41FA5}">
                      <a16:colId xmlns:a16="http://schemas.microsoft.com/office/drawing/2014/main" val="167207617"/>
                    </a:ext>
                  </a:extLst>
                </a:gridCol>
                <a:gridCol w="239037">
                  <a:extLst>
                    <a:ext uri="{9D8B030D-6E8A-4147-A177-3AD203B41FA5}">
                      <a16:colId xmlns:a16="http://schemas.microsoft.com/office/drawing/2014/main" val="1911478020"/>
                    </a:ext>
                  </a:extLst>
                </a:gridCol>
                <a:gridCol w="239037">
                  <a:extLst>
                    <a:ext uri="{9D8B030D-6E8A-4147-A177-3AD203B41FA5}">
                      <a16:colId xmlns:a16="http://schemas.microsoft.com/office/drawing/2014/main" val="1324187745"/>
                    </a:ext>
                  </a:extLst>
                </a:gridCol>
                <a:gridCol w="239037">
                  <a:extLst>
                    <a:ext uri="{9D8B030D-6E8A-4147-A177-3AD203B41FA5}">
                      <a16:colId xmlns:a16="http://schemas.microsoft.com/office/drawing/2014/main" val="2235187386"/>
                    </a:ext>
                  </a:extLst>
                </a:gridCol>
                <a:gridCol w="239037">
                  <a:extLst>
                    <a:ext uri="{9D8B030D-6E8A-4147-A177-3AD203B41FA5}">
                      <a16:colId xmlns:a16="http://schemas.microsoft.com/office/drawing/2014/main" val="3084701240"/>
                    </a:ext>
                  </a:extLst>
                </a:gridCol>
                <a:gridCol w="239037">
                  <a:extLst>
                    <a:ext uri="{9D8B030D-6E8A-4147-A177-3AD203B41FA5}">
                      <a16:colId xmlns:a16="http://schemas.microsoft.com/office/drawing/2014/main" val="2120815107"/>
                    </a:ext>
                  </a:extLst>
                </a:gridCol>
                <a:gridCol w="239037">
                  <a:extLst>
                    <a:ext uri="{9D8B030D-6E8A-4147-A177-3AD203B41FA5}">
                      <a16:colId xmlns:a16="http://schemas.microsoft.com/office/drawing/2014/main" val="2199329933"/>
                    </a:ext>
                  </a:extLst>
                </a:gridCol>
                <a:gridCol w="239037">
                  <a:extLst>
                    <a:ext uri="{9D8B030D-6E8A-4147-A177-3AD203B41FA5}">
                      <a16:colId xmlns:a16="http://schemas.microsoft.com/office/drawing/2014/main" val="227361154"/>
                    </a:ext>
                  </a:extLst>
                </a:gridCol>
                <a:gridCol w="239037">
                  <a:extLst>
                    <a:ext uri="{9D8B030D-6E8A-4147-A177-3AD203B41FA5}">
                      <a16:colId xmlns:a16="http://schemas.microsoft.com/office/drawing/2014/main" val="2016848175"/>
                    </a:ext>
                  </a:extLst>
                </a:gridCol>
                <a:gridCol w="239037">
                  <a:extLst>
                    <a:ext uri="{9D8B030D-6E8A-4147-A177-3AD203B41FA5}">
                      <a16:colId xmlns:a16="http://schemas.microsoft.com/office/drawing/2014/main" val="4147687617"/>
                    </a:ext>
                  </a:extLst>
                </a:gridCol>
                <a:gridCol w="239037">
                  <a:extLst>
                    <a:ext uri="{9D8B030D-6E8A-4147-A177-3AD203B41FA5}">
                      <a16:colId xmlns:a16="http://schemas.microsoft.com/office/drawing/2014/main" val="3475876882"/>
                    </a:ext>
                  </a:extLst>
                </a:gridCol>
                <a:gridCol w="239037">
                  <a:extLst>
                    <a:ext uri="{9D8B030D-6E8A-4147-A177-3AD203B41FA5}">
                      <a16:colId xmlns:a16="http://schemas.microsoft.com/office/drawing/2014/main" val="1844946025"/>
                    </a:ext>
                  </a:extLst>
                </a:gridCol>
                <a:gridCol w="239037">
                  <a:extLst>
                    <a:ext uri="{9D8B030D-6E8A-4147-A177-3AD203B41FA5}">
                      <a16:colId xmlns:a16="http://schemas.microsoft.com/office/drawing/2014/main" val="2538199146"/>
                    </a:ext>
                  </a:extLst>
                </a:gridCol>
                <a:gridCol w="239037">
                  <a:extLst>
                    <a:ext uri="{9D8B030D-6E8A-4147-A177-3AD203B41FA5}">
                      <a16:colId xmlns:a16="http://schemas.microsoft.com/office/drawing/2014/main" val="2173482734"/>
                    </a:ext>
                  </a:extLst>
                </a:gridCol>
                <a:gridCol w="239037">
                  <a:extLst>
                    <a:ext uri="{9D8B030D-6E8A-4147-A177-3AD203B41FA5}">
                      <a16:colId xmlns:a16="http://schemas.microsoft.com/office/drawing/2014/main" val="43420869"/>
                    </a:ext>
                  </a:extLst>
                </a:gridCol>
                <a:gridCol w="239037">
                  <a:extLst>
                    <a:ext uri="{9D8B030D-6E8A-4147-A177-3AD203B41FA5}">
                      <a16:colId xmlns:a16="http://schemas.microsoft.com/office/drawing/2014/main" val="2387629961"/>
                    </a:ext>
                  </a:extLst>
                </a:gridCol>
                <a:gridCol w="239037">
                  <a:extLst>
                    <a:ext uri="{9D8B030D-6E8A-4147-A177-3AD203B41FA5}">
                      <a16:colId xmlns:a16="http://schemas.microsoft.com/office/drawing/2014/main" val="3830904492"/>
                    </a:ext>
                  </a:extLst>
                </a:gridCol>
                <a:gridCol w="239037">
                  <a:extLst>
                    <a:ext uri="{9D8B030D-6E8A-4147-A177-3AD203B41FA5}">
                      <a16:colId xmlns:a16="http://schemas.microsoft.com/office/drawing/2014/main" val="2488722663"/>
                    </a:ext>
                  </a:extLst>
                </a:gridCol>
                <a:gridCol w="239037">
                  <a:extLst>
                    <a:ext uri="{9D8B030D-6E8A-4147-A177-3AD203B41FA5}">
                      <a16:colId xmlns:a16="http://schemas.microsoft.com/office/drawing/2014/main" val="1939506823"/>
                    </a:ext>
                  </a:extLst>
                </a:gridCol>
                <a:gridCol w="239037">
                  <a:extLst>
                    <a:ext uri="{9D8B030D-6E8A-4147-A177-3AD203B41FA5}">
                      <a16:colId xmlns:a16="http://schemas.microsoft.com/office/drawing/2014/main" val="958192387"/>
                    </a:ext>
                  </a:extLst>
                </a:gridCol>
                <a:gridCol w="239037">
                  <a:extLst>
                    <a:ext uri="{9D8B030D-6E8A-4147-A177-3AD203B41FA5}">
                      <a16:colId xmlns:a16="http://schemas.microsoft.com/office/drawing/2014/main" val="2642546581"/>
                    </a:ext>
                  </a:extLst>
                </a:gridCol>
                <a:gridCol w="239037">
                  <a:extLst>
                    <a:ext uri="{9D8B030D-6E8A-4147-A177-3AD203B41FA5}">
                      <a16:colId xmlns:a16="http://schemas.microsoft.com/office/drawing/2014/main" val="1094436247"/>
                    </a:ext>
                  </a:extLst>
                </a:gridCol>
                <a:gridCol w="239037">
                  <a:extLst>
                    <a:ext uri="{9D8B030D-6E8A-4147-A177-3AD203B41FA5}">
                      <a16:colId xmlns:a16="http://schemas.microsoft.com/office/drawing/2014/main" val="3467137952"/>
                    </a:ext>
                  </a:extLst>
                </a:gridCol>
                <a:gridCol w="239037">
                  <a:extLst>
                    <a:ext uri="{9D8B030D-6E8A-4147-A177-3AD203B41FA5}">
                      <a16:colId xmlns:a16="http://schemas.microsoft.com/office/drawing/2014/main" val="2993900741"/>
                    </a:ext>
                  </a:extLst>
                </a:gridCol>
                <a:gridCol w="239037">
                  <a:extLst>
                    <a:ext uri="{9D8B030D-6E8A-4147-A177-3AD203B41FA5}">
                      <a16:colId xmlns:a16="http://schemas.microsoft.com/office/drawing/2014/main" val="4111795293"/>
                    </a:ext>
                  </a:extLst>
                </a:gridCol>
                <a:gridCol w="242272">
                  <a:extLst>
                    <a:ext uri="{9D8B030D-6E8A-4147-A177-3AD203B41FA5}">
                      <a16:colId xmlns:a16="http://schemas.microsoft.com/office/drawing/2014/main" val="1534833676"/>
                    </a:ext>
                  </a:extLst>
                </a:gridCol>
              </a:tblGrid>
              <a:tr h="290993">
                <a:tc>
                  <a:txBody>
                    <a:bodyPr/>
                    <a:lstStyle/>
                    <a:p>
                      <a:endParaRPr lang="en-GB"/>
                    </a:p>
                  </a:txBody>
                  <a:tcPr>
                    <a:lnL w="3175" cap="flat" cmpd="sng" algn="ctr">
                      <a:solidFill>
                        <a:schemeClr val="tx2"/>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12700" cap="flat" cmpd="sng" algn="ctr">
                      <a:no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690423020"/>
                  </a:ext>
                </a:extLst>
              </a:tr>
              <a:tr h="290993">
                <a:tc>
                  <a:txBody>
                    <a:bodyPr/>
                    <a:lstStyle/>
                    <a:p>
                      <a:endParaRPr lang="en-GB"/>
                    </a:p>
                  </a:txBody>
                  <a:tcPr>
                    <a:lnL w="3175" cap="flat" cmpd="sng" algn="ctr">
                      <a:solidFill>
                        <a:schemeClr val="tx2"/>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12700" cap="flat" cmpd="sng" algn="ctr">
                      <a:no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438696334"/>
                  </a:ext>
                </a:extLst>
              </a:tr>
              <a:tr h="290993">
                <a:tc>
                  <a:txBody>
                    <a:bodyPr/>
                    <a:lstStyle/>
                    <a:p>
                      <a:endParaRPr lang="en-GB"/>
                    </a:p>
                  </a:txBody>
                  <a:tcPr>
                    <a:lnL w="3175" cap="flat" cmpd="sng" algn="ctr">
                      <a:solidFill>
                        <a:schemeClr val="tx2"/>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12700" cap="flat" cmpd="sng" algn="ctr">
                      <a:no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5030272"/>
                  </a:ext>
                </a:extLst>
              </a:tr>
              <a:tr h="290993">
                <a:tc>
                  <a:txBody>
                    <a:bodyPr/>
                    <a:lstStyle/>
                    <a:p>
                      <a:endParaRPr lang="en-GB"/>
                    </a:p>
                  </a:txBody>
                  <a:tcPr>
                    <a:lnL w="3175" cap="flat" cmpd="sng" algn="ctr">
                      <a:solidFill>
                        <a:schemeClr val="tx2"/>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12700" cap="flat" cmpd="sng" algn="ctr">
                      <a:no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425177941"/>
                  </a:ext>
                </a:extLst>
              </a:tr>
              <a:tr h="290993">
                <a:tc>
                  <a:txBody>
                    <a:bodyPr/>
                    <a:lstStyle/>
                    <a:p>
                      <a:endParaRPr lang="en-GB"/>
                    </a:p>
                  </a:txBody>
                  <a:tcPr>
                    <a:lnL w="3175" cap="flat" cmpd="sng" algn="ctr">
                      <a:solidFill>
                        <a:schemeClr val="tx2"/>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12700" cap="flat" cmpd="sng" algn="ctr">
                      <a:no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039765575"/>
                  </a:ext>
                </a:extLst>
              </a:tr>
              <a:tr h="290993">
                <a:tc>
                  <a:txBody>
                    <a:bodyPr/>
                    <a:lstStyle/>
                    <a:p>
                      <a:endParaRPr lang="en-GB"/>
                    </a:p>
                  </a:txBody>
                  <a:tcPr>
                    <a:lnL w="3175" cap="flat" cmpd="sng" algn="ctr">
                      <a:solidFill>
                        <a:schemeClr val="tx2"/>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12700" cap="flat" cmpd="sng" algn="ctr">
                      <a:no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205882634"/>
                  </a:ext>
                </a:extLst>
              </a:tr>
              <a:tr h="290993">
                <a:tc>
                  <a:txBody>
                    <a:bodyPr/>
                    <a:lstStyle/>
                    <a:p>
                      <a:endParaRPr lang="en-GB"/>
                    </a:p>
                  </a:txBody>
                  <a:tcPr>
                    <a:lnL w="3175" cap="flat" cmpd="sng" algn="ctr">
                      <a:solidFill>
                        <a:schemeClr val="tx2"/>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12700" cap="flat" cmpd="sng" algn="ctr">
                      <a:no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748776024"/>
                  </a:ext>
                </a:extLst>
              </a:tr>
              <a:tr h="290993">
                <a:tc>
                  <a:txBody>
                    <a:bodyPr/>
                    <a:lstStyle/>
                    <a:p>
                      <a:endParaRPr lang="en-GB"/>
                    </a:p>
                  </a:txBody>
                  <a:tcPr>
                    <a:lnL w="3175" cap="flat" cmpd="sng" algn="ctr">
                      <a:solidFill>
                        <a:schemeClr val="tx2"/>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12700" cap="flat" cmpd="sng" algn="ctr">
                      <a:no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solidFill>
                          <a:schemeClr val="bg2">
                            <a:lumMod val="20000"/>
                            <a:lumOff val="80000"/>
                          </a:schemeClr>
                        </a:solidFill>
                      </a:endParaRPr>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813327197"/>
                  </a:ext>
                </a:extLst>
              </a:tr>
              <a:tr h="290993">
                <a:tc>
                  <a:txBody>
                    <a:bodyPr/>
                    <a:lstStyle/>
                    <a:p>
                      <a:endParaRPr lang="en-GB"/>
                    </a:p>
                  </a:txBody>
                  <a:tcPr>
                    <a:lnL w="3175" cap="flat" cmpd="sng" algn="ctr">
                      <a:solidFill>
                        <a:schemeClr val="tx2"/>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12700" cap="flat" cmpd="sng" algn="ctr">
                      <a:no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980398414"/>
                  </a:ext>
                </a:extLst>
              </a:tr>
              <a:tr h="290993">
                <a:tc>
                  <a:txBody>
                    <a:bodyPr/>
                    <a:lstStyle/>
                    <a:p>
                      <a:endParaRPr lang="en-GB"/>
                    </a:p>
                  </a:txBody>
                  <a:tcPr>
                    <a:lnL w="3175" cap="flat" cmpd="sng" algn="ctr">
                      <a:solidFill>
                        <a:schemeClr val="tx2"/>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12700" cap="flat" cmpd="sng" algn="ctr">
                      <a:no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97434619"/>
                  </a:ext>
                </a:extLst>
              </a:tr>
              <a:tr h="290993">
                <a:tc>
                  <a:txBody>
                    <a:bodyPr/>
                    <a:lstStyle/>
                    <a:p>
                      <a:endParaRPr lang="en-GB"/>
                    </a:p>
                  </a:txBody>
                  <a:tcPr>
                    <a:lnL w="3175" cap="flat" cmpd="sng" algn="ctr">
                      <a:solidFill>
                        <a:schemeClr val="tx2"/>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12700" cap="flat" cmpd="sng" algn="ctr">
                      <a:no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321458490"/>
                  </a:ext>
                </a:extLst>
              </a:tr>
              <a:tr h="290993">
                <a:tc>
                  <a:txBody>
                    <a:bodyPr/>
                    <a:lstStyle/>
                    <a:p>
                      <a:endParaRPr lang="en-GB"/>
                    </a:p>
                  </a:txBody>
                  <a:tcPr>
                    <a:lnL w="3175" cap="flat" cmpd="sng" algn="ctr">
                      <a:solidFill>
                        <a:schemeClr val="tx2"/>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solidFill>
                  </a:tcPr>
                </a:tc>
                <a:tc>
                  <a:txBody>
                    <a:bodyPr/>
                    <a:lstStyle/>
                    <a:p>
                      <a:endParaRPr lang="en-GB"/>
                    </a:p>
                  </a:txBody>
                  <a:tcPr>
                    <a:lnL w="12700" cap="flat" cmpd="sng" algn="ctr">
                      <a:no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3553926801"/>
                  </a:ext>
                </a:extLst>
              </a:tr>
            </a:tbl>
          </a:graphicData>
        </a:graphic>
      </p:graphicFrame>
      <p:sp>
        <p:nvSpPr>
          <p:cNvPr id="95" name="Chevron 207">
            <a:extLst>
              <a:ext uri="{FF2B5EF4-FFF2-40B4-BE49-F238E27FC236}">
                <a16:creationId xmlns:a16="http://schemas.microsoft.com/office/drawing/2014/main" id="{92A47DFC-47BF-4F9E-8088-42F3F766A9D1}"/>
              </a:ext>
            </a:extLst>
          </p:cNvPr>
          <p:cNvSpPr/>
          <p:nvPr/>
        </p:nvSpPr>
        <p:spPr>
          <a:xfrm>
            <a:off x="2421679" y="675663"/>
            <a:ext cx="1022793" cy="216000"/>
          </a:xfrm>
          <a:prstGeom prst="chevron">
            <a:avLst/>
          </a:prstGeom>
          <a:solidFill>
            <a:schemeClr val="bg1">
              <a:lumMod val="50000"/>
            </a:schemeClr>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214" tIns="3214" rIns="3214" bIns="3214" numCol="1" spcCol="0" rtlCol="0" fromWordArt="0" anchor="ctr" anchorCtr="0" forceAA="0" compatLnSpc="1">
            <a:prstTxWarp prst="textNoShape">
              <a:avLst/>
            </a:prstTxWarp>
            <a:noAutofit/>
          </a:bodyPr>
          <a:lstStyle/>
          <a:p>
            <a:pPr algn="ctr" defTabSz="816185"/>
            <a:r>
              <a:rPr lang="en-US" sz="600" b="1">
                <a:solidFill>
                  <a:srgbClr val="FFFFFF"/>
                </a:solidFill>
                <a:latin typeface="Arial"/>
                <a:ea typeface="ＭＳ Ｐゴシック"/>
              </a:rPr>
              <a:t>1. Preparation</a:t>
            </a:r>
          </a:p>
        </p:txBody>
      </p:sp>
      <p:sp>
        <p:nvSpPr>
          <p:cNvPr id="96" name="Chevron 208">
            <a:extLst>
              <a:ext uri="{FF2B5EF4-FFF2-40B4-BE49-F238E27FC236}">
                <a16:creationId xmlns:a16="http://schemas.microsoft.com/office/drawing/2014/main" id="{E681C798-6C63-4B31-8C24-2B7E29552230}"/>
              </a:ext>
            </a:extLst>
          </p:cNvPr>
          <p:cNvSpPr/>
          <p:nvPr/>
        </p:nvSpPr>
        <p:spPr>
          <a:xfrm>
            <a:off x="3661813" y="675663"/>
            <a:ext cx="2096837" cy="216000"/>
          </a:xfrm>
          <a:prstGeom prst="chevron">
            <a:avLst/>
          </a:prstGeom>
          <a:solidFill>
            <a:schemeClr val="tx2"/>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214" tIns="3214" rIns="3214" bIns="3214" numCol="1" spcCol="0" rtlCol="0" fromWordArt="0" anchor="ctr" anchorCtr="0" forceAA="0" compatLnSpc="1">
            <a:prstTxWarp prst="textNoShape">
              <a:avLst/>
            </a:prstTxWarp>
            <a:noAutofit/>
          </a:bodyPr>
          <a:lstStyle/>
          <a:p>
            <a:pPr algn="ctr" defTabSz="816185">
              <a:defRPr/>
            </a:pPr>
            <a:r>
              <a:rPr lang="en-US" sz="600" b="1">
                <a:solidFill>
                  <a:srgbClr val="FFFFFF"/>
                </a:solidFill>
                <a:latin typeface="Arial"/>
                <a:ea typeface="ＭＳ Ｐゴシック"/>
              </a:rPr>
              <a:t>2. Implementation</a:t>
            </a:r>
          </a:p>
        </p:txBody>
      </p:sp>
      <p:sp>
        <p:nvSpPr>
          <p:cNvPr id="97" name="Chevron 210">
            <a:extLst>
              <a:ext uri="{FF2B5EF4-FFF2-40B4-BE49-F238E27FC236}">
                <a16:creationId xmlns:a16="http://schemas.microsoft.com/office/drawing/2014/main" id="{91F35C22-27FC-4684-A846-77CB806905E3}"/>
              </a:ext>
            </a:extLst>
          </p:cNvPr>
          <p:cNvSpPr/>
          <p:nvPr/>
        </p:nvSpPr>
        <p:spPr>
          <a:xfrm>
            <a:off x="7997766" y="675663"/>
            <a:ext cx="804255" cy="216000"/>
          </a:xfrm>
          <a:prstGeom prst="chevron">
            <a:avLst/>
          </a:prstGeom>
          <a:solidFill>
            <a:schemeClr val="tx2"/>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214" tIns="3214" rIns="3214" bIns="3214" numCol="1" spcCol="0" rtlCol="0" fromWordArt="0" anchor="ctr" anchorCtr="0" forceAA="0" compatLnSpc="1">
            <a:prstTxWarp prst="textNoShape">
              <a:avLst/>
            </a:prstTxWarp>
            <a:noAutofit/>
          </a:bodyPr>
          <a:lstStyle/>
          <a:p>
            <a:pPr algn="ctr" defTabSz="816185">
              <a:defRPr/>
            </a:pPr>
            <a:r>
              <a:rPr lang="en-US" sz="600" b="1">
                <a:solidFill>
                  <a:srgbClr val="FFFFFF"/>
                </a:solidFill>
                <a:latin typeface="Arial"/>
                <a:ea typeface="ＭＳ Ｐゴシック"/>
              </a:rPr>
              <a:t>4. Operation /</a:t>
            </a:r>
          </a:p>
          <a:p>
            <a:pPr algn="ctr" defTabSz="816185">
              <a:defRPr/>
            </a:pPr>
            <a:r>
              <a:rPr lang="en-US" sz="600" b="1">
                <a:solidFill>
                  <a:srgbClr val="FFFFFF"/>
                </a:solidFill>
                <a:latin typeface="Arial"/>
                <a:ea typeface="ＭＳ Ｐゴシック"/>
              </a:rPr>
              <a:t>Adoption</a:t>
            </a:r>
          </a:p>
        </p:txBody>
      </p:sp>
      <p:sp>
        <p:nvSpPr>
          <p:cNvPr id="98" name="Chevron 211">
            <a:extLst>
              <a:ext uri="{FF2B5EF4-FFF2-40B4-BE49-F238E27FC236}">
                <a16:creationId xmlns:a16="http://schemas.microsoft.com/office/drawing/2014/main" id="{37B662C4-08A1-46E4-87F6-924012B3B549}"/>
              </a:ext>
            </a:extLst>
          </p:cNvPr>
          <p:cNvSpPr/>
          <p:nvPr/>
        </p:nvSpPr>
        <p:spPr>
          <a:xfrm>
            <a:off x="1673166" y="675663"/>
            <a:ext cx="842264" cy="216000"/>
          </a:xfrm>
          <a:prstGeom prst="chevron">
            <a:avLst/>
          </a:prstGeom>
          <a:solidFill>
            <a:schemeClr val="tx2"/>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14" tIns="3214" rIns="3214" bIns="3214" numCol="1" spcCol="0" rtlCol="0" fromWordArt="0" anchor="ctr" anchorCtr="0" forceAA="0" compatLnSpc="1">
            <a:prstTxWarp prst="textNoShape">
              <a:avLst/>
            </a:prstTxWarp>
            <a:noAutofit/>
          </a:bodyPr>
          <a:lstStyle/>
          <a:p>
            <a:pPr algn="ctr" defTabSz="816185"/>
            <a:r>
              <a:rPr lang="en-US" sz="600" b="1">
                <a:solidFill>
                  <a:srgbClr val="FFFFFF"/>
                </a:solidFill>
                <a:latin typeface="Arial"/>
                <a:ea typeface="ＭＳ Ｐゴシック"/>
              </a:rPr>
              <a:t>0. Pre-Roll-out</a:t>
            </a:r>
          </a:p>
        </p:txBody>
      </p:sp>
      <p:sp>
        <p:nvSpPr>
          <p:cNvPr id="99" name="Chevron 209">
            <a:extLst>
              <a:ext uri="{FF2B5EF4-FFF2-40B4-BE49-F238E27FC236}">
                <a16:creationId xmlns:a16="http://schemas.microsoft.com/office/drawing/2014/main" id="{3E1ECF82-C473-4E41-A3F6-3BD6836D2394}"/>
              </a:ext>
            </a:extLst>
          </p:cNvPr>
          <p:cNvSpPr/>
          <p:nvPr/>
        </p:nvSpPr>
        <p:spPr>
          <a:xfrm>
            <a:off x="5683587" y="675663"/>
            <a:ext cx="2374534" cy="216000"/>
          </a:xfrm>
          <a:prstGeom prst="chevron">
            <a:avLst/>
          </a:prstGeom>
          <a:solidFill>
            <a:schemeClr val="tx1">
              <a:lumMod val="50000"/>
              <a:lumOff val="50000"/>
            </a:schemeClr>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214" tIns="3214" rIns="3214" bIns="3214" numCol="1" spcCol="0" rtlCol="0" fromWordArt="0" anchor="ctr" anchorCtr="0" forceAA="0" compatLnSpc="1">
            <a:prstTxWarp prst="textNoShape">
              <a:avLst/>
            </a:prstTxWarp>
            <a:noAutofit/>
          </a:bodyPr>
          <a:lstStyle/>
          <a:p>
            <a:pPr algn="ctr" defTabSz="816185">
              <a:defRPr/>
            </a:pPr>
            <a:r>
              <a:rPr lang="en-US" sz="600" b="1">
                <a:solidFill>
                  <a:srgbClr val="FFFFFF"/>
                </a:solidFill>
                <a:latin typeface="Arial"/>
                <a:ea typeface="ＭＳ Ｐゴシック"/>
              </a:rPr>
              <a:t>3. Roll-out</a:t>
            </a:r>
          </a:p>
        </p:txBody>
      </p:sp>
      <p:graphicFrame>
        <p:nvGraphicFramePr>
          <p:cNvPr id="10" name="Table 9"/>
          <p:cNvGraphicFramePr>
            <a:graphicFrameLocks noGrp="1"/>
          </p:cNvGraphicFramePr>
          <p:nvPr/>
        </p:nvGraphicFramePr>
        <p:xfrm>
          <a:off x="228600" y="1270368"/>
          <a:ext cx="1512861" cy="3492096"/>
        </p:xfrm>
        <a:graphic>
          <a:graphicData uri="http://schemas.openxmlformats.org/drawingml/2006/table">
            <a:tbl>
              <a:tblPr firstRow="1" bandRow="1">
                <a:tableStyleId>{1C5780E6-A8F4-46B0-B82D-9E7F56C639EF}</a:tableStyleId>
              </a:tblPr>
              <a:tblGrid>
                <a:gridCol w="1512861">
                  <a:extLst>
                    <a:ext uri="{9D8B030D-6E8A-4147-A177-3AD203B41FA5}">
                      <a16:colId xmlns:a16="http://schemas.microsoft.com/office/drawing/2014/main" val="2747988293"/>
                    </a:ext>
                  </a:extLst>
                </a:gridCol>
              </a:tblGrid>
              <a:tr h="29100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b="1">
                          <a:solidFill>
                            <a:schemeClr val="bg1"/>
                          </a:solidFill>
                        </a:rPr>
                        <a:t>Governance: Steering Committees </a:t>
                      </a:r>
                      <a:endParaRPr lang="en-GB" sz="600" b="1">
                        <a:solidFill>
                          <a:schemeClr val="bg1"/>
                        </a:solidFill>
                      </a:endParaRPr>
                    </a:p>
                  </a:txBody>
                  <a:tcPr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accent4">
                        <a:lumMod val="75000"/>
                      </a:schemeClr>
                    </a:solidFill>
                  </a:tcPr>
                </a:tc>
                <a:extLst>
                  <a:ext uri="{0D108BD9-81ED-4DB2-BD59-A6C34878D82A}">
                    <a16:rowId xmlns:a16="http://schemas.microsoft.com/office/drawing/2014/main" val="1151740641"/>
                  </a:ext>
                </a:extLst>
              </a:tr>
              <a:tr h="291008">
                <a:tc>
                  <a:txBody>
                    <a:bodyPr/>
                    <a:lstStyle/>
                    <a:p>
                      <a:r>
                        <a:rPr lang="en-US" sz="600" b="1">
                          <a:solidFill>
                            <a:schemeClr val="bg1"/>
                          </a:solidFill>
                        </a:rPr>
                        <a:t>Checkpoints 1-5</a:t>
                      </a:r>
                      <a:endParaRPr lang="en-GB" sz="600" b="1">
                        <a:solidFill>
                          <a:schemeClr val="bg1"/>
                        </a:solidFill>
                      </a:endParaRPr>
                    </a:p>
                  </a:txBody>
                  <a:tcPr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accent2"/>
                    </a:solidFill>
                  </a:tcPr>
                </a:tc>
                <a:extLst>
                  <a:ext uri="{0D108BD9-81ED-4DB2-BD59-A6C34878D82A}">
                    <a16:rowId xmlns:a16="http://schemas.microsoft.com/office/drawing/2014/main" val="3345842941"/>
                  </a:ext>
                </a:extLst>
              </a:tr>
              <a:tr h="291008">
                <a:tc>
                  <a:txBody>
                    <a:bodyPr/>
                    <a:lstStyle/>
                    <a:p>
                      <a:r>
                        <a:rPr lang="en-US" sz="600" b="1" dirty="0">
                          <a:solidFill>
                            <a:schemeClr val="bg1"/>
                          </a:solidFill>
                        </a:rPr>
                        <a:t>Change &amp;</a:t>
                      </a:r>
                      <a:r>
                        <a:rPr lang="en-US" sz="600" b="1" baseline="0" dirty="0">
                          <a:solidFill>
                            <a:schemeClr val="bg1"/>
                          </a:solidFill>
                        </a:rPr>
                        <a:t> </a:t>
                      </a:r>
                      <a:r>
                        <a:rPr lang="en-US" sz="600" b="1" dirty="0" err="1">
                          <a:solidFill>
                            <a:schemeClr val="bg1"/>
                          </a:solidFill>
                        </a:rPr>
                        <a:t>Comms</a:t>
                      </a:r>
                      <a:endParaRPr lang="en-GB" sz="600" b="1" dirty="0">
                        <a:solidFill>
                          <a:schemeClr val="bg1"/>
                        </a:solidFill>
                      </a:endParaRPr>
                    </a:p>
                  </a:txBody>
                  <a:tcPr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rgbClr val="00B0F0"/>
                    </a:solidFill>
                  </a:tcPr>
                </a:tc>
                <a:extLst>
                  <a:ext uri="{0D108BD9-81ED-4DB2-BD59-A6C34878D82A}">
                    <a16:rowId xmlns:a16="http://schemas.microsoft.com/office/drawing/2014/main" val="1930568427"/>
                  </a:ext>
                </a:extLst>
              </a:tr>
              <a:tr h="291008">
                <a:tc>
                  <a:txBody>
                    <a:bodyPr/>
                    <a:lstStyle/>
                    <a:p>
                      <a:r>
                        <a:rPr lang="en-US" sz="600" b="1" dirty="0">
                          <a:solidFill>
                            <a:schemeClr val="bg1"/>
                          </a:solidFill>
                        </a:rPr>
                        <a:t>Train-the-Trainer / End User Training</a:t>
                      </a:r>
                      <a:endParaRPr lang="en-GB" sz="600" b="1" dirty="0">
                        <a:solidFill>
                          <a:schemeClr val="bg1"/>
                        </a:solidFill>
                      </a:endParaRPr>
                    </a:p>
                  </a:txBody>
                  <a:tcPr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rgbClr val="00B0F0"/>
                    </a:solidFill>
                  </a:tcPr>
                </a:tc>
                <a:extLst>
                  <a:ext uri="{0D108BD9-81ED-4DB2-BD59-A6C34878D82A}">
                    <a16:rowId xmlns:a16="http://schemas.microsoft.com/office/drawing/2014/main" val="3852640771"/>
                  </a:ext>
                </a:extLst>
              </a:tr>
              <a:tr h="291008">
                <a:tc>
                  <a:txBody>
                    <a:bodyPr/>
                    <a:lstStyle/>
                    <a:p>
                      <a:r>
                        <a:rPr lang="en-US" sz="600" b="1">
                          <a:solidFill>
                            <a:schemeClr val="bg1"/>
                          </a:solidFill>
                        </a:rPr>
                        <a:t>Data Activities</a:t>
                      </a:r>
                      <a:endParaRPr lang="en-GB" sz="600" b="1">
                        <a:solidFill>
                          <a:schemeClr val="bg1"/>
                        </a:solidFill>
                      </a:endParaRPr>
                    </a:p>
                  </a:txBody>
                  <a:tcPr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accent1">
                        <a:lumMod val="90000"/>
                        <a:lumOff val="10000"/>
                      </a:schemeClr>
                    </a:solidFill>
                  </a:tcPr>
                </a:tc>
                <a:extLst>
                  <a:ext uri="{0D108BD9-81ED-4DB2-BD59-A6C34878D82A}">
                    <a16:rowId xmlns:a16="http://schemas.microsoft.com/office/drawing/2014/main" val="2847148245"/>
                  </a:ext>
                </a:extLst>
              </a:tr>
              <a:tr h="291008">
                <a:tc>
                  <a:txBody>
                    <a:bodyPr/>
                    <a:lstStyle/>
                    <a:p>
                      <a:r>
                        <a:rPr lang="en-US" sz="600" b="1">
                          <a:solidFill>
                            <a:schemeClr val="bg1"/>
                          </a:solidFill>
                        </a:rPr>
                        <a:t>Country Setup </a:t>
                      </a:r>
                      <a:endParaRPr lang="en-GB" sz="600" b="1">
                        <a:solidFill>
                          <a:schemeClr val="bg1"/>
                        </a:solidFill>
                      </a:endParaRPr>
                    </a:p>
                  </a:txBody>
                  <a:tcPr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accent3"/>
                    </a:solidFill>
                  </a:tcPr>
                </a:tc>
                <a:extLst>
                  <a:ext uri="{0D108BD9-81ED-4DB2-BD59-A6C34878D82A}">
                    <a16:rowId xmlns:a16="http://schemas.microsoft.com/office/drawing/2014/main" val="964686705"/>
                  </a:ext>
                </a:extLst>
              </a:tr>
              <a:tr h="291008">
                <a:tc>
                  <a:txBody>
                    <a:bodyPr/>
                    <a:lstStyle/>
                    <a:p>
                      <a:r>
                        <a:rPr lang="en-US" sz="600" b="1">
                          <a:solidFill>
                            <a:schemeClr val="bg1"/>
                          </a:solidFill>
                        </a:rPr>
                        <a:t>Translations</a:t>
                      </a:r>
                      <a:endParaRPr lang="en-GB" sz="600" b="1">
                        <a:solidFill>
                          <a:schemeClr val="bg1"/>
                        </a:solidFill>
                      </a:endParaRPr>
                    </a:p>
                  </a:txBody>
                  <a:tcPr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rgbClr val="023761"/>
                    </a:solidFill>
                  </a:tcPr>
                </a:tc>
                <a:extLst>
                  <a:ext uri="{0D108BD9-81ED-4DB2-BD59-A6C34878D82A}">
                    <a16:rowId xmlns:a16="http://schemas.microsoft.com/office/drawing/2014/main" val="1186977838"/>
                  </a:ext>
                </a:extLst>
              </a:tr>
              <a:tr h="291008">
                <a:tc>
                  <a:txBody>
                    <a:bodyPr/>
                    <a:lstStyle/>
                    <a:p>
                      <a:r>
                        <a:rPr lang="en-US" sz="600" b="1">
                          <a:solidFill>
                            <a:schemeClr val="bg1"/>
                          </a:solidFill>
                        </a:rPr>
                        <a:t>Local Testing</a:t>
                      </a:r>
                      <a:endParaRPr lang="en-GB" sz="600" b="1">
                        <a:solidFill>
                          <a:schemeClr val="bg1"/>
                        </a:solidFill>
                      </a:endParaRPr>
                    </a:p>
                  </a:txBody>
                  <a:tcPr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accent2"/>
                    </a:solidFill>
                  </a:tcPr>
                </a:tc>
                <a:extLst>
                  <a:ext uri="{0D108BD9-81ED-4DB2-BD59-A6C34878D82A}">
                    <a16:rowId xmlns:a16="http://schemas.microsoft.com/office/drawing/2014/main" val="2673535545"/>
                  </a:ext>
                </a:extLst>
              </a:tr>
              <a:tr h="291008">
                <a:tc>
                  <a:txBody>
                    <a:bodyPr/>
                    <a:lstStyle/>
                    <a:p>
                      <a:r>
                        <a:rPr lang="en-US" sz="600" b="1">
                          <a:solidFill>
                            <a:schemeClr val="bg1"/>
                          </a:solidFill>
                        </a:rPr>
                        <a:t>Cutover Activities</a:t>
                      </a:r>
                      <a:endParaRPr lang="en-GB" sz="600" b="1">
                        <a:solidFill>
                          <a:schemeClr val="bg1"/>
                        </a:solidFill>
                      </a:endParaRPr>
                    </a:p>
                  </a:txBody>
                  <a:tcPr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accent4">
                        <a:lumMod val="75000"/>
                      </a:schemeClr>
                    </a:solidFill>
                  </a:tcPr>
                </a:tc>
                <a:extLst>
                  <a:ext uri="{0D108BD9-81ED-4DB2-BD59-A6C34878D82A}">
                    <a16:rowId xmlns:a16="http://schemas.microsoft.com/office/drawing/2014/main" val="1028997692"/>
                  </a:ext>
                </a:extLst>
              </a:tr>
              <a:tr h="291008">
                <a:tc>
                  <a:txBody>
                    <a:bodyPr/>
                    <a:lstStyle/>
                    <a:p>
                      <a:r>
                        <a:rPr lang="en-US" sz="600" b="1">
                          <a:solidFill>
                            <a:srgbClr val="FF0000"/>
                          </a:solidFill>
                        </a:rPr>
                        <a:t>Go-live / </a:t>
                      </a:r>
                      <a:r>
                        <a:rPr lang="en-US" sz="600" b="1" err="1">
                          <a:solidFill>
                            <a:srgbClr val="FF0000"/>
                          </a:solidFill>
                        </a:rPr>
                        <a:t>Hypercare</a:t>
                      </a:r>
                      <a:endParaRPr lang="en-GB" sz="600" b="1">
                        <a:solidFill>
                          <a:srgbClr val="FF0000"/>
                        </a:solidFill>
                      </a:endParaRPr>
                    </a:p>
                  </a:txBody>
                  <a:tcPr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accent4"/>
                    </a:solidFill>
                  </a:tcPr>
                </a:tc>
                <a:extLst>
                  <a:ext uri="{0D108BD9-81ED-4DB2-BD59-A6C34878D82A}">
                    <a16:rowId xmlns:a16="http://schemas.microsoft.com/office/drawing/2014/main" val="806700845"/>
                  </a:ext>
                </a:extLst>
              </a:tr>
              <a:tr h="291008">
                <a:tc>
                  <a:txBody>
                    <a:bodyPr/>
                    <a:lstStyle/>
                    <a:p>
                      <a:r>
                        <a:rPr lang="en-US" sz="600" b="1">
                          <a:solidFill>
                            <a:schemeClr val="bg1"/>
                          </a:solidFill>
                        </a:rPr>
                        <a:t>Release Activities</a:t>
                      </a:r>
                      <a:endParaRPr lang="en-GB" sz="600" b="1">
                        <a:solidFill>
                          <a:schemeClr val="bg1"/>
                        </a:solidFill>
                      </a:endParaRPr>
                    </a:p>
                  </a:txBody>
                  <a:tcPr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accent6">
                        <a:lumMod val="50000"/>
                      </a:schemeClr>
                    </a:solidFill>
                  </a:tcPr>
                </a:tc>
                <a:extLst>
                  <a:ext uri="{0D108BD9-81ED-4DB2-BD59-A6C34878D82A}">
                    <a16:rowId xmlns:a16="http://schemas.microsoft.com/office/drawing/2014/main" val="2830042559"/>
                  </a:ext>
                </a:extLst>
              </a:tr>
              <a:tr h="291008">
                <a:tc>
                  <a:txBody>
                    <a:bodyPr/>
                    <a:lstStyle/>
                    <a:p>
                      <a:r>
                        <a:rPr lang="en-US" sz="600" b="1" dirty="0">
                          <a:solidFill>
                            <a:schemeClr val="bg1"/>
                          </a:solidFill>
                        </a:rPr>
                        <a:t>Program Governance</a:t>
                      </a:r>
                      <a:endParaRPr lang="en-GB" sz="600" b="1" dirty="0">
                        <a:solidFill>
                          <a:schemeClr val="bg1"/>
                        </a:solidFill>
                      </a:endParaRPr>
                    </a:p>
                  </a:txBody>
                  <a:tcPr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2811412444"/>
                  </a:ext>
                </a:extLst>
              </a:tr>
            </a:tbl>
          </a:graphicData>
        </a:graphic>
      </p:graphicFrame>
      <p:sp>
        <p:nvSpPr>
          <p:cNvPr id="26" name="Diamond 25">
            <a:extLst>
              <a:ext uri="{FF2B5EF4-FFF2-40B4-BE49-F238E27FC236}">
                <a16:creationId xmlns:a16="http://schemas.microsoft.com/office/drawing/2014/main" id="{8A02CD10-8E56-46CB-877E-60A43357786F}"/>
              </a:ext>
            </a:extLst>
          </p:cNvPr>
          <p:cNvSpPr/>
          <p:nvPr/>
        </p:nvSpPr>
        <p:spPr>
          <a:xfrm>
            <a:off x="1819102" y="1356018"/>
            <a:ext cx="138113" cy="138113"/>
          </a:xfrm>
          <a:prstGeom prst="diamond">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8" name="Diamond 27">
            <a:extLst>
              <a:ext uri="{FF2B5EF4-FFF2-40B4-BE49-F238E27FC236}">
                <a16:creationId xmlns:a16="http://schemas.microsoft.com/office/drawing/2014/main" id="{8A02CD10-8E56-46CB-877E-60A43357786F}"/>
              </a:ext>
            </a:extLst>
          </p:cNvPr>
          <p:cNvSpPr/>
          <p:nvPr/>
        </p:nvSpPr>
        <p:spPr>
          <a:xfrm>
            <a:off x="1855696" y="1934010"/>
            <a:ext cx="138113" cy="138113"/>
          </a:xfrm>
          <a:prstGeom prst="diamond">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9" name="Diamond 28">
            <a:extLst>
              <a:ext uri="{FF2B5EF4-FFF2-40B4-BE49-F238E27FC236}">
                <a16:creationId xmlns:a16="http://schemas.microsoft.com/office/drawing/2014/main" id="{8A02CD10-8E56-46CB-877E-60A43357786F}"/>
              </a:ext>
            </a:extLst>
          </p:cNvPr>
          <p:cNvSpPr/>
          <p:nvPr/>
        </p:nvSpPr>
        <p:spPr>
          <a:xfrm>
            <a:off x="2564351" y="1366024"/>
            <a:ext cx="138113" cy="138113"/>
          </a:xfrm>
          <a:prstGeom prst="diamond">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1" name="Diamond 30">
            <a:extLst>
              <a:ext uri="{FF2B5EF4-FFF2-40B4-BE49-F238E27FC236}">
                <a16:creationId xmlns:a16="http://schemas.microsoft.com/office/drawing/2014/main" id="{8A02CD10-8E56-46CB-877E-60A43357786F}"/>
              </a:ext>
            </a:extLst>
          </p:cNvPr>
          <p:cNvSpPr/>
          <p:nvPr/>
        </p:nvSpPr>
        <p:spPr>
          <a:xfrm>
            <a:off x="3029744" y="1366024"/>
            <a:ext cx="138113" cy="138113"/>
          </a:xfrm>
          <a:prstGeom prst="diamond">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2" name="Diamond 31">
            <a:extLst>
              <a:ext uri="{FF2B5EF4-FFF2-40B4-BE49-F238E27FC236}">
                <a16:creationId xmlns:a16="http://schemas.microsoft.com/office/drawing/2014/main" id="{8A02CD10-8E56-46CB-877E-60A43357786F}"/>
              </a:ext>
            </a:extLst>
          </p:cNvPr>
          <p:cNvSpPr/>
          <p:nvPr/>
        </p:nvSpPr>
        <p:spPr>
          <a:xfrm>
            <a:off x="3942603" y="1366024"/>
            <a:ext cx="138113" cy="138113"/>
          </a:xfrm>
          <a:prstGeom prst="diamond">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3" name="Diamond 32">
            <a:extLst>
              <a:ext uri="{FF2B5EF4-FFF2-40B4-BE49-F238E27FC236}">
                <a16:creationId xmlns:a16="http://schemas.microsoft.com/office/drawing/2014/main" id="{8A02CD10-8E56-46CB-877E-60A43357786F}"/>
              </a:ext>
            </a:extLst>
          </p:cNvPr>
          <p:cNvSpPr/>
          <p:nvPr/>
        </p:nvSpPr>
        <p:spPr>
          <a:xfrm>
            <a:off x="4443398" y="1366024"/>
            <a:ext cx="138113" cy="138113"/>
          </a:xfrm>
          <a:prstGeom prst="diamond">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4" name="Diamond 33">
            <a:extLst>
              <a:ext uri="{FF2B5EF4-FFF2-40B4-BE49-F238E27FC236}">
                <a16:creationId xmlns:a16="http://schemas.microsoft.com/office/drawing/2014/main" id="{8A02CD10-8E56-46CB-877E-60A43357786F}"/>
              </a:ext>
            </a:extLst>
          </p:cNvPr>
          <p:cNvSpPr/>
          <p:nvPr/>
        </p:nvSpPr>
        <p:spPr>
          <a:xfrm>
            <a:off x="4999216" y="1366024"/>
            <a:ext cx="138113" cy="138113"/>
          </a:xfrm>
          <a:prstGeom prst="diamond">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5" name="Diamond 34">
            <a:extLst>
              <a:ext uri="{FF2B5EF4-FFF2-40B4-BE49-F238E27FC236}">
                <a16:creationId xmlns:a16="http://schemas.microsoft.com/office/drawing/2014/main" id="{8A02CD10-8E56-46CB-877E-60A43357786F}"/>
              </a:ext>
            </a:extLst>
          </p:cNvPr>
          <p:cNvSpPr/>
          <p:nvPr/>
        </p:nvSpPr>
        <p:spPr>
          <a:xfrm>
            <a:off x="5372127" y="1366024"/>
            <a:ext cx="138113" cy="138113"/>
          </a:xfrm>
          <a:prstGeom prst="diamond">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6" name="Diamond 35">
            <a:extLst>
              <a:ext uri="{FF2B5EF4-FFF2-40B4-BE49-F238E27FC236}">
                <a16:creationId xmlns:a16="http://schemas.microsoft.com/office/drawing/2014/main" id="{8A02CD10-8E56-46CB-877E-60A43357786F}"/>
              </a:ext>
            </a:extLst>
          </p:cNvPr>
          <p:cNvSpPr/>
          <p:nvPr/>
        </p:nvSpPr>
        <p:spPr>
          <a:xfrm>
            <a:off x="5828914" y="1366024"/>
            <a:ext cx="138113" cy="138113"/>
          </a:xfrm>
          <a:prstGeom prst="diamond">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7" name="Diamond 36">
            <a:extLst>
              <a:ext uri="{FF2B5EF4-FFF2-40B4-BE49-F238E27FC236}">
                <a16:creationId xmlns:a16="http://schemas.microsoft.com/office/drawing/2014/main" id="{8A02CD10-8E56-46CB-877E-60A43357786F}"/>
              </a:ext>
            </a:extLst>
          </p:cNvPr>
          <p:cNvSpPr/>
          <p:nvPr/>
        </p:nvSpPr>
        <p:spPr>
          <a:xfrm>
            <a:off x="6346317" y="1366024"/>
            <a:ext cx="138113" cy="138113"/>
          </a:xfrm>
          <a:prstGeom prst="diamond">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8" name="Diamond 37">
            <a:extLst>
              <a:ext uri="{FF2B5EF4-FFF2-40B4-BE49-F238E27FC236}">
                <a16:creationId xmlns:a16="http://schemas.microsoft.com/office/drawing/2014/main" id="{8A02CD10-8E56-46CB-877E-60A43357786F}"/>
              </a:ext>
            </a:extLst>
          </p:cNvPr>
          <p:cNvSpPr/>
          <p:nvPr/>
        </p:nvSpPr>
        <p:spPr>
          <a:xfrm>
            <a:off x="6781800" y="1366024"/>
            <a:ext cx="138113" cy="138113"/>
          </a:xfrm>
          <a:prstGeom prst="diamond">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9" name="Diamond 38">
            <a:extLst>
              <a:ext uri="{FF2B5EF4-FFF2-40B4-BE49-F238E27FC236}">
                <a16:creationId xmlns:a16="http://schemas.microsoft.com/office/drawing/2014/main" id="{8A02CD10-8E56-46CB-877E-60A43357786F}"/>
              </a:ext>
            </a:extLst>
          </p:cNvPr>
          <p:cNvSpPr/>
          <p:nvPr/>
        </p:nvSpPr>
        <p:spPr>
          <a:xfrm>
            <a:off x="7173184" y="1366024"/>
            <a:ext cx="138113" cy="138113"/>
          </a:xfrm>
          <a:prstGeom prst="diamond">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0" name="Rectangle 59">
            <a:extLst>
              <a:ext uri="{FF2B5EF4-FFF2-40B4-BE49-F238E27FC236}">
                <a16:creationId xmlns:a16="http://schemas.microsoft.com/office/drawing/2014/main" id="{DDA6647F-C75D-40C3-9816-1317E4A71FC3}"/>
              </a:ext>
            </a:extLst>
          </p:cNvPr>
          <p:cNvSpPr/>
          <p:nvPr/>
        </p:nvSpPr>
        <p:spPr>
          <a:xfrm>
            <a:off x="7214589" y="1572474"/>
            <a:ext cx="817853" cy="276999"/>
          </a:xfrm>
          <a:prstGeom prst="rect">
            <a:avLst/>
          </a:prstGeom>
        </p:spPr>
        <p:txBody>
          <a:bodyPr wrap="non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Arial" panose="020B0604020202020204"/>
                <a:ea typeface="+mn-ea"/>
                <a:cs typeface="+mn-cs"/>
              </a:rPr>
              <a:t>Checkpoint</a:t>
            </a:r>
            <a:r>
              <a:rPr kumimoji="0" lang="en-US" sz="600" b="0" i="0" u="none" strike="noStrike" kern="1200" cap="none" spc="0" normalizeH="0" noProof="0">
                <a:ln>
                  <a:noFill/>
                </a:ln>
                <a:solidFill>
                  <a:srgbClr val="000000"/>
                </a:solidFill>
                <a:effectLst/>
                <a:uLnTx/>
                <a:uFillTx/>
                <a:latin typeface="Arial" panose="020B0604020202020204"/>
                <a:ea typeface="+mn-ea"/>
                <a:cs typeface="+mn-cs"/>
              </a:rPr>
              <a:t> 4</a:t>
            </a:r>
          </a:p>
          <a:p>
            <a:pPr marL="0" marR="0" lvl="0" indent="0" algn="l" defTabSz="685800" rtl="0" eaLnBrk="1" fontAlgn="auto" latinLnBrk="0" hangingPunct="1">
              <a:lnSpc>
                <a:spcPct val="100000"/>
              </a:lnSpc>
              <a:spcBef>
                <a:spcPts val="0"/>
              </a:spcBef>
              <a:spcAft>
                <a:spcPts val="0"/>
              </a:spcAft>
              <a:buClrTx/>
              <a:buSzTx/>
              <a:buFontTx/>
              <a:buNone/>
              <a:tabLst/>
              <a:defRPr/>
            </a:pPr>
            <a:r>
              <a:rPr lang="en-US" sz="600" baseline="0">
                <a:solidFill>
                  <a:srgbClr val="000000"/>
                </a:solidFill>
                <a:latin typeface="Arial" panose="020B0604020202020204"/>
              </a:rPr>
              <a:t>Go-live</a:t>
            </a:r>
            <a:r>
              <a:rPr lang="en-US" sz="600">
                <a:solidFill>
                  <a:srgbClr val="000000"/>
                </a:solidFill>
                <a:latin typeface="Arial" panose="020B0604020202020204"/>
              </a:rPr>
              <a:t> Readiness</a:t>
            </a:r>
            <a:endParaRPr kumimoji="0" lang="en-US" sz="6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2" name="Diamond 61">
            <a:extLst>
              <a:ext uri="{FF2B5EF4-FFF2-40B4-BE49-F238E27FC236}">
                <a16:creationId xmlns:a16="http://schemas.microsoft.com/office/drawing/2014/main" id="{8A02CD10-8E56-46CB-877E-60A43357786F}"/>
              </a:ext>
            </a:extLst>
          </p:cNvPr>
          <p:cNvSpPr/>
          <p:nvPr/>
        </p:nvSpPr>
        <p:spPr>
          <a:xfrm>
            <a:off x="7172409" y="1641917"/>
            <a:ext cx="138113" cy="138113"/>
          </a:xfrm>
          <a:prstGeom prst="diamond">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4" name="Rectangle 63">
            <a:extLst>
              <a:ext uri="{FF2B5EF4-FFF2-40B4-BE49-F238E27FC236}">
                <a16:creationId xmlns:a16="http://schemas.microsoft.com/office/drawing/2014/main" id="{DDA6647F-C75D-40C3-9816-1317E4A71FC3}"/>
              </a:ext>
            </a:extLst>
          </p:cNvPr>
          <p:cNvSpPr/>
          <p:nvPr/>
        </p:nvSpPr>
        <p:spPr>
          <a:xfrm>
            <a:off x="8398805" y="1551904"/>
            <a:ext cx="691215" cy="276999"/>
          </a:xfrm>
          <a:prstGeom prst="rect">
            <a:avLst/>
          </a:prstGeom>
        </p:spPr>
        <p:txBody>
          <a:bodyPr wrap="non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Arial" panose="020B0604020202020204"/>
                <a:ea typeface="+mn-ea"/>
                <a:cs typeface="+mn-cs"/>
              </a:rPr>
              <a:t>Checkpoint</a:t>
            </a:r>
            <a:r>
              <a:rPr kumimoji="0" lang="en-US" sz="600" b="0" i="0" u="none" strike="noStrike" kern="1200" cap="none" spc="0" normalizeH="0" noProof="0">
                <a:ln>
                  <a:noFill/>
                </a:ln>
                <a:solidFill>
                  <a:srgbClr val="000000"/>
                </a:solidFill>
                <a:effectLst/>
                <a:uLnTx/>
                <a:uFillTx/>
                <a:latin typeface="Arial" panose="020B0604020202020204"/>
                <a:ea typeface="+mn-ea"/>
                <a:cs typeface="+mn-cs"/>
              </a:rPr>
              <a:t> 5</a:t>
            </a:r>
          </a:p>
          <a:p>
            <a:pPr marL="0" marR="0" lvl="0" indent="0" algn="l" defTabSz="685800" rtl="0" eaLnBrk="1" fontAlgn="auto" latinLnBrk="0" hangingPunct="1">
              <a:lnSpc>
                <a:spcPct val="100000"/>
              </a:lnSpc>
              <a:spcBef>
                <a:spcPts val="0"/>
              </a:spcBef>
              <a:spcAft>
                <a:spcPts val="0"/>
              </a:spcAft>
              <a:buClrTx/>
              <a:buSzTx/>
              <a:buFontTx/>
              <a:buNone/>
              <a:tabLst/>
              <a:defRPr/>
            </a:pPr>
            <a:r>
              <a:rPr lang="en-US" sz="600" baseline="0" err="1">
                <a:solidFill>
                  <a:srgbClr val="000000"/>
                </a:solidFill>
                <a:latin typeface="Arial" panose="020B0604020202020204"/>
              </a:rPr>
              <a:t>Hypercare</a:t>
            </a:r>
            <a:r>
              <a:rPr lang="en-US" sz="600" baseline="0">
                <a:solidFill>
                  <a:srgbClr val="000000"/>
                </a:solidFill>
                <a:latin typeface="Arial" panose="020B0604020202020204"/>
              </a:rPr>
              <a:t> Exit</a:t>
            </a:r>
            <a:endParaRPr kumimoji="0" lang="en-US" sz="6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5" name="Diamond 64">
            <a:extLst>
              <a:ext uri="{FF2B5EF4-FFF2-40B4-BE49-F238E27FC236}">
                <a16:creationId xmlns:a16="http://schemas.microsoft.com/office/drawing/2014/main" id="{8A02CD10-8E56-46CB-877E-60A43357786F}"/>
              </a:ext>
            </a:extLst>
          </p:cNvPr>
          <p:cNvSpPr/>
          <p:nvPr/>
        </p:nvSpPr>
        <p:spPr>
          <a:xfrm>
            <a:off x="8357179" y="1629280"/>
            <a:ext cx="138113" cy="138113"/>
          </a:xfrm>
          <a:prstGeom prst="diamond">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9" name="Rectangle 68">
            <a:extLst>
              <a:ext uri="{FF2B5EF4-FFF2-40B4-BE49-F238E27FC236}">
                <a16:creationId xmlns:a16="http://schemas.microsoft.com/office/drawing/2014/main" id="{DDA6647F-C75D-40C3-9816-1317E4A71FC3}"/>
              </a:ext>
            </a:extLst>
          </p:cNvPr>
          <p:cNvSpPr/>
          <p:nvPr/>
        </p:nvSpPr>
        <p:spPr>
          <a:xfrm>
            <a:off x="6377652" y="3482143"/>
            <a:ext cx="849913" cy="184666"/>
          </a:xfrm>
          <a:prstGeom prst="rect">
            <a:avLst/>
          </a:prstGeom>
        </p:spPr>
        <p:txBody>
          <a:bodyPr wrap="none" anchor="ctr">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600" dirty="0">
                <a:solidFill>
                  <a:srgbClr val="000000"/>
                </a:solidFill>
                <a:latin typeface="Arial" panose="020B0604020202020204"/>
              </a:rPr>
              <a:t>Roll-out Local </a:t>
            </a:r>
            <a:r>
              <a:rPr kumimoji="0" lang="en-US" sz="600" b="0" i="0" u="none" strike="noStrike" kern="1200" cap="none" spc="0" normalizeH="0" baseline="0" noProof="0" dirty="0">
                <a:ln>
                  <a:noFill/>
                </a:ln>
                <a:solidFill>
                  <a:srgbClr val="000000"/>
                </a:solidFill>
                <a:effectLst/>
                <a:uLnTx/>
                <a:uFillTx/>
                <a:latin typeface="Arial" panose="020B0604020202020204"/>
                <a:ea typeface="+mn-ea"/>
                <a:cs typeface="+mn-cs"/>
              </a:rPr>
              <a:t>Test</a:t>
            </a:r>
            <a:r>
              <a:rPr kumimoji="0" lang="en-US" sz="600" b="0" i="0" u="none" strike="noStrike" kern="1200" cap="none" spc="0" normalizeH="0" noProof="0" dirty="0">
                <a:ln>
                  <a:noFill/>
                </a:ln>
                <a:solidFill>
                  <a:srgbClr val="000000"/>
                </a:solidFill>
                <a:effectLst/>
                <a:uLnTx/>
                <a:uFillTx/>
                <a:latin typeface="Arial" panose="020B0604020202020204"/>
                <a:ea typeface="+mn-ea"/>
                <a:cs typeface="+mn-cs"/>
              </a:rPr>
              <a:t> </a:t>
            </a:r>
            <a:endParaRPr kumimoji="0" lang="en-US"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78" name="Rectangle 77">
            <a:extLst>
              <a:ext uri="{FF2B5EF4-FFF2-40B4-BE49-F238E27FC236}">
                <a16:creationId xmlns:a16="http://schemas.microsoft.com/office/drawing/2014/main" id="{DDA6647F-C75D-40C3-9816-1317E4A71FC3}"/>
              </a:ext>
            </a:extLst>
          </p:cNvPr>
          <p:cNvSpPr/>
          <p:nvPr/>
        </p:nvSpPr>
        <p:spPr>
          <a:xfrm>
            <a:off x="5537284" y="3479812"/>
            <a:ext cx="864339" cy="184666"/>
          </a:xfrm>
          <a:prstGeom prst="rect">
            <a:avLst/>
          </a:prstGeom>
        </p:spPr>
        <p:txBody>
          <a:bodyPr wrap="none" anchor="ctr">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Arial" panose="020B0604020202020204"/>
                <a:ea typeface="+mn-ea"/>
                <a:cs typeface="+mn-cs"/>
              </a:rPr>
              <a:t>Local Test</a:t>
            </a:r>
            <a:r>
              <a:rPr kumimoji="0" lang="en-US" sz="600" b="0" i="0" u="none" strike="noStrike" kern="1200" cap="none" spc="0" normalizeH="0" noProof="0">
                <a:ln>
                  <a:noFill/>
                </a:ln>
                <a:solidFill>
                  <a:srgbClr val="000000"/>
                </a:solidFill>
                <a:effectLst/>
                <a:uLnTx/>
                <a:uFillTx/>
                <a:latin typeface="Arial" panose="020B0604020202020204"/>
                <a:ea typeface="+mn-ea"/>
                <a:cs typeface="+mn-cs"/>
              </a:rPr>
              <a:t> Planning</a:t>
            </a:r>
            <a:endParaRPr kumimoji="0" lang="en-US" sz="6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1" name="Rectangle 80">
            <a:extLst>
              <a:ext uri="{FF2B5EF4-FFF2-40B4-BE49-F238E27FC236}">
                <a16:creationId xmlns:a16="http://schemas.microsoft.com/office/drawing/2014/main" id="{DDA6647F-C75D-40C3-9816-1317E4A71FC3}"/>
              </a:ext>
            </a:extLst>
          </p:cNvPr>
          <p:cNvSpPr/>
          <p:nvPr/>
        </p:nvSpPr>
        <p:spPr>
          <a:xfrm>
            <a:off x="5629804" y="3797344"/>
            <a:ext cx="587020" cy="184666"/>
          </a:xfrm>
          <a:prstGeom prst="rect">
            <a:avLst/>
          </a:prstGeom>
        </p:spPr>
        <p:txBody>
          <a:bodyPr wrap="none" anchor="ctr">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600" dirty="0">
                <a:solidFill>
                  <a:srgbClr val="000000"/>
                </a:solidFill>
                <a:latin typeface="Arial" panose="020B0604020202020204"/>
              </a:rPr>
              <a:t>QA Cutover</a:t>
            </a:r>
            <a:endParaRPr kumimoji="0" lang="en-US"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pic>
        <p:nvPicPr>
          <p:cNvPr id="83" name="Picture 82"/>
          <p:cNvPicPr>
            <a:picLocks/>
          </p:cNvPicPr>
          <p:nvPr/>
        </p:nvPicPr>
        <p:blipFill>
          <a:blip r:embed="rId10"/>
          <a:stretch>
            <a:fillRect/>
          </a:stretch>
        </p:blipFill>
        <p:spPr>
          <a:xfrm>
            <a:off x="8008317" y="3982010"/>
            <a:ext cx="486975" cy="118800"/>
          </a:xfrm>
          <a:prstGeom prst="rect">
            <a:avLst/>
          </a:prstGeom>
        </p:spPr>
      </p:pic>
      <p:sp>
        <p:nvSpPr>
          <p:cNvPr id="84" name="Diamond 83">
            <a:extLst>
              <a:ext uri="{FF2B5EF4-FFF2-40B4-BE49-F238E27FC236}">
                <a16:creationId xmlns:a16="http://schemas.microsoft.com/office/drawing/2014/main" id="{8A02CD10-8E56-46CB-877E-60A43357786F}"/>
              </a:ext>
            </a:extLst>
          </p:cNvPr>
          <p:cNvSpPr/>
          <p:nvPr/>
        </p:nvSpPr>
        <p:spPr>
          <a:xfrm>
            <a:off x="8423284" y="3982011"/>
            <a:ext cx="144016" cy="138113"/>
          </a:xfrm>
          <a:prstGeom prst="diamond">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5" name="Rectangle 84">
            <a:extLst>
              <a:ext uri="{FF2B5EF4-FFF2-40B4-BE49-F238E27FC236}">
                <a16:creationId xmlns:a16="http://schemas.microsoft.com/office/drawing/2014/main" id="{DDA6647F-C75D-40C3-9816-1317E4A71FC3}"/>
              </a:ext>
            </a:extLst>
          </p:cNvPr>
          <p:cNvSpPr/>
          <p:nvPr/>
        </p:nvSpPr>
        <p:spPr>
          <a:xfrm>
            <a:off x="7961580" y="4069355"/>
            <a:ext cx="542136" cy="184666"/>
          </a:xfrm>
          <a:prstGeom prst="rect">
            <a:avLst/>
          </a:prstGeom>
        </p:spPr>
        <p:txBody>
          <a:bodyPr wrap="none" anchor="ctr">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600" err="1">
                <a:solidFill>
                  <a:srgbClr val="000000"/>
                </a:solidFill>
                <a:latin typeface="Arial" panose="020B0604020202020204"/>
              </a:rPr>
              <a:t>Hypercare</a:t>
            </a:r>
            <a:endParaRPr kumimoji="0" lang="en-US" sz="6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6" name="Rectangle 85">
            <a:extLst>
              <a:ext uri="{FF2B5EF4-FFF2-40B4-BE49-F238E27FC236}">
                <a16:creationId xmlns:a16="http://schemas.microsoft.com/office/drawing/2014/main" id="{DDA6647F-C75D-40C3-9816-1317E4A71FC3}"/>
              </a:ext>
            </a:extLst>
          </p:cNvPr>
          <p:cNvSpPr/>
          <p:nvPr/>
        </p:nvSpPr>
        <p:spPr>
          <a:xfrm>
            <a:off x="7214589" y="3836325"/>
            <a:ext cx="896524" cy="184666"/>
          </a:xfrm>
          <a:prstGeom prst="rect">
            <a:avLst/>
          </a:prstGeom>
        </p:spPr>
        <p:txBody>
          <a:bodyPr wrap="square" anchor="ctr">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600">
                <a:solidFill>
                  <a:srgbClr val="000000"/>
                </a:solidFill>
                <a:latin typeface="Arial" panose="020B0604020202020204"/>
              </a:rPr>
              <a:t>Production Cutover</a:t>
            </a:r>
            <a:endParaRPr kumimoji="0" lang="en-US" sz="600" b="0" i="0" u="none" strike="noStrike" kern="1200" cap="none" spc="0" normalizeH="0" baseline="0" noProof="0">
              <a:ln>
                <a:noFill/>
              </a:ln>
              <a:solidFill>
                <a:srgbClr val="000000"/>
              </a:solidFill>
              <a:effectLst/>
              <a:uLnTx/>
              <a:uFillTx/>
              <a:latin typeface="Arial" panose="020B0604020202020204"/>
              <a:ea typeface="+mn-ea"/>
              <a:cs typeface="+mn-cs"/>
            </a:endParaRPr>
          </a:p>
        </p:txBody>
      </p:sp>
      <p:pic>
        <p:nvPicPr>
          <p:cNvPr id="105" name="Picture 104"/>
          <p:cNvPicPr preferRelativeResize="0">
            <a:picLocks/>
          </p:cNvPicPr>
          <p:nvPr/>
        </p:nvPicPr>
        <p:blipFill>
          <a:blip r:embed="rId10"/>
          <a:stretch>
            <a:fillRect/>
          </a:stretch>
        </p:blipFill>
        <p:spPr>
          <a:xfrm>
            <a:off x="3660265" y="2536589"/>
            <a:ext cx="1872000" cy="108000"/>
          </a:xfrm>
          <a:prstGeom prst="rect">
            <a:avLst/>
          </a:prstGeom>
        </p:spPr>
      </p:pic>
      <p:pic>
        <p:nvPicPr>
          <p:cNvPr id="108" name="Picture 107"/>
          <p:cNvPicPr preferRelativeResize="0">
            <a:picLocks/>
          </p:cNvPicPr>
          <p:nvPr/>
        </p:nvPicPr>
        <p:blipFill>
          <a:blip r:embed="rId10"/>
          <a:stretch>
            <a:fillRect/>
          </a:stretch>
        </p:blipFill>
        <p:spPr>
          <a:xfrm>
            <a:off x="3657600" y="2818359"/>
            <a:ext cx="1872000" cy="108000"/>
          </a:xfrm>
          <a:prstGeom prst="rect">
            <a:avLst/>
          </a:prstGeom>
        </p:spPr>
      </p:pic>
      <p:sp>
        <p:nvSpPr>
          <p:cNvPr id="110" name="Rectangle 109">
            <a:extLst>
              <a:ext uri="{FF2B5EF4-FFF2-40B4-BE49-F238E27FC236}">
                <a16:creationId xmlns:a16="http://schemas.microsoft.com/office/drawing/2014/main" id="{DDA6647F-C75D-40C3-9816-1317E4A71FC3}"/>
              </a:ext>
            </a:extLst>
          </p:cNvPr>
          <p:cNvSpPr/>
          <p:nvPr/>
        </p:nvSpPr>
        <p:spPr>
          <a:xfrm>
            <a:off x="5413934" y="1565090"/>
            <a:ext cx="1291666" cy="184666"/>
          </a:xfrm>
          <a:prstGeom prst="rect">
            <a:avLst/>
          </a:prstGeom>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Arial" panose="020B0604020202020204"/>
                <a:ea typeface="+mn-ea"/>
                <a:cs typeface="+mn-cs"/>
              </a:rPr>
              <a:t>Checkpoint</a:t>
            </a:r>
            <a:r>
              <a:rPr kumimoji="0" lang="en-US" sz="600" b="0" i="0" u="none" strike="noStrike" kern="1200" cap="none" spc="0" normalizeH="0" noProof="0">
                <a:ln>
                  <a:noFill/>
                </a:ln>
                <a:solidFill>
                  <a:srgbClr val="000000"/>
                </a:solidFill>
                <a:effectLst/>
                <a:uLnTx/>
                <a:uFillTx/>
                <a:latin typeface="Arial" panose="020B0604020202020204"/>
                <a:ea typeface="+mn-ea"/>
                <a:cs typeface="+mn-cs"/>
              </a:rPr>
              <a:t> 3: </a:t>
            </a:r>
            <a:r>
              <a:rPr lang="en-GB" sz="600" noProof="0">
                <a:solidFill>
                  <a:srgbClr val="000000"/>
                </a:solidFill>
                <a:latin typeface="Arial" panose="020B0604020202020204"/>
              </a:rPr>
              <a:t>Entry to Testing</a:t>
            </a:r>
            <a:endParaRPr kumimoji="0" lang="en-US" sz="6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1" name="Diamond 110">
            <a:extLst>
              <a:ext uri="{FF2B5EF4-FFF2-40B4-BE49-F238E27FC236}">
                <a16:creationId xmlns:a16="http://schemas.microsoft.com/office/drawing/2014/main" id="{8A02CD10-8E56-46CB-877E-60A43357786F}"/>
              </a:ext>
            </a:extLst>
          </p:cNvPr>
          <p:cNvSpPr/>
          <p:nvPr/>
        </p:nvSpPr>
        <p:spPr>
          <a:xfrm>
            <a:off x="5377490" y="1634533"/>
            <a:ext cx="138113" cy="138113"/>
          </a:xfrm>
          <a:prstGeom prst="diamond">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2" name="Rectangle 111">
            <a:extLst>
              <a:ext uri="{FF2B5EF4-FFF2-40B4-BE49-F238E27FC236}">
                <a16:creationId xmlns:a16="http://schemas.microsoft.com/office/drawing/2014/main" id="{DDA6647F-C75D-40C3-9816-1317E4A71FC3}"/>
              </a:ext>
            </a:extLst>
          </p:cNvPr>
          <p:cNvSpPr/>
          <p:nvPr/>
        </p:nvSpPr>
        <p:spPr>
          <a:xfrm>
            <a:off x="3090180" y="1696069"/>
            <a:ext cx="1710639" cy="184666"/>
          </a:xfrm>
          <a:prstGeom prst="rect">
            <a:avLst/>
          </a:prstGeom>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Arial" panose="020B0604020202020204"/>
                <a:ea typeface="+mn-ea"/>
                <a:cs typeface="+mn-cs"/>
              </a:rPr>
              <a:t>Checkpoint</a:t>
            </a:r>
            <a:r>
              <a:rPr kumimoji="0" lang="en-US" sz="600" b="0" i="0" u="none" strike="noStrike" kern="1200" cap="none" spc="0" normalizeH="0" noProof="0">
                <a:ln>
                  <a:noFill/>
                </a:ln>
                <a:solidFill>
                  <a:srgbClr val="000000"/>
                </a:solidFill>
                <a:effectLst/>
                <a:uLnTx/>
                <a:uFillTx/>
                <a:latin typeface="Arial" panose="020B0604020202020204"/>
                <a:ea typeface="+mn-ea"/>
                <a:cs typeface="+mn-cs"/>
              </a:rPr>
              <a:t> 2: </a:t>
            </a:r>
            <a:r>
              <a:rPr lang="en-US" sz="600" baseline="0">
                <a:solidFill>
                  <a:srgbClr val="000000"/>
                </a:solidFill>
                <a:latin typeface="Arial" panose="020B0604020202020204"/>
              </a:rPr>
              <a:t>Roll-out Preparation</a:t>
            </a:r>
            <a:endParaRPr kumimoji="0" lang="en-US" sz="6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3" name="Diamond 112">
            <a:extLst>
              <a:ext uri="{FF2B5EF4-FFF2-40B4-BE49-F238E27FC236}">
                <a16:creationId xmlns:a16="http://schemas.microsoft.com/office/drawing/2014/main" id="{8A02CD10-8E56-46CB-877E-60A43357786F}"/>
              </a:ext>
            </a:extLst>
          </p:cNvPr>
          <p:cNvSpPr/>
          <p:nvPr/>
        </p:nvSpPr>
        <p:spPr>
          <a:xfrm>
            <a:off x="3048000" y="1726793"/>
            <a:ext cx="138113" cy="138113"/>
          </a:xfrm>
          <a:prstGeom prst="diamond">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4" name="Rectangle 113">
            <a:extLst>
              <a:ext uri="{FF2B5EF4-FFF2-40B4-BE49-F238E27FC236}">
                <a16:creationId xmlns:a16="http://schemas.microsoft.com/office/drawing/2014/main" id="{DDA6647F-C75D-40C3-9816-1317E4A71FC3}"/>
              </a:ext>
            </a:extLst>
          </p:cNvPr>
          <p:cNvSpPr/>
          <p:nvPr/>
        </p:nvSpPr>
        <p:spPr>
          <a:xfrm>
            <a:off x="2628957" y="1548697"/>
            <a:ext cx="1225015" cy="184666"/>
          </a:xfrm>
          <a:prstGeom prst="rect">
            <a:avLst/>
          </a:prstGeom>
        </p:spPr>
        <p:txBody>
          <a:bodyPr wrap="non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Arial" panose="020B0604020202020204"/>
                <a:ea typeface="+mn-ea"/>
                <a:cs typeface="+mn-cs"/>
              </a:rPr>
              <a:t>Checkpoint</a:t>
            </a:r>
            <a:r>
              <a:rPr kumimoji="0" lang="en-US" sz="600" b="0" i="0" u="none" strike="noStrike" kern="1200" cap="none" spc="0" normalizeH="0" noProof="0">
                <a:ln>
                  <a:noFill/>
                </a:ln>
                <a:solidFill>
                  <a:srgbClr val="000000"/>
                </a:solidFill>
                <a:effectLst/>
                <a:uLnTx/>
                <a:uFillTx/>
                <a:latin typeface="Arial" panose="020B0604020202020204"/>
                <a:ea typeface="+mn-ea"/>
                <a:cs typeface="+mn-cs"/>
              </a:rPr>
              <a:t> 1: </a:t>
            </a:r>
            <a:r>
              <a:rPr lang="en-US" sz="600">
                <a:solidFill>
                  <a:srgbClr val="000000"/>
                </a:solidFill>
                <a:latin typeface="Arial" panose="020B0604020202020204"/>
              </a:rPr>
              <a:t>Roll-out</a:t>
            </a:r>
            <a:r>
              <a:rPr lang="en-US" sz="600" baseline="0">
                <a:solidFill>
                  <a:srgbClr val="000000"/>
                </a:solidFill>
                <a:latin typeface="Arial" panose="020B0604020202020204"/>
              </a:rPr>
              <a:t> Charter</a:t>
            </a:r>
            <a:endParaRPr kumimoji="0" lang="en-US" sz="6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5" name="Diamond 114">
            <a:extLst>
              <a:ext uri="{FF2B5EF4-FFF2-40B4-BE49-F238E27FC236}">
                <a16:creationId xmlns:a16="http://schemas.microsoft.com/office/drawing/2014/main" id="{8A02CD10-8E56-46CB-877E-60A43357786F}"/>
              </a:ext>
            </a:extLst>
          </p:cNvPr>
          <p:cNvSpPr/>
          <p:nvPr/>
        </p:nvSpPr>
        <p:spPr>
          <a:xfrm>
            <a:off x="2576768" y="1581417"/>
            <a:ext cx="138113" cy="138113"/>
          </a:xfrm>
          <a:prstGeom prst="diamond">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18" name="Picture 117"/>
          <p:cNvPicPr preferRelativeResize="0">
            <a:picLocks/>
          </p:cNvPicPr>
          <p:nvPr/>
        </p:nvPicPr>
        <p:blipFill>
          <a:blip r:embed="rId10"/>
          <a:stretch>
            <a:fillRect/>
          </a:stretch>
        </p:blipFill>
        <p:spPr>
          <a:xfrm>
            <a:off x="3663655" y="3088452"/>
            <a:ext cx="1872000" cy="108000"/>
          </a:xfrm>
          <a:prstGeom prst="rect">
            <a:avLst/>
          </a:prstGeom>
        </p:spPr>
      </p:pic>
      <p:sp>
        <p:nvSpPr>
          <p:cNvPr id="122" name="Rectangle 121">
            <a:extLst>
              <a:ext uri="{FF2B5EF4-FFF2-40B4-BE49-F238E27FC236}">
                <a16:creationId xmlns:a16="http://schemas.microsoft.com/office/drawing/2014/main" id="{DDA6647F-C75D-40C3-9816-1317E4A71FC3}"/>
              </a:ext>
            </a:extLst>
          </p:cNvPr>
          <p:cNvSpPr/>
          <p:nvPr/>
        </p:nvSpPr>
        <p:spPr>
          <a:xfrm>
            <a:off x="1880504" y="1284801"/>
            <a:ext cx="821059" cy="184666"/>
          </a:xfrm>
          <a:prstGeom prst="rect">
            <a:avLst/>
          </a:prstGeom>
        </p:spPr>
        <p:txBody>
          <a:bodyPr wrap="non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Arial" panose="020B0604020202020204"/>
                <a:ea typeface="+mn-ea"/>
                <a:cs typeface="+mn-cs"/>
              </a:rPr>
              <a:t>Roll-out Workshop</a:t>
            </a:r>
          </a:p>
        </p:txBody>
      </p:sp>
      <p:sp>
        <p:nvSpPr>
          <p:cNvPr id="124" name="Rectangle 123">
            <a:extLst>
              <a:ext uri="{FF2B5EF4-FFF2-40B4-BE49-F238E27FC236}">
                <a16:creationId xmlns:a16="http://schemas.microsoft.com/office/drawing/2014/main" id="{DDA6647F-C75D-40C3-9816-1317E4A71FC3}"/>
              </a:ext>
            </a:extLst>
          </p:cNvPr>
          <p:cNvSpPr/>
          <p:nvPr/>
        </p:nvSpPr>
        <p:spPr>
          <a:xfrm>
            <a:off x="1737801" y="2006084"/>
            <a:ext cx="441146" cy="276999"/>
          </a:xfrm>
          <a:prstGeom prst="rect">
            <a:avLst/>
          </a:prstGeom>
        </p:spPr>
        <p:txBody>
          <a:bodyPr wrap="non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600">
                <a:solidFill>
                  <a:srgbClr val="000000"/>
                </a:solidFill>
                <a:latin typeface="Arial" panose="020B0604020202020204"/>
              </a:rPr>
              <a:t>CC&amp;T</a:t>
            </a:r>
            <a:br>
              <a:rPr lang="en-US" sz="600">
                <a:solidFill>
                  <a:srgbClr val="000000"/>
                </a:solidFill>
                <a:latin typeface="Arial" panose="020B0604020202020204"/>
              </a:rPr>
            </a:br>
            <a:r>
              <a:rPr lang="en-US" sz="600">
                <a:solidFill>
                  <a:srgbClr val="000000"/>
                </a:solidFill>
                <a:latin typeface="Arial" panose="020B0604020202020204"/>
              </a:rPr>
              <a:t>Kick-off</a:t>
            </a:r>
            <a:endParaRPr kumimoji="0" lang="en-US" sz="6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30" name="Rectangle 129">
            <a:extLst>
              <a:ext uri="{FF2B5EF4-FFF2-40B4-BE49-F238E27FC236}">
                <a16:creationId xmlns:a16="http://schemas.microsoft.com/office/drawing/2014/main" id="{DDA6647F-C75D-40C3-9816-1317E4A71FC3}"/>
              </a:ext>
            </a:extLst>
          </p:cNvPr>
          <p:cNvSpPr/>
          <p:nvPr/>
        </p:nvSpPr>
        <p:spPr>
          <a:xfrm>
            <a:off x="7200906" y="2027793"/>
            <a:ext cx="869149" cy="184666"/>
          </a:xfrm>
          <a:prstGeom prst="rect">
            <a:avLst/>
          </a:prstGeom>
        </p:spPr>
        <p:txBody>
          <a:bodyPr wrap="non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Arial" panose="020B0604020202020204"/>
                <a:ea typeface="+mn-ea"/>
                <a:cs typeface="+mn-cs"/>
              </a:rPr>
              <a:t>Go-live Count-down</a:t>
            </a:r>
          </a:p>
        </p:txBody>
      </p:sp>
      <p:sp>
        <p:nvSpPr>
          <p:cNvPr id="144" name="Rectangle 143"/>
          <p:cNvSpPr/>
          <p:nvPr/>
        </p:nvSpPr>
        <p:spPr>
          <a:xfrm>
            <a:off x="1981200" y="1886800"/>
            <a:ext cx="1188720" cy="1188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a:p>
        </p:txBody>
      </p:sp>
      <p:sp>
        <p:nvSpPr>
          <p:cNvPr id="146" name="Rectangle 145"/>
          <p:cNvSpPr/>
          <p:nvPr/>
        </p:nvSpPr>
        <p:spPr>
          <a:xfrm>
            <a:off x="7264573" y="1964239"/>
            <a:ext cx="690518" cy="120037"/>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a:p>
        </p:txBody>
      </p:sp>
      <p:sp>
        <p:nvSpPr>
          <p:cNvPr id="148" name="Rectangle 147"/>
          <p:cNvSpPr/>
          <p:nvPr/>
        </p:nvSpPr>
        <p:spPr>
          <a:xfrm>
            <a:off x="7252447" y="2320537"/>
            <a:ext cx="731520" cy="12815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a:p>
        </p:txBody>
      </p:sp>
      <p:sp>
        <p:nvSpPr>
          <p:cNvPr id="149" name="Rectangle 148"/>
          <p:cNvSpPr/>
          <p:nvPr/>
        </p:nvSpPr>
        <p:spPr>
          <a:xfrm>
            <a:off x="5739745" y="2145861"/>
            <a:ext cx="731520" cy="12815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a:p>
        </p:txBody>
      </p:sp>
      <p:graphicFrame>
        <p:nvGraphicFramePr>
          <p:cNvPr id="13" name="Table 12"/>
          <p:cNvGraphicFramePr>
            <a:graphicFrameLocks noGrp="1"/>
          </p:cNvGraphicFramePr>
          <p:nvPr/>
        </p:nvGraphicFramePr>
        <p:xfrm>
          <a:off x="1751491" y="1067549"/>
          <a:ext cx="6932073" cy="223733"/>
        </p:xfrm>
        <a:graphic>
          <a:graphicData uri="http://schemas.openxmlformats.org/drawingml/2006/table">
            <a:tbl>
              <a:tblPr firstRow="1" bandRow="1">
                <a:tableStyleId>{1C5780E6-A8F4-46B0-B82D-9E7F56C639EF}</a:tableStyleId>
              </a:tblPr>
              <a:tblGrid>
                <a:gridCol w="239037">
                  <a:extLst>
                    <a:ext uri="{9D8B030D-6E8A-4147-A177-3AD203B41FA5}">
                      <a16:colId xmlns:a16="http://schemas.microsoft.com/office/drawing/2014/main" val="1049920891"/>
                    </a:ext>
                  </a:extLst>
                </a:gridCol>
                <a:gridCol w="239037">
                  <a:extLst>
                    <a:ext uri="{9D8B030D-6E8A-4147-A177-3AD203B41FA5}">
                      <a16:colId xmlns:a16="http://schemas.microsoft.com/office/drawing/2014/main" val="1767444523"/>
                    </a:ext>
                  </a:extLst>
                </a:gridCol>
                <a:gridCol w="239037">
                  <a:extLst>
                    <a:ext uri="{9D8B030D-6E8A-4147-A177-3AD203B41FA5}">
                      <a16:colId xmlns:a16="http://schemas.microsoft.com/office/drawing/2014/main" val="3124257951"/>
                    </a:ext>
                  </a:extLst>
                </a:gridCol>
                <a:gridCol w="239037">
                  <a:extLst>
                    <a:ext uri="{9D8B030D-6E8A-4147-A177-3AD203B41FA5}">
                      <a16:colId xmlns:a16="http://schemas.microsoft.com/office/drawing/2014/main" val="1394367943"/>
                    </a:ext>
                  </a:extLst>
                </a:gridCol>
                <a:gridCol w="239037">
                  <a:extLst>
                    <a:ext uri="{9D8B030D-6E8A-4147-A177-3AD203B41FA5}">
                      <a16:colId xmlns:a16="http://schemas.microsoft.com/office/drawing/2014/main" val="4102003903"/>
                    </a:ext>
                  </a:extLst>
                </a:gridCol>
                <a:gridCol w="239037">
                  <a:extLst>
                    <a:ext uri="{9D8B030D-6E8A-4147-A177-3AD203B41FA5}">
                      <a16:colId xmlns:a16="http://schemas.microsoft.com/office/drawing/2014/main" val="126215580"/>
                    </a:ext>
                  </a:extLst>
                </a:gridCol>
                <a:gridCol w="239037">
                  <a:extLst>
                    <a:ext uri="{9D8B030D-6E8A-4147-A177-3AD203B41FA5}">
                      <a16:colId xmlns:a16="http://schemas.microsoft.com/office/drawing/2014/main" val="4204886600"/>
                    </a:ext>
                  </a:extLst>
                </a:gridCol>
                <a:gridCol w="239037">
                  <a:extLst>
                    <a:ext uri="{9D8B030D-6E8A-4147-A177-3AD203B41FA5}">
                      <a16:colId xmlns:a16="http://schemas.microsoft.com/office/drawing/2014/main" val="3457611662"/>
                    </a:ext>
                  </a:extLst>
                </a:gridCol>
                <a:gridCol w="239037">
                  <a:extLst>
                    <a:ext uri="{9D8B030D-6E8A-4147-A177-3AD203B41FA5}">
                      <a16:colId xmlns:a16="http://schemas.microsoft.com/office/drawing/2014/main" val="2550532955"/>
                    </a:ext>
                  </a:extLst>
                </a:gridCol>
                <a:gridCol w="239037">
                  <a:extLst>
                    <a:ext uri="{9D8B030D-6E8A-4147-A177-3AD203B41FA5}">
                      <a16:colId xmlns:a16="http://schemas.microsoft.com/office/drawing/2014/main" val="4089327667"/>
                    </a:ext>
                  </a:extLst>
                </a:gridCol>
                <a:gridCol w="239037">
                  <a:extLst>
                    <a:ext uri="{9D8B030D-6E8A-4147-A177-3AD203B41FA5}">
                      <a16:colId xmlns:a16="http://schemas.microsoft.com/office/drawing/2014/main" val="3500817962"/>
                    </a:ext>
                  </a:extLst>
                </a:gridCol>
                <a:gridCol w="239037">
                  <a:extLst>
                    <a:ext uri="{9D8B030D-6E8A-4147-A177-3AD203B41FA5}">
                      <a16:colId xmlns:a16="http://schemas.microsoft.com/office/drawing/2014/main" val="1031313218"/>
                    </a:ext>
                  </a:extLst>
                </a:gridCol>
                <a:gridCol w="239037">
                  <a:extLst>
                    <a:ext uri="{9D8B030D-6E8A-4147-A177-3AD203B41FA5}">
                      <a16:colId xmlns:a16="http://schemas.microsoft.com/office/drawing/2014/main" val="3554031031"/>
                    </a:ext>
                  </a:extLst>
                </a:gridCol>
                <a:gridCol w="239037">
                  <a:extLst>
                    <a:ext uri="{9D8B030D-6E8A-4147-A177-3AD203B41FA5}">
                      <a16:colId xmlns:a16="http://schemas.microsoft.com/office/drawing/2014/main" val="4216868036"/>
                    </a:ext>
                  </a:extLst>
                </a:gridCol>
                <a:gridCol w="239037">
                  <a:extLst>
                    <a:ext uri="{9D8B030D-6E8A-4147-A177-3AD203B41FA5}">
                      <a16:colId xmlns:a16="http://schemas.microsoft.com/office/drawing/2014/main" val="1153015964"/>
                    </a:ext>
                  </a:extLst>
                </a:gridCol>
                <a:gridCol w="239037">
                  <a:extLst>
                    <a:ext uri="{9D8B030D-6E8A-4147-A177-3AD203B41FA5}">
                      <a16:colId xmlns:a16="http://schemas.microsoft.com/office/drawing/2014/main" val="3092655901"/>
                    </a:ext>
                  </a:extLst>
                </a:gridCol>
                <a:gridCol w="239037">
                  <a:extLst>
                    <a:ext uri="{9D8B030D-6E8A-4147-A177-3AD203B41FA5}">
                      <a16:colId xmlns:a16="http://schemas.microsoft.com/office/drawing/2014/main" val="843293564"/>
                    </a:ext>
                  </a:extLst>
                </a:gridCol>
                <a:gridCol w="239037">
                  <a:extLst>
                    <a:ext uri="{9D8B030D-6E8A-4147-A177-3AD203B41FA5}">
                      <a16:colId xmlns:a16="http://schemas.microsoft.com/office/drawing/2014/main" val="3680701662"/>
                    </a:ext>
                  </a:extLst>
                </a:gridCol>
                <a:gridCol w="239037">
                  <a:extLst>
                    <a:ext uri="{9D8B030D-6E8A-4147-A177-3AD203B41FA5}">
                      <a16:colId xmlns:a16="http://schemas.microsoft.com/office/drawing/2014/main" val="429890717"/>
                    </a:ext>
                  </a:extLst>
                </a:gridCol>
                <a:gridCol w="239037">
                  <a:extLst>
                    <a:ext uri="{9D8B030D-6E8A-4147-A177-3AD203B41FA5}">
                      <a16:colId xmlns:a16="http://schemas.microsoft.com/office/drawing/2014/main" val="2391882331"/>
                    </a:ext>
                  </a:extLst>
                </a:gridCol>
                <a:gridCol w="239037">
                  <a:extLst>
                    <a:ext uri="{9D8B030D-6E8A-4147-A177-3AD203B41FA5}">
                      <a16:colId xmlns:a16="http://schemas.microsoft.com/office/drawing/2014/main" val="191013700"/>
                    </a:ext>
                  </a:extLst>
                </a:gridCol>
                <a:gridCol w="239037">
                  <a:extLst>
                    <a:ext uri="{9D8B030D-6E8A-4147-A177-3AD203B41FA5}">
                      <a16:colId xmlns:a16="http://schemas.microsoft.com/office/drawing/2014/main" val="3392843669"/>
                    </a:ext>
                  </a:extLst>
                </a:gridCol>
                <a:gridCol w="239037">
                  <a:extLst>
                    <a:ext uri="{9D8B030D-6E8A-4147-A177-3AD203B41FA5}">
                      <a16:colId xmlns:a16="http://schemas.microsoft.com/office/drawing/2014/main" val="3462297469"/>
                    </a:ext>
                  </a:extLst>
                </a:gridCol>
                <a:gridCol w="239037">
                  <a:extLst>
                    <a:ext uri="{9D8B030D-6E8A-4147-A177-3AD203B41FA5}">
                      <a16:colId xmlns:a16="http://schemas.microsoft.com/office/drawing/2014/main" val="3679664873"/>
                    </a:ext>
                  </a:extLst>
                </a:gridCol>
                <a:gridCol w="239037">
                  <a:extLst>
                    <a:ext uri="{9D8B030D-6E8A-4147-A177-3AD203B41FA5}">
                      <a16:colId xmlns:a16="http://schemas.microsoft.com/office/drawing/2014/main" val="127077719"/>
                    </a:ext>
                  </a:extLst>
                </a:gridCol>
                <a:gridCol w="239037">
                  <a:extLst>
                    <a:ext uri="{9D8B030D-6E8A-4147-A177-3AD203B41FA5}">
                      <a16:colId xmlns:a16="http://schemas.microsoft.com/office/drawing/2014/main" val="1685298904"/>
                    </a:ext>
                  </a:extLst>
                </a:gridCol>
                <a:gridCol w="239037">
                  <a:extLst>
                    <a:ext uri="{9D8B030D-6E8A-4147-A177-3AD203B41FA5}">
                      <a16:colId xmlns:a16="http://schemas.microsoft.com/office/drawing/2014/main" val="2564816816"/>
                    </a:ext>
                  </a:extLst>
                </a:gridCol>
                <a:gridCol w="239037">
                  <a:extLst>
                    <a:ext uri="{9D8B030D-6E8A-4147-A177-3AD203B41FA5}">
                      <a16:colId xmlns:a16="http://schemas.microsoft.com/office/drawing/2014/main" val="1850554752"/>
                    </a:ext>
                  </a:extLst>
                </a:gridCol>
                <a:gridCol w="239037">
                  <a:extLst>
                    <a:ext uri="{9D8B030D-6E8A-4147-A177-3AD203B41FA5}">
                      <a16:colId xmlns:a16="http://schemas.microsoft.com/office/drawing/2014/main" val="3341932335"/>
                    </a:ext>
                  </a:extLst>
                </a:gridCol>
              </a:tblGrid>
              <a:tr h="223733">
                <a:tc>
                  <a:txBody>
                    <a:bodyPr/>
                    <a:lstStyle/>
                    <a:p>
                      <a:pPr algn="ctr"/>
                      <a:r>
                        <a:rPr lang="en-US" sz="700"/>
                        <a:t>09</a:t>
                      </a:r>
                      <a:endParaRPr lang="en-GB" sz="700"/>
                    </a:p>
                  </a:txBody>
                  <a:tcPr marL="36000" marR="36000" marT="36000" marB="3600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algn="ctr"/>
                      <a:r>
                        <a:rPr lang="en-US" sz="700"/>
                        <a:t>16</a:t>
                      </a:r>
                      <a:endParaRPr lang="en-GB" sz="700"/>
                    </a:p>
                  </a:txBody>
                  <a:tcPr marL="36000" marR="36000" marT="36000" marB="3600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algn="ctr"/>
                      <a:r>
                        <a:rPr lang="en-US" sz="700"/>
                        <a:t>23</a:t>
                      </a:r>
                      <a:endParaRPr lang="en-GB" sz="700"/>
                    </a:p>
                  </a:txBody>
                  <a:tcPr marL="36000" marR="36000" marT="36000" marB="3600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algn="ctr"/>
                      <a:r>
                        <a:rPr lang="en-US" sz="700"/>
                        <a:t>30</a:t>
                      </a:r>
                      <a:endParaRPr lang="en-GB" sz="700"/>
                    </a:p>
                  </a:txBody>
                  <a:tcPr marL="36000" marR="36000" marT="36000" marB="3600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algn="ctr"/>
                      <a:r>
                        <a:rPr lang="en-GB" sz="700"/>
                        <a:t>7</a:t>
                      </a:r>
                    </a:p>
                  </a:txBody>
                  <a:tcPr marL="36000" marR="36000" marT="36000" marB="3600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algn="ctr"/>
                      <a:r>
                        <a:rPr lang="en-US" sz="700"/>
                        <a:t>14</a:t>
                      </a:r>
                      <a:endParaRPr lang="en-GB" sz="700"/>
                    </a:p>
                  </a:txBody>
                  <a:tcPr marL="36000" marR="36000" marT="36000" marB="3600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algn="ctr"/>
                      <a:r>
                        <a:rPr lang="en-US" sz="700"/>
                        <a:t>21</a:t>
                      </a:r>
                      <a:endParaRPr lang="en-GB" sz="700"/>
                    </a:p>
                  </a:txBody>
                  <a:tcPr marL="36000" marR="36000" marT="36000" marB="3600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algn="ctr"/>
                      <a:r>
                        <a:rPr lang="en-GB" sz="700"/>
                        <a:t>28</a:t>
                      </a:r>
                    </a:p>
                  </a:txBody>
                  <a:tcPr marL="36000" marR="36000" marT="36000" marB="3600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algn="ctr"/>
                      <a:r>
                        <a:rPr lang="en-US" sz="700"/>
                        <a:t>04</a:t>
                      </a:r>
                      <a:endParaRPr lang="en-GB" sz="700"/>
                    </a:p>
                  </a:txBody>
                  <a:tcPr marL="36000" marR="36000" marT="36000" marB="3600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algn="ctr"/>
                      <a:r>
                        <a:rPr lang="en-US" sz="700"/>
                        <a:t>11</a:t>
                      </a:r>
                      <a:endParaRPr lang="en-GB" sz="700"/>
                    </a:p>
                  </a:txBody>
                  <a:tcPr marL="36000" marR="36000" marT="36000" marB="3600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algn="ctr"/>
                      <a:r>
                        <a:rPr lang="en-US" sz="700"/>
                        <a:t>18</a:t>
                      </a:r>
                      <a:endParaRPr lang="en-GB" sz="700"/>
                    </a:p>
                  </a:txBody>
                  <a:tcPr marL="36000" marR="36000" marT="36000" marB="3600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algn="ctr"/>
                      <a:r>
                        <a:rPr lang="en-US" sz="700"/>
                        <a:t>25</a:t>
                      </a:r>
                      <a:endParaRPr lang="en-GB" sz="700"/>
                    </a:p>
                  </a:txBody>
                  <a:tcPr marL="36000" marR="36000" marT="36000" marB="3600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algn="ctr"/>
                      <a:r>
                        <a:rPr lang="en-US" sz="700"/>
                        <a:t>01</a:t>
                      </a:r>
                      <a:endParaRPr lang="en-GB" sz="700"/>
                    </a:p>
                  </a:txBody>
                  <a:tcPr marL="36000" marR="36000" marT="36000" marB="3600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algn="ctr"/>
                      <a:r>
                        <a:rPr lang="en-US" sz="700"/>
                        <a:t>08</a:t>
                      </a:r>
                      <a:endParaRPr lang="en-GB" sz="700"/>
                    </a:p>
                  </a:txBody>
                  <a:tcPr marL="36000" marR="36000" marT="36000" marB="3600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algn="ctr"/>
                      <a:r>
                        <a:rPr lang="en-US" sz="700"/>
                        <a:t>15</a:t>
                      </a:r>
                      <a:endParaRPr lang="en-GB" sz="700"/>
                    </a:p>
                  </a:txBody>
                  <a:tcPr marL="36000" marR="36000" marT="36000" marB="3600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algn="ctr"/>
                      <a:r>
                        <a:rPr lang="en-US" sz="700"/>
                        <a:t>22</a:t>
                      </a:r>
                      <a:endParaRPr lang="en-GB" sz="700"/>
                    </a:p>
                  </a:txBody>
                  <a:tcPr marL="36000" marR="36000" marT="36000" marB="3600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algn="ctr"/>
                      <a:r>
                        <a:rPr lang="en-US" sz="700"/>
                        <a:t>01</a:t>
                      </a:r>
                      <a:endParaRPr lang="en-GB" sz="700"/>
                    </a:p>
                  </a:txBody>
                  <a:tcPr marL="36000" marR="36000" marT="36000" marB="3600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algn="ctr"/>
                      <a:r>
                        <a:rPr lang="en-GB" sz="700"/>
                        <a:t>08</a:t>
                      </a:r>
                    </a:p>
                  </a:txBody>
                  <a:tcPr marL="36000" marR="36000" marT="36000" marB="3600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algn="ctr"/>
                      <a:r>
                        <a:rPr lang="en-US" sz="700"/>
                        <a:t>15</a:t>
                      </a:r>
                      <a:endParaRPr lang="en-GB" sz="700"/>
                    </a:p>
                  </a:txBody>
                  <a:tcPr marL="36000" marR="36000" marT="36000" marB="3600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algn="ctr"/>
                      <a:r>
                        <a:rPr lang="en-GB" sz="700"/>
                        <a:t>22</a:t>
                      </a:r>
                    </a:p>
                  </a:txBody>
                  <a:tcPr marL="36000" marR="36000" marT="36000" marB="3600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algn="ctr"/>
                      <a:r>
                        <a:rPr lang="en-GB" sz="700"/>
                        <a:t>29</a:t>
                      </a:r>
                    </a:p>
                  </a:txBody>
                  <a:tcPr marL="36000" marR="36000" marT="36000" marB="3600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algn="ctr"/>
                      <a:r>
                        <a:rPr lang="en-US" sz="700"/>
                        <a:t>05</a:t>
                      </a:r>
                      <a:endParaRPr lang="en-GB" sz="700"/>
                    </a:p>
                  </a:txBody>
                  <a:tcPr marL="36000" marR="36000" marT="36000" marB="36000" anchor="ctr">
                    <a:lnL w="3175"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algn="ctr"/>
                      <a:r>
                        <a:rPr lang="en-US" sz="700" b="1"/>
                        <a:t>12</a:t>
                      </a:r>
                      <a:endParaRPr lang="en-GB" sz="700" b="1"/>
                    </a:p>
                  </a:txBody>
                  <a:tcPr marL="36000" marR="36000" marT="36000" marB="36000" anchor="ctr">
                    <a:lnL w="1270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algn="ctr"/>
                      <a:r>
                        <a:rPr lang="en-US" sz="700"/>
                        <a:t>19</a:t>
                      </a:r>
                      <a:endParaRPr lang="en-GB" sz="700"/>
                    </a:p>
                  </a:txBody>
                  <a:tcPr marL="36000" marR="36000" marT="36000" marB="3600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algn="ctr"/>
                      <a:r>
                        <a:rPr lang="en-GB" sz="700"/>
                        <a:t>26</a:t>
                      </a:r>
                    </a:p>
                  </a:txBody>
                  <a:tcPr marL="36000" marR="36000" marT="36000" marB="3600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algn="ctr"/>
                      <a:r>
                        <a:rPr lang="en-US" sz="700"/>
                        <a:t>03</a:t>
                      </a:r>
                      <a:endParaRPr lang="en-GB" sz="700"/>
                    </a:p>
                  </a:txBody>
                  <a:tcPr marL="36000" marR="36000" marT="36000" marB="3600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algn="ctr"/>
                      <a:r>
                        <a:rPr lang="en-US" sz="700"/>
                        <a:t>10</a:t>
                      </a:r>
                      <a:endParaRPr lang="en-GB" sz="700"/>
                    </a:p>
                  </a:txBody>
                  <a:tcPr marL="36000" marR="36000" marT="36000" marB="3600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algn="ctr"/>
                      <a:r>
                        <a:rPr lang="en-US" sz="700"/>
                        <a:t>17</a:t>
                      </a:r>
                      <a:endParaRPr lang="en-GB" sz="700"/>
                    </a:p>
                  </a:txBody>
                  <a:tcPr marL="36000" marR="36000" marT="36000" marB="3600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algn="ctr"/>
                      <a:r>
                        <a:rPr lang="en-US" sz="700"/>
                        <a:t>24</a:t>
                      </a:r>
                      <a:endParaRPr lang="en-GB" sz="700"/>
                    </a:p>
                  </a:txBody>
                  <a:tcPr marL="36000" marR="36000" marT="36000" marB="3600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544701026"/>
                  </a:ext>
                </a:extLst>
              </a:tr>
            </a:tbl>
          </a:graphicData>
        </a:graphic>
      </p:graphicFrame>
      <p:sp>
        <p:nvSpPr>
          <p:cNvPr id="14" name="Rectangle 13"/>
          <p:cNvSpPr/>
          <p:nvPr/>
        </p:nvSpPr>
        <p:spPr>
          <a:xfrm>
            <a:off x="1781114" y="914637"/>
            <a:ext cx="814985" cy="144000"/>
          </a:xfrm>
          <a:prstGeom prst="rect">
            <a:avLst/>
          </a:prstGeom>
          <a:no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700" b="1">
                <a:solidFill>
                  <a:schemeClr val="accent2"/>
                </a:solidFill>
              </a:rPr>
              <a:t>NOVEMBER</a:t>
            </a:r>
          </a:p>
        </p:txBody>
      </p:sp>
      <p:sp>
        <p:nvSpPr>
          <p:cNvPr id="121" name="Rectangle 120"/>
          <p:cNvSpPr/>
          <p:nvPr/>
        </p:nvSpPr>
        <p:spPr>
          <a:xfrm>
            <a:off x="2602661" y="914637"/>
            <a:ext cx="1005840" cy="144000"/>
          </a:xfrm>
          <a:prstGeom prst="rect">
            <a:avLst/>
          </a:prstGeom>
          <a:no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700" b="1">
                <a:solidFill>
                  <a:schemeClr val="accent2"/>
                </a:solidFill>
              </a:rPr>
              <a:t>DECEMBER</a:t>
            </a:r>
          </a:p>
        </p:txBody>
      </p:sp>
      <p:sp>
        <p:nvSpPr>
          <p:cNvPr id="123" name="Rectangle 122"/>
          <p:cNvSpPr/>
          <p:nvPr/>
        </p:nvSpPr>
        <p:spPr>
          <a:xfrm>
            <a:off x="3615660" y="914637"/>
            <a:ext cx="1005840" cy="144000"/>
          </a:xfrm>
          <a:prstGeom prst="rect">
            <a:avLst/>
          </a:prstGeom>
          <a:no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b="1">
                <a:solidFill>
                  <a:schemeClr val="accent2"/>
                </a:solidFill>
              </a:rPr>
              <a:t>JANUARY</a:t>
            </a:r>
            <a:endParaRPr lang="en-GB" sz="700" b="1">
              <a:solidFill>
                <a:schemeClr val="accent2"/>
              </a:solidFill>
            </a:endParaRPr>
          </a:p>
        </p:txBody>
      </p:sp>
      <p:sp>
        <p:nvSpPr>
          <p:cNvPr id="125" name="Rectangle 124"/>
          <p:cNvSpPr/>
          <p:nvPr/>
        </p:nvSpPr>
        <p:spPr>
          <a:xfrm>
            <a:off x="4617951" y="914637"/>
            <a:ext cx="977796" cy="144000"/>
          </a:xfrm>
          <a:prstGeom prst="rect">
            <a:avLst/>
          </a:prstGeom>
          <a:no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700" b="1">
                <a:solidFill>
                  <a:schemeClr val="accent2"/>
                </a:solidFill>
              </a:rPr>
              <a:t>FEBRUARY</a:t>
            </a:r>
          </a:p>
        </p:txBody>
      </p:sp>
      <p:sp>
        <p:nvSpPr>
          <p:cNvPr id="126" name="Rectangle 125"/>
          <p:cNvSpPr/>
          <p:nvPr/>
        </p:nvSpPr>
        <p:spPr>
          <a:xfrm>
            <a:off x="5594481" y="914637"/>
            <a:ext cx="1097280" cy="144000"/>
          </a:xfrm>
          <a:prstGeom prst="rect">
            <a:avLst/>
          </a:prstGeom>
          <a:no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700" b="1">
                <a:solidFill>
                  <a:schemeClr val="accent2"/>
                </a:solidFill>
              </a:rPr>
              <a:t>MARCH</a:t>
            </a:r>
          </a:p>
        </p:txBody>
      </p:sp>
      <p:sp>
        <p:nvSpPr>
          <p:cNvPr id="127" name="Rectangle 126"/>
          <p:cNvSpPr/>
          <p:nvPr/>
        </p:nvSpPr>
        <p:spPr>
          <a:xfrm>
            <a:off x="6698500" y="914637"/>
            <a:ext cx="1005840" cy="144000"/>
          </a:xfrm>
          <a:prstGeom prst="rect">
            <a:avLst/>
          </a:prstGeom>
          <a:no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700" b="1">
                <a:solidFill>
                  <a:schemeClr val="accent2"/>
                </a:solidFill>
              </a:rPr>
              <a:t>APRIL</a:t>
            </a:r>
          </a:p>
        </p:txBody>
      </p:sp>
      <p:sp>
        <p:nvSpPr>
          <p:cNvPr id="152" name="Rectangle 151"/>
          <p:cNvSpPr/>
          <p:nvPr/>
        </p:nvSpPr>
        <p:spPr>
          <a:xfrm>
            <a:off x="8009888" y="1954532"/>
            <a:ext cx="690518" cy="120037"/>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a:p>
        </p:txBody>
      </p:sp>
      <p:sp>
        <p:nvSpPr>
          <p:cNvPr id="153" name="Rectangle 152">
            <a:extLst>
              <a:ext uri="{FF2B5EF4-FFF2-40B4-BE49-F238E27FC236}">
                <a16:creationId xmlns:a16="http://schemas.microsoft.com/office/drawing/2014/main" id="{DDA6647F-C75D-40C3-9816-1317E4A71FC3}"/>
              </a:ext>
            </a:extLst>
          </p:cNvPr>
          <p:cNvSpPr/>
          <p:nvPr/>
        </p:nvSpPr>
        <p:spPr>
          <a:xfrm>
            <a:off x="7961580" y="2022579"/>
            <a:ext cx="792205" cy="184666"/>
          </a:xfrm>
          <a:prstGeom prst="rect">
            <a:avLst/>
          </a:prstGeom>
        </p:spPr>
        <p:txBody>
          <a:bodyPr wrap="non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Arial" panose="020B0604020202020204"/>
                <a:ea typeface="+mn-ea"/>
                <a:cs typeface="+mn-cs"/>
              </a:rPr>
              <a:t>Solution Adoption</a:t>
            </a:r>
          </a:p>
        </p:txBody>
      </p:sp>
      <p:sp>
        <p:nvSpPr>
          <p:cNvPr id="156" name="Rectangle 155"/>
          <p:cNvSpPr/>
          <p:nvPr/>
        </p:nvSpPr>
        <p:spPr>
          <a:xfrm>
            <a:off x="3657600" y="2166476"/>
            <a:ext cx="1039378" cy="112556"/>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a:p>
        </p:txBody>
      </p:sp>
      <p:sp>
        <p:nvSpPr>
          <p:cNvPr id="161" name="Rectangle 160"/>
          <p:cNvSpPr/>
          <p:nvPr/>
        </p:nvSpPr>
        <p:spPr>
          <a:xfrm>
            <a:off x="4619383" y="1887309"/>
            <a:ext cx="960120" cy="117427"/>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a:p>
        </p:txBody>
      </p:sp>
      <p:sp>
        <p:nvSpPr>
          <p:cNvPr id="167" name="Rectangle 166">
            <a:extLst>
              <a:ext uri="{FF2B5EF4-FFF2-40B4-BE49-F238E27FC236}">
                <a16:creationId xmlns:a16="http://schemas.microsoft.com/office/drawing/2014/main" id="{DDA6647F-C75D-40C3-9816-1317E4A71FC3}"/>
              </a:ext>
            </a:extLst>
          </p:cNvPr>
          <p:cNvSpPr/>
          <p:nvPr/>
        </p:nvSpPr>
        <p:spPr>
          <a:xfrm>
            <a:off x="3668912" y="2225397"/>
            <a:ext cx="1019831" cy="184666"/>
          </a:xfrm>
          <a:prstGeom prst="rect">
            <a:avLst/>
          </a:prstGeom>
        </p:spPr>
        <p:txBody>
          <a:bodyPr wrap="non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Arial" panose="020B0604020202020204"/>
                <a:ea typeface="+mn-ea"/>
                <a:cs typeface="+mn-cs"/>
              </a:rPr>
              <a:t>Training</a:t>
            </a:r>
            <a:r>
              <a:rPr kumimoji="0" lang="en-US" sz="600" b="0" i="0" u="none" strike="noStrike" kern="1200" cap="none" spc="0" normalizeH="0" noProof="0">
                <a:ln>
                  <a:noFill/>
                </a:ln>
                <a:solidFill>
                  <a:srgbClr val="000000"/>
                </a:solidFill>
                <a:effectLst/>
                <a:uLnTx/>
                <a:uFillTx/>
                <a:latin typeface="Arial" panose="020B0604020202020204"/>
                <a:ea typeface="+mn-ea"/>
                <a:cs typeface="+mn-cs"/>
              </a:rPr>
              <a:t> Needs Analysis</a:t>
            </a:r>
            <a:endParaRPr kumimoji="0" lang="en-US" sz="600" b="0" i="0" u="none" strike="noStrike" kern="1200" cap="none" spc="0" normalizeH="0" baseline="0" noProof="0">
              <a:ln>
                <a:noFill/>
              </a:ln>
              <a:solidFill>
                <a:srgbClr val="000000"/>
              </a:solidFill>
              <a:effectLst/>
              <a:uLnTx/>
              <a:uFillTx/>
              <a:latin typeface="Arial" panose="020B0604020202020204"/>
              <a:ea typeface="+mn-ea"/>
              <a:cs typeface="+mn-cs"/>
            </a:endParaRPr>
          </a:p>
        </p:txBody>
      </p:sp>
      <p:cxnSp>
        <p:nvCxnSpPr>
          <p:cNvPr id="9" name="Straight Connector 8"/>
          <p:cNvCxnSpPr/>
          <p:nvPr/>
        </p:nvCxnSpPr>
        <p:spPr>
          <a:xfrm>
            <a:off x="7997766" y="1082734"/>
            <a:ext cx="0" cy="3694160"/>
          </a:xfrm>
          <a:prstGeom prst="line">
            <a:avLst/>
          </a:prstGeom>
          <a:ln w="28575">
            <a:solidFill>
              <a:srgbClr val="00B050"/>
            </a:solidFill>
          </a:ln>
        </p:spPr>
        <p:style>
          <a:lnRef idx="1">
            <a:schemeClr val="accent1"/>
          </a:lnRef>
          <a:fillRef idx="0">
            <a:schemeClr val="accent1"/>
          </a:fillRef>
          <a:effectRef idx="0">
            <a:schemeClr val="accent1"/>
          </a:effectRef>
          <a:fontRef idx="minor">
            <a:schemeClr val="tx1"/>
          </a:fontRef>
        </p:style>
      </p:cxnSp>
      <p:sp>
        <p:nvSpPr>
          <p:cNvPr id="172" name="Rectangle 171"/>
          <p:cNvSpPr/>
          <p:nvPr/>
        </p:nvSpPr>
        <p:spPr>
          <a:xfrm>
            <a:off x="3735425" y="4911432"/>
            <a:ext cx="415950" cy="82891"/>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sp>
        <p:nvSpPr>
          <p:cNvPr id="173" name="Diamond 172">
            <a:extLst>
              <a:ext uri="{FF2B5EF4-FFF2-40B4-BE49-F238E27FC236}">
                <a16:creationId xmlns:a16="http://schemas.microsoft.com/office/drawing/2014/main" id="{8A02CD10-8E56-46CB-877E-60A43357786F}"/>
              </a:ext>
            </a:extLst>
          </p:cNvPr>
          <p:cNvSpPr/>
          <p:nvPr/>
        </p:nvSpPr>
        <p:spPr>
          <a:xfrm>
            <a:off x="4081773" y="4893690"/>
            <a:ext cx="137060" cy="116460"/>
          </a:xfrm>
          <a:prstGeom prst="diamond">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75" name="Rectangle 174">
            <a:extLst>
              <a:ext uri="{FF2B5EF4-FFF2-40B4-BE49-F238E27FC236}">
                <a16:creationId xmlns:a16="http://schemas.microsoft.com/office/drawing/2014/main" id="{DDA6647F-C75D-40C3-9816-1317E4A71FC3}"/>
              </a:ext>
            </a:extLst>
          </p:cNvPr>
          <p:cNvSpPr/>
          <p:nvPr/>
        </p:nvSpPr>
        <p:spPr>
          <a:xfrm>
            <a:off x="4114800" y="4857750"/>
            <a:ext cx="1322798" cy="184666"/>
          </a:xfrm>
          <a:prstGeom prst="rect">
            <a:avLst/>
          </a:prstGeom>
        </p:spPr>
        <p:txBody>
          <a:bodyPr wrap="non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Arial" panose="020B0604020202020204"/>
                <a:ea typeface="+mn-ea"/>
                <a:cs typeface="+mn-cs"/>
              </a:rPr>
              <a:t> : Other Team Dependent Activity</a:t>
            </a:r>
          </a:p>
        </p:txBody>
      </p:sp>
      <p:sp>
        <p:nvSpPr>
          <p:cNvPr id="116" name="Rectangle 115"/>
          <p:cNvSpPr/>
          <p:nvPr/>
        </p:nvSpPr>
        <p:spPr>
          <a:xfrm>
            <a:off x="7702923" y="914637"/>
            <a:ext cx="969264" cy="144000"/>
          </a:xfrm>
          <a:prstGeom prst="rect">
            <a:avLst/>
          </a:prstGeom>
          <a:no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700" b="1">
                <a:solidFill>
                  <a:schemeClr val="accent2"/>
                </a:solidFill>
              </a:rPr>
              <a:t>MAY</a:t>
            </a:r>
          </a:p>
        </p:txBody>
      </p:sp>
      <p:sp>
        <p:nvSpPr>
          <p:cNvPr id="12" name="7-Point Star 11"/>
          <p:cNvSpPr/>
          <p:nvPr/>
        </p:nvSpPr>
        <p:spPr>
          <a:xfrm>
            <a:off x="7883466" y="930548"/>
            <a:ext cx="228600" cy="187202"/>
          </a:xfrm>
          <a:prstGeom prst="star7">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a:p>
        </p:txBody>
      </p:sp>
      <p:sp>
        <p:nvSpPr>
          <p:cNvPr id="128" name="7-Point Star 127"/>
          <p:cNvSpPr/>
          <p:nvPr/>
        </p:nvSpPr>
        <p:spPr>
          <a:xfrm>
            <a:off x="7890669" y="4627734"/>
            <a:ext cx="228600" cy="187202"/>
          </a:xfrm>
          <a:prstGeom prst="star7">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a:p>
        </p:txBody>
      </p:sp>
      <p:cxnSp>
        <p:nvCxnSpPr>
          <p:cNvPr id="132" name="Straight Connector 131"/>
          <p:cNvCxnSpPr/>
          <p:nvPr/>
        </p:nvCxnSpPr>
        <p:spPr>
          <a:xfrm>
            <a:off x="6636133" y="1082734"/>
            <a:ext cx="0" cy="369416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p:nvCxnSpPr>
        <p:spPr>
          <a:xfrm>
            <a:off x="2590800" y="1067549"/>
            <a:ext cx="0" cy="3694160"/>
          </a:xfrm>
          <a:prstGeom prst="line">
            <a:avLst/>
          </a:prstGeom>
          <a:ln w="28575">
            <a:solidFill>
              <a:srgbClr val="7030A0"/>
            </a:solidFill>
          </a:ln>
        </p:spPr>
        <p:style>
          <a:lnRef idx="1">
            <a:schemeClr val="accent1"/>
          </a:lnRef>
          <a:fillRef idx="0">
            <a:schemeClr val="accent1"/>
          </a:fillRef>
          <a:effectRef idx="0">
            <a:schemeClr val="accent1"/>
          </a:effectRef>
          <a:fontRef idx="minor">
            <a:schemeClr val="tx1"/>
          </a:fontRef>
        </p:style>
      </p:cxnSp>
      <p:sp>
        <p:nvSpPr>
          <p:cNvPr id="131" name="Rectangle 130"/>
          <p:cNvSpPr/>
          <p:nvPr>
            <p:custDataLst>
              <p:tags r:id="rId4"/>
            </p:custDataLst>
          </p:nvPr>
        </p:nvSpPr>
        <p:spPr bwMode="auto">
          <a:xfrm>
            <a:off x="6705345" y="1058637"/>
            <a:ext cx="251098" cy="3753435"/>
          </a:xfrm>
          <a:prstGeom prst="rect">
            <a:avLst/>
          </a:prstGeom>
          <a:solidFill>
            <a:srgbClr val="ECECEA">
              <a:alpha val="78000"/>
            </a:srgbClr>
          </a:solidFill>
          <a:ln w="3175" cap="sq" cmpd="sng" algn="ctr">
            <a:noFill/>
            <a:prstDash val="solid"/>
            <a:round/>
            <a:headEnd type="none" w="med" len="med"/>
            <a:tailEnd type="none" w="med" len="med"/>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rtlCol="0" anchor="ctr" anchorCtr="0">
            <a:noAutofit/>
          </a:bodyPr>
          <a:lstStyle/>
          <a:p>
            <a:pPr marL="0" marR="0" lvl="0" indent="0" algn="ctr" defTabSz="442029" rtl="0" eaLnBrk="1" fontAlgn="auto" latinLnBrk="0" hangingPunct="1">
              <a:lnSpc>
                <a:spcPct val="90000"/>
              </a:lnSpc>
              <a:spcBef>
                <a:spcPct val="0"/>
              </a:spcBef>
              <a:spcAft>
                <a:spcPct val="35000"/>
              </a:spcAft>
              <a:buClrTx/>
              <a:buSzTx/>
              <a:buFontTx/>
              <a:buNone/>
              <a:tabLst/>
              <a:defRPr/>
            </a:pPr>
            <a:endParaRPr kumimoji="0" lang="en-GB" sz="500" b="0" i="0" u="none" strike="noStrike" kern="1200" cap="none" spc="0" normalizeH="0" baseline="0" noProof="0">
              <a:ln>
                <a:noFill/>
              </a:ln>
              <a:solidFill>
                <a:srgbClr val="000000"/>
              </a:solidFill>
              <a:effectLst/>
              <a:uLnTx/>
              <a:uFillTx/>
              <a:latin typeface="Arial" panose="020B0604020202020204"/>
              <a:ea typeface="+mn-ea"/>
              <a:cs typeface="+mn-cs"/>
            </a:endParaRPr>
          </a:p>
        </p:txBody>
      </p:sp>
      <p:pic>
        <p:nvPicPr>
          <p:cNvPr id="58" name="Picture 57"/>
          <p:cNvPicPr preferRelativeResize="0">
            <a:picLocks/>
          </p:cNvPicPr>
          <p:nvPr/>
        </p:nvPicPr>
        <p:blipFill>
          <a:blip r:embed="rId10"/>
          <a:stretch>
            <a:fillRect/>
          </a:stretch>
        </p:blipFill>
        <p:spPr>
          <a:xfrm>
            <a:off x="6333654" y="3395686"/>
            <a:ext cx="905812" cy="108000"/>
          </a:xfrm>
          <a:prstGeom prst="rect">
            <a:avLst/>
          </a:prstGeom>
        </p:spPr>
      </p:pic>
      <p:sp>
        <p:nvSpPr>
          <p:cNvPr id="134" name="Rectangle 133"/>
          <p:cNvSpPr/>
          <p:nvPr/>
        </p:nvSpPr>
        <p:spPr>
          <a:xfrm>
            <a:off x="5598590" y="3671374"/>
            <a:ext cx="711112" cy="129629"/>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sp>
        <p:nvSpPr>
          <p:cNvPr id="135" name="Rectangle 134"/>
          <p:cNvSpPr/>
          <p:nvPr/>
        </p:nvSpPr>
        <p:spPr>
          <a:xfrm>
            <a:off x="7239465" y="3679137"/>
            <a:ext cx="711112" cy="129629"/>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pic>
        <p:nvPicPr>
          <p:cNvPr id="136" name="Picture 135"/>
          <p:cNvPicPr preferRelativeResize="0">
            <a:picLocks/>
          </p:cNvPicPr>
          <p:nvPr/>
        </p:nvPicPr>
        <p:blipFill>
          <a:blip r:embed="rId10"/>
          <a:stretch>
            <a:fillRect/>
          </a:stretch>
        </p:blipFill>
        <p:spPr>
          <a:xfrm>
            <a:off x="5587774" y="3395686"/>
            <a:ext cx="709693" cy="108000"/>
          </a:xfrm>
          <a:prstGeom prst="rect">
            <a:avLst/>
          </a:prstGeom>
        </p:spPr>
      </p:pic>
      <p:sp>
        <p:nvSpPr>
          <p:cNvPr id="137" name="Rectangle 136"/>
          <p:cNvSpPr/>
          <p:nvPr>
            <p:custDataLst>
              <p:tags r:id="rId5"/>
            </p:custDataLst>
          </p:nvPr>
        </p:nvSpPr>
        <p:spPr bwMode="auto">
          <a:xfrm>
            <a:off x="4978537" y="1054701"/>
            <a:ext cx="251098" cy="3753435"/>
          </a:xfrm>
          <a:prstGeom prst="rect">
            <a:avLst/>
          </a:prstGeom>
          <a:solidFill>
            <a:srgbClr val="ECECEA">
              <a:alpha val="78000"/>
            </a:srgbClr>
          </a:solidFill>
          <a:ln w="3175" cap="sq" cmpd="sng" algn="ctr">
            <a:noFill/>
            <a:prstDash val="solid"/>
            <a:round/>
            <a:headEnd type="none" w="med" len="med"/>
            <a:tailEnd type="none" w="med" len="med"/>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rtlCol="0" anchor="ctr" anchorCtr="0">
            <a:noAutofit/>
          </a:bodyPr>
          <a:lstStyle/>
          <a:p>
            <a:pPr marL="0" marR="0" lvl="0" indent="0" algn="ctr" defTabSz="442029" rtl="0" eaLnBrk="1" fontAlgn="auto" latinLnBrk="0" hangingPunct="1">
              <a:lnSpc>
                <a:spcPct val="90000"/>
              </a:lnSpc>
              <a:spcBef>
                <a:spcPct val="0"/>
              </a:spcBef>
              <a:spcAft>
                <a:spcPct val="35000"/>
              </a:spcAft>
              <a:buClrTx/>
              <a:buSzTx/>
              <a:buFontTx/>
              <a:buNone/>
              <a:tabLst/>
              <a:defRPr/>
            </a:pPr>
            <a:endParaRPr kumimoji="0" lang="en-GB" sz="5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38" name="Rectangle 137"/>
          <p:cNvSpPr/>
          <p:nvPr>
            <p:custDataLst>
              <p:tags r:id="rId6"/>
            </p:custDataLst>
          </p:nvPr>
        </p:nvSpPr>
        <p:spPr bwMode="auto">
          <a:xfrm>
            <a:off x="3169003" y="1044938"/>
            <a:ext cx="484101" cy="3753435"/>
          </a:xfrm>
          <a:prstGeom prst="rect">
            <a:avLst/>
          </a:prstGeom>
          <a:solidFill>
            <a:srgbClr val="ECECEA">
              <a:alpha val="78000"/>
            </a:srgbClr>
          </a:solidFill>
          <a:ln w="3175" cap="sq" cmpd="sng" algn="ctr">
            <a:noFill/>
            <a:prstDash val="solid"/>
            <a:round/>
            <a:headEnd type="none" w="med" len="med"/>
            <a:tailEnd type="none" w="med" len="med"/>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rtlCol="0" anchor="ctr" anchorCtr="0">
            <a:noAutofit/>
          </a:bodyPr>
          <a:lstStyle/>
          <a:p>
            <a:pPr marL="0" marR="0" lvl="0" indent="0" algn="ctr" defTabSz="442029" rtl="0" eaLnBrk="1" fontAlgn="auto" latinLnBrk="0" hangingPunct="1">
              <a:lnSpc>
                <a:spcPct val="90000"/>
              </a:lnSpc>
              <a:spcBef>
                <a:spcPct val="0"/>
              </a:spcBef>
              <a:spcAft>
                <a:spcPct val="35000"/>
              </a:spcAft>
              <a:buClrTx/>
              <a:buSzTx/>
              <a:buFontTx/>
              <a:buNone/>
              <a:tabLst/>
              <a:defRPr/>
            </a:pPr>
            <a:endParaRPr kumimoji="0" lang="en-GB" sz="5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39" name="Diamond 138">
            <a:extLst>
              <a:ext uri="{FF2B5EF4-FFF2-40B4-BE49-F238E27FC236}">
                <a16:creationId xmlns:a16="http://schemas.microsoft.com/office/drawing/2014/main" id="{8A02CD10-8E56-46CB-877E-60A43357786F}"/>
              </a:ext>
            </a:extLst>
          </p:cNvPr>
          <p:cNvSpPr/>
          <p:nvPr/>
        </p:nvSpPr>
        <p:spPr>
          <a:xfrm>
            <a:off x="7801763" y="1366024"/>
            <a:ext cx="138113" cy="138113"/>
          </a:xfrm>
          <a:prstGeom prst="diamond">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0" name="Diamond 139">
            <a:extLst>
              <a:ext uri="{FF2B5EF4-FFF2-40B4-BE49-F238E27FC236}">
                <a16:creationId xmlns:a16="http://schemas.microsoft.com/office/drawing/2014/main" id="{8A02CD10-8E56-46CB-877E-60A43357786F}"/>
              </a:ext>
            </a:extLst>
          </p:cNvPr>
          <p:cNvSpPr/>
          <p:nvPr/>
        </p:nvSpPr>
        <p:spPr>
          <a:xfrm>
            <a:off x="8349590" y="1366024"/>
            <a:ext cx="138113" cy="138113"/>
          </a:xfrm>
          <a:prstGeom prst="diamond">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41" name="Picture 140"/>
          <p:cNvPicPr preferRelativeResize="0">
            <a:picLocks/>
          </p:cNvPicPr>
          <p:nvPr/>
        </p:nvPicPr>
        <p:blipFill>
          <a:blip r:embed="rId10"/>
          <a:stretch>
            <a:fillRect/>
          </a:stretch>
        </p:blipFill>
        <p:spPr>
          <a:xfrm>
            <a:off x="2681020" y="2536589"/>
            <a:ext cx="466991" cy="108000"/>
          </a:xfrm>
          <a:prstGeom prst="rect">
            <a:avLst/>
          </a:prstGeom>
        </p:spPr>
      </p:pic>
      <p:pic>
        <p:nvPicPr>
          <p:cNvPr id="150" name="Picture 149"/>
          <p:cNvPicPr preferRelativeResize="0">
            <a:picLocks/>
          </p:cNvPicPr>
          <p:nvPr/>
        </p:nvPicPr>
        <p:blipFill>
          <a:blip r:embed="rId10"/>
          <a:stretch>
            <a:fillRect/>
          </a:stretch>
        </p:blipFill>
        <p:spPr>
          <a:xfrm>
            <a:off x="2681020" y="2838887"/>
            <a:ext cx="466991" cy="108000"/>
          </a:xfrm>
          <a:prstGeom prst="rect">
            <a:avLst/>
          </a:prstGeom>
        </p:spPr>
      </p:pic>
      <p:sp>
        <p:nvSpPr>
          <p:cNvPr id="145" name="Rectangle 144">
            <a:extLst>
              <a:ext uri="{FF2B5EF4-FFF2-40B4-BE49-F238E27FC236}">
                <a16:creationId xmlns:a16="http://schemas.microsoft.com/office/drawing/2014/main" id="{DDA6647F-C75D-40C3-9816-1317E4A71FC3}"/>
              </a:ext>
            </a:extLst>
          </p:cNvPr>
          <p:cNvSpPr/>
          <p:nvPr/>
        </p:nvSpPr>
        <p:spPr>
          <a:xfrm>
            <a:off x="1954419" y="1983326"/>
            <a:ext cx="1414065" cy="184666"/>
          </a:xfrm>
          <a:prstGeom prst="rect">
            <a:avLst/>
          </a:prstGeom>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Arial" panose="020B0604020202020204"/>
                <a:ea typeface="+mn-ea"/>
                <a:cs typeface="+mn-cs"/>
              </a:rPr>
              <a:t>Stakeholder</a:t>
            </a:r>
            <a:r>
              <a:rPr kumimoji="0" lang="en-US" sz="600" b="0" i="0" u="none" strike="noStrike" kern="1200" cap="none" spc="0" normalizeH="0" noProof="0">
                <a:ln>
                  <a:noFill/>
                </a:ln>
                <a:solidFill>
                  <a:srgbClr val="000000"/>
                </a:solidFill>
                <a:effectLst/>
                <a:uLnTx/>
                <a:uFillTx/>
                <a:latin typeface="Arial" panose="020B0604020202020204"/>
                <a:ea typeface="+mn-ea"/>
                <a:cs typeface="+mn-cs"/>
              </a:rPr>
              <a:t> analysis, </a:t>
            </a:r>
            <a:r>
              <a:rPr kumimoji="0" lang="en-US" sz="600" b="0" i="0" u="none" strike="noStrike" kern="1200" cap="none" spc="0" normalizeH="0" noProof="0" err="1">
                <a:ln>
                  <a:noFill/>
                </a:ln>
                <a:solidFill>
                  <a:srgbClr val="000000"/>
                </a:solidFill>
                <a:effectLst/>
                <a:uLnTx/>
                <a:uFillTx/>
                <a:latin typeface="Arial" panose="020B0604020202020204"/>
                <a:ea typeface="+mn-ea"/>
                <a:cs typeface="+mn-cs"/>
              </a:rPr>
              <a:t>comms</a:t>
            </a:r>
            <a:r>
              <a:rPr kumimoji="0" lang="en-US" sz="600" b="0" i="0" u="none" strike="noStrike" kern="1200" cap="none" spc="0" normalizeH="0" noProof="0">
                <a:ln>
                  <a:noFill/>
                </a:ln>
                <a:solidFill>
                  <a:srgbClr val="000000"/>
                </a:solidFill>
                <a:effectLst/>
                <a:uLnTx/>
                <a:uFillTx/>
                <a:latin typeface="Arial" panose="020B0604020202020204"/>
                <a:ea typeface="+mn-ea"/>
                <a:cs typeface="+mn-cs"/>
              </a:rPr>
              <a:t> set-up</a:t>
            </a:r>
            <a:endParaRPr kumimoji="0" lang="en-US" sz="6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8" name="Diamond 47">
            <a:extLst>
              <a:ext uri="{FF2B5EF4-FFF2-40B4-BE49-F238E27FC236}">
                <a16:creationId xmlns:a16="http://schemas.microsoft.com/office/drawing/2014/main" id="{8A02CD10-8E56-46CB-877E-60A43357786F}"/>
              </a:ext>
            </a:extLst>
          </p:cNvPr>
          <p:cNvSpPr/>
          <p:nvPr/>
        </p:nvSpPr>
        <p:spPr>
          <a:xfrm>
            <a:off x="7908146" y="2310308"/>
            <a:ext cx="144016" cy="138113"/>
          </a:xfrm>
          <a:prstGeom prst="diamond">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5" name="Rectangle 54">
            <a:extLst>
              <a:ext uri="{FF2B5EF4-FFF2-40B4-BE49-F238E27FC236}">
                <a16:creationId xmlns:a16="http://schemas.microsoft.com/office/drawing/2014/main" id="{DDA6647F-C75D-40C3-9816-1317E4A71FC3}"/>
              </a:ext>
            </a:extLst>
          </p:cNvPr>
          <p:cNvSpPr/>
          <p:nvPr/>
        </p:nvSpPr>
        <p:spPr>
          <a:xfrm>
            <a:off x="7981003" y="2276083"/>
            <a:ext cx="817853" cy="184666"/>
          </a:xfrm>
          <a:prstGeom prst="rect">
            <a:avLst/>
          </a:prstGeom>
        </p:spPr>
        <p:txBody>
          <a:bodyPr wrap="non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Arial" panose="020B0604020202020204"/>
                <a:ea typeface="+mn-ea"/>
                <a:cs typeface="+mn-cs"/>
              </a:rPr>
              <a:t>End-User-Training</a:t>
            </a:r>
          </a:p>
        </p:txBody>
      </p:sp>
      <p:sp>
        <p:nvSpPr>
          <p:cNvPr id="54" name="Rectangle 53">
            <a:extLst>
              <a:ext uri="{FF2B5EF4-FFF2-40B4-BE49-F238E27FC236}">
                <a16:creationId xmlns:a16="http://schemas.microsoft.com/office/drawing/2014/main" id="{DDA6647F-C75D-40C3-9816-1317E4A71FC3}"/>
              </a:ext>
            </a:extLst>
          </p:cNvPr>
          <p:cNvSpPr/>
          <p:nvPr/>
        </p:nvSpPr>
        <p:spPr>
          <a:xfrm>
            <a:off x="6407465" y="2128990"/>
            <a:ext cx="755335" cy="184666"/>
          </a:xfrm>
          <a:prstGeom prst="rect">
            <a:avLst/>
          </a:prstGeom>
        </p:spPr>
        <p:txBody>
          <a:bodyPr wrap="non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Arial" panose="020B0604020202020204"/>
                <a:ea typeface="+mn-ea"/>
                <a:cs typeface="+mn-cs"/>
              </a:rPr>
              <a:t>Train the Trainer</a:t>
            </a:r>
          </a:p>
        </p:txBody>
      </p:sp>
      <p:sp>
        <p:nvSpPr>
          <p:cNvPr id="163" name="Rectangle 162">
            <a:extLst>
              <a:ext uri="{FF2B5EF4-FFF2-40B4-BE49-F238E27FC236}">
                <a16:creationId xmlns:a16="http://schemas.microsoft.com/office/drawing/2014/main" id="{DDA6647F-C75D-40C3-9816-1317E4A71FC3}"/>
              </a:ext>
            </a:extLst>
          </p:cNvPr>
          <p:cNvSpPr/>
          <p:nvPr/>
        </p:nvSpPr>
        <p:spPr>
          <a:xfrm>
            <a:off x="4572000" y="1968397"/>
            <a:ext cx="2345592" cy="184666"/>
          </a:xfrm>
          <a:prstGeom prst="rect">
            <a:avLst/>
          </a:prstGeom>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e-DE" sz="600">
                <a:solidFill>
                  <a:srgbClr val="000000"/>
                </a:solidFill>
                <a:latin typeface="Arial" panose="020B0604020202020204"/>
              </a:rPr>
              <a:t>Change Impact Analysis</a:t>
            </a:r>
            <a:endParaRPr kumimoji="0" lang="en-US" sz="600" b="0" i="0" u="none" strike="noStrike" kern="1200" cap="none" spc="0" normalizeH="0" baseline="0" noProof="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228297381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429496729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7F7F7F"/>
                </a:solidFill>
                <a:effectLst/>
                <a:uLnTx/>
                <a:uFillTx/>
                <a:latin typeface="Arial" panose="020B0604020202020204"/>
                <a:ea typeface="+mn-ea"/>
                <a:cs typeface="+mn-cs"/>
              </a:rPr>
              <a:t>Scout l Roll-out Checkpoint 2 l Roll-out Preparation</a:t>
            </a:r>
          </a:p>
        </p:txBody>
      </p:sp>
      <p:graphicFrame>
        <p:nvGraphicFramePr>
          <p:cNvPr id="5" name="Objec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9" name="think-cell Slide" r:id="rId8" imgW="415" imgH="416" progId="TCLayout.ActiveDocument.1">
                  <p:embed/>
                </p:oleObj>
              </mc:Choice>
              <mc:Fallback>
                <p:oleObj name="think-cell Slide" r:id="rId8" imgW="415" imgH="416" progId="TCLayout.ActiveDocument.1">
                  <p:embed/>
                  <p:pic>
                    <p:nvPicPr>
                      <p:cNvPr id="5" name="Object 4"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defRPr/>
            </a:pPr>
            <a:endParaRPr kumimoji="0" lang="en-US" u="none" strike="noStrike" kern="1200" cap="none" spc="0" normalizeH="0" noProof="0">
              <a:ln>
                <a:noFill/>
              </a:ln>
              <a:solidFill>
                <a:srgbClr val="FFFFFF"/>
              </a:solidFill>
              <a:effectLst/>
              <a:uLnTx/>
              <a:uFillTx/>
              <a:latin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noAutofit/>
          </a:bodyPr>
          <a:lstStyle/>
          <a:p>
            <a:r>
              <a:rPr lang="en-US" sz="2400" dirty="0">
                <a:solidFill>
                  <a:schemeClr val="bg1">
                    <a:lumMod val="50000"/>
                  </a:schemeClr>
                </a:solidFill>
              </a:rPr>
              <a:t>Roll-out: High-Level Plan – Wave 2 / 2A</a:t>
            </a:r>
            <a:endParaRPr lang="en-US" sz="2400" dirty="0"/>
          </a:p>
        </p:txBody>
      </p:sp>
      <p:sp>
        <p:nvSpPr>
          <p:cNvPr id="160" name="Rectangle 159">
            <a:extLst>
              <a:ext uri="{FF2B5EF4-FFF2-40B4-BE49-F238E27FC236}">
                <a16:creationId xmlns:a16="http://schemas.microsoft.com/office/drawing/2014/main" id="{20AF0385-710F-43EA-B82D-783DCF8407BA}"/>
              </a:ext>
            </a:extLst>
          </p:cNvPr>
          <p:cNvSpPr/>
          <p:nvPr/>
        </p:nvSpPr>
        <p:spPr>
          <a:xfrm>
            <a:off x="1676400" y="4812072"/>
            <a:ext cx="5867400" cy="27995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 name="Slide Number Placeholder 2"/>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7547CF9-5B10-D24F-A8D7-45A9778164F7}" type="slidenum">
              <a:rPr kumimoji="0" lang="en-US" sz="900" b="0" i="0" u="none" strike="noStrike" kern="1200" cap="none" spc="0" normalizeH="0" baseline="0" noProof="0" smtClean="0">
                <a:ln>
                  <a:noFill/>
                </a:ln>
                <a:solidFill>
                  <a:srgbClr val="7F7F7F"/>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en-US" sz="900" b="0" i="0" u="none" strike="noStrike" kern="1200" cap="none" spc="0" normalizeH="0" baseline="0" noProof="0">
              <a:ln>
                <a:noFill/>
              </a:ln>
              <a:solidFill>
                <a:srgbClr val="7F7F7F"/>
              </a:solidFill>
              <a:effectLst/>
              <a:uLnTx/>
              <a:uFillTx/>
              <a:latin typeface="Arial" panose="020B0604020202020204"/>
              <a:ea typeface="+mn-ea"/>
              <a:cs typeface="+mn-cs"/>
            </a:endParaRPr>
          </a:p>
        </p:txBody>
      </p:sp>
      <p:sp>
        <p:nvSpPr>
          <p:cNvPr id="155" name="TextBox 154"/>
          <p:cNvSpPr txBox="1"/>
          <p:nvPr/>
        </p:nvSpPr>
        <p:spPr>
          <a:xfrm>
            <a:off x="7105650" y="438150"/>
            <a:ext cx="1570038" cy="184150"/>
          </a:xfrm>
          <a:prstGeom prst="rect">
            <a:avLst/>
          </a:prstGeom>
          <a:noFill/>
        </p:spPr>
        <p:txBody>
          <a:bodyPr wrap="square" rtlCol="0">
            <a:spAutoFit/>
          </a:bodyPr>
          <a:lstStyle/>
          <a:p>
            <a:pPr lvl="0" algn="r" defTabSz="685800">
              <a:defRPr/>
            </a:pPr>
            <a:r>
              <a:rPr lang="en-US" sz="600" dirty="0">
                <a:solidFill>
                  <a:srgbClr val="000000"/>
                </a:solidFill>
              </a:rPr>
              <a:t>Latest Update: 13</a:t>
            </a:r>
            <a:r>
              <a:rPr lang="en-US" sz="600" baseline="30000" dirty="0">
                <a:solidFill>
                  <a:srgbClr val="000000"/>
                </a:solidFill>
              </a:rPr>
              <a:t>th</a:t>
            </a:r>
            <a:r>
              <a:rPr lang="en-US" sz="600" dirty="0">
                <a:solidFill>
                  <a:srgbClr val="000000"/>
                </a:solidFill>
              </a:rPr>
              <a:t> </a:t>
            </a:r>
            <a:r>
              <a:rPr lang="en-US" sz="600" baseline="30000" dirty="0">
                <a:solidFill>
                  <a:srgbClr val="000000"/>
                </a:solidFill>
              </a:rPr>
              <a:t>h</a:t>
            </a:r>
            <a:r>
              <a:rPr lang="en-US" sz="600" dirty="0">
                <a:solidFill>
                  <a:srgbClr val="000000"/>
                </a:solidFill>
              </a:rPr>
              <a:t> November, 2020</a:t>
            </a:r>
          </a:p>
        </p:txBody>
      </p:sp>
      <p:sp>
        <p:nvSpPr>
          <p:cNvPr id="157" name="Diamond 156">
            <a:extLst>
              <a:ext uri="{FF2B5EF4-FFF2-40B4-BE49-F238E27FC236}">
                <a16:creationId xmlns:a16="http://schemas.microsoft.com/office/drawing/2014/main" id="{8A02CD10-8E56-46CB-877E-60A43357786F}"/>
              </a:ext>
            </a:extLst>
          </p:cNvPr>
          <p:cNvSpPr/>
          <p:nvPr/>
        </p:nvSpPr>
        <p:spPr>
          <a:xfrm>
            <a:off x="3024621" y="4874921"/>
            <a:ext cx="138113" cy="138113"/>
          </a:xfrm>
          <a:prstGeom prst="diamond">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8" name="Rectangle 157">
            <a:extLst>
              <a:ext uri="{FF2B5EF4-FFF2-40B4-BE49-F238E27FC236}">
                <a16:creationId xmlns:a16="http://schemas.microsoft.com/office/drawing/2014/main" id="{DDA6647F-C75D-40C3-9816-1317E4A71FC3}"/>
              </a:ext>
            </a:extLst>
          </p:cNvPr>
          <p:cNvSpPr/>
          <p:nvPr/>
        </p:nvSpPr>
        <p:spPr>
          <a:xfrm>
            <a:off x="3078595" y="4851644"/>
            <a:ext cx="579005" cy="184666"/>
          </a:xfrm>
          <a:prstGeom prst="rect">
            <a:avLst/>
          </a:prstGeom>
        </p:spPr>
        <p:txBody>
          <a:bodyPr wrap="non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Arial" panose="020B0604020202020204"/>
                <a:ea typeface="+mn-ea"/>
                <a:cs typeface="+mn-cs"/>
              </a:rPr>
              <a:t> : Milestone</a:t>
            </a:r>
          </a:p>
        </p:txBody>
      </p:sp>
      <p:sp>
        <p:nvSpPr>
          <p:cNvPr id="159" name="Rectangle 158">
            <a:extLst>
              <a:ext uri="{FF2B5EF4-FFF2-40B4-BE49-F238E27FC236}">
                <a16:creationId xmlns:a16="http://schemas.microsoft.com/office/drawing/2014/main" id="{721F9C99-EF32-43FA-8BA1-48E253D8817B}"/>
              </a:ext>
            </a:extLst>
          </p:cNvPr>
          <p:cNvSpPr/>
          <p:nvPr/>
        </p:nvSpPr>
        <p:spPr>
          <a:xfrm>
            <a:off x="1697623" y="4851644"/>
            <a:ext cx="352982" cy="184666"/>
          </a:xfrm>
          <a:prstGeom prst="rect">
            <a:avLst/>
          </a:prstGeom>
        </p:spPr>
        <p:txBody>
          <a:bodyPr wrap="non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1" i="0" u="sng" strike="noStrike" kern="1200" cap="none" spc="0" normalizeH="0" baseline="0" noProof="0">
                <a:ln>
                  <a:noFill/>
                </a:ln>
                <a:solidFill>
                  <a:srgbClr val="000000"/>
                </a:solidFill>
                <a:effectLst/>
                <a:uLnTx/>
                <a:uFillTx/>
                <a:latin typeface="Arial" panose="020B0604020202020204" pitchFamily="34" charset="0"/>
                <a:ea typeface="+mn-ea"/>
                <a:cs typeface="+mn-cs"/>
              </a:rPr>
              <a:t>Key:</a:t>
            </a:r>
            <a:endParaRPr kumimoji="0" lang="en-US" sz="600" b="1" i="0" u="sng" strike="noStrike" kern="1200" cap="none" spc="0" normalizeH="0" baseline="0" noProof="0">
              <a:ln>
                <a:noFill/>
              </a:ln>
              <a:solidFill>
                <a:srgbClr val="000000"/>
              </a:solidFill>
              <a:effectLst/>
              <a:uLnTx/>
              <a:uFillTx/>
              <a:latin typeface="Arial" panose="020B0604020202020204"/>
              <a:ea typeface="+mn-ea"/>
              <a:cs typeface="+mn-cs"/>
            </a:endParaRPr>
          </a:p>
        </p:txBody>
      </p:sp>
      <p:pic>
        <p:nvPicPr>
          <p:cNvPr id="162" name="Picture 161"/>
          <p:cNvPicPr>
            <a:picLocks noChangeAspect="1"/>
          </p:cNvPicPr>
          <p:nvPr/>
        </p:nvPicPr>
        <p:blipFill>
          <a:blip r:embed="rId10"/>
          <a:stretch>
            <a:fillRect/>
          </a:stretch>
        </p:blipFill>
        <p:spPr>
          <a:xfrm>
            <a:off x="2057400" y="4911433"/>
            <a:ext cx="245888" cy="65088"/>
          </a:xfrm>
          <a:prstGeom prst="rect">
            <a:avLst/>
          </a:prstGeom>
        </p:spPr>
      </p:pic>
      <p:sp>
        <p:nvSpPr>
          <p:cNvPr id="165" name="Rectangle 164">
            <a:extLst>
              <a:ext uri="{FF2B5EF4-FFF2-40B4-BE49-F238E27FC236}">
                <a16:creationId xmlns:a16="http://schemas.microsoft.com/office/drawing/2014/main" id="{DDA6647F-C75D-40C3-9816-1317E4A71FC3}"/>
              </a:ext>
            </a:extLst>
          </p:cNvPr>
          <p:cNvSpPr/>
          <p:nvPr/>
        </p:nvSpPr>
        <p:spPr>
          <a:xfrm>
            <a:off x="2266949" y="4851644"/>
            <a:ext cx="787395" cy="184666"/>
          </a:xfrm>
          <a:prstGeom prst="rect">
            <a:avLst/>
          </a:prstGeom>
        </p:spPr>
        <p:txBody>
          <a:bodyPr wrap="non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Arial" panose="020B0604020202020204"/>
                <a:ea typeface="+mn-ea"/>
                <a:cs typeface="+mn-cs"/>
              </a:rPr>
              <a:t>High-level activity</a:t>
            </a:r>
          </a:p>
        </p:txBody>
      </p:sp>
      <p:sp>
        <p:nvSpPr>
          <p:cNvPr id="193" name="Diamond 192">
            <a:extLst>
              <a:ext uri="{FF2B5EF4-FFF2-40B4-BE49-F238E27FC236}">
                <a16:creationId xmlns:a16="http://schemas.microsoft.com/office/drawing/2014/main" id="{8A02CD10-8E56-46CB-877E-60A43357786F}"/>
              </a:ext>
            </a:extLst>
          </p:cNvPr>
          <p:cNvSpPr/>
          <p:nvPr/>
        </p:nvSpPr>
        <p:spPr>
          <a:xfrm>
            <a:off x="6503991" y="4874921"/>
            <a:ext cx="138113" cy="138113"/>
          </a:xfrm>
          <a:prstGeom prst="diamond">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94" name="Rectangle 193">
            <a:extLst>
              <a:ext uri="{FF2B5EF4-FFF2-40B4-BE49-F238E27FC236}">
                <a16:creationId xmlns:a16="http://schemas.microsoft.com/office/drawing/2014/main" id="{DDA6647F-C75D-40C3-9816-1317E4A71FC3}"/>
              </a:ext>
            </a:extLst>
          </p:cNvPr>
          <p:cNvSpPr/>
          <p:nvPr/>
        </p:nvSpPr>
        <p:spPr>
          <a:xfrm>
            <a:off x="6550241" y="4851644"/>
            <a:ext cx="930063" cy="184666"/>
          </a:xfrm>
          <a:prstGeom prst="rect">
            <a:avLst/>
          </a:prstGeom>
        </p:spPr>
        <p:txBody>
          <a:bodyPr wrap="non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Arial" panose="020B0604020202020204"/>
                <a:ea typeface="+mn-ea"/>
                <a:cs typeface="+mn-cs"/>
              </a:rPr>
              <a:t> : Steering Committee</a:t>
            </a:r>
          </a:p>
        </p:txBody>
      </p:sp>
      <p:graphicFrame>
        <p:nvGraphicFramePr>
          <p:cNvPr id="8" name="Table 7"/>
          <p:cNvGraphicFramePr>
            <a:graphicFrameLocks noGrp="1"/>
          </p:cNvGraphicFramePr>
          <p:nvPr/>
        </p:nvGraphicFramePr>
        <p:xfrm>
          <a:off x="1195872" y="1284978"/>
          <a:ext cx="7643340" cy="3491916"/>
        </p:xfrm>
        <a:graphic>
          <a:graphicData uri="http://schemas.openxmlformats.org/drawingml/2006/table">
            <a:tbl>
              <a:tblPr firstRow="1" bandRow="1">
                <a:tableStyleId>{E8B1032C-EA38-4F05-BA0D-38AFFFC7BED3}</a:tableStyleId>
              </a:tblPr>
              <a:tblGrid>
                <a:gridCol w="238451">
                  <a:extLst>
                    <a:ext uri="{9D8B030D-6E8A-4147-A177-3AD203B41FA5}">
                      <a16:colId xmlns:a16="http://schemas.microsoft.com/office/drawing/2014/main" val="2927690692"/>
                    </a:ext>
                  </a:extLst>
                </a:gridCol>
                <a:gridCol w="238451">
                  <a:extLst>
                    <a:ext uri="{9D8B030D-6E8A-4147-A177-3AD203B41FA5}">
                      <a16:colId xmlns:a16="http://schemas.microsoft.com/office/drawing/2014/main" val="1578996329"/>
                    </a:ext>
                  </a:extLst>
                </a:gridCol>
                <a:gridCol w="238451">
                  <a:extLst>
                    <a:ext uri="{9D8B030D-6E8A-4147-A177-3AD203B41FA5}">
                      <a16:colId xmlns:a16="http://schemas.microsoft.com/office/drawing/2014/main" val="3588441495"/>
                    </a:ext>
                  </a:extLst>
                </a:gridCol>
                <a:gridCol w="238451">
                  <a:extLst>
                    <a:ext uri="{9D8B030D-6E8A-4147-A177-3AD203B41FA5}">
                      <a16:colId xmlns:a16="http://schemas.microsoft.com/office/drawing/2014/main" val="167207617"/>
                    </a:ext>
                  </a:extLst>
                </a:gridCol>
                <a:gridCol w="238451">
                  <a:extLst>
                    <a:ext uri="{9D8B030D-6E8A-4147-A177-3AD203B41FA5}">
                      <a16:colId xmlns:a16="http://schemas.microsoft.com/office/drawing/2014/main" val="1911478020"/>
                    </a:ext>
                  </a:extLst>
                </a:gridCol>
                <a:gridCol w="238451">
                  <a:extLst>
                    <a:ext uri="{9D8B030D-6E8A-4147-A177-3AD203B41FA5}">
                      <a16:colId xmlns:a16="http://schemas.microsoft.com/office/drawing/2014/main" val="1324187745"/>
                    </a:ext>
                  </a:extLst>
                </a:gridCol>
                <a:gridCol w="238451">
                  <a:extLst>
                    <a:ext uri="{9D8B030D-6E8A-4147-A177-3AD203B41FA5}">
                      <a16:colId xmlns:a16="http://schemas.microsoft.com/office/drawing/2014/main" val="2235187386"/>
                    </a:ext>
                  </a:extLst>
                </a:gridCol>
                <a:gridCol w="238451">
                  <a:extLst>
                    <a:ext uri="{9D8B030D-6E8A-4147-A177-3AD203B41FA5}">
                      <a16:colId xmlns:a16="http://schemas.microsoft.com/office/drawing/2014/main" val="3084701240"/>
                    </a:ext>
                  </a:extLst>
                </a:gridCol>
                <a:gridCol w="238451">
                  <a:extLst>
                    <a:ext uri="{9D8B030D-6E8A-4147-A177-3AD203B41FA5}">
                      <a16:colId xmlns:a16="http://schemas.microsoft.com/office/drawing/2014/main" val="2120815107"/>
                    </a:ext>
                  </a:extLst>
                </a:gridCol>
                <a:gridCol w="238451">
                  <a:extLst>
                    <a:ext uri="{9D8B030D-6E8A-4147-A177-3AD203B41FA5}">
                      <a16:colId xmlns:a16="http://schemas.microsoft.com/office/drawing/2014/main" val="2199329933"/>
                    </a:ext>
                  </a:extLst>
                </a:gridCol>
                <a:gridCol w="238451">
                  <a:extLst>
                    <a:ext uri="{9D8B030D-6E8A-4147-A177-3AD203B41FA5}">
                      <a16:colId xmlns:a16="http://schemas.microsoft.com/office/drawing/2014/main" val="227361154"/>
                    </a:ext>
                  </a:extLst>
                </a:gridCol>
                <a:gridCol w="238451">
                  <a:extLst>
                    <a:ext uri="{9D8B030D-6E8A-4147-A177-3AD203B41FA5}">
                      <a16:colId xmlns:a16="http://schemas.microsoft.com/office/drawing/2014/main" val="2016848175"/>
                    </a:ext>
                  </a:extLst>
                </a:gridCol>
                <a:gridCol w="238451">
                  <a:extLst>
                    <a:ext uri="{9D8B030D-6E8A-4147-A177-3AD203B41FA5}">
                      <a16:colId xmlns:a16="http://schemas.microsoft.com/office/drawing/2014/main" val="4147687617"/>
                    </a:ext>
                  </a:extLst>
                </a:gridCol>
                <a:gridCol w="238451">
                  <a:extLst>
                    <a:ext uri="{9D8B030D-6E8A-4147-A177-3AD203B41FA5}">
                      <a16:colId xmlns:a16="http://schemas.microsoft.com/office/drawing/2014/main" val="3475876882"/>
                    </a:ext>
                  </a:extLst>
                </a:gridCol>
                <a:gridCol w="238451">
                  <a:extLst>
                    <a:ext uri="{9D8B030D-6E8A-4147-A177-3AD203B41FA5}">
                      <a16:colId xmlns:a16="http://schemas.microsoft.com/office/drawing/2014/main" val="1844946025"/>
                    </a:ext>
                  </a:extLst>
                </a:gridCol>
                <a:gridCol w="238451">
                  <a:extLst>
                    <a:ext uri="{9D8B030D-6E8A-4147-A177-3AD203B41FA5}">
                      <a16:colId xmlns:a16="http://schemas.microsoft.com/office/drawing/2014/main" val="2538199146"/>
                    </a:ext>
                  </a:extLst>
                </a:gridCol>
                <a:gridCol w="238451">
                  <a:extLst>
                    <a:ext uri="{9D8B030D-6E8A-4147-A177-3AD203B41FA5}">
                      <a16:colId xmlns:a16="http://schemas.microsoft.com/office/drawing/2014/main" val="2173482734"/>
                    </a:ext>
                  </a:extLst>
                </a:gridCol>
                <a:gridCol w="238451">
                  <a:extLst>
                    <a:ext uri="{9D8B030D-6E8A-4147-A177-3AD203B41FA5}">
                      <a16:colId xmlns:a16="http://schemas.microsoft.com/office/drawing/2014/main" val="43420869"/>
                    </a:ext>
                  </a:extLst>
                </a:gridCol>
                <a:gridCol w="238451">
                  <a:extLst>
                    <a:ext uri="{9D8B030D-6E8A-4147-A177-3AD203B41FA5}">
                      <a16:colId xmlns:a16="http://schemas.microsoft.com/office/drawing/2014/main" val="2387629961"/>
                    </a:ext>
                  </a:extLst>
                </a:gridCol>
                <a:gridCol w="238451">
                  <a:extLst>
                    <a:ext uri="{9D8B030D-6E8A-4147-A177-3AD203B41FA5}">
                      <a16:colId xmlns:a16="http://schemas.microsoft.com/office/drawing/2014/main" val="3830904492"/>
                    </a:ext>
                  </a:extLst>
                </a:gridCol>
                <a:gridCol w="238451">
                  <a:extLst>
                    <a:ext uri="{9D8B030D-6E8A-4147-A177-3AD203B41FA5}">
                      <a16:colId xmlns:a16="http://schemas.microsoft.com/office/drawing/2014/main" val="2488722663"/>
                    </a:ext>
                  </a:extLst>
                </a:gridCol>
                <a:gridCol w="238451">
                  <a:extLst>
                    <a:ext uri="{9D8B030D-6E8A-4147-A177-3AD203B41FA5}">
                      <a16:colId xmlns:a16="http://schemas.microsoft.com/office/drawing/2014/main" val="1939506823"/>
                    </a:ext>
                  </a:extLst>
                </a:gridCol>
                <a:gridCol w="238451">
                  <a:extLst>
                    <a:ext uri="{9D8B030D-6E8A-4147-A177-3AD203B41FA5}">
                      <a16:colId xmlns:a16="http://schemas.microsoft.com/office/drawing/2014/main" val="958192387"/>
                    </a:ext>
                  </a:extLst>
                </a:gridCol>
                <a:gridCol w="238451">
                  <a:extLst>
                    <a:ext uri="{9D8B030D-6E8A-4147-A177-3AD203B41FA5}">
                      <a16:colId xmlns:a16="http://schemas.microsoft.com/office/drawing/2014/main" val="2642546581"/>
                    </a:ext>
                  </a:extLst>
                </a:gridCol>
                <a:gridCol w="238451">
                  <a:extLst>
                    <a:ext uri="{9D8B030D-6E8A-4147-A177-3AD203B41FA5}">
                      <a16:colId xmlns:a16="http://schemas.microsoft.com/office/drawing/2014/main" val="1094436247"/>
                    </a:ext>
                  </a:extLst>
                </a:gridCol>
                <a:gridCol w="238451">
                  <a:extLst>
                    <a:ext uri="{9D8B030D-6E8A-4147-A177-3AD203B41FA5}">
                      <a16:colId xmlns:a16="http://schemas.microsoft.com/office/drawing/2014/main" val="3467137952"/>
                    </a:ext>
                  </a:extLst>
                </a:gridCol>
                <a:gridCol w="238451">
                  <a:extLst>
                    <a:ext uri="{9D8B030D-6E8A-4147-A177-3AD203B41FA5}">
                      <a16:colId xmlns:a16="http://schemas.microsoft.com/office/drawing/2014/main" val="2993900741"/>
                    </a:ext>
                  </a:extLst>
                </a:gridCol>
                <a:gridCol w="238451">
                  <a:extLst>
                    <a:ext uri="{9D8B030D-6E8A-4147-A177-3AD203B41FA5}">
                      <a16:colId xmlns:a16="http://schemas.microsoft.com/office/drawing/2014/main" val="4111795293"/>
                    </a:ext>
                  </a:extLst>
                </a:gridCol>
                <a:gridCol w="241678">
                  <a:extLst>
                    <a:ext uri="{9D8B030D-6E8A-4147-A177-3AD203B41FA5}">
                      <a16:colId xmlns:a16="http://schemas.microsoft.com/office/drawing/2014/main" val="1534833676"/>
                    </a:ext>
                  </a:extLst>
                </a:gridCol>
                <a:gridCol w="241678">
                  <a:extLst>
                    <a:ext uri="{9D8B030D-6E8A-4147-A177-3AD203B41FA5}">
                      <a16:colId xmlns:a16="http://schemas.microsoft.com/office/drawing/2014/main" val="2772231541"/>
                    </a:ext>
                  </a:extLst>
                </a:gridCol>
                <a:gridCol w="241678">
                  <a:extLst>
                    <a:ext uri="{9D8B030D-6E8A-4147-A177-3AD203B41FA5}">
                      <a16:colId xmlns:a16="http://schemas.microsoft.com/office/drawing/2014/main" val="2785086389"/>
                    </a:ext>
                  </a:extLst>
                </a:gridCol>
                <a:gridCol w="241678">
                  <a:extLst>
                    <a:ext uri="{9D8B030D-6E8A-4147-A177-3AD203B41FA5}">
                      <a16:colId xmlns:a16="http://schemas.microsoft.com/office/drawing/2014/main" val="1245660163"/>
                    </a:ext>
                  </a:extLst>
                </a:gridCol>
              </a:tblGrid>
              <a:tr h="290993">
                <a:tc>
                  <a:txBody>
                    <a:bodyPr/>
                    <a:lstStyle/>
                    <a:p>
                      <a:endParaRPr lang="en-GB"/>
                    </a:p>
                  </a:txBody>
                  <a:tcPr>
                    <a:lnL w="3175" cap="flat" cmpd="sng" algn="ctr">
                      <a:solidFill>
                        <a:schemeClr val="tx2"/>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12700" cap="flat" cmpd="sng" algn="ctr">
                      <a:no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690423020"/>
                  </a:ext>
                </a:extLst>
              </a:tr>
              <a:tr h="290993">
                <a:tc>
                  <a:txBody>
                    <a:bodyPr/>
                    <a:lstStyle/>
                    <a:p>
                      <a:endParaRPr lang="en-GB"/>
                    </a:p>
                  </a:txBody>
                  <a:tcPr>
                    <a:lnL w="3175" cap="flat" cmpd="sng" algn="ctr">
                      <a:solidFill>
                        <a:schemeClr val="tx2"/>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12700" cap="flat" cmpd="sng" algn="ctr">
                      <a:no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438696334"/>
                  </a:ext>
                </a:extLst>
              </a:tr>
              <a:tr h="290993">
                <a:tc>
                  <a:txBody>
                    <a:bodyPr/>
                    <a:lstStyle/>
                    <a:p>
                      <a:endParaRPr lang="en-GB"/>
                    </a:p>
                  </a:txBody>
                  <a:tcPr>
                    <a:lnL w="3175" cap="flat" cmpd="sng" algn="ctr">
                      <a:solidFill>
                        <a:schemeClr val="tx2"/>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12700" cap="flat" cmpd="sng" algn="ctr">
                      <a:no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5030272"/>
                  </a:ext>
                </a:extLst>
              </a:tr>
              <a:tr h="290993">
                <a:tc>
                  <a:txBody>
                    <a:bodyPr/>
                    <a:lstStyle/>
                    <a:p>
                      <a:endParaRPr lang="en-GB"/>
                    </a:p>
                  </a:txBody>
                  <a:tcPr>
                    <a:lnL w="3175" cap="flat" cmpd="sng" algn="ctr">
                      <a:solidFill>
                        <a:schemeClr val="tx2"/>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12700" cap="flat" cmpd="sng" algn="ctr">
                      <a:no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425177941"/>
                  </a:ext>
                </a:extLst>
              </a:tr>
              <a:tr h="290993">
                <a:tc>
                  <a:txBody>
                    <a:bodyPr/>
                    <a:lstStyle/>
                    <a:p>
                      <a:endParaRPr lang="en-GB"/>
                    </a:p>
                  </a:txBody>
                  <a:tcPr>
                    <a:lnL w="3175" cap="flat" cmpd="sng" algn="ctr">
                      <a:solidFill>
                        <a:schemeClr val="tx2"/>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12700" cap="flat" cmpd="sng" algn="ctr">
                      <a:no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039765575"/>
                  </a:ext>
                </a:extLst>
              </a:tr>
              <a:tr h="290993">
                <a:tc>
                  <a:txBody>
                    <a:bodyPr/>
                    <a:lstStyle/>
                    <a:p>
                      <a:endParaRPr lang="en-GB"/>
                    </a:p>
                  </a:txBody>
                  <a:tcPr>
                    <a:lnL w="3175" cap="flat" cmpd="sng" algn="ctr">
                      <a:solidFill>
                        <a:schemeClr val="tx2"/>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12700" cap="flat" cmpd="sng" algn="ctr">
                      <a:no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205882634"/>
                  </a:ext>
                </a:extLst>
              </a:tr>
              <a:tr h="290993">
                <a:tc>
                  <a:txBody>
                    <a:bodyPr/>
                    <a:lstStyle/>
                    <a:p>
                      <a:endParaRPr lang="en-GB"/>
                    </a:p>
                  </a:txBody>
                  <a:tcPr>
                    <a:lnL w="3175" cap="flat" cmpd="sng" algn="ctr">
                      <a:solidFill>
                        <a:schemeClr val="tx2"/>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12700" cap="flat" cmpd="sng" algn="ctr">
                      <a:no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748776024"/>
                  </a:ext>
                </a:extLst>
              </a:tr>
              <a:tr h="290993">
                <a:tc>
                  <a:txBody>
                    <a:bodyPr/>
                    <a:lstStyle/>
                    <a:p>
                      <a:endParaRPr lang="en-GB"/>
                    </a:p>
                  </a:txBody>
                  <a:tcPr>
                    <a:lnL w="3175" cap="flat" cmpd="sng" algn="ctr">
                      <a:solidFill>
                        <a:schemeClr val="tx2"/>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12700" cap="flat" cmpd="sng" algn="ctr">
                      <a:no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solidFill>
                          <a:schemeClr val="bg2">
                            <a:lumMod val="20000"/>
                            <a:lumOff val="80000"/>
                          </a:schemeClr>
                        </a:solidFill>
                      </a:endParaRPr>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813327197"/>
                  </a:ext>
                </a:extLst>
              </a:tr>
              <a:tr h="290993">
                <a:tc>
                  <a:txBody>
                    <a:bodyPr/>
                    <a:lstStyle/>
                    <a:p>
                      <a:endParaRPr lang="en-GB"/>
                    </a:p>
                  </a:txBody>
                  <a:tcPr>
                    <a:lnL w="3175" cap="flat" cmpd="sng" algn="ctr">
                      <a:solidFill>
                        <a:schemeClr val="tx2"/>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12700" cap="flat" cmpd="sng" algn="ctr">
                      <a:no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980398414"/>
                  </a:ext>
                </a:extLst>
              </a:tr>
              <a:tr h="290993">
                <a:tc>
                  <a:txBody>
                    <a:bodyPr/>
                    <a:lstStyle/>
                    <a:p>
                      <a:endParaRPr lang="en-GB"/>
                    </a:p>
                  </a:txBody>
                  <a:tcPr>
                    <a:lnL w="3175" cap="flat" cmpd="sng" algn="ctr">
                      <a:solidFill>
                        <a:schemeClr val="tx2"/>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12700" cap="flat" cmpd="sng" algn="ctr">
                      <a:no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97434619"/>
                  </a:ext>
                </a:extLst>
              </a:tr>
              <a:tr h="290993">
                <a:tc>
                  <a:txBody>
                    <a:bodyPr/>
                    <a:lstStyle/>
                    <a:p>
                      <a:endParaRPr lang="en-GB"/>
                    </a:p>
                  </a:txBody>
                  <a:tcPr>
                    <a:lnL w="3175" cap="flat" cmpd="sng" algn="ctr">
                      <a:solidFill>
                        <a:schemeClr val="tx2"/>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12700" cap="flat" cmpd="sng" algn="ctr">
                      <a:no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321458490"/>
                  </a:ext>
                </a:extLst>
              </a:tr>
              <a:tr h="290993">
                <a:tc>
                  <a:txBody>
                    <a:bodyPr/>
                    <a:lstStyle/>
                    <a:p>
                      <a:endParaRPr lang="en-GB"/>
                    </a:p>
                  </a:txBody>
                  <a:tcPr>
                    <a:lnL w="3175" cap="flat" cmpd="sng" algn="ctr">
                      <a:solidFill>
                        <a:schemeClr val="tx2"/>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solidFill>
                  </a:tcPr>
                </a:tc>
                <a:tc>
                  <a:txBody>
                    <a:bodyPr/>
                    <a:lstStyle/>
                    <a:p>
                      <a:endParaRPr lang="en-GB"/>
                    </a:p>
                  </a:txBody>
                  <a:tcPr>
                    <a:lnL w="12700" cap="flat" cmpd="sng" algn="ctr">
                      <a:no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solidFill>
                  </a:tcPr>
                </a:tc>
                <a:tc>
                  <a:txBody>
                    <a:bodyPr/>
                    <a:lstStyle/>
                    <a:p>
                      <a:endParaRPr lang="en-GB"/>
                    </a:p>
                  </a:txBody>
                  <a:tcPr>
                    <a:lnL w="3175" cap="flat" cmpd="sng" algn="ctr">
                      <a:solidFill>
                        <a:schemeClr val="bg1">
                          <a:lumMod val="85000"/>
                        </a:schemeClr>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3553926801"/>
                  </a:ext>
                </a:extLst>
              </a:tr>
            </a:tbl>
          </a:graphicData>
        </a:graphic>
      </p:graphicFrame>
      <p:sp>
        <p:nvSpPr>
          <p:cNvPr id="95" name="Chevron 207">
            <a:extLst>
              <a:ext uri="{FF2B5EF4-FFF2-40B4-BE49-F238E27FC236}">
                <a16:creationId xmlns:a16="http://schemas.microsoft.com/office/drawing/2014/main" id="{92A47DFC-47BF-4F9E-8088-42F3F766A9D1}"/>
              </a:ext>
            </a:extLst>
          </p:cNvPr>
          <p:cNvSpPr/>
          <p:nvPr/>
        </p:nvSpPr>
        <p:spPr>
          <a:xfrm>
            <a:off x="1866059" y="675663"/>
            <a:ext cx="1022793" cy="216000"/>
          </a:xfrm>
          <a:prstGeom prst="chevron">
            <a:avLst/>
          </a:prstGeom>
          <a:solidFill>
            <a:schemeClr val="bg1">
              <a:lumMod val="50000"/>
            </a:schemeClr>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214" tIns="3214" rIns="3214" bIns="3214" numCol="1" spcCol="0" rtlCol="0" fromWordArt="0" anchor="ctr" anchorCtr="0" forceAA="0" compatLnSpc="1">
            <a:prstTxWarp prst="textNoShape">
              <a:avLst/>
            </a:prstTxWarp>
            <a:noAutofit/>
          </a:bodyPr>
          <a:lstStyle/>
          <a:p>
            <a:pPr algn="ctr" defTabSz="816185"/>
            <a:r>
              <a:rPr lang="en-US" sz="600" b="1">
                <a:solidFill>
                  <a:srgbClr val="FFFFFF"/>
                </a:solidFill>
                <a:latin typeface="Arial"/>
                <a:ea typeface="ＭＳ Ｐゴシック"/>
              </a:rPr>
              <a:t>1. Preparation</a:t>
            </a:r>
          </a:p>
        </p:txBody>
      </p:sp>
      <p:sp>
        <p:nvSpPr>
          <p:cNvPr id="96" name="Chevron 208">
            <a:extLst>
              <a:ext uri="{FF2B5EF4-FFF2-40B4-BE49-F238E27FC236}">
                <a16:creationId xmlns:a16="http://schemas.microsoft.com/office/drawing/2014/main" id="{E681C798-6C63-4B31-8C24-2B7E29552230}"/>
              </a:ext>
            </a:extLst>
          </p:cNvPr>
          <p:cNvSpPr/>
          <p:nvPr/>
        </p:nvSpPr>
        <p:spPr>
          <a:xfrm>
            <a:off x="2895600" y="675663"/>
            <a:ext cx="3124200" cy="210323"/>
          </a:xfrm>
          <a:prstGeom prst="chevron">
            <a:avLst/>
          </a:prstGeom>
          <a:solidFill>
            <a:schemeClr val="tx2"/>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214" tIns="3214" rIns="3214" bIns="3214" numCol="1" spcCol="0" rtlCol="0" fromWordArt="0" anchor="ctr" anchorCtr="0" forceAA="0" compatLnSpc="1">
            <a:prstTxWarp prst="textNoShape">
              <a:avLst/>
            </a:prstTxWarp>
            <a:noAutofit/>
          </a:bodyPr>
          <a:lstStyle/>
          <a:p>
            <a:pPr algn="ctr" defTabSz="816185">
              <a:defRPr/>
            </a:pPr>
            <a:r>
              <a:rPr lang="en-US" sz="600" b="1">
                <a:solidFill>
                  <a:srgbClr val="FFFFFF"/>
                </a:solidFill>
                <a:latin typeface="Arial"/>
                <a:ea typeface="ＭＳ Ｐゴシック"/>
              </a:rPr>
              <a:t>2. Implementation</a:t>
            </a:r>
          </a:p>
        </p:txBody>
      </p:sp>
      <p:sp>
        <p:nvSpPr>
          <p:cNvPr id="97" name="Chevron 210">
            <a:extLst>
              <a:ext uri="{FF2B5EF4-FFF2-40B4-BE49-F238E27FC236}">
                <a16:creationId xmlns:a16="http://schemas.microsoft.com/office/drawing/2014/main" id="{91F35C22-27FC-4684-A846-77CB806905E3}"/>
              </a:ext>
            </a:extLst>
          </p:cNvPr>
          <p:cNvSpPr/>
          <p:nvPr/>
        </p:nvSpPr>
        <p:spPr>
          <a:xfrm>
            <a:off x="8263545" y="675663"/>
            <a:ext cx="804255" cy="216000"/>
          </a:xfrm>
          <a:prstGeom prst="chevron">
            <a:avLst/>
          </a:prstGeom>
          <a:solidFill>
            <a:schemeClr val="tx2"/>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214" tIns="3214" rIns="3214" bIns="3214" numCol="1" spcCol="0" rtlCol="0" fromWordArt="0" anchor="ctr" anchorCtr="0" forceAA="0" compatLnSpc="1">
            <a:prstTxWarp prst="textNoShape">
              <a:avLst/>
            </a:prstTxWarp>
            <a:noAutofit/>
          </a:bodyPr>
          <a:lstStyle/>
          <a:p>
            <a:pPr algn="ctr" defTabSz="816185">
              <a:defRPr/>
            </a:pPr>
            <a:r>
              <a:rPr lang="en-US" sz="600" b="1">
                <a:solidFill>
                  <a:srgbClr val="FFFFFF"/>
                </a:solidFill>
                <a:latin typeface="Arial"/>
                <a:ea typeface="ＭＳ Ｐゴシック"/>
              </a:rPr>
              <a:t>4. Operation /</a:t>
            </a:r>
          </a:p>
          <a:p>
            <a:pPr algn="ctr" defTabSz="816185">
              <a:defRPr/>
            </a:pPr>
            <a:r>
              <a:rPr lang="en-US" sz="600" b="1">
                <a:solidFill>
                  <a:srgbClr val="FFFFFF"/>
                </a:solidFill>
                <a:latin typeface="Arial"/>
                <a:ea typeface="ＭＳ Ｐゴシック"/>
              </a:rPr>
              <a:t>Adoption</a:t>
            </a:r>
          </a:p>
        </p:txBody>
      </p:sp>
      <p:sp>
        <p:nvSpPr>
          <p:cNvPr id="98" name="Chevron 211">
            <a:extLst>
              <a:ext uri="{FF2B5EF4-FFF2-40B4-BE49-F238E27FC236}">
                <a16:creationId xmlns:a16="http://schemas.microsoft.com/office/drawing/2014/main" id="{37B662C4-08A1-46E4-87F6-924012B3B549}"/>
              </a:ext>
            </a:extLst>
          </p:cNvPr>
          <p:cNvSpPr/>
          <p:nvPr/>
        </p:nvSpPr>
        <p:spPr>
          <a:xfrm>
            <a:off x="1117546" y="675663"/>
            <a:ext cx="842264" cy="216000"/>
          </a:xfrm>
          <a:prstGeom prst="chevron">
            <a:avLst/>
          </a:prstGeom>
          <a:solidFill>
            <a:schemeClr val="tx2"/>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14" tIns="3214" rIns="3214" bIns="3214" numCol="1" spcCol="0" rtlCol="0" fromWordArt="0" anchor="ctr" anchorCtr="0" forceAA="0" compatLnSpc="1">
            <a:prstTxWarp prst="textNoShape">
              <a:avLst/>
            </a:prstTxWarp>
            <a:noAutofit/>
          </a:bodyPr>
          <a:lstStyle/>
          <a:p>
            <a:pPr algn="ctr" defTabSz="816185"/>
            <a:r>
              <a:rPr lang="en-US" sz="600" b="1">
                <a:solidFill>
                  <a:srgbClr val="FFFFFF"/>
                </a:solidFill>
                <a:latin typeface="Arial"/>
                <a:ea typeface="ＭＳ Ｐゴシック"/>
              </a:rPr>
              <a:t>0. Pre-Roll-out</a:t>
            </a:r>
          </a:p>
        </p:txBody>
      </p:sp>
      <p:sp>
        <p:nvSpPr>
          <p:cNvPr id="99" name="Chevron 209">
            <a:extLst>
              <a:ext uri="{FF2B5EF4-FFF2-40B4-BE49-F238E27FC236}">
                <a16:creationId xmlns:a16="http://schemas.microsoft.com/office/drawing/2014/main" id="{3E1ECF82-C473-4E41-A3F6-3BD6836D2394}"/>
              </a:ext>
            </a:extLst>
          </p:cNvPr>
          <p:cNvSpPr/>
          <p:nvPr/>
        </p:nvSpPr>
        <p:spPr>
          <a:xfrm>
            <a:off x="5943600" y="675663"/>
            <a:ext cx="2374534" cy="216000"/>
          </a:xfrm>
          <a:prstGeom prst="chevron">
            <a:avLst/>
          </a:prstGeom>
          <a:solidFill>
            <a:schemeClr val="tx1">
              <a:lumMod val="50000"/>
              <a:lumOff val="50000"/>
            </a:schemeClr>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214" tIns="3214" rIns="3214" bIns="3214" numCol="1" spcCol="0" rtlCol="0" fromWordArt="0" anchor="ctr" anchorCtr="0" forceAA="0" compatLnSpc="1">
            <a:prstTxWarp prst="textNoShape">
              <a:avLst/>
            </a:prstTxWarp>
            <a:noAutofit/>
          </a:bodyPr>
          <a:lstStyle/>
          <a:p>
            <a:pPr algn="ctr" defTabSz="816185">
              <a:defRPr/>
            </a:pPr>
            <a:r>
              <a:rPr lang="en-US" sz="600" b="1">
                <a:solidFill>
                  <a:srgbClr val="FFFFFF"/>
                </a:solidFill>
                <a:latin typeface="Arial"/>
                <a:ea typeface="ＭＳ Ｐゴシック"/>
              </a:rPr>
              <a:t>3. Roll-out</a:t>
            </a:r>
          </a:p>
        </p:txBody>
      </p:sp>
      <p:graphicFrame>
        <p:nvGraphicFramePr>
          <p:cNvPr id="10" name="Table 9"/>
          <p:cNvGraphicFramePr>
            <a:graphicFrameLocks noGrp="1"/>
          </p:cNvGraphicFramePr>
          <p:nvPr/>
        </p:nvGraphicFramePr>
        <p:xfrm>
          <a:off x="228601" y="1270368"/>
          <a:ext cx="983366" cy="3492096"/>
        </p:xfrm>
        <a:graphic>
          <a:graphicData uri="http://schemas.openxmlformats.org/drawingml/2006/table">
            <a:tbl>
              <a:tblPr firstRow="1" bandRow="1">
                <a:tableStyleId>{1C5780E6-A8F4-46B0-B82D-9E7F56C639EF}</a:tableStyleId>
              </a:tblPr>
              <a:tblGrid>
                <a:gridCol w="983366">
                  <a:extLst>
                    <a:ext uri="{9D8B030D-6E8A-4147-A177-3AD203B41FA5}">
                      <a16:colId xmlns:a16="http://schemas.microsoft.com/office/drawing/2014/main" val="2747988293"/>
                    </a:ext>
                  </a:extLst>
                </a:gridCol>
              </a:tblGrid>
              <a:tr h="29100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b="1">
                          <a:solidFill>
                            <a:schemeClr val="bg1"/>
                          </a:solidFill>
                        </a:rPr>
                        <a:t>Governance: Steering Committees </a:t>
                      </a:r>
                      <a:endParaRPr lang="en-GB" sz="600" b="1">
                        <a:solidFill>
                          <a:schemeClr val="bg1"/>
                        </a:solidFill>
                      </a:endParaRPr>
                    </a:p>
                  </a:txBody>
                  <a:tcPr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accent4">
                        <a:lumMod val="75000"/>
                      </a:schemeClr>
                    </a:solidFill>
                  </a:tcPr>
                </a:tc>
                <a:extLst>
                  <a:ext uri="{0D108BD9-81ED-4DB2-BD59-A6C34878D82A}">
                    <a16:rowId xmlns:a16="http://schemas.microsoft.com/office/drawing/2014/main" val="1151740641"/>
                  </a:ext>
                </a:extLst>
              </a:tr>
              <a:tr h="291008">
                <a:tc>
                  <a:txBody>
                    <a:bodyPr/>
                    <a:lstStyle/>
                    <a:p>
                      <a:r>
                        <a:rPr lang="en-US" sz="600" b="1">
                          <a:solidFill>
                            <a:schemeClr val="bg1"/>
                          </a:solidFill>
                        </a:rPr>
                        <a:t>Checkpoints 1-5</a:t>
                      </a:r>
                      <a:endParaRPr lang="en-GB" sz="600" b="1">
                        <a:solidFill>
                          <a:schemeClr val="bg1"/>
                        </a:solidFill>
                      </a:endParaRPr>
                    </a:p>
                  </a:txBody>
                  <a:tcPr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accent2"/>
                    </a:solidFill>
                  </a:tcPr>
                </a:tc>
                <a:extLst>
                  <a:ext uri="{0D108BD9-81ED-4DB2-BD59-A6C34878D82A}">
                    <a16:rowId xmlns:a16="http://schemas.microsoft.com/office/drawing/2014/main" val="3345842941"/>
                  </a:ext>
                </a:extLst>
              </a:tr>
              <a:tr h="291008">
                <a:tc>
                  <a:txBody>
                    <a:bodyPr/>
                    <a:lstStyle/>
                    <a:p>
                      <a:r>
                        <a:rPr lang="en-US" sz="600" b="1" dirty="0">
                          <a:solidFill>
                            <a:schemeClr val="bg1"/>
                          </a:solidFill>
                        </a:rPr>
                        <a:t>Change &amp;</a:t>
                      </a:r>
                      <a:r>
                        <a:rPr lang="en-US" sz="600" b="1" baseline="0" dirty="0">
                          <a:solidFill>
                            <a:schemeClr val="bg1"/>
                          </a:solidFill>
                        </a:rPr>
                        <a:t> </a:t>
                      </a:r>
                      <a:r>
                        <a:rPr lang="en-US" sz="600" b="1" dirty="0" err="1">
                          <a:solidFill>
                            <a:schemeClr val="bg1"/>
                          </a:solidFill>
                        </a:rPr>
                        <a:t>Comms</a:t>
                      </a:r>
                      <a:endParaRPr lang="en-GB" sz="600" b="1" dirty="0">
                        <a:solidFill>
                          <a:schemeClr val="bg1"/>
                        </a:solidFill>
                      </a:endParaRPr>
                    </a:p>
                  </a:txBody>
                  <a:tcPr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rgbClr val="00B0F0"/>
                    </a:solidFill>
                  </a:tcPr>
                </a:tc>
                <a:extLst>
                  <a:ext uri="{0D108BD9-81ED-4DB2-BD59-A6C34878D82A}">
                    <a16:rowId xmlns:a16="http://schemas.microsoft.com/office/drawing/2014/main" val="1930568427"/>
                  </a:ext>
                </a:extLst>
              </a:tr>
              <a:tr h="291008">
                <a:tc>
                  <a:txBody>
                    <a:bodyPr/>
                    <a:lstStyle/>
                    <a:p>
                      <a:r>
                        <a:rPr lang="en-US" sz="600" b="1" dirty="0">
                          <a:solidFill>
                            <a:schemeClr val="bg1"/>
                          </a:solidFill>
                        </a:rPr>
                        <a:t>Train-the-Trainer / End User Training</a:t>
                      </a:r>
                      <a:endParaRPr lang="en-GB" sz="600" b="1" dirty="0">
                        <a:solidFill>
                          <a:schemeClr val="bg1"/>
                        </a:solidFill>
                      </a:endParaRPr>
                    </a:p>
                  </a:txBody>
                  <a:tcPr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rgbClr val="00B0F0"/>
                    </a:solidFill>
                  </a:tcPr>
                </a:tc>
                <a:extLst>
                  <a:ext uri="{0D108BD9-81ED-4DB2-BD59-A6C34878D82A}">
                    <a16:rowId xmlns:a16="http://schemas.microsoft.com/office/drawing/2014/main" val="3852640771"/>
                  </a:ext>
                </a:extLst>
              </a:tr>
              <a:tr h="291008">
                <a:tc>
                  <a:txBody>
                    <a:bodyPr/>
                    <a:lstStyle/>
                    <a:p>
                      <a:r>
                        <a:rPr lang="en-US" sz="600" b="1">
                          <a:solidFill>
                            <a:schemeClr val="bg1"/>
                          </a:solidFill>
                        </a:rPr>
                        <a:t>Data Activities</a:t>
                      </a:r>
                      <a:endParaRPr lang="en-GB" sz="600" b="1">
                        <a:solidFill>
                          <a:schemeClr val="bg1"/>
                        </a:solidFill>
                      </a:endParaRPr>
                    </a:p>
                  </a:txBody>
                  <a:tcPr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accent1">
                        <a:lumMod val="90000"/>
                        <a:lumOff val="10000"/>
                      </a:schemeClr>
                    </a:solidFill>
                  </a:tcPr>
                </a:tc>
                <a:extLst>
                  <a:ext uri="{0D108BD9-81ED-4DB2-BD59-A6C34878D82A}">
                    <a16:rowId xmlns:a16="http://schemas.microsoft.com/office/drawing/2014/main" val="2847148245"/>
                  </a:ext>
                </a:extLst>
              </a:tr>
              <a:tr h="291008">
                <a:tc>
                  <a:txBody>
                    <a:bodyPr/>
                    <a:lstStyle/>
                    <a:p>
                      <a:r>
                        <a:rPr lang="en-US" sz="600" b="1">
                          <a:solidFill>
                            <a:schemeClr val="bg1"/>
                          </a:solidFill>
                        </a:rPr>
                        <a:t>Country Setup </a:t>
                      </a:r>
                      <a:endParaRPr lang="en-GB" sz="600" b="1">
                        <a:solidFill>
                          <a:schemeClr val="bg1"/>
                        </a:solidFill>
                      </a:endParaRPr>
                    </a:p>
                  </a:txBody>
                  <a:tcPr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accent3"/>
                    </a:solidFill>
                  </a:tcPr>
                </a:tc>
                <a:extLst>
                  <a:ext uri="{0D108BD9-81ED-4DB2-BD59-A6C34878D82A}">
                    <a16:rowId xmlns:a16="http://schemas.microsoft.com/office/drawing/2014/main" val="964686705"/>
                  </a:ext>
                </a:extLst>
              </a:tr>
              <a:tr h="291008">
                <a:tc>
                  <a:txBody>
                    <a:bodyPr/>
                    <a:lstStyle/>
                    <a:p>
                      <a:r>
                        <a:rPr lang="en-US" sz="600" b="1">
                          <a:solidFill>
                            <a:schemeClr val="bg1"/>
                          </a:solidFill>
                        </a:rPr>
                        <a:t>Translations</a:t>
                      </a:r>
                      <a:endParaRPr lang="en-GB" sz="600" b="1">
                        <a:solidFill>
                          <a:schemeClr val="bg1"/>
                        </a:solidFill>
                      </a:endParaRPr>
                    </a:p>
                  </a:txBody>
                  <a:tcPr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rgbClr val="023761"/>
                    </a:solidFill>
                  </a:tcPr>
                </a:tc>
                <a:extLst>
                  <a:ext uri="{0D108BD9-81ED-4DB2-BD59-A6C34878D82A}">
                    <a16:rowId xmlns:a16="http://schemas.microsoft.com/office/drawing/2014/main" val="1186977838"/>
                  </a:ext>
                </a:extLst>
              </a:tr>
              <a:tr h="291008">
                <a:tc>
                  <a:txBody>
                    <a:bodyPr/>
                    <a:lstStyle/>
                    <a:p>
                      <a:r>
                        <a:rPr lang="en-US" sz="600" b="1">
                          <a:solidFill>
                            <a:schemeClr val="bg1"/>
                          </a:solidFill>
                        </a:rPr>
                        <a:t>Local Testing</a:t>
                      </a:r>
                      <a:endParaRPr lang="en-GB" sz="600" b="1">
                        <a:solidFill>
                          <a:schemeClr val="bg1"/>
                        </a:solidFill>
                      </a:endParaRPr>
                    </a:p>
                  </a:txBody>
                  <a:tcPr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accent2"/>
                    </a:solidFill>
                  </a:tcPr>
                </a:tc>
                <a:extLst>
                  <a:ext uri="{0D108BD9-81ED-4DB2-BD59-A6C34878D82A}">
                    <a16:rowId xmlns:a16="http://schemas.microsoft.com/office/drawing/2014/main" val="2673535545"/>
                  </a:ext>
                </a:extLst>
              </a:tr>
              <a:tr h="291008">
                <a:tc>
                  <a:txBody>
                    <a:bodyPr/>
                    <a:lstStyle/>
                    <a:p>
                      <a:r>
                        <a:rPr lang="en-US" sz="600" b="1">
                          <a:solidFill>
                            <a:schemeClr val="bg1"/>
                          </a:solidFill>
                        </a:rPr>
                        <a:t>Cutover Activities</a:t>
                      </a:r>
                      <a:endParaRPr lang="en-GB" sz="600" b="1">
                        <a:solidFill>
                          <a:schemeClr val="bg1"/>
                        </a:solidFill>
                      </a:endParaRPr>
                    </a:p>
                  </a:txBody>
                  <a:tcPr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accent4">
                        <a:lumMod val="75000"/>
                      </a:schemeClr>
                    </a:solidFill>
                  </a:tcPr>
                </a:tc>
                <a:extLst>
                  <a:ext uri="{0D108BD9-81ED-4DB2-BD59-A6C34878D82A}">
                    <a16:rowId xmlns:a16="http://schemas.microsoft.com/office/drawing/2014/main" val="1028997692"/>
                  </a:ext>
                </a:extLst>
              </a:tr>
              <a:tr h="291008">
                <a:tc>
                  <a:txBody>
                    <a:bodyPr/>
                    <a:lstStyle/>
                    <a:p>
                      <a:r>
                        <a:rPr lang="en-US" sz="600" b="1">
                          <a:solidFill>
                            <a:srgbClr val="FF0000"/>
                          </a:solidFill>
                        </a:rPr>
                        <a:t>Go-live / </a:t>
                      </a:r>
                      <a:r>
                        <a:rPr lang="en-US" sz="600" b="1" err="1">
                          <a:solidFill>
                            <a:srgbClr val="FF0000"/>
                          </a:solidFill>
                        </a:rPr>
                        <a:t>Hypercare</a:t>
                      </a:r>
                      <a:endParaRPr lang="en-GB" sz="600" b="1">
                        <a:solidFill>
                          <a:srgbClr val="FF0000"/>
                        </a:solidFill>
                      </a:endParaRPr>
                    </a:p>
                  </a:txBody>
                  <a:tcPr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accent4"/>
                    </a:solidFill>
                  </a:tcPr>
                </a:tc>
                <a:extLst>
                  <a:ext uri="{0D108BD9-81ED-4DB2-BD59-A6C34878D82A}">
                    <a16:rowId xmlns:a16="http://schemas.microsoft.com/office/drawing/2014/main" val="806700845"/>
                  </a:ext>
                </a:extLst>
              </a:tr>
              <a:tr h="291008">
                <a:tc>
                  <a:txBody>
                    <a:bodyPr/>
                    <a:lstStyle/>
                    <a:p>
                      <a:r>
                        <a:rPr lang="en-US" sz="600" b="1">
                          <a:solidFill>
                            <a:schemeClr val="bg1"/>
                          </a:solidFill>
                        </a:rPr>
                        <a:t>Release Activities</a:t>
                      </a:r>
                      <a:endParaRPr lang="en-GB" sz="600" b="1">
                        <a:solidFill>
                          <a:schemeClr val="bg1"/>
                        </a:solidFill>
                      </a:endParaRPr>
                    </a:p>
                  </a:txBody>
                  <a:tcPr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accent6">
                        <a:lumMod val="50000"/>
                      </a:schemeClr>
                    </a:solidFill>
                  </a:tcPr>
                </a:tc>
                <a:extLst>
                  <a:ext uri="{0D108BD9-81ED-4DB2-BD59-A6C34878D82A}">
                    <a16:rowId xmlns:a16="http://schemas.microsoft.com/office/drawing/2014/main" val="2830042559"/>
                  </a:ext>
                </a:extLst>
              </a:tr>
              <a:tr h="291008">
                <a:tc>
                  <a:txBody>
                    <a:bodyPr/>
                    <a:lstStyle/>
                    <a:p>
                      <a:r>
                        <a:rPr lang="en-US" sz="600" b="1" dirty="0">
                          <a:solidFill>
                            <a:schemeClr val="bg1"/>
                          </a:solidFill>
                        </a:rPr>
                        <a:t>Program Governance</a:t>
                      </a:r>
                      <a:endParaRPr lang="en-GB" sz="600" b="1" dirty="0">
                        <a:solidFill>
                          <a:schemeClr val="bg1"/>
                        </a:solidFill>
                      </a:endParaRPr>
                    </a:p>
                  </a:txBody>
                  <a:tcPr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2811412444"/>
                  </a:ext>
                </a:extLst>
              </a:tr>
            </a:tbl>
          </a:graphicData>
        </a:graphic>
      </p:graphicFrame>
      <p:sp>
        <p:nvSpPr>
          <p:cNvPr id="26" name="Diamond 25">
            <a:extLst>
              <a:ext uri="{FF2B5EF4-FFF2-40B4-BE49-F238E27FC236}">
                <a16:creationId xmlns:a16="http://schemas.microsoft.com/office/drawing/2014/main" id="{8A02CD10-8E56-46CB-877E-60A43357786F}"/>
              </a:ext>
            </a:extLst>
          </p:cNvPr>
          <p:cNvSpPr/>
          <p:nvPr/>
        </p:nvSpPr>
        <p:spPr>
          <a:xfrm>
            <a:off x="1423309" y="1366024"/>
            <a:ext cx="138113" cy="138113"/>
          </a:xfrm>
          <a:prstGeom prst="diamond">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8" name="Diamond 27">
            <a:extLst>
              <a:ext uri="{FF2B5EF4-FFF2-40B4-BE49-F238E27FC236}">
                <a16:creationId xmlns:a16="http://schemas.microsoft.com/office/drawing/2014/main" id="{8A02CD10-8E56-46CB-877E-60A43357786F}"/>
              </a:ext>
            </a:extLst>
          </p:cNvPr>
          <p:cNvSpPr/>
          <p:nvPr/>
        </p:nvSpPr>
        <p:spPr>
          <a:xfrm>
            <a:off x="1447603" y="1934010"/>
            <a:ext cx="138113" cy="138113"/>
          </a:xfrm>
          <a:prstGeom prst="diamond">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1" name="Diamond 30">
            <a:extLst>
              <a:ext uri="{FF2B5EF4-FFF2-40B4-BE49-F238E27FC236}">
                <a16:creationId xmlns:a16="http://schemas.microsoft.com/office/drawing/2014/main" id="{8A02CD10-8E56-46CB-877E-60A43357786F}"/>
              </a:ext>
            </a:extLst>
          </p:cNvPr>
          <p:cNvSpPr/>
          <p:nvPr/>
        </p:nvSpPr>
        <p:spPr>
          <a:xfrm>
            <a:off x="2209800" y="1366024"/>
            <a:ext cx="138113" cy="138113"/>
          </a:xfrm>
          <a:prstGeom prst="diamond">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2" name="Diamond 31">
            <a:extLst>
              <a:ext uri="{FF2B5EF4-FFF2-40B4-BE49-F238E27FC236}">
                <a16:creationId xmlns:a16="http://schemas.microsoft.com/office/drawing/2014/main" id="{8A02CD10-8E56-46CB-877E-60A43357786F}"/>
              </a:ext>
            </a:extLst>
          </p:cNvPr>
          <p:cNvSpPr/>
          <p:nvPr/>
        </p:nvSpPr>
        <p:spPr>
          <a:xfrm>
            <a:off x="3386983" y="1366024"/>
            <a:ext cx="138113" cy="138113"/>
          </a:xfrm>
          <a:prstGeom prst="diamond">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3" name="Diamond 32">
            <a:extLst>
              <a:ext uri="{FF2B5EF4-FFF2-40B4-BE49-F238E27FC236}">
                <a16:creationId xmlns:a16="http://schemas.microsoft.com/office/drawing/2014/main" id="{8A02CD10-8E56-46CB-877E-60A43357786F}"/>
              </a:ext>
            </a:extLst>
          </p:cNvPr>
          <p:cNvSpPr/>
          <p:nvPr/>
        </p:nvSpPr>
        <p:spPr>
          <a:xfrm>
            <a:off x="3887778" y="1366024"/>
            <a:ext cx="138113" cy="138113"/>
          </a:xfrm>
          <a:prstGeom prst="diamond">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4" name="Diamond 33">
            <a:extLst>
              <a:ext uri="{FF2B5EF4-FFF2-40B4-BE49-F238E27FC236}">
                <a16:creationId xmlns:a16="http://schemas.microsoft.com/office/drawing/2014/main" id="{8A02CD10-8E56-46CB-877E-60A43357786F}"/>
              </a:ext>
            </a:extLst>
          </p:cNvPr>
          <p:cNvSpPr/>
          <p:nvPr/>
        </p:nvSpPr>
        <p:spPr>
          <a:xfrm>
            <a:off x="4443596" y="1366024"/>
            <a:ext cx="138113" cy="138113"/>
          </a:xfrm>
          <a:prstGeom prst="diamond">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5" name="Diamond 34">
            <a:extLst>
              <a:ext uri="{FF2B5EF4-FFF2-40B4-BE49-F238E27FC236}">
                <a16:creationId xmlns:a16="http://schemas.microsoft.com/office/drawing/2014/main" id="{8A02CD10-8E56-46CB-877E-60A43357786F}"/>
              </a:ext>
            </a:extLst>
          </p:cNvPr>
          <p:cNvSpPr/>
          <p:nvPr/>
        </p:nvSpPr>
        <p:spPr>
          <a:xfrm>
            <a:off x="4816507" y="1366024"/>
            <a:ext cx="138113" cy="138113"/>
          </a:xfrm>
          <a:prstGeom prst="diamond">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6" name="Diamond 35">
            <a:extLst>
              <a:ext uri="{FF2B5EF4-FFF2-40B4-BE49-F238E27FC236}">
                <a16:creationId xmlns:a16="http://schemas.microsoft.com/office/drawing/2014/main" id="{8A02CD10-8E56-46CB-877E-60A43357786F}"/>
              </a:ext>
            </a:extLst>
          </p:cNvPr>
          <p:cNvSpPr/>
          <p:nvPr/>
        </p:nvSpPr>
        <p:spPr>
          <a:xfrm>
            <a:off x="5758490" y="1366024"/>
            <a:ext cx="138113" cy="138113"/>
          </a:xfrm>
          <a:prstGeom prst="diamond">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7" name="Diamond 36">
            <a:extLst>
              <a:ext uri="{FF2B5EF4-FFF2-40B4-BE49-F238E27FC236}">
                <a16:creationId xmlns:a16="http://schemas.microsoft.com/office/drawing/2014/main" id="{8A02CD10-8E56-46CB-877E-60A43357786F}"/>
              </a:ext>
            </a:extLst>
          </p:cNvPr>
          <p:cNvSpPr/>
          <p:nvPr/>
        </p:nvSpPr>
        <p:spPr>
          <a:xfrm>
            <a:off x="6491287" y="1366024"/>
            <a:ext cx="138113" cy="138113"/>
          </a:xfrm>
          <a:prstGeom prst="diamond">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8" name="Diamond 37">
            <a:extLst>
              <a:ext uri="{FF2B5EF4-FFF2-40B4-BE49-F238E27FC236}">
                <a16:creationId xmlns:a16="http://schemas.microsoft.com/office/drawing/2014/main" id="{8A02CD10-8E56-46CB-877E-60A43357786F}"/>
              </a:ext>
            </a:extLst>
          </p:cNvPr>
          <p:cNvSpPr/>
          <p:nvPr/>
        </p:nvSpPr>
        <p:spPr>
          <a:xfrm>
            <a:off x="7010400" y="1366024"/>
            <a:ext cx="138113" cy="138113"/>
          </a:xfrm>
          <a:prstGeom prst="diamond">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9" name="Diamond 38">
            <a:extLst>
              <a:ext uri="{FF2B5EF4-FFF2-40B4-BE49-F238E27FC236}">
                <a16:creationId xmlns:a16="http://schemas.microsoft.com/office/drawing/2014/main" id="{8A02CD10-8E56-46CB-877E-60A43357786F}"/>
              </a:ext>
            </a:extLst>
          </p:cNvPr>
          <p:cNvSpPr/>
          <p:nvPr/>
        </p:nvSpPr>
        <p:spPr>
          <a:xfrm>
            <a:off x="7467600" y="1366024"/>
            <a:ext cx="138113" cy="138113"/>
          </a:xfrm>
          <a:prstGeom prst="diamond">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4" name="Rectangle 53">
            <a:extLst>
              <a:ext uri="{FF2B5EF4-FFF2-40B4-BE49-F238E27FC236}">
                <a16:creationId xmlns:a16="http://schemas.microsoft.com/office/drawing/2014/main" id="{DDA6647F-C75D-40C3-9816-1317E4A71FC3}"/>
              </a:ext>
            </a:extLst>
          </p:cNvPr>
          <p:cNvSpPr/>
          <p:nvPr/>
        </p:nvSpPr>
        <p:spPr>
          <a:xfrm>
            <a:off x="6629400" y="2128990"/>
            <a:ext cx="755335" cy="184666"/>
          </a:xfrm>
          <a:prstGeom prst="rect">
            <a:avLst/>
          </a:prstGeom>
        </p:spPr>
        <p:txBody>
          <a:bodyPr wrap="non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Arial" panose="020B0604020202020204"/>
                <a:ea typeface="+mn-ea"/>
                <a:cs typeface="+mn-cs"/>
              </a:rPr>
              <a:t>Train the Trainer</a:t>
            </a:r>
          </a:p>
        </p:txBody>
      </p:sp>
      <p:sp>
        <p:nvSpPr>
          <p:cNvPr id="60" name="Rectangle 59">
            <a:extLst>
              <a:ext uri="{FF2B5EF4-FFF2-40B4-BE49-F238E27FC236}">
                <a16:creationId xmlns:a16="http://schemas.microsoft.com/office/drawing/2014/main" id="{DDA6647F-C75D-40C3-9816-1317E4A71FC3}"/>
              </a:ext>
            </a:extLst>
          </p:cNvPr>
          <p:cNvSpPr/>
          <p:nvPr/>
        </p:nvSpPr>
        <p:spPr>
          <a:xfrm>
            <a:off x="7509780" y="1572474"/>
            <a:ext cx="817853" cy="276999"/>
          </a:xfrm>
          <a:prstGeom prst="rect">
            <a:avLst/>
          </a:prstGeom>
        </p:spPr>
        <p:txBody>
          <a:bodyPr wrap="non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Arial" panose="020B0604020202020204"/>
                <a:ea typeface="+mn-ea"/>
                <a:cs typeface="+mn-cs"/>
              </a:rPr>
              <a:t>Checkpoint</a:t>
            </a:r>
            <a:r>
              <a:rPr kumimoji="0" lang="en-US" sz="600" b="0" i="0" u="none" strike="noStrike" kern="1200" cap="none" spc="0" normalizeH="0" noProof="0">
                <a:ln>
                  <a:noFill/>
                </a:ln>
                <a:solidFill>
                  <a:srgbClr val="000000"/>
                </a:solidFill>
                <a:effectLst/>
                <a:uLnTx/>
                <a:uFillTx/>
                <a:latin typeface="Arial" panose="020B0604020202020204"/>
                <a:ea typeface="+mn-ea"/>
                <a:cs typeface="+mn-cs"/>
              </a:rPr>
              <a:t> 4</a:t>
            </a:r>
          </a:p>
          <a:p>
            <a:pPr marL="0" marR="0" lvl="0" indent="0" algn="l" defTabSz="685800" rtl="0" eaLnBrk="1" fontAlgn="auto" latinLnBrk="0" hangingPunct="1">
              <a:lnSpc>
                <a:spcPct val="100000"/>
              </a:lnSpc>
              <a:spcBef>
                <a:spcPts val="0"/>
              </a:spcBef>
              <a:spcAft>
                <a:spcPts val="0"/>
              </a:spcAft>
              <a:buClrTx/>
              <a:buSzTx/>
              <a:buFontTx/>
              <a:buNone/>
              <a:tabLst/>
              <a:defRPr/>
            </a:pPr>
            <a:r>
              <a:rPr lang="en-US" sz="600" baseline="0">
                <a:solidFill>
                  <a:srgbClr val="000000"/>
                </a:solidFill>
                <a:latin typeface="Arial" panose="020B0604020202020204"/>
              </a:rPr>
              <a:t>Go-live</a:t>
            </a:r>
            <a:r>
              <a:rPr lang="en-US" sz="600">
                <a:solidFill>
                  <a:srgbClr val="000000"/>
                </a:solidFill>
                <a:latin typeface="Arial" panose="020B0604020202020204"/>
              </a:rPr>
              <a:t> Readiness</a:t>
            </a:r>
            <a:endParaRPr kumimoji="0" lang="en-US" sz="6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2" name="Diamond 61">
            <a:extLst>
              <a:ext uri="{FF2B5EF4-FFF2-40B4-BE49-F238E27FC236}">
                <a16:creationId xmlns:a16="http://schemas.microsoft.com/office/drawing/2014/main" id="{8A02CD10-8E56-46CB-877E-60A43357786F}"/>
              </a:ext>
            </a:extLst>
          </p:cNvPr>
          <p:cNvSpPr/>
          <p:nvPr/>
        </p:nvSpPr>
        <p:spPr>
          <a:xfrm>
            <a:off x="7467600" y="1641917"/>
            <a:ext cx="138113" cy="138113"/>
          </a:xfrm>
          <a:prstGeom prst="diamond">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4" name="Rectangle 63">
            <a:extLst>
              <a:ext uri="{FF2B5EF4-FFF2-40B4-BE49-F238E27FC236}">
                <a16:creationId xmlns:a16="http://schemas.microsoft.com/office/drawing/2014/main" id="{DDA6647F-C75D-40C3-9816-1317E4A71FC3}"/>
              </a:ext>
            </a:extLst>
          </p:cNvPr>
          <p:cNvSpPr/>
          <p:nvPr/>
        </p:nvSpPr>
        <p:spPr>
          <a:xfrm>
            <a:off x="8770289" y="1551904"/>
            <a:ext cx="691215" cy="276999"/>
          </a:xfrm>
          <a:prstGeom prst="rect">
            <a:avLst/>
          </a:prstGeom>
        </p:spPr>
        <p:txBody>
          <a:bodyPr wrap="non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Arial" panose="020B0604020202020204"/>
                <a:ea typeface="+mn-ea"/>
                <a:cs typeface="+mn-cs"/>
              </a:rPr>
              <a:t>Checkpoint</a:t>
            </a:r>
            <a:r>
              <a:rPr kumimoji="0" lang="en-US" sz="600" b="0" i="0" u="none" strike="noStrike" kern="1200" cap="none" spc="0" normalizeH="0" noProof="0">
                <a:ln>
                  <a:noFill/>
                </a:ln>
                <a:solidFill>
                  <a:srgbClr val="000000"/>
                </a:solidFill>
                <a:effectLst/>
                <a:uLnTx/>
                <a:uFillTx/>
                <a:latin typeface="Arial" panose="020B0604020202020204"/>
                <a:ea typeface="+mn-ea"/>
                <a:cs typeface="+mn-cs"/>
              </a:rPr>
              <a:t> 5</a:t>
            </a:r>
          </a:p>
          <a:p>
            <a:pPr marL="0" marR="0" lvl="0" indent="0" algn="l" defTabSz="685800" rtl="0" eaLnBrk="1" fontAlgn="auto" latinLnBrk="0" hangingPunct="1">
              <a:lnSpc>
                <a:spcPct val="100000"/>
              </a:lnSpc>
              <a:spcBef>
                <a:spcPts val="0"/>
              </a:spcBef>
              <a:spcAft>
                <a:spcPts val="0"/>
              </a:spcAft>
              <a:buClrTx/>
              <a:buSzTx/>
              <a:buFontTx/>
              <a:buNone/>
              <a:tabLst/>
              <a:defRPr/>
            </a:pPr>
            <a:r>
              <a:rPr lang="en-US" sz="600" baseline="0" err="1">
                <a:solidFill>
                  <a:srgbClr val="000000"/>
                </a:solidFill>
                <a:latin typeface="Arial" panose="020B0604020202020204"/>
              </a:rPr>
              <a:t>Hypercare</a:t>
            </a:r>
            <a:r>
              <a:rPr lang="en-US" sz="600" baseline="0">
                <a:solidFill>
                  <a:srgbClr val="000000"/>
                </a:solidFill>
                <a:latin typeface="Arial" panose="020B0604020202020204"/>
              </a:rPr>
              <a:t> Exit</a:t>
            </a:r>
            <a:endParaRPr kumimoji="0" lang="en-US" sz="6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5" name="Diamond 64">
            <a:extLst>
              <a:ext uri="{FF2B5EF4-FFF2-40B4-BE49-F238E27FC236}">
                <a16:creationId xmlns:a16="http://schemas.microsoft.com/office/drawing/2014/main" id="{8A02CD10-8E56-46CB-877E-60A43357786F}"/>
              </a:ext>
            </a:extLst>
          </p:cNvPr>
          <p:cNvSpPr/>
          <p:nvPr/>
        </p:nvSpPr>
        <p:spPr>
          <a:xfrm>
            <a:off x="8728663" y="1629280"/>
            <a:ext cx="138113" cy="138113"/>
          </a:xfrm>
          <a:prstGeom prst="diamond">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9" name="Rectangle 68">
            <a:extLst>
              <a:ext uri="{FF2B5EF4-FFF2-40B4-BE49-F238E27FC236}">
                <a16:creationId xmlns:a16="http://schemas.microsoft.com/office/drawing/2014/main" id="{DDA6647F-C75D-40C3-9816-1317E4A71FC3}"/>
              </a:ext>
            </a:extLst>
          </p:cNvPr>
          <p:cNvSpPr/>
          <p:nvPr/>
        </p:nvSpPr>
        <p:spPr>
          <a:xfrm>
            <a:off x="6629400" y="3482143"/>
            <a:ext cx="849913" cy="184666"/>
          </a:xfrm>
          <a:prstGeom prst="rect">
            <a:avLst/>
          </a:prstGeom>
        </p:spPr>
        <p:txBody>
          <a:bodyPr wrap="none" anchor="ctr">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600">
                <a:solidFill>
                  <a:srgbClr val="000000"/>
                </a:solidFill>
                <a:latin typeface="Arial" panose="020B0604020202020204"/>
              </a:rPr>
              <a:t>Roll-out Local </a:t>
            </a:r>
            <a:r>
              <a:rPr kumimoji="0" lang="en-US" sz="600" b="0" i="0" u="none" strike="noStrike" kern="1200" cap="none" spc="0" normalizeH="0" baseline="0" noProof="0">
                <a:ln>
                  <a:noFill/>
                </a:ln>
                <a:solidFill>
                  <a:srgbClr val="000000"/>
                </a:solidFill>
                <a:effectLst/>
                <a:uLnTx/>
                <a:uFillTx/>
                <a:latin typeface="Arial" panose="020B0604020202020204"/>
                <a:ea typeface="+mn-ea"/>
                <a:cs typeface="+mn-cs"/>
              </a:rPr>
              <a:t>Test</a:t>
            </a:r>
            <a:r>
              <a:rPr kumimoji="0" lang="en-US" sz="600" b="0" i="0" u="none" strike="noStrike" kern="1200" cap="none" spc="0" normalizeH="0" noProof="0">
                <a:ln>
                  <a:noFill/>
                </a:ln>
                <a:solidFill>
                  <a:srgbClr val="000000"/>
                </a:solidFill>
                <a:effectLst/>
                <a:uLnTx/>
                <a:uFillTx/>
                <a:latin typeface="Arial" panose="020B0604020202020204"/>
                <a:ea typeface="+mn-ea"/>
                <a:cs typeface="+mn-cs"/>
              </a:rPr>
              <a:t> </a:t>
            </a:r>
            <a:endParaRPr kumimoji="0" lang="en-US" sz="600" b="0" i="0" u="none" strike="noStrike" kern="1200" cap="none" spc="0" normalizeH="0" baseline="0" noProof="0">
              <a:ln>
                <a:noFill/>
              </a:ln>
              <a:solidFill>
                <a:srgbClr val="000000"/>
              </a:solidFill>
              <a:effectLst/>
              <a:uLnTx/>
              <a:uFillTx/>
              <a:latin typeface="Arial" panose="020B0604020202020204"/>
              <a:ea typeface="+mn-ea"/>
              <a:cs typeface="+mn-cs"/>
            </a:endParaRPr>
          </a:p>
        </p:txBody>
      </p:sp>
      <p:pic>
        <p:nvPicPr>
          <p:cNvPr id="83" name="Picture 82"/>
          <p:cNvPicPr>
            <a:picLocks/>
          </p:cNvPicPr>
          <p:nvPr/>
        </p:nvPicPr>
        <p:blipFill>
          <a:blip r:embed="rId10"/>
          <a:stretch>
            <a:fillRect/>
          </a:stretch>
        </p:blipFill>
        <p:spPr>
          <a:xfrm>
            <a:off x="8379801" y="3982010"/>
            <a:ext cx="486975" cy="118800"/>
          </a:xfrm>
          <a:prstGeom prst="rect">
            <a:avLst/>
          </a:prstGeom>
        </p:spPr>
      </p:pic>
      <p:sp>
        <p:nvSpPr>
          <p:cNvPr id="84" name="Diamond 83">
            <a:extLst>
              <a:ext uri="{FF2B5EF4-FFF2-40B4-BE49-F238E27FC236}">
                <a16:creationId xmlns:a16="http://schemas.microsoft.com/office/drawing/2014/main" id="{8A02CD10-8E56-46CB-877E-60A43357786F}"/>
              </a:ext>
            </a:extLst>
          </p:cNvPr>
          <p:cNvSpPr/>
          <p:nvPr/>
        </p:nvSpPr>
        <p:spPr>
          <a:xfrm>
            <a:off x="8794768" y="3982011"/>
            <a:ext cx="144016" cy="138113"/>
          </a:xfrm>
          <a:prstGeom prst="diamond">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5" name="Rectangle 84">
            <a:extLst>
              <a:ext uri="{FF2B5EF4-FFF2-40B4-BE49-F238E27FC236}">
                <a16:creationId xmlns:a16="http://schemas.microsoft.com/office/drawing/2014/main" id="{DDA6647F-C75D-40C3-9816-1317E4A71FC3}"/>
              </a:ext>
            </a:extLst>
          </p:cNvPr>
          <p:cNvSpPr/>
          <p:nvPr/>
        </p:nvSpPr>
        <p:spPr>
          <a:xfrm>
            <a:off x="8333064" y="4069355"/>
            <a:ext cx="542136" cy="184666"/>
          </a:xfrm>
          <a:prstGeom prst="rect">
            <a:avLst/>
          </a:prstGeom>
        </p:spPr>
        <p:txBody>
          <a:bodyPr wrap="none" anchor="ctr">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600" err="1">
                <a:solidFill>
                  <a:srgbClr val="000000"/>
                </a:solidFill>
                <a:latin typeface="Arial" panose="020B0604020202020204"/>
              </a:rPr>
              <a:t>Hypercare</a:t>
            </a:r>
            <a:endParaRPr kumimoji="0" lang="en-US" sz="6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6" name="Rectangle 85">
            <a:extLst>
              <a:ext uri="{FF2B5EF4-FFF2-40B4-BE49-F238E27FC236}">
                <a16:creationId xmlns:a16="http://schemas.microsoft.com/office/drawing/2014/main" id="{DDA6647F-C75D-40C3-9816-1317E4A71FC3}"/>
              </a:ext>
            </a:extLst>
          </p:cNvPr>
          <p:cNvSpPr/>
          <p:nvPr/>
        </p:nvSpPr>
        <p:spPr>
          <a:xfrm>
            <a:off x="7586073" y="3836325"/>
            <a:ext cx="896524" cy="184666"/>
          </a:xfrm>
          <a:prstGeom prst="rect">
            <a:avLst/>
          </a:prstGeom>
        </p:spPr>
        <p:txBody>
          <a:bodyPr wrap="square" anchor="ctr">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600">
                <a:solidFill>
                  <a:srgbClr val="000000"/>
                </a:solidFill>
                <a:latin typeface="Arial" panose="020B0604020202020204"/>
              </a:rPr>
              <a:t>Production Cutover</a:t>
            </a:r>
            <a:endParaRPr kumimoji="0" lang="en-US" sz="600" b="0" i="0" u="none" strike="noStrike" kern="1200" cap="none" spc="0" normalizeH="0" baseline="0" noProof="0">
              <a:ln>
                <a:noFill/>
              </a:ln>
              <a:solidFill>
                <a:srgbClr val="000000"/>
              </a:solidFill>
              <a:effectLst/>
              <a:uLnTx/>
              <a:uFillTx/>
              <a:latin typeface="Arial" panose="020B0604020202020204"/>
              <a:ea typeface="+mn-ea"/>
              <a:cs typeface="+mn-cs"/>
            </a:endParaRPr>
          </a:p>
        </p:txBody>
      </p:sp>
      <p:pic>
        <p:nvPicPr>
          <p:cNvPr id="105" name="Picture 104"/>
          <p:cNvPicPr preferRelativeResize="0">
            <a:picLocks/>
          </p:cNvPicPr>
          <p:nvPr/>
        </p:nvPicPr>
        <p:blipFill>
          <a:blip r:embed="rId10"/>
          <a:stretch>
            <a:fillRect/>
          </a:stretch>
        </p:blipFill>
        <p:spPr>
          <a:xfrm>
            <a:off x="2892210" y="2536588"/>
            <a:ext cx="2945223" cy="122086"/>
          </a:xfrm>
          <a:prstGeom prst="rect">
            <a:avLst/>
          </a:prstGeom>
        </p:spPr>
      </p:pic>
      <p:pic>
        <p:nvPicPr>
          <p:cNvPr id="108" name="Picture 107"/>
          <p:cNvPicPr preferRelativeResize="0">
            <a:picLocks/>
          </p:cNvPicPr>
          <p:nvPr/>
        </p:nvPicPr>
        <p:blipFill>
          <a:blip r:embed="rId10"/>
          <a:stretch>
            <a:fillRect/>
          </a:stretch>
        </p:blipFill>
        <p:spPr>
          <a:xfrm>
            <a:off x="2889545" y="2818358"/>
            <a:ext cx="2945223" cy="122086"/>
          </a:xfrm>
          <a:prstGeom prst="rect">
            <a:avLst/>
          </a:prstGeom>
        </p:spPr>
      </p:pic>
      <p:sp>
        <p:nvSpPr>
          <p:cNvPr id="110" name="Rectangle 109">
            <a:extLst>
              <a:ext uri="{FF2B5EF4-FFF2-40B4-BE49-F238E27FC236}">
                <a16:creationId xmlns:a16="http://schemas.microsoft.com/office/drawing/2014/main" id="{DDA6647F-C75D-40C3-9816-1317E4A71FC3}"/>
              </a:ext>
            </a:extLst>
          </p:cNvPr>
          <p:cNvSpPr/>
          <p:nvPr/>
        </p:nvSpPr>
        <p:spPr>
          <a:xfrm>
            <a:off x="5794934" y="1565090"/>
            <a:ext cx="1291666" cy="184666"/>
          </a:xfrm>
          <a:prstGeom prst="rect">
            <a:avLst/>
          </a:prstGeom>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Arial" panose="020B0604020202020204"/>
                <a:ea typeface="+mn-ea"/>
                <a:cs typeface="+mn-cs"/>
              </a:rPr>
              <a:t>Checkpoint</a:t>
            </a:r>
            <a:r>
              <a:rPr kumimoji="0" lang="en-US" sz="600" b="0" i="0" u="none" strike="noStrike" kern="1200" cap="none" spc="0" normalizeH="0" noProof="0">
                <a:ln>
                  <a:noFill/>
                </a:ln>
                <a:solidFill>
                  <a:srgbClr val="000000"/>
                </a:solidFill>
                <a:effectLst/>
                <a:uLnTx/>
                <a:uFillTx/>
                <a:latin typeface="Arial" panose="020B0604020202020204"/>
                <a:ea typeface="+mn-ea"/>
                <a:cs typeface="+mn-cs"/>
              </a:rPr>
              <a:t> 3: </a:t>
            </a:r>
            <a:r>
              <a:rPr lang="en-GB" sz="600" noProof="0">
                <a:solidFill>
                  <a:srgbClr val="000000"/>
                </a:solidFill>
                <a:latin typeface="Arial" panose="020B0604020202020204"/>
              </a:rPr>
              <a:t>Entry to Testing</a:t>
            </a:r>
            <a:endParaRPr kumimoji="0" lang="en-US" sz="6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1" name="Diamond 110">
            <a:extLst>
              <a:ext uri="{FF2B5EF4-FFF2-40B4-BE49-F238E27FC236}">
                <a16:creationId xmlns:a16="http://schemas.microsoft.com/office/drawing/2014/main" id="{8A02CD10-8E56-46CB-877E-60A43357786F}"/>
              </a:ext>
            </a:extLst>
          </p:cNvPr>
          <p:cNvSpPr/>
          <p:nvPr/>
        </p:nvSpPr>
        <p:spPr>
          <a:xfrm>
            <a:off x="5758490" y="1634533"/>
            <a:ext cx="138113" cy="138113"/>
          </a:xfrm>
          <a:prstGeom prst="diamond">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2" name="Rectangle 111">
            <a:extLst>
              <a:ext uri="{FF2B5EF4-FFF2-40B4-BE49-F238E27FC236}">
                <a16:creationId xmlns:a16="http://schemas.microsoft.com/office/drawing/2014/main" id="{DDA6647F-C75D-40C3-9816-1317E4A71FC3}"/>
              </a:ext>
            </a:extLst>
          </p:cNvPr>
          <p:cNvSpPr/>
          <p:nvPr/>
        </p:nvSpPr>
        <p:spPr>
          <a:xfrm>
            <a:off x="3394980" y="1581150"/>
            <a:ext cx="1710639" cy="276999"/>
          </a:xfrm>
          <a:prstGeom prst="rect">
            <a:avLst/>
          </a:prstGeom>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Arial" panose="020B0604020202020204"/>
                <a:ea typeface="+mn-ea"/>
                <a:cs typeface="+mn-cs"/>
              </a:rPr>
              <a:t>Checkpoint</a:t>
            </a:r>
            <a:r>
              <a:rPr kumimoji="0" lang="en-US" sz="600" b="0" i="0" u="none" strike="noStrike" kern="1200" cap="none" spc="0" normalizeH="0" noProof="0">
                <a:ln>
                  <a:noFill/>
                </a:ln>
                <a:solidFill>
                  <a:srgbClr val="000000"/>
                </a:solidFill>
                <a:effectLst/>
                <a:uLnTx/>
                <a:uFillTx/>
                <a:latin typeface="Arial" panose="020B0604020202020204"/>
                <a:ea typeface="+mn-ea"/>
                <a:cs typeface="+mn-cs"/>
              </a:rPr>
              <a:t> 2: </a:t>
            </a:r>
          </a:p>
          <a:p>
            <a:pPr marL="0" marR="0" lvl="0" indent="0" algn="l" defTabSz="685800" rtl="0" eaLnBrk="1" fontAlgn="auto" latinLnBrk="0" hangingPunct="1">
              <a:lnSpc>
                <a:spcPct val="100000"/>
              </a:lnSpc>
              <a:spcBef>
                <a:spcPts val="0"/>
              </a:spcBef>
              <a:spcAft>
                <a:spcPts val="0"/>
              </a:spcAft>
              <a:buClrTx/>
              <a:buSzTx/>
              <a:buFontTx/>
              <a:buNone/>
              <a:tabLst/>
              <a:defRPr/>
            </a:pPr>
            <a:r>
              <a:rPr lang="en-US" sz="600" baseline="0">
                <a:solidFill>
                  <a:srgbClr val="000000"/>
                </a:solidFill>
                <a:latin typeface="Arial" panose="020B0604020202020204"/>
              </a:rPr>
              <a:t>Roll-out Preparation</a:t>
            </a:r>
            <a:endParaRPr kumimoji="0" lang="en-US" sz="6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3" name="Diamond 112">
            <a:extLst>
              <a:ext uri="{FF2B5EF4-FFF2-40B4-BE49-F238E27FC236}">
                <a16:creationId xmlns:a16="http://schemas.microsoft.com/office/drawing/2014/main" id="{8A02CD10-8E56-46CB-877E-60A43357786F}"/>
              </a:ext>
            </a:extLst>
          </p:cNvPr>
          <p:cNvSpPr/>
          <p:nvPr/>
        </p:nvSpPr>
        <p:spPr>
          <a:xfrm>
            <a:off x="3352800" y="1611874"/>
            <a:ext cx="138113" cy="138113"/>
          </a:xfrm>
          <a:prstGeom prst="diamond">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4" name="Rectangle 113">
            <a:extLst>
              <a:ext uri="{FF2B5EF4-FFF2-40B4-BE49-F238E27FC236}">
                <a16:creationId xmlns:a16="http://schemas.microsoft.com/office/drawing/2014/main" id="{DDA6647F-C75D-40C3-9816-1317E4A71FC3}"/>
              </a:ext>
            </a:extLst>
          </p:cNvPr>
          <p:cNvSpPr/>
          <p:nvPr/>
        </p:nvSpPr>
        <p:spPr>
          <a:xfrm>
            <a:off x="2071489" y="1548697"/>
            <a:ext cx="731290" cy="276999"/>
          </a:xfrm>
          <a:prstGeom prst="rect">
            <a:avLst/>
          </a:prstGeom>
        </p:spPr>
        <p:txBody>
          <a:bodyPr wrap="non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Arial" panose="020B0604020202020204"/>
                <a:ea typeface="+mn-ea"/>
                <a:cs typeface="+mn-cs"/>
              </a:rPr>
              <a:t>Checkpoint</a:t>
            </a:r>
            <a:r>
              <a:rPr kumimoji="0" lang="en-US" sz="600" b="0" i="0" u="none" strike="noStrike" kern="1200" cap="none" spc="0" normalizeH="0" noProof="0">
                <a:ln>
                  <a:noFill/>
                </a:ln>
                <a:solidFill>
                  <a:srgbClr val="000000"/>
                </a:solidFill>
                <a:effectLst/>
                <a:uLnTx/>
                <a:uFillTx/>
                <a:latin typeface="Arial" panose="020B0604020202020204"/>
                <a:ea typeface="+mn-ea"/>
                <a:cs typeface="+mn-cs"/>
              </a:rPr>
              <a:t> 1: </a:t>
            </a:r>
          </a:p>
          <a:p>
            <a:pPr marL="0" marR="0" lvl="0" indent="0" algn="l" defTabSz="685800" rtl="0" eaLnBrk="1" fontAlgn="auto" latinLnBrk="0" hangingPunct="1">
              <a:lnSpc>
                <a:spcPct val="100000"/>
              </a:lnSpc>
              <a:spcBef>
                <a:spcPts val="0"/>
              </a:spcBef>
              <a:spcAft>
                <a:spcPts val="0"/>
              </a:spcAft>
              <a:buClrTx/>
              <a:buSzTx/>
              <a:buFontTx/>
              <a:buNone/>
              <a:tabLst/>
              <a:defRPr/>
            </a:pPr>
            <a:r>
              <a:rPr lang="en-US" sz="600">
                <a:solidFill>
                  <a:srgbClr val="000000"/>
                </a:solidFill>
                <a:latin typeface="Arial" panose="020B0604020202020204"/>
              </a:rPr>
              <a:t>Roll-out</a:t>
            </a:r>
            <a:r>
              <a:rPr lang="en-US" sz="600" baseline="0">
                <a:solidFill>
                  <a:srgbClr val="000000"/>
                </a:solidFill>
                <a:latin typeface="Arial" panose="020B0604020202020204"/>
              </a:rPr>
              <a:t> Charter</a:t>
            </a:r>
            <a:endParaRPr kumimoji="0" lang="en-US" sz="6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5" name="Diamond 114">
            <a:extLst>
              <a:ext uri="{FF2B5EF4-FFF2-40B4-BE49-F238E27FC236}">
                <a16:creationId xmlns:a16="http://schemas.microsoft.com/office/drawing/2014/main" id="{8A02CD10-8E56-46CB-877E-60A43357786F}"/>
              </a:ext>
            </a:extLst>
          </p:cNvPr>
          <p:cNvSpPr/>
          <p:nvPr/>
        </p:nvSpPr>
        <p:spPr>
          <a:xfrm>
            <a:off x="2019300" y="1581417"/>
            <a:ext cx="138113" cy="138113"/>
          </a:xfrm>
          <a:prstGeom prst="diamond">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18" name="Picture 117"/>
          <p:cNvPicPr preferRelativeResize="0">
            <a:picLocks/>
          </p:cNvPicPr>
          <p:nvPr/>
        </p:nvPicPr>
        <p:blipFill>
          <a:blip r:embed="rId10"/>
          <a:stretch>
            <a:fillRect/>
          </a:stretch>
        </p:blipFill>
        <p:spPr>
          <a:xfrm>
            <a:off x="2895600" y="3088451"/>
            <a:ext cx="2945223" cy="122086"/>
          </a:xfrm>
          <a:prstGeom prst="rect">
            <a:avLst/>
          </a:prstGeom>
        </p:spPr>
      </p:pic>
      <p:sp>
        <p:nvSpPr>
          <p:cNvPr id="122" name="Rectangle 121">
            <a:extLst>
              <a:ext uri="{FF2B5EF4-FFF2-40B4-BE49-F238E27FC236}">
                <a16:creationId xmlns:a16="http://schemas.microsoft.com/office/drawing/2014/main" id="{DDA6647F-C75D-40C3-9816-1317E4A71FC3}"/>
              </a:ext>
            </a:extLst>
          </p:cNvPr>
          <p:cNvSpPr/>
          <p:nvPr/>
        </p:nvSpPr>
        <p:spPr>
          <a:xfrm>
            <a:off x="1452064" y="1341751"/>
            <a:ext cx="821059" cy="184666"/>
          </a:xfrm>
          <a:prstGeom prst="rect">
            <a:avLst/>
          </a:prstGeom>
        </p:spPr>
        <p:txBody>
          <a:bodyPr wrap="non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Arial" panose="020B0604020202020204"/>
                <a:ea typeface="+mn-ea"/>
                <a:cs typeface="+mn-cs"/>
              </a:rPr>
              <a:t>Roll-out Workshop</a:t>
            </a:r>
          </a:p>
        </p:txBody>
      </p:sp>
      <p:sp>
        <p:nvSpPr>
          <p:cNvPr id="124" name="Rectangle 123">
            <a:extLst>
              <a:ext uri="{FF2B5EF4-FFF2-40B4-BE49-F238E27FC236}">
                <a16:creationId xmlns:a16="http://schemas.microsoft.com/office/drawing/2014/main" id="{DDA6647F-C75D-40C3-9816-1317E4A71FC3}"/>
              </a:ext>
            </a:extLst>
          </p:cNvPr>
          <p:cNvSpPr/>
          <p:nvPr/>
        </p:nvSpPr>
        <p:spPr>
          <a:xfrm>
            <a:off x="1159884" y="2032388"/>
            <a:ext cx="671979" cy="184666"/>
          </a:xfrm>
          <a:prstGeom prst="rect">
            <a:avLst/>
          </a:prstGeom>
        </p:spPr>
        <p:txBody>
          <a:bodyPr wrap="non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600">
                <a:solidFill>
                  <a:srgbClr val="000000"/>
                </a:solidFill>
                <a:latin typeface="Arial" panose="020B0604020202020204"/>
              </a:rPr>
              <a:t>CC&amp;T Kick-off</a:t>
            </a:r>
            <a:endParaRPr kumimoji="0" lang="en-US" sz="6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30" name="Rectangle 129">
            <a:extLst>
              <a:ext uri="{FF2B5EF4-FFF2-40B4-BE49-F238E27FC236}">
                <a16:creationId xmlns:a16="http://schemas.microsoft.com/office/drawing/2014/main" id="{DDA6647F-C75D-40C3-9816-1317E4A71FC3}"/>
              </a:ext>
            </a:extLst>
          </p:cNvPr>
          <p:cNvSpPr/>
          <p:nvPr/>
        </p:nvSpPr>
        <p:spPr>
          <a:xfrm>
            <a:off x="7572390" y="2027793"/>
            <a:ext cx="817853" cy="184666"/>
          </a:xfrm>
          <a:prstGeom prst="rect">
            <a:avLst/>
          </a:prstGeom>
        </p:spPr>
        <p:txBody>
          <a:bodyPr wrap="non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Arial" panose="020B0604020202020204"/>
                <a:ea typeface="+mn-ea"/>
                <a:cs typeface="+mn-cs"/>
              </a:rPr>
              <a:t>Go-live Readiness</a:t>
            </a:r>
          </a:p>
        </p:txBody>
      </p:sp>
      <p:sp>
        <p:nvSpPr>
          <p:cNvPr id="144" name="Rectangle 143"/>
          <p:cNvSpPr/>
          <p:nvPr/>
        </p:nvSpPr>
        <p:spPr>
          <a:xfrm>
            <a:off x="1675624" y="1886800"/>
            <a:ext cx="1645920" cy="1188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a:p>
        </p:txBody>
      </p:sp>
      <p:sp>
        <p:nvSpPr>
          <p:cNvPr id="146" name="Rectangle 145"/>
          <p:cNvSpPr/>
          <p:nvPr/>
        </p:nvSpPr>
        <p:spPr>
          <a:xfrm>
            <a:off x="7636057" y="1964239"/>
            <a:ext cx="690518" cy="120037"/>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a:p>
        </p:txBody>
      </p:sp>
      <p:sp>
        <p:nvSpPr>
          <p:cNvPr id="148" name="Rectangle 147"/>
          <p:cNvSpPr/>
          <p:nvPr/>
        </p:nvSpPr>
        <p:spPr>
          <a:xfrm>
            <a:off x="7403130" y="2320537"/>
            <a:ext cx="914400" cy="12815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a:p>
        </p:txBody>
      </p:sp>
      <p:sp>
        <p:nvSpPr>
          <p:cNvPr id="149" name="Rectangle 148"/>
          <p:cNvSpPr/>
          <p:nvPr/>
        </p:nvSpPr>
        <p:spPr>
          <a:xfrm>
            <a:off x="5728447" y="2145861"/>
            <a:ext cx="960120" cy="12815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a:p>
        </p:txBody>
      </p:sp>
      <p:graphicFrame>
        <p:nvGraphicFramePr>
          <p:cNvPr id="13" name="Table 12"/>
          <p:cNvGraphicFramePr>
            <a:graphicFrameLocks noGrp="1"/>
          </p:cNvGraphicFramePr>
          <p:nvPr/>
        </p:nvGraphicFramePr>
        <p:xfrm>
          <a:off x="1195879" y="1067549"/>
          <a:ext cx="7643328" cy="223733"/>
        </p:xfrm>
        <a:graphic>
          <a:graphicData uri="http://schemas.openxmlformats.org/drawingml/2006/table">
            <a:tbl>
              <a:tblPr firstRow="1" bandRow="1">
                <a:tableStyleId>{1C5780E6-A8F4-46B0-B82D-9E7F56C639EF}</a:tableStyleId>
              </a:tblPr>
              <a:tblGrid>
                <a:gridCol w="238854">
                  <a:extLst>
                    <a:ext uri="{9D8B030D-6E8A-4147-A177-3AD203B41FA5}">
                      <a16:colId xmlns:a16="http://schemas.microsoft.com/office/drawing/2014/main" val="1049920891"/>
                    </a:ext>
                  </a:extLst>
                </a:gridCol>
                <a:gridCol w="238854">
                  <a:extLst>
                    <a:ext uri="{9D8B030D-6E8A-4147-A177-3AD203B41FA5}">
                      <a16:colId xmlns:a16="http://schemas.microsoft.com/office/drawing/2014/main" val="1767444523"/>
                    </a:ext>
                  </a:extLst>
                </a:gridCol>
                <a:gridCol w="238854">
                  <a:extLst>
                    <a:ext uri="{9D8B030D-6E8A-4147-A177-3AD203B41FA5}">
                      <a16:colId xmlns:a16="http://schemas.microsoft.com/office/drawing/2014/main" val="3124257951"/>
                    </a:ext>
                  </a:extLst>
                </a:gridCol>
                <a:gridCol w="238854">
                  <a:extLst>
                    <a:ext uri="{9D8B030D-6E8A-4147-A177-3AD203B41FA5}">
                      <a16:colId xmlns:a16="http://schemas.microsoft.com/office/drawing/2014/main" val="1394367943"/>
                    </a:ext>
                  </a:extLst>
                </a:gridCol>
                <a:gridCol w="238854">
                  <a:extLst>
                    <a:ext uri="{9D8B030D-6E8A-4147-A177-3AD203B41FA5}">
                      <a16:colId xmlns:a16="http://schemas.microsoft.com/office/drawing/2014/main" val="4102003903"/>
                    </a:ext>
                  </a:extLst>
                </a:gridCol>
                <a:gridCol w="238854">
                  <a:extLst>
                    <a:ext uri="{9D8B030D-6E8A-4147-A177-3AD203B41FA5}">
                      <a16:colId xmlns:a16="http://schemas.microsoft.com/office/drawing/2014/main" val="126215580"/>
                    </a:ext>
                  </a:extLst>
                </a:gridCol>
                <a:gridCol w="238854">
                  <a:extLst>
                    <a:ext uri="{9D8B030D-6E8A-4147-A177-3AD203B41FA5}">
                      <a16:colId xmlns:a16="http://schemas.microsoft.com/office/drawing/2014/main" val="4204886600"/>
                    </a:ext>
                  </a:extLst>
                </a:gridCol>
                <a:gridCol w="238854">
                  <a:extLst>
                    <a:ext uri="{9D8B030D-6E8A-4147-A177-3AD203B41FA5}">
                      <a16:colId xmlns:a16="http://schemas.microsoft.com/office/drawing/2014/main" val="3457611662"/>
                    </a:ext>
                  </a:extLst>
                </a:gridCol>
                <a:gridCol w="238854">
                  <a:extLst>
                    <a:ext uri="{9D8B030D-6E8A-4147-A177-3AD203B41FA5}">
                      <a16:colId xmlns:a16="http://schemas.microsoft.com/office/drawing/2014/main" val="2550532955"/>
                    </a:ext>
                  </a:extLst>
                </a:gridCol>
                <a:gridCol w="238854">
                  <a:extLst>
                    <a:ext uri="{9D8B030D-6E8A-4147-A177-3AD203B41FA5}">
                      <a16:colId xmlns:a16="http://schemas.microsoft.com/office/drawing/2014/main" val="4089327667"/>
                    </a:ext>
                  </a:extLst>
                </a:gridCol>
                <a:gridCol w="238854">
                  <a:extLst>
                    <a:ext uri="{9D8B030D-6E8A-4147-A177-3AD203B41FA5}">
                      <a16:colId xmlns:a16="http://schemas.microsoft.com/office/drawing/2014/main" val="3500817962"/>
                    </a:ext>
                  </a:extLst>
                </a:gridCol>
                <a:gridCol w="238854">
                  <a:extLst>
                    <a:ext uri="{9D8B030D-6E8A-4147-A177-3AD203B41FA5}">
                      <a16:colId xmlns:a16="http://schemas.microsoft.com/office/drawing/2014/main" val="1031313218"/>
                    </a:ext>
                  </a:extLst>
                </a:gridCol>
                <a:gridCol w="238854">
                  <a:extLst>
                    <a:ext uri="{9D8B030D-6E8A-4147-A177-3AD203B41FA5}">
                      <a16:colId xmlns:a16="http://schemas.microsoft.com/office/drawing/2014/main" val="3554031031"/>
                    </a:ext>
                  </a:extLst>
                </a:gridCol>
                <a:gridCol w="238854">
                  <a:extLst>
                    <a:ext uri="{9D8B030D-6E8A-4147-A177-3AD203B41FA5}">
                      <a16:colId xmlns:a16="http://schemas.microsoft.com/office/drawing/2014/main" val="4216868036"/>
                    </a:ext>
                  </a:extLst>
                </a:gridCol>
                <a:gridCol w="238854">
                  <a:extLst>
                    <a:ext uri="{9D8B030D-6E8A-4147-A177-3AD203B41FA5}">
                      <a16:colId xmlns:a16="http://schemas.microsoft.com/office/drawing/2014/main" val="1153015964"/>
                    </a:ext>
                  </a:extLst>
                </a:gridCol>
                <a:gridCol w="238854">
                  <a:extLst>
                    <a:ext uri="{9D8B030D-6E8A-4147-A177-3AD203B41FA5}">
                      <a16:colId xmlns:a16="http://schemas.microsoft.com/office/drawing/2014/main" val="3092655901"/>
                    </a:ext>
                  </a:extLst>
                </a:gridCol>
                <a:gridCol w="238854">
                  <a:extLst>
                    <a:ext uri="{9D8B030D-6E8A-4147-A177-3AD203B41FA5}">
                      <a16:colId xmlns:a16="http://schemas.microsoft.com/office/drawing/2014/main" val="843293564"/>
                    </a:ext>
                  </a:extLst>
                </a:gridCol>
                <a:gridCol w="238854">
                  <a:extLst>
                    <a:ext uri="{9D8B030D-6E8A-4147-A177-3AD203B41FA5}">
                      <a16:colId xmlns:a16="http://schemas.microsoft.com/office/drawing/2014/main" val="3680701662"/>
                    </a:ext>
                  </a:extLst>
                </a:gridCol>
                <a:gridCol w="238854">
                  <a:extLst>
                    <a:ext uri="{9D8B030D-6E8A-4147-A177-3AD203B41FA5}">
                      <a16:colId xmlns:a16="http://schemas.microsoft.com/office/drawing/2014/main" val="429890717"/>
                    </a:ext>
                  </a:extLst>
                </a:gridCol>
                <a:gridCol w="238854">
                  <a:extLst>
                    <a:ext uri="{9D8B030D-6E8A-4147-A177-3AD203B41FA5}">
                      <a16:colId xmlns:a16="http://schemas.microsoft.com/office/drawing/2014/main" val="2391882331"/>
                    </a:ext>
                  </a:extLst>
                </a:gridCol>
                <a:gridCol w="238854">
                  <a:extLst>
                    <a:ext uri="{9D8B030D-6E8A-4147-A177-3AD203B41FA5}">
                      <a16:colId xmlns:a16="http://schemas.microsoft.com/office/drawing/2014/main" val="191013700"/>
                    </a:ext>
                  </a:extLst>
                </a:gridCol>
                <a:gridCol w="238854">
                  <a:extLst>
                    <a:ext uri="{9D8B030D-6E8A-4147-A177-3AD203B41FA5}">
                      <a16:colId xmlns:a16="http://schemas.microsoft.com/office/drawing/2014/main" val="3392843669"/>
                    </a:ext>
                  </a:extLst>
                </a:gridCol>
                <a:gridCol w="238854">
                  <a:extLst>
                    <a:ext uri="{9D8B030D-6E8A-4147-A177-3AD203B41FA5}">
                      <a16:colId xmlns:a16="http://schemas.microsoft.com/office/drawing/2014/main" val="3462297469"/>
                    </a:ext>
                  </a:extLst>
                </a:gridCol>
                <a:gridCol w="238854">
                  <a:extLst>
                    <a:ext uri="{9D8B030D-6E8A-4147-A177-3AD203B41FA5}">
                      <a16:colId xmlns:a16="http://schemas.microsoft.com/office/drawing/2014/main" val="3679664873"/>
                    </a:ext>
                  </a:extLst>
                </a:gridCol>
                <a:gridCol w="238854">
                  <a:extLst>
                    <a:ext uri="{9D8B030D-6E8A-4147-A177-3AD203B41FA5}">
                      <a16:colId xmlns:a16="http://schemas.microsoft.com/office/drawing/2014/main" val="127077719"/>
                    </a:ext>
                  </a:extLst>
                </a:gridCol>
                <a:gridCol w="238854">
                  <a:extLst>
                    <a:ext uri="{9D8B030D-6E8A-4147-A177-3AD203B41FA5}">
                      <a16:colId xmlns:a16="http://schemas.microsoft.com/office/drawing/2014/main" val="1685298904"/>
                    </a:ext>
                  </a:extLst>
                </a:gridCol>
                <a:gridCol w="238854">
                  <a:extLst>
                    <a:ext uri="{9D8B030D-6E8A-4147-A177-3AD203B41FA5}">
                      <a16:colId xmlns:a16="http://schemas.microsoft.com/office/drawing/2014/main" val="2564816816"/>
                    </a:ext>
                  </a:extLst>
                </a:gridCol>
                <a:gridCol w="238854">
                  <a:extLst>
                    <a:ext uri="{9D8B030D-6E8A-4147-A177-3AD203B41FA5}">
                      <a16:colId xmlns:a16="http://schemas.microsoft.com/office/drawing/2014/main" val="1850554752"/>
                    </a:ext>
                  </a:extLst>
                </a:gridCol>
                <a:gridCol w="238854">
                  <a:extLst>
                    <a:ext uri="{9D8B030D-6E8A-4147-A177-3AD203B41FA5}">
                      <a16:colId xmlns:a16="http://schemas.microsoft.com/office/drawing/2014/main" val="3341932335"/>
                    </a:ext>
                  </a:extLst>
                </a:gridCol>
                <a:gridCol w="238854">
                  <a:extLst>
                    <a:ext uri="{9D8B030D-6E8A-4147-A177-3AD203B41FA5}">
                      <a16:colId xmlns:a16="http://schemas.microsoft.com/office/drawing/2014/main" val="3242228868"/>
                    </a:ext>
                  </a:extLst>
                </a:gridCol>
                <a:gridCol w="238854">
                  <a:extLst>
                    <a:ext uri="{9D8B030D-6E8A-4147-A177-3AD203B41FA5}">
                      <a16:colId xmlns:a16="http://schemas.microsoft.com/office/drawing/2014/main" val="156519487"/>
                    </a:ext>
                  </a:extLst>
                </a:gridCol>
                <a:gridCol w="238854">
                  <a:extLst>
                    <a:ext uri="{9D8B030D-6E8A-4147-A177-3AD203B41FA5}">
                      <a16:colId xmlns:a16="http://schemas.microsoft.com/office/drawing/2014/main" val="3471793389"/>
                    </a:ext>
                  </a:extLst>
                </a:gridCol>
              </a:tblGrid>
              <a:tr h="223733">
                <a:tc>
                  <a:txBody>
                    <a:bodyPr/>
                    <a:lstStyle/>
                    <a:p>
                      <a:pPr algn="ctr"/>
                      <a:r>
                        <a:rPr lang="en-US" sz="700"/>
                        <a:t>16</a:t>
                      </a:r>
                      <a:endParaRPr lang="en-GB" sz="700"/>
                    </a:p>
                  </a:txBody>
                  <a:tcPr marL="36000" marR="36000" marT="36000" marB="3600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algn="ctr"/>
                      <a:r>
                        <a:rPr lang="en-US" sz="700"/>
                        <a:t>23</a:t>
                      </a:r>
                      <a:endParaRPr lang="en-GB" sz="700"/>
                    </a:p>
                  </a:txBody>
                  <a:tcPr marL="36000" marR="36000" marT="36000" marB="3600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algn="ctr"/>
                      <a:r>
                        <a:rPr lang="en-US" sz="700"/>
                        <a:t>30</a:t>
                      </a:r>
                      <a:endParaRPr lang="en-GB" sz="700"/>
                    </a:p>
                  </a:txBody>
                  <a:tcPr marL="36000" marR="36000" marT="36000" marB="3600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algn="ctr"/>
                      <a:r>
                        <a:rPr lang="en-GB" sz="700"/>
                        <a:t>7</a:t>
                      </a:r>
                    </a:p>
                  </a:txBody>
                  <a:tcPr marL="36000" marR="36000" marT="36000" marB="3600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algn="ctr"/>
                      <a:r>
                        <a:rPr lang="en-US" sz="700"/>
                        <a:t>14</a:t>
                      </a:r>
                      <a:endParaRPr lang="en-GB" sz="700"/>
                    </a:p>
                  </a:txBody>
                  <a:tcPr marL="36000" marR="36000" marT="36000" marB="3600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algn="ctr"/>
                      <a:r>
                        <a:rPr lang="en-US" sz="700"/>
                        <a:t>21</a:t>
                      </a:r>
                      <a:endParaRPr lang="en-GB" sz="700"/>
                    </a:p>
                  </a:txBody>
                  <a:tcPr marL="36000" marR="36000" marT="36000" marB="3600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algn="ctr"/>
                      <a:r>
                        <a:rPr lang="en-GB" sz="700"/>
                        <a:t>28</a:t>
                      </a:r>
                    </a:p>
                  </a:txBody>
                  <a:tcPr marL="36000" marR="36000" marT="36000" marB="3600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algn="ctr"/>
                      <a:r>
                        <a:rPr lang="en-US" sz="700"/>
                        <a:t>04</a:t>
                      </a:r>
                      <a:endParaRPr lang="en-GB" sz="700"/>
                    </a:p>
                  </a:txBody>
                  <a:tcPr marL="36000" marR="36000" marT="36000" marB="3600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algn="ctr"/>
                      <a:r>
                        <a:rPr lang="en-US" sz="700"/>
                        <a:t>11</a:t>
                      </a:r>
                      <a:endParaRPr lang="en-GB" sz="700"/>
                    </a:p>
                  </a:txBody>
                  <a:tcPr marL="36000" marR="36000" marT="36000" marB="3600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algn="ctr"/>
                      <a:r>
                        <a:rPr lang="en-US" sz="700"/>
                        <a:t>18</a:t>
                      </a:r>
                      <a:endParaRPr lang="en-GB" sz="700"/>
                    </a:p>
                  </a:txBody>
                  <a:tcPr marL="36000" marR="36000" marT="36000" marB="3600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algn="ctr"/>
                      <a:r>
                        <a:rPr lang="en-US" sz="700"/>
                        <a:t>25</a:t>
                      </a:r>
                      <a:endParaRPr lang="en-GB" sz="700"/>
                    </a:p>
                  </a:txBody>
                  <a:tcPr marL="36000" marR="36000" marT="36000" marB="3600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algn="ctr"/>
                      <a:r>
                        <a:rPr lang="en-US" sz="700"/>
                        <a:t>01</a:t>
                      </a:r>
                      <a:endParaRPr lang="en-GB" sz="700"/>
                    </a:p>
                  </a:txBody>
                  <a:tcPr marL="36000" marR="36000" marT="36000" marB="3600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algn="ctr"/>
                      <a:r>
                        <a:rPr lang="en-US" sz="700"/>
                        <a:t>08</a:t>
                      </a:r>
                      <a:endParaRPr lang="en-GB" sz="700"/>
                    </a:p>
                  </a:txBody>
                  <a:tcPr marL="36000" marR="36000" marT="36000" marB="3600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algn="ctr"/>
                      <a:r>
                        <a:rPr lang="en-US" sz="700"/>
                        <a:t>15</a:t>
                      </a:r>
                      <a:endParaRPr lang="en-GB" sz="700"/>
                    </a:p>
                  </a:txBody>
                  <a:tcPr marL="36000" marR="36000" marT="36000" marB="3600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algn="ctr"/>
                      <a:r>
                        <a:rPr lang="en-US" sz="700"/>
                        <a:t>22</a:t>
                      </a:r>
                      <a:endParaRPr lang="en-GB" sz="700"/>
                    </a:p>
                  </a:txBody>
                  <a:tcPr marL="36000" marR="36000" marT="36000" marB="3600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algn="ctr"/>
                      <a:r>
                        <a:rPr lang="en-US" sz="700"/>
                        <a:t>01</a:t>
                      </a:r>
                      <a:endParaRPr lang="en-GB" sz="700"/>
                    </a:p>
                  </a:txBody>
                  <a:tcPr marL="36000" marR="36000" marT="36000" marB="3600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algn="ctr"/>
                      <a:r>
                        <a:rPr lang="en-GB" sz="700"/>
                        <a:t>08</a:t>
                      </a:r>
                    </a:p>
                  </a:txBody>
                  <a:tcPr marL="36000" marR="36000" marT="36000" marB="3600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algn="ctr"/>
                      <a:r>
                        <a:rPr lang="en-US" sz="700"/>
                        <a:t>15</a:t>
                      </a:r>
                      <a:endParaRPr lang="en-GB" sz="700"/>
                    </a:p>
                  </a:txBody>
                  <a:tcPr marL="36000" marR="36000" marT="36000" marB="3600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algn="ctr"/>
                      <a:r>
                        <a:rPr lang="en-GB" sz="700"/>
                        <a:t>22</a:t>
                      </a:r>
                    </a:p>
                  </a:txBody>
                  <a:tcPr marL="36000" marR="36000" marT="36000" marB="3600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algn="ctr"/>
                      <a:r>
                        <a:rPr lang="en-GB" sz="700"/>
                        <a:t>29</a:t>
                      </a:r>
                    </a:p>
                  </a:txBody>
                  <a:tcPr marL="36000" marR="36000" marT="36000" marB="3600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algn="ctr"/>
                      <a:r>
                        <a:rPr lang="en-US" sz="700"/>
                        <a:t>05</a:t>
                      </a:r>
                      <a:endParaRPr lang="en-GB" sz="700"/>
                    </a:p>
                  </a:txBody>
                  <a:tcPr marL="36000" marR="36000" marT="36000" marB="3600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algn="ctr"/>
                      <a:r>
                        <a:rPr lang="en-US" sz="700" b="1"/>
                        <a:t>12</a:t>
                      </a:r>
                      <a:endParaRPr lang="en-GB" sz="700" b="1"/>
                    </a:p>
                  </a:txBody>
                  <a:tcPr marL="36000" marR="36000" marT="36000" marB="36000" anchor="ctr">
                    <a:lnL w="3175"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algn="ctr"/>
                      <a:r>
                        <a:rPr lang="en-US" sz="700"/>
                        <a:t>19</a:t>
                      </a:r>
                      <a:endParaRPr lang="en-GB" sz="700"/>
                    </a:p>
                  </a:txBody>
                  <a:tcPr marL="36000" marR="36000" marT="36000" marB="36000" anchor="ctr">
                    <a:lnL w="1270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algn="ctr"/>
                      <a:r>
                        <a:rPr lang="en-GB" sz="700"/>
                        <a:t>26</a:t>
                      </a:r>
                    </a:p>
                  </a:txBody>
                  <a:tcPr marL="36000" marR="36000" marT="36000" marB="3600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algn="ctr"/>
                      <a:r>
                        <a:rPr lang="en-US" sz="700"/>
                        <a:t>03</a:t>
                      </a:r>
                      <a:endParaRPr lang="en-GB" sz="700"/>
                    </a:p>
                  </a:txBody>
                  <a:tcPr marL="36000" marR="36000" marT="36000" marB="3600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algn="ctr"/>
                      <a:r>
                        <a:rPr lang="en-US" sz="700"/>
                        <a:t>10</a:t>
                      </a:r>
                      <a:endParaRPr lang="en-GB" sz="700"/>
                    </a:p>
                  </a:txBody>
                  <a:tcPr marL="36000" marR="36000" marT="36000" marB="3600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algn="ctr"/>
                      <a:r>
                        <a:rPr lang="en-US" sz="700"/>
                        <a:t>17</a:t>
                      </a:r>
                      <a:endParaRPr lang="en-GB" sz="700"/>
                    </a:p>
                  </a:txBody>
                  <a:tcPr marL="36000" marR="36000" marT="36000" marB="3600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algn="ctr"/>
                      <a:r>
                        <a:rPr lang="en-US" sz="700"/>
                        <a:t>24</a:t>
                      </a:r>
                      <a:endParaRPr lang="en-GB" sz="700"/>
                    </a:p>
                  </a:txBody>
                  <a:tcPr marL="36000" marR="36000" marT="36000" marB="3600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algn="ctr"/>
                      <a:r>
                        <a:rPr lang="en-US" sz="700"/>
                        <a:t>31</a:t>
                      </a:r>
                      <a:endParaRPr lang="en-GB" sz="700"/>
                    </a:p>
                  </a:txBody>
                  <a:tcPr marL="36000" marR="36000" marT="36000" marB="3600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algn="ctr"/>
                      <a:r>
                        <a:rPr lang="en-US" sz="700"/>
                        <a:t>07</a:t>
                      </a:r>
                      <a:endParaRPr lang="en-GB" sz="700"/>
                    </a:p>
                  </a:txBody>
                  <a:tcPr marL="36000" marR="36000" marT="36000" marB="3600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algn="ctr"/>
                      <a:r>
                        <a:rPr lang="en-US" sz="700"/>
                        <a:t>14</a:t>
                      </a:r>
                      <a:endParaRPr lang="en-GB" sz="700"/>
                    </a:p>
                  </a:txBody>
                  <a:tcPr marL="36000" marR="36000" marT="36000" marB="3600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p>
                      <a:pPr algn="ctr"/>
                      <a:r>
                        <a:rPr lang="en-US" sz="700"/>
                        <a:t>21</a:t>
                      </a:r>
                      <a:endParaRPr lang="en-GB" sz="700"/>
                    </a:p>
                  </a:txBody>
                  <a:tcPr marL="36000" marR="36000" marT="36000" marB="3600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544701026"/>
                  </a:ext>
                </a:extLst>
              </a:tr>
            </a:tbl>
          </a:graphicData>
        </a:graphic>
      </p:graphicFrame>
      <p:sp>
        <p:nvSpPr>
          <p:cNvPr id="14" name="Rectangle 13"/>
          <p:cNvSpPr/>
          <p:nvPr/>
        </p:nvSpPr>
        <p:spPr>
          <a:xfrm>
            <a:off x="1225494" y="914637"/>
            <a:ext cx="548640" cy="144000"/>
          </a:xfrm>
          <a:prstGeom prst="rect">
            <a:avLst/>
          </a:prstGeom>
          <a:no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700" b="1">
                <a:solidFill>
                  <a:schemeClr val="accent2"/>
                </a:solidFill>
              </a:rPr>
              <a:t>NOVEMBER</a:t>
            </a:r>
          </a:p>
        </p:txBody>
      </p:sp>
      <p:sp>
        <p:nvSpPr>
          <p:cNvPr id="121" name="Rectangle 120"/>
          <p:cNvSpPr/>
          <p:nvPr/>
        </p:nvSpPr>
        <p:spPr>
          <a:xfrm>
            <a:off x="1772772" y="914637"/>
            <a:ext cx="1005840" cy="144000"/>
          </a:xfrm>
          <a:prstGeom prst="rect">
            <a:avLst/>
          </a:prstGeom>
          <a:no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700" b="1">
                <a:solidFill>
                  <a:schemeClr val="accent2"/>
                </a:solidFill>
              </a:rPr>
              <a:t>DECEMBER</a:t>
            </a:r>
          </a:p>
        </p:txBody>
      </p:sp>
      <p:sp>
        <p:nvSpPr>
          <p:cNvPr id="123" name="Rectangle 122"/>
          <p:cNvSpPr/>
          <p:nvPr/>
        </p:nvSpPr>
        <p:spPr>
          <a:xfrm>
            <a:off x="2785771" y="914637"/>
            <a:ext cx="1033272" cy="144000"/>
          </a:xfrm>
          <a:prstGeom prst="rect">
            <a:avLst/>
          </a:prstGeom>
          <a:no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b="1">
                <a:solidFill>
                  <a:schemeClr val="accent2"/>
                </a:solidFill>
              </a:rPr>
              <a:t>JANUARY</a:t>
            </a:r>
            <a:endParaRPr lang="en-GB" sz="700" b="1">
              <a:solidFill>
                <a:schemeClr val="accent2"/>
              </a:solidFill>
            </a:endParaRPr>
          </a:p>
        </p:txBody>
      </p:sp>
      <p:sp>
        <p:nvSpPr>
          <p:cNvPr id="125" name="Rectangle 124"/>
          <p:cNvSpPr/>
          <p:nvPr/>
        </p:nvSpPr>
        <p:spPr>
          <a:xfrm>
            <a:off x="3820308" y="914637"/>
            <a:ext cx="960120" cy="144000"/>
          </a:xfrm>
          <a:prstGeom prst="rect">
            <a:avLst/>
          </a:prstGeom>
          <a:no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700" b="1">
                <a:solidFill>
                  <a:schemeClr val="accent2"/>
                </a:solidFill>
              </a:rPr>
              <a:t>FEBRUARY</a:t>
            </a:r>
          </a:p>
        </p:txBody>
      </p:sp>
      <p:sp>
        <p:nvSpPr>
          <p:cNvPr id="126" name="Rectangle 125"/>
          <p:cNvSpPr/>
          <p:nvPr/>
        </p:nvSpPr>
        <p:spPr>
          <a:xfrm>
            <a:off x="4783054" y="914637"/>
            <a:ext cx="1051560" cy="144000"/>
          </a:xfrm>
          <a:prstGeom prst="rect">
            <a:avLst/>
          </a:prstGeom>
          <a:no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700" b="1">
                <a:solidFill>
                  <a:schemeClr val="accent2"/>
                </a:solidFill>
              </a:rPr>
              <a:t>MARCH</a:t>
            </a:r>
          </a:p>
        </p:txBody>
      </p:sp>
      <p:sp>
        <p:nvSpPr>
          <p:cNvPr id="127" name="Rectangle 126"/>
          <p:cNvSpPr/>
          <p:nvPr/>
        </p:nvSpPr>
        <p:spPr>
          <a:xfrm>
            <a:off x="5843090" y="914637"/>
            <a:ext cx="1047004" cy="144000"/>
          </a:xfrm>
          <a:prstGeom prst="rect">
            <a:avLst/>
          </a:prstGeom>
          <a:no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700" b="1">
                <a:solidFill>
                  <a:schemeClr val="accent2"/>
                </a:solidFill>
              </a:rPr>
              <a:t>APRIL</a:t>
            </a:r>
          </a:p>
        </p:txBody>
      </p:sp>
      <p:sp>
        <p:nvSpPr>
          <p:cNvPr id="152" name="Rectangle 151"/>
          <p:cNvSpPr/>
          <p:nvPr/>
        </p:nvSpPr>
        <p:spPr>
          <a:xfrm>
            <a:off x="8381372" y="1954532"/>
            <a:ext cx="690518" cy="120037"/>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a:p>
        </p:txBody>
      </p:sp>
      <p:sp>
        <p:nvSpPr>
          <p:cNvPr id="153" name="Rectangle 152">
            <a:extLst>
              <a:ext uri="{FF2B5EF4-FFF2-40B4-BE49-F238E27FC236}">
                <a16:creationId xmlns:a16="http://schemas.microsoft.com/office/drawing/2014/main" id="{DDA6647F-C75D-40C3-9816-1317E4A71FC3}"/>
              </a:ext>
            </a:extLst>
          </p:cNvPr>
          <p:cNvSpPr/>
          <p:nvPr/>
        </p:nvSpPr>
        <p:spPr>
          <a:xfrm>
            <a:off x="8333064" y="2022579"/>
            <a:ext cx="792205" cy="184666"/>
          </a:xfrm>
          <a:prstGeom prst="rect">
            <a:avLst/>
          </a:prstGeom>
        </p:spPr>
        <p:txBody>
          <a:bodyPr wrap="non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Arial" panose="020B0604020202020204"/>
                <a:ea typeface="+mn-ea"/>
                <a:cs typeface="+mn-cs"/>
              </a:rPr>
              <a:t>Solution Adoption</a:t>
            </a:r>
          </a:p>
        </p:txBody>
      </p:sp>
      <p:sp>
        <p:nvSpPr>
          <p:cNvPr id="156" name="Rectangle 155"/>
          <p:cNvSpPr/>
          <p:nvPr/>
        </p:nvSpPr>
        <p:spPr>
          <a:xfrm>
            <a:off x="3809999" y="2166476"/>
            <a:ext cx="1464021" cy="112556"/>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a:p>
        </p:txBody>
      </p:sp>
      <p:sp>
        <p:nvSpPr>
          <p:cNvPr id="161" name="Rectangle 160"/>
          <p:cNvSpPr/>
          <p:nvPr/>
        </p:nvSpPr>
        <p:spPr>
          <a:xfrm>
            <a:off x="4778507" y="1887309"/>
            <a:ext cx="1097280" cy="117427"/>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a:p>
        </p:txBody>
      </p:sp>
      <p:cxnSp>
        <p:nvCxnSpPr>
          <p:cNvPr id="9" name="Straight Connector 8"/>
          <p:cNvCxnSpPr/>
          <p:nvPr/>
        </p:nvCxnSpPr>
        <p:spPr>
          <a:xfrm>
            <a:off x="8369250" y="1082734"/>
            <a:ext cx="0" cy="3694160"/>
          </a:xfrm>
          <a:prstGeom prst="line">
            <a:avLst/>
          </a:prstGeom>
          <a:ln w="28575">
            <a:solidFill>
              <a:srgbClr val="00B050"/>
            </a:solidFill>
          </a:ln>
        </p:spPr>
        <p:style>
          <a:lnRef idx="1">
            <a:schemeClr val="accent1"/>
          </a:lnRef>
          <a:fillRef idx="0">
            <a:schemeClr val="accent1"/>
          </a:fillRef>
          <a:effectRef idx="0">
            <a:schemeClr val="accent1"/>
          </a:effectRef>
          <a:fontRef idx="minor">
            <a:schemeClr val="tx1"/>
          </a:fontRef>
        </p:style>
      </p:cxnSp>
      <p:sp>
        <p:nvSpPr>
          <p:cNvPr id="172" name="Rectangle 171"/>
          <p:cNvSpPr/>
          <p:nvPr/>
        </p:nvSpPr>
        <p:spPr>
          <a:xfrm>
            <a:off x="3735425" y="4911432"/>
            <a:ext cx="415950" cy="82891"/>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sp>
        <p:nvSpPr>
          <p:cNvPr id="173" name="Diamond 172">
            <a:extLst>
              <a:ext uri="{FF2B5EF4-FFF2-40B4-BE49-F238E27FC236}">
                <a16:creationId xmlns:a16="http://schemas.microsoft.com/office/drawing/2014/main" id="{8A02CD10-8E56-46CB-877E-60A43357786F}"/>
              </a:ext>
            </a:extLst>
          </p:cNvPr>
          <p:cNvSpPr/>
          <p:nvPr/>
        </p:nvSpPr>
        <p:spPr>
          <a:xfrm>
            <a:off x="4081773" y="4893690"/>
            <a:ext cx="137060" cy="116460"/>
          </a:xfrm>
          <a:prstGeom prst="diamond">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75" name="Rectangle 174">
            <a:extLst>
              <a:ext uri="{FF2B5EF4-FFF2-40B4-BE49-F238E27FC236}">
                <a16:creationId xmlns:a16="http://schemas.microsoft.com/office/drawing/2014/main" id="{DDA6647F-C75D-40C3-9816-1317E4A71FC3}"/>
              </a:ext>
            </a:extLst>
          </p:cNvPr>
          <p:cNvSpPr/>
          <p:nvPr/>
        </p:nvSpPr>
        <p:spPr>
          <a:xfrm>
            <a:off x="4114800" y="4857750"/>
            <a:ext cx="1322798" cy="184666"/>
          </a:xfrm>
          <a:prstGeom prst="rect">
            <a:avLst/>
          </a:prstGeom>
        </p:spPr>
        <p:txBody>
          <a:bodyPr wrap="non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Arial" panose="020B0604020202020204"/>
                <a:ea typeface="+mn-ea"/>
                <a:cs typeface="+mn-cs"/>
              </a:rPr>
              <a:t> : Other Team Dependent Activity</a:t>
            </a:r>
          </a:p>
        </p:txBody>
      </p:sp>
      <p:sp>
        <p:nvSpPr>
          <p:cNvPr id="116" name="Rectangle 115"/>
          <p:cNvSpPr/>
          <p:nvPr/>
        </p:nvSpPr>
        <p:spPr>
          <a:xfrm>
            <a:off x="6887761" y="914637"/>
            <a:ext cx="1005840" cy="144000"/>
          </a:xfrm>
          <a:prstGeom prst="rect">
            <a:avLst/>
          </a:prstGeom>
          <a:no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700" b="1">
                <a:solidFill>
                  <a:schemeClr val="accent2"/>
                </a:solidFill>
              </a:rPr>
              <a:t>MAY</a:t>
            </a:r>
          </a:p>
        </p:txBody>
      </p:sp>
      <p:sp>
        <p:nvSpPr>
          <p:cNvPr id="12" name="7-Point Star 11"/>
          <p:cNvSpPr/>
          <p:nvPr/>
        </p:nvSpPr>
        <p:spPr>
          <a:xfrm>
            <a:off x="8254950" y="930548"/>
            <a:ext cx="228600" cy="187202"/>
          </a:xfrm>
          <a:prstGeom prst="star7">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a:p>
        </p:txBody>
      </p:sp>
      <p:sp>
        <p:nvSpPr>
          <p:cNvPr id="128" name="7-Point Star 127"/>
          <p:cNvSpPr/>
          <p:nvPr/>
        </p:nvSpPr>
        <p:spPr>
          <a:xfrm>
            <a:off x="8262153" y="4627734"/>
            <a:ext cx="228600" cy="187202"/>
          </a:xfrm>
          <a:prstGeom prst="star7">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a:p>
        </p:txBody>
      </p:sp>
      <p:cxnSp>
        <p:nvCxnSpPr>
          <p:cNvPr id="132" name="Straight Connector 131"/>
          <p:cNvCxnSpPr/>
          <p:nvPr/>
        </p:nvCxnSpPr>
        <p:spPr>
          <a:xfrm>
            <a:off x="6477000" y="1082734"/>
            <a:ext cx="0" cy="369416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p:nvCxnSpPr>
        <p:spPr>
          <a:xfrm>
            <a:off x="1215910" y="1067549"/>
            <a:ext cx="0" cy="3694160"/>
          </a:xfrm>
          <a:prstGeom prst="line">
            <a:avLst/>
          </a:prstGeom>
          <a:ln w="28575">
            <a:solidFill>
              <a:srgbClr val="7030A0"/>
            </a:solidFill>
          </a:ln>
        </p:spPr>
        <p:style>
          <a:lnRef idx="1">
            <a:schemeClr val="accent1"/>
          </a:lnRef>
          <a:fillRef idx="0">
            <a:schemeClr val="accent1"/>
          </a:fillRef>
          <a:effectRef idx="0">
            <a:schemeClr val="accent1"/>
          </a:effectRef>
          <a:fontRef idx="minor">
            <a:schemeClr val="tx1"/>
          </a:fontRef>
        </p:style>
      </p:cxnSp>
      <p:sp>
        <p:nvSpPr>
          <p:cNvPr id="131" name="Rectangle 130"/>
          <p:cNvSpPr/>
          <p:nvPr>
            <p:custDataLst>
              <p:tags r:id="rId4"/>
            </p:custDataLst>
          </p:nvPr>
        </p:nvSpPr>
        <p:spPr bwMode="auto">
          <a:xfrm>
            <a:off x="6073502" y="1058637"/>
            <a:ext cx="251098" cy="3753435"/>
          </a:xfrm>
          <a:prstGeom prst="rect">
            <a:avLst/>
          </a:prstGeom>
          <a:solidFill>
            <a:srgbClr val="ECECEA">
              <a:alpha val="78000"/>
            </a:srgbClr>
          </a:solidFill>
          <a:ln w="3175" cap="sq" cmpd="sng" algn="ctr">
            <a:noFill/>
            <a:prstDash val="solid"/>
            <a:round/>
            <a:headEnd type="none" w="med" len="med"/>
            <a:tailEnd type="none" w="med" len="med"/>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rtlCol="0" anchor="ctr" anchorCtr="0">
            <a:noAutofit/>
          </a:bodyPr>
          <a:lstStyle/>
          <a:p>
            <a:pPr marL="0" marR="0" lvl="0" indent="0" algn="ctr" defTabSz="442029" rtl="0" eaLnBrk="1" fontAlgn="auto" latinLnBrk="0" hangingPunct="1">
              <a:lnSpc>
                <a:spcPct val="90000"/>
              </a:lnSpc>
              <a:spcBef>
                <a:spcPct val="0"/>
              </a:spcBef>
              <a:spcAft>
                <a:spcPct val="35000"/>
              </a:spcAft>
              <a:buClrTx/>
              <a:buSzTx/>
              <a:buFontTx/>
              <a:buNone/>
              <a:tabLst/>
              <a:defRPr/>
            </a:pPr>
            <a:endParaRPr kumimoji="0" lang="en-GB" sz="500" b="0" i="0" u="none" strike="noStrike" kern="1200" cap="none" spc="0" normalizeH="0" baseline="0" noProof="0">
              <a:ln>
                <a:noFill/>
              </a:ln>
              <a:solidFill>
                <a:srgbClr val="000000"/>
              </a:solidFill>
              <a:effectLst/>
              <a:uLnTx/>
              <a:uFillTx/>
              <a:latin typeface="Arial" panose="020B0604020202020204"/>
              <a:ea typeface="+mn-ea"/>
              <a:cs typeface="+mn-cs"/>
            </a:endParaRPr>
          </a:p>
        </p:txBody>
      </p:sp>
      <p:pic>
        <p:nvPicPr>
          <p:cNvPr id="58" name="Picture 57"/>
          <p:cNvPicPr preferRelativeResize="0">
            <a:picLocks/>
          </p:cNvPicPr>
          <p:nvPr/>
        </p:nvPicPr>
        <p:blipFill>
          <a:blip r:embed="rId10"/>
          <a:stretch>
            <a:fillRect/>
          </a:stretch>
        </p:blipFill>
        <p:spPr>
          <a:xfrm>
            <a:off x="6672656" y="3395686"/>
            <a:ext cx="709693" cy="108000"/>
          </a:xfrm>
          <a:prstGeom prst="rect">
            <a:avLst/>
          </a:prstGeom>
        </p:spPr>
      </p:pic>
      <p:sp>
        <p:nvSpPr>
          <p:cNvPr id="134" name="Rectangle 133"/>
          <p:cNvSpPr/>
          <p:nvPr/>
        </p:nvSpPr>
        <p:spPr>
          <a:xfrm>
            <a:off x="5943600" y="3671374"/>
            <a:ext cx="711112" cy="129629"/>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sp>
        <p:nvSpPr>
          <p:cNvPr id="135" name="Rectangle 134"/>
          <p:cNvSpPr/>
          <p:nvPr/>
        </p:nvSpPr>
        <p:spPr>
          <a:xfrm>
            <a:off x="7610949" y="3679137"/>
            <a:ext cx="711112" cy="129629"/>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pic>
        <p:nvPicPr>
          <p:cNvPr id="136" name="Picture 135"/>
          <p:cNvPicPr preferRelativeResize="0">
            <a:picLocks/>
          </p:cNvPicPr>
          <p:nvPr/>
        </p:nvPicPr>
        <p:blipFill>
          <a:blip r:embed="rId10"/>
          <a:stretch>
            <a:fillRect/>
          </a:stretch>
        </p:blipFill>
        <p:spPr>
          <a:xfrm>
            <a:off x="5943600" y="3395686"/>
            <a:ext cx="709693" cy="108000"/>
          </a:xfrm>
          <a:prstGeom prst="rect">
            <a:avLst/>
          </a:prstGeom>
        </p:spPr>
      </p:pic>
      <p:sp>
        <p:nvSpPr>
          <p:cNvPr id="137" name="Rectangle 136"/>
          <p:cNvSpPr/>
          <p:nvPr>
            <p:custDataLst>
              <p:tags r:id="rId5"/>
            </p:custDataLst>
          </p:nvPr>
        </p:nvSpPr>
        <p:spPr bwMode="auto">
          <a:xfrm>
            <a:off x="4422917" y="1054701"/>
            <a:ext cx="251098" cy="3753435"/>
          </a:xfrm>
          <a:prstGeom prst="rect">
            <a:avLst/>
          </a:prstGeom>
          <a:solidFill>
            <a:srgbClr val="ECECEA">
              <a:alpha val="78000"/>
            </a:srgbClr>
          </a:solidFill>
          <a:ln w="3175" cap="sq" cmpd="sng" algn="ctr">
            <a:noFill/>
            <a:prstDash val="solid"/>
            <a:round/>
            <a:headEnd type="none" w="med" len="med"/>
            <a:tailEnd type="none" w="med" len="med"/>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rtlCol="0" anchor="ctr" anchorCtr="0">
            <a:noAutofit/>
          </a:bodyPr>
          <a:lstStyle/>
          <a:p>
            <a:pPr marL="0" marR="0" lvl="0" indent="0" algn="ctr" defTabSz="442029" rtl="0" eaLnBrk="1" fontAlgn="auto" latinLnBrk="0" hangingPunct="1">
              <a:lnSpc>
                <a:spcPct val="90000"/>
              </a:lnSpc>
              <a:spcBef>
                <a:spcPct val="0"/>
              </a:spcBef>
              <a:spcAft>
                <a:spcPct val="35000"/>
              </a:spcAft>
              <a:buClrTx/>
              <a:buSzTx/>
              <a:buFontTx/>
              <a:buNone/>
              <a:tabLst/>
              <a:defRPr/>
            </a:pPr>
            <a:endParaRPr kumimoji="0" lang="en-GB" sz="5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38" name="Rectangle 137"/>
          <p:cNvSpPr/>
          <p:nvPr>
            <p:custDataLst>
              <p:tags r:id="rId6"/>
            </p:custDataLst>
          </p:nvPr>
        </p:nvSpPr>
        <p:spPr bwMode="auto">
          <a:xfrm>
            <a:off x="2388496" y="1054701"/>
            <a:ext cx="490013" cy="3743672"/>
          </a:xfrm>
          <a:prstGeom prst="rect">
            <a:avLst/>
          </a:prstGeom>
          <a:solidFill>
            <a:srgbClr val="ECECEA">
              <a:alpha val="78000"/>
            </a:srgbClr>
          </a:solidFill>
          <a:ln w="3175" cap="sq" cmpd="sng" algn="ctr">
            <a:noFill/>
            <a:prstDash val="solid"/>
            <a:round/>
            <a:headEnd type="none" w="med" len="med"/>
            <a:tailEnd type="none" w="med" len="med"/>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rtlCol="0" anchor="ctr" anchorCtr="0">
            <a:noAutofit/>
          </a:bodyPr>
          <a:lstStyle/>
          <a:p>
            <a:pPr marL="0" marR="0" lvl="0" indent="0" algn="ctr" defTabSz="442029" rtl="0" eaLnBrk="1" fontAlgn="auto" latinLnBrk="0" hangingPunct="1">
              <a:lnSpc>
                <a:spcPct val="90000"/>
              </a:lnSpc>
              <a:spcBef>
                <a:spcPct val="0"/>
              </a:spcBef>
              <a:spcAft>
                <a:spcPct val="35000"/>
              </a:spcAft>
              <a:buClrTx/>
              <a:buSzTx/>
              <a:buFontTx/>
              <a:buNone/>
              <a:tabLst/>
              <a:defRPr/>
            </a:pPr>
            <a:endParaRPr kumimoji="0" lang="en-GB" sz="5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39" name="Diamond 138">
            <a:extLst>
              <a:ext uri="{FF2B5EF4-FFF2-40B4-BE49-F238E27FC236}">
                <a16:creationId xmlns:a16="http://schemas.microsoft.com/office/drawing/2014/main" id="{8A02CD10-8E56-46CB-877E-60A43357786F}"/>
              </a:ext>
            </a:extLst>
          </p:cNvPr>
          <p:cNvSpPr/>
          <p:nvPr/>
        </p:nvSpPr>
        <p:spPr>
          <a:xfrm>
            <a:off x="8173247" y="1366024"/>
            <a:ext cx="138113" cy="138113"/>
          </a:xfrm>
          <a:prstGeom prst="diamond">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0" name="Diamond 139">
            <a:extLst>
              <a:ext uri="{FF2B5EF4-FFF2-40B4-BE49-F238E27FC236}">
                <a16:creationId xmlns:a16="http://schemas.microsoft.com/office/drawing/2014/main" id="{8A02CD10-8E56-46CB-877E-60A43357786F}"/>
              </a:ext>
            </a:extLst>
          </p:cNvPr>
          <p:cNvSpPr/>
          <p:nvPr/>
        </p:nvSpPr>
        <p:spPr>
          <a:xfrm>
            <a:off x="8721074" y="1366024"/>
            <a:ext cx="138113" cy="138113"/>
          </a:xfrm>
          <a:prstGeom prst="diamond">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0" name="Rectangle 99"/>
          <p:cNvSpPr/>
          <p:nvPr/>
        </p:nvSpPr>
        <p:spPr>
          <a:xfrm>
            <a:off x="7900520" y="922980"/>
            <a:ext cx="932688" cy="139334"/>
          </a:xfrm>
          <a:prstGeom prst="rect">
            <a:avLst/>
          </a:prstGeom>
          <a:no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700" b="1">
                <a:solidFill>
                  <a:schemeClr val="accent2"/>
                </a:solidFill>
              </a:rPr>
              <a:t>JUNE</a:t>
            </a:r>
          </a:p>
        </p:txBody>
      </p:sp>
      <p:sp>
        <p:nvSpPr>
          <p:cNvPr id="78" name="Rectangle 77">
            <a:extLst>
              <a:ext uri="{FF2B5EF4-FFF2-40B4-BE49-F238E27FC236}">
                <a16:creationId xmlns:a16="http://schemas.microsoft.com/office/drawing/2014/main" id="{DDA6647F-C75D-40C3-9816-1317E4A71FC3}"/>
              </a:ext>
            </a:extLst>
          </p:cNvPr>
          <p:cNvSpPr/>
          <p:nvPr/>
        </p:nvSpPr>
        <p:spPr>
          <a:xfrm>
            <a:off x="5841261" y="3479812"/>
            <a:ext cx="864339" cy="184666"/>
          </a:xfrm>
          <a:prstGeom prst="rect">
            <a:avLst/>
          </a:prstGeom>
        </p:spPr>
        <p:txBody>
          <a:bodyPr wrap="none" anchor="ctr">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Arial" panose="020B0604020202020204"/>
                <a:ea typeface="+mn-ea"/>
                <a:cs typeface="+mn-cs"/>
              </a:rPr>
              <a:t>Local Test</a:t>
            </a:r>
            <a:r>
              <a:rPr kumimoji="0" lang="en-US" sz="600" b="0" i="0" u="none" strike="noStrike" kern="1200" cap="none" spc="0" normalizeH="0" noProof="0">
                <a:ln>
                  <a:noFill/>
                </a:ln>
                <a:solidFill>
                  <a:srgbClr val="000000"/>
                </a:solidFill>
                <a:effectLst/>
                <a:uLnTx/>
                <a:uFillTx/>
                <a:latin typeface="Arial" panose="020B0604020202020204"/>
                <a:ea typeface="+mn-ea"/>
                <a:cs typeface="+mn-cs"/>
              </a:rPr>
              <a:t> Planning</a:t>
            </a:r>
            <a:endParaRPr kumimoji="0" lang="en-US" sz="6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1" name="Rectangle 80">
            <a:extLst>
              <a:ext uri="{FF2B5EF4-FFF2-40B4-BE49-F238E27FC236}">
                <a16:creationId xmlns:a16="http://schemas.microsoft.com/office/drawing/2014/main" id="{DDA6647F-C75D-40C3-9816-1317E4A71FC3}"/>
              </a:ext>
            </a:extLst>
          </p:cNvPr>
          <p:cNvSpPr/>
          <p:nvPr/>
        </p:nvSpPr>
        <p:spPr>
          <a:xfrm>
            <a:off x="5974814" y="3797344"/>
            <a:ext cx="587020" cy="184666"/>
          </a:xfrm>
          <a:prstGeom prst="rect">
            <a:avLst/>
          </a:prstGeom>
        </p:spPr>
        <p:txBody>
          <a:bodyPr wrap="none" anchor="ctr">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600">
                <a:solidFill>
                  <a:srgbClr val="000000"/>
                </a:solidFill>
                <a:latin typeface="Arial" panose="020B0604020202020204"/>
              </a:rPr>
              <a:t>QA Cutover</a:t>
            </a:r>
            <a:endParaRPr kumimoji="0" lang="en-US" sz="6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45" name="Rectangle 144">
            <a:extLst>
              <a:ext uri="{FF2B5EF4-FFF2-40B4-BE49-F238E27FC236}">
                <a16:creationId xmlns:a16="http://schemas.microsoft.com/office/drawing/2014/main" id="{DDA6647F-C75D-40C3-9816-1317E4A71FC3}"/>
              </a:ext>
            </a:extLst>
          </p:cNvPr>
          <p:cNvSpPr/>
          <p:nvPr/>
        </p:nvSpPr>
        <p:spPr>
          <a:xfrm>
            <a:off x="1654003" y="1983326"/>
            <a:ext cx="1653551" cy="184666"/>
          </a:xfrm>
          <a:prstGeom prst="rect">
            <a:avLst/>
          </a:prstGeom>
        </p:spPr>
        <p:txBody>
          <a:bodyPr wrap="square">
            <a:spAutoFit/>
          </a:bodyPr>
          <a:lstStyle/>
          <a:p>
            <a:pPr lvl="0" defTabSz="685800">
              <a:defRPr/>
            </a:pPr>
            <a:r>
              <a:rPr lang="en-US" sz="600">
                <a:solidFill>
                  <a:srgbClr val="000000"/>
                </a:solidFill>
              </a:rPr>
              <a:t>Stakeholder analysis, </a:t>
            </a:r>
            <a:r>
              <a:rPr lang="en-US" sz="600" err="1">
                <a:solidFill>
                  <a:srgbClr val="000000"/>
                </a:solidFill>
              </a:rPr>
              <a:t>comms</a:t>
            </a:r>
            <a:r>
              <a:rPr lang="en-US" sz="600">
                <a:solidFill>
                  <a:srgbClr val="000000"/>
                </a:solidFill>
              </a:rPr>
              <a:t> set-up</a:t>
            </a:r>
          </a:p>
        </p:txBody>
      </p:sp>
      <p:sp>
        <p:nvSpPr>
          <p:cNvPr id="167" name="Rectangle 166">
            <a:extLst>
              <a:ext uri="{FF2B5EF4-FFF2-40B4-BE49-F238E27FC236}">
                <a16:creationId xmlns:a16="http://schemas.microsoft.com/office/drawing/2014/main" id="{DDA6647F-C75D-40C3-9816-1317E4A71FC3}"/>
              </a:ext>
            </a:extLst>
          </p:cNvPr>
          <p:cNvSpPr/>
          <p:nvPr/>
        </p:nvSpPr>
        <p:spPr>
          <a:xfrm>
            <a:off x="3821312" y="2225397"/>
            <a:ext cx="1436488" cy="184666"/>
          </a:xfrm>
          <a:prstGeom prst="rect">
            <a:avLst/>
          </a:prstGeom>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Arial" panose="020B0604020202020204"/>
                <a:ea typeface="+mn-ea"/>
                <a:cs typeface="+mn-cs"/>
              </a:rPr>
              <a:t>Training</a:t>
            </a:r>
            <a:r>
              <a:rPr kumimoji="0" lang="en-US" sz="600" b="0" i="0" u="none" strike="noStrike" kern="1200" cap="none" spc="0" normalizeH="0" noProof="0">
                <a:ln>
                  <a:noFill/>
                </a:ln>
                <a:solidFill>
                  <a:srgbClr val="000000"/>
                </a:solidFill>
                <a:effectLst/>
                <a:uLnTx/>
                <a:uFillTx/>
                <a:latin typeface="Arial" panose="020B0604020202020204"/>
                <a:ea typeface="+mn-ea"/>
                <a:cs typeface="+mn-cs"/>
              </a:rPr>
              <a:t> Needs Analysis</a:t>
            </a:r>
            <a:endParaRPr kumimoji="0" lang="en-US" sz="6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63" name="Rectangle 162">
            <a:extLst>
              <a:ext uri="{FF2B5EF4-FFF2-40B4-BE49-F238E27FC236}">
                <a16:creationId xmlns:a16="http://schemas.microsoft.com/office/drawing/2014/main" id="{DDA6647F-C75D-40C3-9816-1317E4A71FC3}"/>
              </a:ext>
            </a:extLst>
          </p:cNvPr>
          <p:cNvSpPr/>
          <p:nvPr/>
        </p:nvSpPr>
        <p:spPr>
          <a:xfrm>
            <a:off x="4731124" y="1968397"/>
            <a:ext cx="2345592" cy="184666"/>
          </a:xfrm>
          <a:prstGeom prst="rect">
            <a:avLst/>
          </a:prstGeom>
        </p:spPr>
        <p:txBody>
          <a:bodyPr wrap="square">
            <a:spAutoFit/>
          </a:bodyPr>
          <a:lstStyle/>
          <a:p>
            <a:pPr lvl="0" defTabSz="685800">
              <a:defRPr/>
            </a:pPr>
            <a:r>
              <a:rPr lang="de-DE" sz="600">
                <a:solidFill>
                  <a:srgbClr val="000000"/>
                </a:solidFill>
              </a:rPr>
              <a:t>Change Impact Analysis</a:t>
            </a:r>
            <a:endParaRPr lang="en-US" sz="600">
              <a:solidFill>
                <a:srgbClr val="000000"/>
              </a:solidFill>
            </a:endParaRPr>
          </a:p>
        </p:txBody>
      </p:sp>
      <p:sp>
        <p:nvSpPr>
          <p:cNvPr id="48" name="Diamond 47">
            <a:extLst>
              <a:ext uri="{FF2B5EF4-FFF2-40B4-BE49-F238E27FC236}">
                <a16:creationId xmlns:a16="http://schemas.microsoft.com/office/drawing/2014/main" id="{8A02CD10-8E56-46CB-877E-60A43357786F}"/>
              </a:ext>
            </a:extLst>
          </p:cNvPr>
          <p:cNvSpPr/>
          <p:nvPr/>
        </p:nvSpPr>
        <p:spPr>
          <a:xfrm>
            <a:off x="8253290" y="2310308"/>
            <a:ext cx="144016" cy="138113"/>
          </a:xfrm>
          <a:prstGeom prst="diamond">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5" name="Rectangle 54">
            <a:extLst>
              <a:ext uri="{FF2B5EF4-FFF2-40B4-BE49-F238E27FC236}">
                <a16:creationId xmlns:a16="http://schemas.microsoft.com/office/drawing/2014/main" id="{DDA6647F-C75D-40C3-9816-1317E4A71FC3}"/>
              </a:ext>
            </a:extLst>
          </p:cNvPr>
          <p:cNvSpPr/>
          <p:nvPr/>
        </p:nvSpPr>
        <p:spPr>
          <a:xfrm>
            <a:off x="8326147" y="2276083"/>
            <a:ext cx="817853" cy="184666"/>
          </a:xfrm>
          <a:prstGeom prst="rect">
            <a:avLst/>
          </a:prstGeom>
        </p:spPr>
        <p:txBody>
          <a:bodyPr wrap="non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Arial" panose="020B0604020202020204"/>
                <a:ea typeface="+mn-ea"/>
                <a:cs typeface="+mn-cs"/>
              </a:rPr>
              <a:t>End-User-Training</a:t>
            </a:r>
          </a:p>
        </p:txBody>
      </p:sp>
    </p:spTree>
    <p:extLst>
      <p:ext uri="{BB962C8B-B14F-4D97-AF65-F5344CB8AC3E}">
        <p14:creationId xmlns:p14="http://schemas.microsoft.com/office/powerpoint/2010/main" val="424381640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2400" dirty="0"/>
              <a:t>Roll-out Waves 1A, 2, 2A, 3, 3A: Key Dates</a:t>
            </a:r>
          </a:p>
        </p:txBody>
      </p:sp>
      <p:sp>
        <p:nvSpPr>
          <p:cNvPr id="3" name="Slide Number Placeholder 2"/>
          <p:cNvSpPr>
            <a:spLocks noGrp="1"/>
          </p:cNvSpPr>
          <p:nvPr>
            <p:ph type="sldNum" sz="quarter" idx="10"/>
          </p:nvPr>
        </p:nvSpPr>
        <p:spPr/>
        <p:txBody>
          <a:bodyPr/>
          <a:lstStyle/>
          <a:p>
            <a:fld id="{47547CF9-5B10-D24F-A8D7-45A9778164F7}" type="slidenum">
              <a:rPr lang="en-US" smtClean="0"/>
              <a:pPr/>
              <a:t>16</a:t>
            </a:fld>
            <a:endParaRPr lang="en-US"/>
          </a:p>
        </p:txBody>
      </p:sp>
      <p:sp>
        <p:nvSpPr>
          <p:cNvPr id="4" name="Footer Placeholder 3"/>
          <p:cNvSpPr>
            <a:spLocks noGrp="1"/>
          </p:cNvSpPr>
          <p:nvPr>
            <p:ph type="ftr" sz="quarter" idx="11"/>
          </p:nvPr>
        </p:nvSpPr>
        <p:spPr/>
        <p:txBody>
          <a:bodyPr/>
          <a:lstStyle/>
          <a:p>
            <a:r>
              <a:rPr lang="en-US"/>
              <a:t>Business Use Only</a:t>
            </a:r>
          </a:p>
        </p:txBody>
      </p:sp>
      <p:graphicFrame>
        <p:nvGraphicFramePr>
          <p:cNvPr id="5" name="Table 4"/>
          <p:cNvGraphicFramePr>
            <a:graphicFrameLocks noGrp="1"/>
          </p:cNvGraphicFramePr>
          <p:nvPr/>
        </p:nvGraphicFramePr>
        <p:xfrm>
          <a:off x="478854" y="895350"/>
          <a:ext cx="8196834" cy="2595880"/>
        </p:xfrm>
        <a:graphic>
          <a:graphicData uri="http://schemas.openxmlformats.org/drawingml/2006/table">
            <a:tbl>
              <a:tblPr firstRow="1" bandRow="1">
                <a:tableStyleId>{E8B1032C-EA38-4F05-BA0D-38AFFFC7BED3}</a:tableStyleId>
              </a:tblPr>
              <a:tblGrid>
                <a:gridCol w="1366139">
                  <a:extLst>
                    <a:ext uri="{9D8B030D-6E8A-4147-A177-3AD203B41FA5}">
                      <a16:colId xmlns:a16="http://schemas.microsoft.com/office/drawing/2014/main" val="2877852893"/>
                    </a:ext>
                  </a:extLst>
                </a:gridCol>
                <a:gridCol w="2445203">
                  <a:extLst>
                    <a:ext uri="{9D8B030D-6E8A-4147-A177-3AD203B41FA5}">
                      <a16:colId xmlns:a16="http://schemas.microsoft.com/office/drawing/2014/main" val="631741339"/>
                    </a:ext>
                  </a:extLst>
                </a:gridCol>
                <a:gridCol w="891404">
                  <a:extLst>
                    <a:ext uri="{9D8B030D-6E8A-4147-A177-3AD203B41FA5}">
                      <a16:colId xmlns:a16="http://schemas.microsoft.com/office/drawing/2014/main" val="3898516544"/>
                    </a:ext>
                  </a:extLst>
                </a:gridCol>
                <a:gridCol w="990600">
                  <a:extLst>
                    <a:ext uri="{9D8B030D-6E8A-4147-A177-3AD203B41FA5}">
                      <a16:colId xmlns:a16="http://schemas.microsoft.com/office/drawing/2014/main" val="2954498813"/>
                    </a:ext>
                  </a:extLst>
                </a:gridCol>
                <a:gridCol w="990600">
                  <a:extLst>
                    <a:ext uri="{9D8B030D-6E8A-4147-A177-3AD203B41FA5}">
                      <a16:colId xmlns:a16="http://schemas.microsoft.com/office/drawing/2014/main" val="3480019301"/>
                    </a:ext>
                  </a:extLst>
                </a:gridCol>
                <a:gridCol w="1512888">
                  <a:extLst>
                    <a:ext uri="{9D8B030D-6E8A-4147-A177-3AD203B41FA5}">
                      <a16:colId xmlns:a16="http://schemas.microsoft.com/office/drawing/2014/main" val="835035809"/>
                    </a:ext>
                  </a:extLst>
                </a:gridCol>
              </a:tblGrid>
              <a:tr h="370840">
                <a:tc>
                  <a:txBody>
                    <a:bodyPr/>
                    <a:lstStyle/>
                    <a:p>
                      <a:endParaRPr lang="en-GB" sz="1100" dirty="0">
                        <a:solidFill>
                          <a:schemeClr val="bg1"/>
                        </a:solidFill>
                      </a:endParaRPr>
                    </a:p>
                  </a:txBody>
                  <a:tcPr anchor="ctr">
                    <a:solidFill>
                      <a:schemeClr val="accent2"/>
                    </a:solidFill>
                  </a:tcPr>
                </a:tc>
                <a:tc>
                  <a:txBody>
                    <a:bodyPr/>
                    <a:lstStyle/>
                    <a:p>
                      <a:pPr algn="ctr"/>
                      <a:endParaRPr lang="en-GB" sz="1100" dirty="0"/>
                    </a:p>
                  </a:txBody>
                  <a:tcPr anchor="ctr">
                    <a:solidFill>
                      <a:schemeClr val="accent2"/>
                    </a:solidFill>
                  </a:tcPr>
                </a:tc>
                <a:tc>
                  <a:txBody>
                    <a:bodyPr/>
                    <a:lstStyle/>
                    <a:p>
                      <a:pPr algn="ctr"/>
                      <a:r>
                        <a:rPr lang="en-US" sz="1100" dirty="0">
                          <a:solidFill>
                            <a:schemeClr val="bg1"/>
                          </a:solidFill>
                        </a:rPr>
                        <a:t>Wave 1A</a:t>
                      </a:r>
                      <a:endParaRPr lang="en-GB" sz="1100" dirty="0">
                        <a:solidFill>
                          <a:schemeClr val="bg1"/>
                        </a:solidFill>
                      </a:endParaRPr>
                    </a:p>
                  </a:txBody>
                  <a:tcPr anchor="ctr">
                    <a:solidFill>
                      <a:schemeClr val="accent2"/>
                    </a:solidFill>
                  </a:tcPr>
                </a:tc>
                <a:tc>
                  <a:txBody>
                    <a:bodyPr/>
                    <a:lstStyle/>
                    <a:p>
                      <a:pPr algn="ctr"/>
                      <a:r>
                        <a:rPr lang="en-US" sz="1100" dirty="0">
                          <a:solidFill>
                            <a:schemeClr val="bg1"/>
                          </a:solidFill>
                        </a:rPr>
                        <a:t>Wave 2/2A</a:t>
                      </a:r>
                      <a:endParaRPr lang="en-GB" sz="1100" dirty="0">
                        <a:solidFill>
                          <a:schemeClr val="bg1"/>
                        </a:solidFill>
                      </a:endParaRPr>
                    </a:p>
                  </a:txBody>
                  <a:tcPr anchor="ctr">
                    <a:solidFill>
                      <a:schemeClr val="accent2"/>
                    </a:solidFill>
                  </a:tcPr>
                </a:tc>
                <a:tc>
                  <a:txBody>
                    <a:bodyPr/>
                    <a:lstStyle/>
                    <a:p>
                      <a:pPr algn="ctr"/>
                      <a:r>
                        <a:rPr lang="en-US" sz="1100" dirty="0">
                          <a:solidFill>
                            <a:schemeClr val="bg1"/>
                          </a:solidFill>
                        </a:rPr>
                        <a:t>Wave 3/3A</a:t>
                      </a:r>
                      <a:endParaRPr lang="en-GB" sz="1100" dirty="0">
                        <a:solidFill>
                          <a:schemeClr val="bg1"/>
                        </a:solidFill>
                      </a:endParaRPr>
                    </a:p>
                  </a:txBody>
                  <a:tcPr anchor="ctr">
                    <a:solidFill>
                      <a:schemeClr val="accent2"/>
                    </a:solidFill>
                  </a:tcPr>
                </a:tc>
                <a:tc>
                  <a:txBody>
                    <a:bodyPr/>
                    <a:lstStyle/>
                    <a:p>
                      <a:pPr algn="ctr"/>
                      <a:endParaRPr lang="en-GB" sz="1100" dirty="0">
                        <a:solidFill>
                          <a:schemeClr val="bg1"/>
                        </a:solidFill>
                      </a:endParaRPr>
                    </a:p>
                  </a:txBody>
                  <a:tcPr anchor="ctr">
                    <a:solidFill>
                      <a:schemeClr val="accent2"/>
                    </a:solidFill>
                  </a:tcPr>
                </a:tc>
                <a:extLst>
                  <a:ext uri="{0D108BD9-81ED-4DB2-BD59-A6C34878D82A}">
                    <a16:rowId xmlns:a16="http://schemas.microsoft.com/office/drawing/2014/main" val="3533378666"/>
                  </a:ext>
                </a:extLst>
              </a:tr>
              <a:tr h="370840">
                <a:tc>
                  <a:txBody>
                    <a:bodyPr/>
                    <a:lstStyle/>
                    <a:p>
                      <a:r>
                        <a:rPr lang="en-US" sz="1100" dirty="0"/>
                        <a:t>Checkpoint 1</a:t>
                      </a:r>
                      <a:endParaRPr lang="en-GB" sz="1100" dirty="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t>Roll-out</a:t>
                      </a:r>
                      <a:r>
                        <a:rPr lang="en-US" sz="1100" baseline="0" dirty="0"/>
                        <a:t> Charter</a:t>
                      </a:r>
                      <a:endParaRPr lang="en-US" sz="1100" dirty="0"/>
                    </a:p>
                  </a:txBody>
                  <a:tcPr anchor="ctr"/>
                </a:tc>
                <a:tc>
                  <a:txBody>
                    <a:bodyPr/>
                    <a:lstStyle/>
                    <a:p>
                      <a:r>
                        <a:rPr lang="en-US" sz="1100" dirty="0"/>
                        <a:t>By </a:t>
                      </a:r>
                      <a:r>
                        <a:rPr lang="en-US" sz="1100" baseline="0" dirty="0"/>
                        <a:t>4 Dec</a:t>
                      </a:r>
                      <a:endParaRPr lang="en-GB" sz="1100" dirty="0"/>
                    </a:p>
                  </a:txBody>
                  <a:tcPr anchor="ctr"/>
                </a:tc>
                <a:tc>
                  <a:txBody>
                    <a:bodyPr/>
                    <a:lstStyle/>
                    <a:p>
                      <a:r>
                        <a:rPr lang="en-US" sz="1100" dirty="0"/>
                        <a:t>By 11 Dec</a:t>
                      </a:r>
                      <a:endParaRPr lang="en-GB" sz="1100" dirty="0"/>
                    </a:p>
                  </a:txBody>
                  <a:tcPr anchor="ctr"/>
                </a:tc>
                <a:tc>
                  <a:txBody>
                    <a:bodyPr/>
                    <a:lstStyle/>
                    <a:p>
                      <a:endParaRPr lang="en-GB" sz="1100"/>
                    </a:p>
                  </a:txBody>
                  <a:tcPr anchor="ctr"/>
                </a:tc>
                <a:tc>
                  <a:txBody>
                    <a:bodyPr/>
                    <a:lstStyle/>
                    <a:p>
                      <a:endParaRPr lang="en-GB" sz="1100"/>
                    </a:p>
                  </a:txBody>
                  <a:tcPr anchor="ctr"/>
                </a:tc>
                <a:extLst>
                  <a:ext uri="{0D108BD9-81ED-4DB2-BD59-A6C34878D82A}">
                    <a16:rowId xmlns:a16="http://schemas.microsoft.com/office/drawing/2014/main" val="2522843645"/>
                  </a:ext>
                </a:extLst>
              </a:tr>
              <a:tr h="370840">
                <a:tc>
                  <a:txBody>
                    <a:bodyPr/>
                    <a:lstStyle/>
                    <a:p>
                      <a:r>
                        <a:rPr lang="en-US" sz="1100" dirty="0"/>
                        <a:t>Checkpoint 2</a:t>
                      </a:r>
                      <a:endParaRPr lang="en-GB" sz="1100" dirty="0"/>
                    </a:p>
                  </a:txBody>
                  <a:tcPr anchor="ctr"/>
                </a:tc>
                <a:tc>
                  <a:txBody>
                    <a:bodyPr/>
                    <a:lstStyle/>
                    <a:p>
                      <a:r>
                        <a:rPr lang="en-US" sz="1100" dirty="0"/>
                        <a:t>Roll-out Preparation</a:t>
                      </a:r>
                      <a:endParaRPr lang="en-GB" sz="1100" dirty="0"/>
                    </a:p>
                  </a:txBody>
                  <a:tcPr anchor="ctr"/>
                </a:tc>
                <a:tc>
                  <a:txBody>
                    <a:bodyPr/>
                    <a:lstStyle/>
                    <a:p>
                      <a:r>
                        <a:rPr lang="en-US" sz="1100" dirty="0"/>
                        <a:t>By 18 Dec</a:t>
                      </a:r>
                      <a:endParaRPr lang="en-GB" sz="1100" dirty="0"/>
                    </a:p>
                  </a:txBody>
                  <a:tcPr anchor="ctr"/>
                </a:tc>
                <a:tc>
                  <a:txBody>
                    <a:bodyPr/>
                    <a:lstStyle/>
                    <a:p>
                      <a:r>
                        <a:rPr lang="en-US" sz="1100" dirty="0"/>
                        <a:t>By 15 Jan</a:t>
                      </a:r>
                      <a:endParaRPr lang="en-GB" sz="1100" dirty="0"/>
                    </a:p>
                  </a:txBody>
                  <a:tcPr anchor="ctr"/>
                </a:tc>
                <a:tc>
                  <a:txBody>
                    <a:bodyPr/>
                    <a:lstStyle/>
                    <a:p>
                      <a:endParaRPr lang="en-GB" sz="1100"/>
                    </a:p>
                  </a:txBody>
                  <a:tcPr anchor="ctr"/>
                </a:tc>
                <a:tc>
                  <a:txBody>
                    <a:bodyPr/>
                    <a:lstStyle/>
                    <a:p>
                      <a:endParaRPr lang="en-GB" sz="1100"/>
                    </a:p>
                  </a:txBody>
                  <a:tcPr anchor="ctr"/>
                </a:tc>
                <a:extLst>
                  <a:ext uri="{0D108BD9-81ED-4DB2-BD59-A6C34878D82A}">
                    <a16:rowId xmlns:a16="http://schemas.microsoft.com/office/drawing/2014/main" val="1547036213"/>
                  </a:ext>
                </a:extLst>
              </a:tr>
              <a:tr h="370840">
                <a:tc>
                  <a:txBody>
                    <a:bodyPr/>
                    <a:lstStyle/>
                    <a:p>
                      <a:r>
                        <a:rPr lang="en-US" sz="1100" dirty="0"/>
                        <a:t>Checkpoint</a:t>
                      </a:r>
                      <a:r>
                        <a:rPr lang="en-US" sz="1100" baseline="0" dirty="0"/>
                        <a:t> 3</a:t>
                      </a:r>
                      <a:endParaRPr lang="en-GB" sz="1100" dirty="0"/>
                    </a:p>
                  </a:txBody>
                  <a:tcPr anchor="ctr"/>
                </a:tc>
                <a:tc>
                  <a:txBody>
                    <a:bodyPr/>
                    <a:lstStyle/>
                    <a:p>
                      <a:r>
                        <a:rPr lang="en-US" sz="1100" dirty="0"/>
                        <a:t>Entry</a:t>
                      </a:r>
                      <a:r>
                        <a:rPr lang="en-US" sz="1100" baseline="0" dirty="0"/>
                        <a:t> to Testing</a:t>
                      </a:r>
                      <a:endParaRPr lang="en-GB" sz="1100" dirty="0"/>
                    </a:p>
                  </a:txBody>
                  <a:tcPr anchor="ctr"/>
                </a:tc>
                <a:tc>
                  <a:txBody>
                    <a:bodyPr/>
                    <a:lstStyle/>
                    <a:p>
                      <a:r>
                        <a:rPr lang="en-US" sz="1100" dirty="0"/>
                        <a:t>By 24 Feb</a:t>
                      </a:r>
                      <a:endParaRPr lang="en-GB" sz="1100" dirty="0"/>
                    </a:p>
                  </a:txBody>
                  <a:tcPr anchor="ctr"/>
                </a:tc>
                <a:tc>
                  <a:txBody>
                    <a:bodyPr/>
                    <a:lstStyle/>
                    <a:p>
                      <a:r>
                        <a:rPr lang="en-US" sz="1100" dirty="0"/>
                        <a:t>By 2 April</a:t>
                      </a:r>
                      <a:endParaRPr lang="en-GB" sz="1100" dirty="0"/>
                    </a:p>
                  </a:txBody>
                  <a:tcPr anchor="ctr"/>
                </a:tc>
                <a:tc>
                  <a:txBody>
                    <a:bodyPr/>
                    <a:lstStyle/>
                    <a:p>
                      <a:endParaRPr lang="en-GB" sz="1100"/>
                    </a:p>
                  </a:txBody>
                  <a:tcPr anchor="ctr"/>
                </a:tc>
                <a:tc>
                  <a:txBody>
                    <a:bodyPr/>
                    <a:lstStyle/>
                    <a:p>
                      <a:endParaRPr lang="en-GB" sz="1100"/>
                    </a:p>
                  </a:txBody>
                  <a:tcPr anchor="ctr"/>
                </a:tc>
                <a:extLst>
                  <a:ext uri="{0D108BD9-81ED-4DB2-BD59-A6C34878D82A}">
                    <a16:rowId xmlns:a16="http://schemas.microsoft.com/office/drawing/2014/main" val="1203440716"/>
                  </a:ext>
                </a:extLst>
              </a:tr>
              <a:tr h="370840">
                <a:tc>
                  <a:txBody>
                    <a:bodyPr/>
                    <a:lstStyle/>
                    <a:p>
                      <a:r>
                        <a:rPr lang="en-US" sz="1100" dirty="0"/>
                        <a:t>Checkpoint 4</a:t>
                      </a:r>
                      <a:endParaRPr lang="en-GB" sz="1100" dirty="0"/>
                    </a:p>
                  </a:txBody>
                  <a:tcPr anchor="ctr"/>
                </a:tc>
                <a:tc>
                  <a:txBody>
                    <a:bodyPr/>
                    <a:lstStyle/>
                    <a:p>
                      <a:r>
                        <a:rPr lang="en-US" sz="1100" dirty="0"/>
                        <a:t>Go-live</a:t>
                      </a:r>
                      <a:r>
                        <a:rPr lang="en-US" sz="1100" baseline="0" dirty="0"/>
                        <a:t> Readiness</a:t>
                      </a:r>
                      <a:endParaRPr lang="en-GB" sz="1100" dirty="0"/>
                    </a:p>
                  </a:txBody>
                  <a:tcPr anchor="ctr"/>
                </a:tc>
                <a:tc>
                  <a:txBody>
                    <a:bodyPr/>
                    <a:lstStyle/>
                    <a:p>
                      <a:r>
                        <a:rPr lang="en-US" sz="1100" dirty="0"/>
                        <a:t>By 16 April</a:t>
                      </a:r>
                      <a:endParaRPr lang="en-GB" sz="1100" dirty="0"/>
                    </a:p>
                  </a:txBody>
                  <a:tcPr anchor="ctr"/>
                </a:tc>
                <a:tc>
                  <a:txBody>
                    <a:bodyPr/>
                    <a:lstStyle/>
                    <a:p>
                      <a:r>
                        <a:rPr lang="en-US" sz="1100" dirty="0"/>
                        <a:t>By 19 May</a:t>
                      </a:r>
                      <a:endParaRPr lang="en-GB" sz="1100" dirty="0"/>
                    </a:p>
                  </a:txBody>
                  <a:tcPr anchor="ctr"/>
                </a:tc>
                <a:tc>
                  <a:txBody>
                    <a:bodyPr/>
                    <a:lstStyle/>
                    <a:p>
                      <a:endParaRPr lang="en-GB" sz="1100" dirty="0"/>
                    </a:p>
                  </a:txBody>
                  <a:tcPr anchor="ctr"/>
                </a:tc>
                <a:tc>
                  <a:txBody>
                    <a:bodyPr/>
                    <a:lstStyle/>
                    <a:p>
                      <a:endParaRPr lang="en-GB" sz="1100"/>
                    </a:p>
                  </a:txBody>
                  <a:tcPr anchor="ctr"/>
                </a:tc>
                <a:extLst>
                  <a:ext uri="{0D108BD9-81ED-4DB2-BD59-A6C34878D82A}">
                    <a16:rowId xmlns:a16="http://schemas.microsoft.com/office/drawing/2014/main" val="1905765756"/>
                  </a:ext>
                </a:extLst>
              </a:tr>
              <a:tr h="370840">
                <a:tc>
                  <a:txBody>
                    <a:bodyPr/>
                    <a:lstStyle/>
                    <a:p>
                      <a:r>
                        <a:rPr lang="en-US" sz="1100" dirty="0"/>
                        <a:t>Checkpoint</a:t>
                      </a:r>
                      <a:r>
                        <a:rPr lang="en-US" sz="1100" baseline="0" dirty="0"/>
                        <a:t> 5</a:t>
                      </a:r>
                      <a:endParaRPr lang="en-GB" sz="1100" dirty="0"/>
                    </a:p>
                  </a:txBody>
                  <a:tcPr anchor="ctr"/>
                </a:tc>
                <a:tc>
                  <a:txBody>
                    <a:bodyPr/>
                    <a:lstStyle/>
                    <a:p>
                      <a:r>
                        <a:rPr lang="en-US" sz="1100" dirty="0"/>
                        <a:t>Exit from </a:t>
                      </a:r>
                      <a:r>
                        <a:rPr lang="en-US" sz="1100" dirty="0" err="1"/>
                        <a:t>Hypercare</a:t>
                      </a:r>
                      <a:endParaRPr lang="en-GB" sz="1100" dirty="0"/>
                    </a:p>
                  </a:txBody>
                  <a:tcPr anchor="ctr"/>
                </a:tc>
                <a:tc>
                  <a:txBody>
                    <a:bodyPr/>
                    <a:lstStyle/>
                    <a:p>
                      <a:r>
                        <a:rPr lang="en-US" sz="1100" dirty="0"/>
                        <a:t>By 21 May</a:t>
                      </a:r>
                      <a:endParaRPr lang="en-GB" sz="1100" dirty="0"/>
                    </a:p>
                  </a:txBody>
                  <a:tcPr anchor="ctr"/>
                </a:tc>
                <a:tc>
                  <a:txBody>
                    <a:bodyPr/>
                    <a:lstStyle/>
                    <a:p>
                      <a:r>
                        <a:rPr lang="en-US" sz="1100" dirty="0"/>
                        <a:t>By</a:t>
                      </a:r>
                      <a:r>
                        <a:rPr lang="en-US" sz="1100" baseline="0" dirty="0"/>
                        <a:t> 25 Jun</a:t>
                      </a:r>
                      <a:endParaRPr lang="en-GB" sz="1100" dirty="0"/>
                    </a:p>
                  </a:txBody>
                  <a:tcPr anchor="ctr"/>
                </a:tc>
                <a:tc>
                  <a:txBody>
                    <a:bodyPr/>
                    <a:lstStyle/>
                    <a:p>
                      <a:endParaRPr lang="en-GB" sz="1100" dirty="0"/>
                    </a:p>
                  </a:txBody>
                  <a:tcPr anchor="ctr"/>
                </a:tc>
                <a:tc>
                  <a:txBody>
                    <a:bodyPr/>
                    <a:lstStyle/>
                    <a:p>
                      <a:endParaRPr lang="en-GB" sz="1100"/>
                    </a:p>
                  </a:txBody>
                  <a:tcPr anchor="ctr"/>
                </a:tc>
                <a:extLst>
                  <a:ext uri="{0D108BD9-81ED-4DB2-BD59-A6C34878D82A}">
                    <a16:rowId xmlns:a16="http://schemas.microsoft.com/office/drawing/2014/main" val="3349913474"/>
                  </a:ext>
                </a:extLst>
              </a:tr>
              <a:tr h="370840">
                <a:tc>
                  <a:txBody>
                    <a:bodyPr/>
                    <a:lstStyle/>
                    <a:p>
                      <a:endParaRPr lang="en-GB" sz="1100"/>
                    </a:p>
                  </a:txBody>
                  <a:tcPr anchor="ctr"/>
                </a:tc>
                <a:tc>
                  <a:txBody>
                    <a:bodyPr/>
                    <a:lstStyle/>
                    <a:p>
                      <a:endParaRPr lang="en-GB" sz="1100"/>
                    </a:p>
                  </a:txBody>
                  <a:tcPr anchor="ctr"/>
                </a:tc>
                <a:tc>
                  <a:txBody>
                    <a:bodyPr/>
                    <a:lstStyle/>
                    <a:p>
                      <a:endParaRPr lang="en-GB" sz="1100"/>
                    </a:p>
                  </a:txBody>
                  <a:tcPr anchor="ctr"/>
                </a:tc>
                <a:tc>
                  <a:txBody>
                    <a:bodyPr/>
                    <a:lstStyle/>
                    <a:p>
                      <a:endParaRPr lang="en-GB" sz="1100"/>
                    </a:p>
                  </a:txBody>
                  <a:tcPr anchor="ctr"/>
                </a:tc>
                <a:tc>
                  <a:txBody>
                    <a:bodyPr/>
                    <a:lstStyle/>
                    <a:p>
                      <a:endParaRPr lang="en-GB" sz="1100"/>
                    </a:p>
                  </a:txBody>
                  <a:tcPr anchor="ctr"/>
                </a:tc>
                <a:tc>
                  <a:txBody>
                    <a:bodyPr/>
                    <a:lstStyle/>
                    <a:p>
                      <a:endParaRPr lang="en-GB" sz="1100" dirty="0"/>
                    </a:p>
                  </a:txBody>
                  <a:tcPr anchor="ctr"/>
                </a:tc>
                <a:extLst>
                  <a:ext uri="{0D108BD9-81ED-4DB2-BD59-A6C34878D82A}">
                    <a16:rowId xmlns:a16="http://schemas.microsoft.com/office/drawing/2014/main" val="2309331617"/>
                  </a:ext>
                </a:extLst>
              </a:tr>
            </a:tbl>
          </a:graphicData>
        </a:graphic>
      </p:graphicFrame>
    </p:spTree>
    <p:extLst>
      <p:ext uri="{BB962C8B-B14F-4D97-AF65-F5344CB8AC3E}">
        <p14:creationId xmlns:p14="http://schemas.microsoft.com/office/powerpoint/2010/main" val="307490315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2400" dirty="0">
                <a:solidFill>
                  <a:schemeClr val="accent6">
                    <a:lumMod val="50000"/>
                  </a:schemeClr>
                </a:solidFill>
              </a:rPr>
              <a:t>How can I find out more?</a:t>
            </a:r>
          </a:p>
        </p:txBody>
      </p:sp>
      <p:sp>
        <p:nvSpPr>
          <p:cNvPr id="3" name="Slide Number Placeholder 2"/>
          <p:cNvSpPr>
            <a:spLocks noGrp="1"/>
          </p:cNvSpPr>
          <p:nvPr>
            <p:ph type="sldNum" sz="quarter" idx="10"/>
          </p:nvPr>
        </p:nvSpPr>
        <p:spPr/>
        <p:txBody>
          <a:bodyPr/>
          <a:lstStyle/>
          <a:p>
            <a:fld id="{47547CF9-5B10-D24F-A8D7-45A9778164F7}" type="slidenum">
              <a:rPr lang="en-US" smtClean="0"/>
              <a:pPr/>
              <a:t>17</a:t>
            </a:fld>
            <a:endParaRPr lang="en-US" dirty="0"/>
          </a:p>
        </p:txBody>
      </p:sp>
      <p:sp>
        <p:nvSpPr>
          <p:cNvPr id="4" name="Footer Placeholder 3"/>
          <p:cNvSpPr>
            <a:spLocks noGrp="1"/>
          </p:cNvSpPr>
          <p:nvPr>
            <p:ph type="ftr" sz="quarter" idx="11"/>
          </p:nvPr>
        </p:nvSpPr>
        <p:spPr/>
        <p:txBody>
          <a:bodyPr/>
          <a:lstStyle/>
          <a:p>
            <a:r>
              <a:rPr lang="en-US"/>
              <a:t>Scout l What is Roll-out? l August 2020</a:t>
            </a:r>
            <a:endParaRPr lang="en-GB" dirty="0"/>
          </a:p>
        </p:txBody>
      </p:sp>
      <p:sp>
        <p:nvSpPr>
          <p:cNvPr id="5" name="Content Placeholder 2"/>
          <p:cNvSpPr txBox="1">
            <a:spLocks/>
          </p:cNvSpPr>
          <p:nvPr/>
        </p:nvSpPr>
        <p:spPr>
          <a:xfrm>
            <a:off x="573722" y="1020549"/>
            <a:ext cx="8229600" cy="2618002"/>
          </a:xfrm>
          <a:prstGeom prst="rect">
            <a:avLst/>
          </a:prstGeom>
        </p:spPr>
        <p:txBody>
          <a:bodyPr vert="horz" lIns="0" tIns="0" rIns="0" bIns="0" spcCol="182880" rtlCol="0">
            <a:noAutofit/>
          </a:bodyPr>
          <a:lstStyle>
            <a:lvl1pPr marL="228600" indent="-228600" algn="l" defTabSz="914400" rtl="0" eaLnBrk="1" latinLnBrk="0" hangingPunct="1">
              <a:spcBef>
                <a:spcPts val="900"/>
              </a:spcBef>
              <a:buClrTx/>
              <a:buSzPct val="100000"/>
              <a:buFont typeface="Wingdings" charset="2"/>
              <a:buChar char="§"/>
              <a:tabLst>
                <a:tab pos="3998913" algn="r"/>
                <a:tab pos="8229600" algn="r"/>
              </a:tabLst>
              <a:defRPr sz="1800" b="0" i="0" kern="1200" spc="0" baseline="0">
                <a:solidFill>
                  <a:schemeClr val="tx1"/>
                </a:solidFill>
                <a:latin typeface="+mn-lt"/>
                <a:ea typeface="+mn-ea"/>
                <a:cs typeface="+mn-cs"/>
              </a:defRPr>
            </a:lvl1pPr>
            <a:lvl2pPr marL="457200" indent="-228600" algn="l" defTabSz="914400" rtl="0" eaLnBrk="1" latinLnBrk="0" hangingPunct="1">
              <a:spcBef>
                <a:spcPts val="300"/>
              </a:spcBef>
              <a:buClrTx/>
              <a:buSzPct val="100000"/>
              <a:buFont typeface="Arial" pitchFamily="34" charset="0"/>
              <a:buChar char="–"/>
              <a:defRPr sz="1600" b="0" i="0" kern="1200" spc="0" baseline="0">
                <a:solidFill>
                  <a:schemeClr val="tx1"/>
                </a:solidFill>
                <a:latin typeface="+mn-lt"/>
                <a:ea typeface="+mn-ea"/>
                <a:cs typeface="+mn-cs"/>
              </a:defRPr>
            </a:lvl2pPr>
            <a:lvl3pPr marL="685800" indent="-228600" algn="l" defTabSz="914400" rtl="0" eaLnBrk="1" latinLnBrk="0" hangingPunct="1">
              <a:spcBef>
                <a:spcPts val="300"/>
              </a:spcBef>
              <a:buClrTx/>
              <a:buSzPct val="100000"/>
              <a:buFont typeface="Arial" pitchFamily="34" charset="0"/>
              <a:buChar char="–"/>
              <a:defRPr sz="1600" b="0" i="0" kern="1200" spc="0" baseline="0">
                <a:solidFill>
                  <a:schemeClr val="tx1"/>
                </a:solidFill>
                <a:latin typeface="+mn-lt"/>
                <a:ea typeface="+mn-ea"/>
                <a:cs typeface="+mn-cs"/>
              </a:defRPr>
            </a:lvl3pPr>
            <a:lvl4pPr marL="914400" indent="-228600" algn="l" defTabSz="914400" rtl="0" eaLnBrk="1" latinLnBrk="0" hangingPunct="1">
              <a:spcBef>
                <a:spcPts val="300"/>
              </a:spcBef>
              <a:buClrTx/>
              <a:buSzPct val="100000"/>
              <a:buFont typeface="Arial" pitchFamily="34" charset="0"/>
              <a:buChar char="–"/>
              <a:defRPr sz="1600" b="0" i="0" kern="1200" spc="0" baseline="0">
                <a:solidFill>
                  <a:schemeClr val="tx1"/>
                </a:solidFill>
                <a:latin typeface="+mn-lt"/>
                <a:ea typeface="+mn-ea"/>
                <a:cs typeface="+mn-cs"/>
              </a:defRPr>
            </a:lvl4pPr>
            <a:lvl5pPr marL="1143000" indent="-228600" algn="l" defTabSz="914400" rtl="0" eaLnBrk="1" latinLnBrk="0" hangingPunct="1">
              <a:spcBef>
                <a:spcPts val="300"/>
              </a:spcBef>
              <a:buClrTx/>
              <a:buSzPct val="100000"/>
              <a:buFont typeface="Arial" pitchFamily="34" charset="0"/>
              <a:buChar char="–"/>
              <a:defRPr sz="1600" b="0" i="0" kern="1200" spc="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GB" sz="1550" dirty="0"/>
              <a:t>General Information:</a:t>
            </a:r>
          </a:p>
          <a:p>
            <a:pPr lvl="1"/>
            <a:r>
              <a:rPr lang="en-GB" sz="1350" dirty="0"/>
              <a:t>We are currently building out the Roll-out pages on Scout Navigator, the Scout Intranet. Please check back from time to time for updates</a:t>
            </a:r>
          </a:p>
          <a:p>
            <a:pPr lvl="1"/>
            <a:r>
              <a:rPr lang="en-GB" sz="1350" dirty="0"/>
              <a:t>Email us on: </a:t>
            </a:r>
            <a:r>
              <a:rPr lang="en-GB" sz="1350" b="1" dirty="0">
                <a:solidFill>
                  <a:schemeClr val="accent3"/>
                </a:solidFill>
              </a:rPr>
              <a:t>scout.rollout@novartis.com</a:t>
            </a:r>
          </a:p>
          <a:p>
            <a:r>
              <a:rPr lang="en-GB" sz="1550" dirty="0"/>
              <a:t>Roll-out Useful Reference Information:</a:t>
            </a:r>
          </a:p>
          <a:p>
            <a:pPr lvl="1"/>
            <a:r>
              <a:rPr lang="en-GB" sz="1350" dirty="0"/>
              <a:t>Will be provided to you by your Roll-out Coordinator</a:t>
            </a:r>
          </a:p>
          <a:p>
            <a:pPr lvl="1"/>
            <a:r>
              <a:rPr lang="en-GB" sz="1350" dirty="0"/>
              <a:t>Will be shared in the Teams Wave 1A Document Library</a:t>
            </a:r>
          </a:p>
          <a:p>
            <a:pPr lvl="1"/>
            <a:r>
              <a:rPr lang="en-GB" sz="1350" dirty="0"/>
              <a:t>If you need a specific document, please ask!</a:t>
            </a:r>
          </a:p>
          <a:p>
            <a:r>
              <a:rPr lang="en-GB" sz="1550" dirty="0"/>
              <a:t>Roll-out Toolkit:</a:t>
            </a:r>
          </a:p>
          <a:p>
            <a:pPr lvl="1"/>
            <a:r>
              <a:rPr lang="en-GB" sz="1350" dirty="0"/>
              <a:t>Currently being enhanced based on Wave 1 lessons learned – will be shared by your Coordinator</a:t>
            </a:r>
          </a:p>
          <a:p>
            <a:pPr lvl="1"/>
            <a:r>
              <a:rPr lang="en-GB" sz="1350" dirty="0"/>
              <a:t>If you have a question about a specific Toolkit item, please ask!</a:t>
            </a:r>
          </a:p>
        </p:txBody>
      </p:sp>
      <p:sp>
        <p:nvSpPr>
          <p:cNvPr id="6" name="TextBox 5"/>
          <p:cNvSpPr txBox="1"/>
          <p:nvPr/>
        </p:nvSpPr>
        <p:spPr>
          <a:xfrm>
            <a:off x="1473914" y="3891975"/>
            <a:ext cx="6013291" cy="584775"/>
          </a:xfrm>
          <a:prstGeom prst="rect">
            <a:avLst/>
          </a:prstGeom>
          <a:noFill/>
        </p:spPr>
        <p:txBody>
          <a:bodyPr wrap="square" rtlCol="0">
            <a:spAutoFit/>
          </a:bodyPr>
          <a:lstStyle/>
          <a:p>
            <a:r>
              <a:rPr lang="en-GB" sz="3200" dirty="0"/>
              <a:t>Talk to us and ask us questions!</a:t>
            </a:r>
          </a:p>
        </p:txBody>
      </p:sp>
      <p:grpSp>
        <p:nvGrpSpPr>
          <p:cNvPr id="7" name="Group 6"/>
          <p:cNvGrpSpPr>
            <a:grpSpLocks/>
          </p:cNvGrpSpPr>
          <p:nvPr/>
        </p:nvGrpSpPr>
        <p:grpSpPr bwMode="auto">
          <a:xfrm>
            <a:off x="4236399" y="4510181"/>
            <a:ext cx="1207715" cy="639136"/>
            <a:chOff x="438151" y="2405063"/>
            <a:chExt cx="901700" cy="604838"/>
          </a:xfrm>
        </p:grpSpPr>
        <p:grpSp>
          <p:nvGrpSpPr>
            <p:cNvPr id="8" name="Group 128"/>
            <p:cNvGrpSpPr>
              <a:grpSpLocks/>
            </p:cNvGrpSpPr>
            <p:nvPr/>
          </p:nvGrpSpPr>
          <p:grpSpPr bwMode="auto">
            <a:xfrm>
              <a:off x="438151" y="2405063"/>
              <a:ext cx="901700" cy="604838"/>
              <a:chOff x="438151" y="2405063"/>
              <a:chExt cx="901700" cy="604838"/>
            </a:xfrm>
          </p:grpSpPr>
          <p:sp>
            <p:nvSpPr>
              <p:cNvPr id="10" name="Freeform 51"/>
              <p:cNvSpPr>
                <a:spLocks/>
              </p:cNvSpPr>
              <p:nvPr/>
            </p:nvSpPr>
            <p:spPr bwMode="auto">
              <a:xfrm>
                <a:off x="438151" y="2405063"/>
                <a:ext cx="901700" cy="604838"/>
              </a:xfrm>
              <a:custGeom>
                <a:avLst/>
                <a:gdLst>
                  <a:gd name="T0" fmla="*/ 568 w 568"/>
                  <a:gd name="T1" fmla="*/ 381 h 381"/>
                  <a:gd name="T2" fmla="*/ 283 w 568"/>
                  <a:gd name="T3" fmla="*/ 0 h 381"/>
                  <a:gd name="T4" fmla="*/ 0 w 568"/>
                  <a:gd name="T5" fmla="*/ 381 h 381"/>
                  <a:gd name="T6" fmla="*/ 568 w 568"/>
                  <a:gd name="T7" fmla="*/ 381 h 381"/>
                </a:gdLst>
                <a:ahLst/>
                <a:cxnLst>
                  <a:cxn ang="0">
                    <a:pos x="T0" y="T1"/>
                  </a:cxn>
                  <a:cxn ang="0">
                    <a:pos x="T2" y="T3"/>
                  </a:cxn>
                  <a:cxn ang="0">
                    <a:pos x="T4" y="T5"/>
                  </a:cxn>
                  <a:cxn ang="0">
                    <a:pos x="T6" y="T7"/>
                  </a:cxn>
                </a:cxnLst>
                <a:rect l="0" t="0" r="r" b="b"/>
                <a:pathLst>
                  <a:path w="568" h="381">
                    <a:moveTo>
                      <a:pt x="568" y="381"/>
                    </a:moveTo>
                    <a:lnTo>
                      <a:pt x="283" y="0"/>
                    </a:lnTo>
                    <a:lnTo>
                      <a:pt x="0" y="381"/>
                    </a:lnTo>
                    <a:lnTo>
                      <a:pt x="568" y="381"/>
                    </a:ln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1" name="Freeform 53"/>
              <p:cNvSpPr>
                <a:spLocks/>
              </p:cNvSpPr>
              <p:nvPr/>
            </p:nvSpPr>
            <p:spPr bwMode="auto">
              <a:xfrm>
                <a:off x="762000" y="2405063"/>
                <a:ext cx="249767" cy="175531"/>
              </a:xfrm>
              <a:custGeom>
                <a:avLst/>
                <a:gdLst>
                  <a:gd name="T0" fmla="*/ 79 w 157"/>
                  <a:gd name="T1" fmla="*/ 0 h 110"/>
                  <a:gd name="T2" fmla="*/ 0 w 157"/>
                  <a:gd name="T3" fmla="*/ 106 h 110"/>
                  <a:gd name="T4" fmla="*/ 5 w 157"/>
                  <a:gd name="T5" fmla="*/ 110 h 110"/>
                  <a:gd name="T6" fmla="*/ 29 w 157"/>
                  <a:gd name="T7" fmla="*/ 91 h 110"/>
                  <a:gd name="T8" fmla="*/ 53 w 157"/>
                  <a:gd name="T9" fmla="*/ 110 h 110"/>
                  <a:gd name="T10" fmla="*/ 77 w 157"/>
                  <a:gd name="T11" fmla="*/ 91 h 110"/>
                  <a:gd name="T12" fmla="*/ 101 w 157"/>
                  <a:gd name="T13" fmla="*/ 110 h 110"/>
                  <a:gd name="T14" fmla="*/ 126 w 157"/>
                  <a:gd name="T15" fmla="*/ 91 h 110"/>
                  <a:gd name="T16" fmla="*/ 150 w 157"/>
                  <a:gd name="T17" fmla="*/ 110 h 110"/>
                  <a:gd name="T18" fmla="*/ 157 w 157"/>
                  <a:gd name="T19" fmla="*/ 104 h 110"/>
                  <a:gd name="T20" fmla="*/ 79 w 157"/>
                  <a:gd name="T21"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7" h="110">
                    <a:moveTo>
                      <a:pt x="79" y="0"/>
                    </a:moveTo>
                    <a:lnTo>
                      <a:pt x="0" y="106"/>
                    </a:lnTo>
                    <a:lnTo>
                      <a:pt x="5" y="110"/>
                    </a:lnTo>
                    <a:lnTo>
                      <a:pt x="29" y="91"/>
                    </a:lnTo>
                    <a:lnTo>
                      <a:pt x="53" y="110"/>
                    </a:lnTo>
                    <a:lnTo>
                      <a:pt x="77" y="91"/>
                    </a:lnTo>
                    <a:lnTo>
                      <a:pt x="101" y="110"/>
                    </a:lnTo>
                    <a:lnTo>
                      <a:pt x="126" y="91"/>
                    </a:lnTo>
                    <a:lnTo>
                      <a:pt x="150" y="110"/>
                    </a:lnTo>
                    <a:lnTo>
                      <a:pt x="157" y="104"/>
                    </a:lnTo>
                    <a:lnTo>
                      <a:pt x="79" y="0"/>
                    </a:lnTo>
                    <a:close/>
                  </a:path>
                </a:pathLst>
              </a:custGeom>
              <a:solidFill>
                <a:srgbClr val="D7EEEE"/>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2" name="Freeform 57"/>
              <p:cNvSpPr>
                <a:spLocks/>
              </p:cNvSpPr>
              <p:nvPr/>
            </p:nvSpPr>
            <p:spPr bwMode="auto">
              <a:xfrm>
                <a:off x="438151" y="2405063"/>
                <a:ext cx="455083" cy="604838"/>
              </a:xfrm>
              <a:custGeom>
                <a:avLst/>
                <a:gdLst>
                  <a:gd name="T0" fmla="*/ 283 w 287"/>
                  <a:gd name="T1" fmla="*/ 0 h 381"/>
                  <a:gd name="T2" fmla="*/ 283 w 287"/>
                  <a:gd name="T3" fmla="*/ 0 h 381"/>
                  <a:gd name="T4" fmla="*/ 0 w 287"/>
                  <a:gd name="T5" fmla="*/ 381 h 381"/>
                  <a:gd name="T6" fmla="*/ 287 w 287"/>
                  <a:gd name="T7" fmla="*/ 381 h 381"/>
                  <a:gd name="T8" fmla="*/ 284 w 287"/>
                  <a:gd name="T9" fmla="*/ 93 h 381"/>
                  <a:gd name="T10" fmla="*/ 281 w 287"/>
                  <a:gd name="T11" fmla="*/ 91 h 381"/>
                  <a:gd name="T12" fmla="*/ 257 w 287"/>
                  <a:gd name="T13" fmla="*/ 110 h 381"/>
                  <a:gd name="T14" fmla="*/ 233 w 287"/>
                  <a:gd name="T15" fmla="*/ 91 h 381"/>
                  <a:gd name="T16" fmla="*/ 209 w 287"/>
                  <a:gd name="T17" fmla="*/ 110 h 381"/>
                  <a:gd name="T18" fmla="*/ 204 w 287"/>
                  <a:gd name="T19" fmla="*/ 106 h 381"/>
                  <a:gd name="T20" fmla="*/ 283 w 287"/>
                  <a:gd name="T21" fmla="*/ 0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7" h="381">
                    <a:moveTo>
                      <a:pt x="283" y="0"/>
                    </a:moveTo>
                    <a:lnTo>
                      <a:pt x="283" y="0"/>
                    </a:lnTo>
                    <a:lnTo>
                      <a:pt x="0" y="381"/>
                    </a:lnTo>
                    <a:lnTo>
                      <a:pt x="287" y="381"/>
                    </a:lnTo>
                    <a:lnTo>
                      <a:pt x="284" y="93"/>
                    </a:lnTo>
                    <a:lnTo>
                      <a:pt x="281" y="91"/>
                    </a:lnTo>
                    <a:lnTo>
                      <a:pt x="257" y="110"/>
                    </a:lnTo>
                    <a:lnTo>
                      <a:pt x="233" y="91"/>
                    </a:lnTo>
                    <a:lnTo>
                      <a:pt x="209" y="110"/>
                    </a:lnTo>
                    <a:lnTo>
                      <a:pt x="204" y="106"/>
                    </a:lnTo>
                    <a:lnTo>
                      <a:pt x="283"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sp>
          <p:nvSpPr>
            <p:cNvPr id="9" name="Freeform 59"/>
            <p:cNvSpPr>
              <a:spLocks/>
            </p:cNvSpPr>
            <p:nvPr/>
          </p:nvSpPr>
          <p:spPr bwMode="auto">
            <a:xfrm>
              <a:off x="762000" y="2405063"/>
              <a:ext cx="127000" cy="175531"/>
            </a:xfrm>
            <a:custGeom>
              <a:avLst/>
              <a:gdLst>
                <a:gd name="T0" fmla="*/ 79 w 80"/>
                <a:gd name="T1" fmla="*/ 0 h 110"/>
                <a:gd name="T2" fmla="*/ 79 w 80"/>
                <a:gd name="T3" fmla="*/ 0 h 110"/>
                <a:gd name="T4" fmla="*/ 0 w 80"/>
                <a:gd name="T5" fmla="*/ 106 h 110"/>
                <a:gd name="T6" fmla="*/ 5 w 80"/>
                <a:gd name="T7" fmla="*/ 110 h 110"/>
                <a:gd name="T8" fmla="*/ 29 w 80"/>
                <a:gd name="T9" fmla="*/ 91 h 110"/>
                <a:gd name="T10" fmla="*/ 53 w 80"/>
                <a:gd name="T11" fmla="*/ 110 h 110"/>
                <a:gd name="T12" fmla="*/ 77 w 80"/>
                <a:gd name="T13" fmla="*/ 91 h 110"/>
                <a:gd name="T14" fmla="*/ 80 w 80"/>
                <a:gd name="T15" fmla="*/ 93 h 110"/>
                <a:gd name="T16" fmla="*/ 79 w 80"/>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110">
                  <a:moveTo>
                    <a:pt x="79" y="0"/>
                  </a:moveTo>
                  <a:lnTo>
                    <a:pt x="79" y="0"/>
                  </a:lnTo>
                  <a:lnTo>
                    <a:pt x="0" y="106"/>
                  </a:lnTo>
                  <a:lnTo>
                    <a:pt x="5" y="110"/>
                  </a:lnTo>
                  <a:lnTo>
                    <a:pt x="29" y="91"/>
                  </a:lnTo>
                  <a:lnTo>
                    <a:pt x="53" y="110"/>
                  </a:lnTo>
                  <a:lnTo>
                    <a:pt x="77" y="91"/>
                  </a:lnTo>
                  <a:lnTo>
                    <a:pt x="80" y="93"/>
                  </a:lnTo>
                  <a:lnTo>
                    <a:pt x="79"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13" name="Group 12"/>
          <p:cNvGrpSpPr>
            <a:grpSpLocks/>
          </p:cNvGrpSpPr>
          <p:nvPr/>
        </p:nvGrpSpPr>
        <p:grpSpPr bwMode="auto">
          <a:xfrm>
            <a:off x="4899397" y="4349314"/>
            <a:ext cx="1425203" cy="797614"/>
            <a:chOff x="1489076" y="2028826"/>
            <a:chExt cx="1460500" cy="979488"/>
          </a:xfrm>
        </p:grpSpPr>
        <p:sp>
          <p:nvSpPr>
            <p:cNvPr id="14" name="Freeform 41"/>
            <p:cNvSpPr>
              <a:spLocks/>
            </p:cNvSpPr>
            <p:nvPr/>
          </p:nvSpPr>
          <p:spPr bwMode="auto">
            <a:xfrm>
              <a:off x="1489076" y="2028826"/>
              <a:ext cx="1460500" cy="979488"/>
            </a:xfrm>
            <a:custGeom>
              <a:avLst/>
              <a:gdLst>
                <a:gd name="T0" fmla="*/ 920 w 920"/>
                <a:gd name="T1" fmla="*/ 617 h 617"/>
                <a:gd name="T2" fmla="*/ 460 w 920"/>
                <a:gd name="T3" fmla="*/ 0 h 617"/>
                <a:gd name="T4" fmla="*/ 0 w 920"/>
                <a:gd name="T5" fmla="*/ 617 h 617"/>
                <a:gd name="T6" fmla="*/ 920 w 920"/>
                <a:gd name="T7" fmla="*/ 617 h 617"/>
              </a:gdLst>
              <a:ahLst/>
              <a:cxnLst>
                <a:cxn ang="0">
                  <a:pos x="T0" y="T1"/>
                </a:cxn>
                <a:cxn ang="0">
                  <a:pos x="T2" y="T3"/>
                </a:cxn>
                <a:cxn ang="0">
                  <a:pos x="T4" y="T5"/>
                </a:cxn>
                <a:cxn ang="0">
                  <a:pos x="T6" y="T7"/>
                </a:cxn>
              </a:cxnLst>
              <a:rect l="0" t="0" r="r" b="b"/>
              <a:pathLst>
                <a:path w="920" h="617">
                  <a:moveTo>
                    <a:pt x="920" y="617"/>
                  </a:moveTo>
                  <a:lnTo>
                    <a:pt x="460" y="0"/>
                  </a:lnTo>
                  <a:lnTo>
                    <a:pt x="0" y="617"/>
                  </a:lnTo>
                  <a:lnTo>
                    <a:pt x="920" y="617"/>
                  </a:ln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5" name="Freeform 14"/>
            <p:cNvSpPr>
              <a:spLocks/>
            </p:cNvSpPr>
            <p:nvPr/>
          </p:nvSpPr>
          <p:spPr bwMode="auto">
            <a:xfrm>
              <a:off x="2014009" y="2028826"/>
              <a:ext cx="406400" cy="281973"/>
            </a:xfrm>
            <a:custGeom>
              <a:avLst/>
              <a:gdLst>
                <a:gd name="T0" fmla="*/ 129 w 255"/>
                <a:gd name="T1" fmla="*/ 0 h 178"/>
                <a:gd name="T2" fmla="*/ 0 w 255"/>
                <a:gd name="T3" fmla="*/ 173 h 178"/>
                <a:gd name="T4" fmla="*/ 8 w 255"/>
                <a:gd name="T5" fmla="*/ 178 h 178"/>
                <a:gd name="T6" fmla="*/ 46 w 255"/>
                <a:gd name="T7" fmla="*/ 148 h 178"/>
                <a:gd name="T8" fmla="*/ 86 w 255"/>
                <a:gd name="T9" fmla="*/ 178 h 178"/>
                <a:gd name="T10" fmla="*/ 124 w 255"/>
                <a:gd name="T11" fmla="*/ 148 h 178"/>
                <a:gd name="T12" fmla="*/ 164 w 255"/>
                <a:gd name="T13" fmla="*/ 178 h 178"/>
                <a:gd name="T14" fmla="*/ 202 w 255"/>
                <a:gd name="T15" fmla="*/ 148 h 178"/>
                <a:gd name="T16" fmla="*/ 242 w 255"/>
                <a:gd name="T17" fmla="*/ 178 h 178"/>
                <a:gd name="T18" fmla="*/ 255 w 255"/>
                <a:gd name="T19" fmla="*/ 169 h 178"/>
                <a:gd name="T20" fmla="*/ 129 w 255"/>
                <a:gd name="T21"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5" h="178">
                  <a:moveTo>
                    <a:pt x="129" y="0"/>
                  </a:moveTo>
                  <a:lnTo>
                    <a:pt x="0" y="173"/>
                  </a:lnTo>
                  <a:lnTo>
                    <a:pt x="8" y="178"/>
                  </a:lnTo>
                  <a:lnTo>
                    <a:pt x="46" y="148"/>
                  </a:lnTo>
                  <a:lnTo>
                    <a:pt x="86" y="178"/>
                  </a:lnTo>
                  <a:lnTo>
                    <a:pt x="124" y="148"/>
                  </a:lnTo>
                  <a:lnTo>
                    <a:pt x="164" y="178"/>
                  </a:lnTo>
                  <a:lnTo>
                    <a:pt x="202" y="148"/>
                  </a:lnTo>
                  <a:lnTo>
                    <a:pt x="242" y="178"/>
                  </a:lnTo>
                  <a:lnTo>
                    <a:pt x="255" y="169"/>
                  </a:lnTo>
                  <a:lnTo>
                    <a:pt x="129" y="0"/>
                  </a:lnTo>
                  <a:close/>
                </a:path>
              </a:pathLst>
            </a:custGeom>
            <a:solidFill>
              <a:srgbClr val="D7EEEE"/>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6" name="Freeform 47"/>
            <p:cNvSpPr>
              <a:spLocks/>
            </p:cNvSpPr>
            <p:nvPr/>
          </p:nvSpPr>
          <p:spPr bwMode="auto">
            <a:xfrm>
              <a:off x="1489076" y="2028826"/>
              <a:ext cx="736600" cy="979488"/>
            </a:xfrm>
            <a:custGeom>
              <a:avLst/>
              <a:gdLst>
                <a:gd name="T0" fmla="*/ 460 w 464"/>
                <a:gd name="T1" fmla="*/ 0 h 617"/>
                <a:gd name="T2" fmla="*/ 212 w 464"/>
                <a:gd name="T3" fmla="*/ 333 h 617"/>
                <a:gd name="T4" fmla="*/ 212 w 464"/>
                <a:gd name="T5" fmla="*/ 583 h 617"/>
                <a:gd name="T6" fmla="*/ 27 w 464"/>
                <a:gd name="T7" fmla="*/ 583 h 617"/>
                <a:gd name="T8" fmla="*/ 0 w 464"/>
                <a:gd name="T9" fmla="*/ 617 h 617"/>
                <a:gd name="T10" fmla="*/ 464 w 464"/>
                <a:gd name="T11" fmla="*/ 617 h 617"/>
                <a:gd name="T12" fmla="*/ 461 w 464"/>
                <a:gd name="T13" fmla="*/ 152 h 617"/>
                <a:gd name="T14" fmla="*/ 455 w 464"/>
                <a:gd name="T15" fmla="*/ 148 h 617"/>
                <a:gd name="T16" fmla="*/ 417 w 464"/>
                <a:gd name="T17" fmla="*/ 178 h 617"/>
                <a:gd name="T18" fmla="*/ 377 w 464"/>
                <a:gd name="T19" fmla="*/ 148 h 617"/>
                <a:gd name="T20" fmla="*/ 339 w 464"/>
                <a:gd name="T21" fmla="*/ 178 h 617"/>
                <a:gd name="T22" fmla="*/ 331 w 464"/>
                <a:gd name="T23" fmla="*/ 173 h 617"/>
                <a:gd name="T24" fmla="*/ 460 w 464"/>
                <a:gd name="T25"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4" h="617">
                  <a:moveTo>
                    <a:pt x="460" y="0"/>
                  </a:moveTo>
                  <a:lnTo>
                    <a:pt x="212" y="333"/>
                  </a:lnTo>
                  <a:lnTo>
                    <a:pt x="212" y="583"/>
                  </a:lnTo>
                  <a:lnTo>
                    <a:pt x="27" y="583"/>
                  </a:lnTo>
                  <a:lnTo>
                    <a:pt x="0" y="617"/>
                  </a:lnTo>
                  <a:lnTo>
                    <a:pt x="464" y="617"/>
                  </a:lnTo>
                  <a:lnTo>
                    <a:pt x="461" y="152"/>
                  </a:lnTo>
                  <a:lnTo>
                    <a:pt x="455" y="148"/>
                  </a:lnTo>
                  <a:lnTo>
                    <a:pt x="417" y="178"/>
                  </a:lnTo>
                  <a:lnTo>
                    <a:pt x="377" y="148"/>
                  </a:lnTo>
                  <a:lnTo>
                    <a:pt x="339" y="178"/>
                  </a:lnTo>
                  <a:lnTo>
                    <a:pt x="331" y="173"/>
                  </a:lnTo>
                  <a:lnTo>
                    <a:pt x="460"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7" name="Freeform 49"/>
            <p:cNvSpPr>
              <a:spLocks/>
            </p:cNvSpPr>
            <p:nvPr/>
          </p:nvSpPr>
          <p:spPr bwMode="auto">
            <a:xfrm>
              <a:off x="2014009" y="2028826"/>
              <a:ext cx="207433" cy="281973"/>
            </a:xfrm>
            <a:custGeom>
              <a:avLst/>
              <a:gdLst>
                <a:gd name="T0" fmla="*/ 129 w 130"/>
                <a:gd name="T1" fmla="*/ 0 h 178"/>
                <a:gd name="T2" fmla="*/ 129 w 130"/>
                <a:gd name="T3" fmla="*/ 0 h 178"/>
                <a:gd name="T4" fmla="*/ 0 w 130"/>
                <a:gd name="T5" fmla="*/ 173 h 178"/>
                <a:gd name="T6" fmla="*/ 8 w 130"/>
                <a:gd name="T7" fmla="*/ 178 h 178"/>
                <a:gd name="T8" fmla="*/ 46 w 130"/>
                <a:gd name="T9" fmla="*/ 148 h 178"/>
                <a:gd name="T10" fmla="*/ 86 w 130"/>
                <a:gd name="T11" fmla="*/ 178 h 178"/>
                <a:gd name="T12" fmla="*/ 124 w 130"/>
                <a:gd name="T13" fmla="*/ 148 h 178"/>
                <a:gd name="T14" fmla="*/ 130 w 130"/>
                <a:gd name="T15" fmla="*/ 152 h 178"/>
                <a:gd name="T16" fmla="*/ 129 w 130"/>
                <a:gd name="T17" fmla="*/ 0 h 178"/>
                <a:gd name="T18" fmla="*/ 129 w 130"/>
                <a:gd name="T19"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0" h="178">
                  <a:moveTo>
                    <a:pt x="129" y="0"/>
                  </a:moveTo>
                  <a:lnTo>
                    <a:pt x="129" y="0"/>
                  </a:lnTo>
                  <a:lnTo>
                    <a:pt x="0" y="173"/>
                  </a:lnTo>
                  <a:lnTo>
                    <a:pt x="8" y="178"/>
                  </a:lnTo>
                  <a:lnTo>
                    <a:pt x="46" y="148"/>
                  </a:lnTo>
                  <a:lnTo>
                    <a:pt x="86" y="178"/>
                  </a:lnTo>
                  <a:lnTo>
                    <a:pt x="124" y="148"/>
                  </a:lnTo>
                  <a:lnTo>
                    <a:pt x="130" y="152"/>
                  </a:lnTo>
                  <a:lnTo>
                    <a:pt x="129" y="0"/>
                  </a:lnTo>
                  <a:lnTo>
                    <a:pt x="129"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18" name="Group 17"/>
          <p:cNvGrpSpPr>
            <a:grpSpLocks/>
          </p:cNvGrpSpPr>
          <p:nvPr/>
        </p:nvGrpSpPr>
        <p:grpSpPr bwMode="auto">
          <a:xfrm>
            <a:off x="3237117" y="4705350"/>
            <a:ext cx="1207715" cy="445388"/>
            <a:chOff x="438151" y="2405063"/>
            <a:chExt cx="901700" cy="604838"/>
          </a:xfrm>
        </p:grpSpPr>
        <p:grpSp>
          <p:nvGrpSpPr>
            <p:cNvPr id="19" name="Group 128"/>
            <p:cNvGrpSpPr>
              <a:grpSpLocks/>
            </p:cNvGrpSpPr>
            <p:nvPr/>
          </p:nvGrpSpPr>
          <p:grpSpPr bwMode="auto">
            <a:xfrm>
              <a:off x="438151" y="2405063"/>
              <a:ext cx="901700" cy="604838"/>
              <a:chOff x="438151" y="2405063"/>
              <a:chExt cx="901700" cy="604838"/>
            </a:xfrm>
          </p:grpSpPr>
          <p:sp>
            <p:nvSpPr>
              <p:cNvPr id="21" name="Freeform 51"/>
              <p:cNvSpPr>
                <a:spLocks/>
              </p:cNvSpPr>
              <p:nvPr/>
            </p:nvSpPr>
            <p:spPr bwMode="auto">
              <a:xfrm>
                <a:off x="438151" y="2405063"/>
                <a:ext cx="901700" cy="604838"/>
              </a:xfrm>
              <a:custGeom>
                <a:avLst/>
                <a:gdLst>
                  <a:gd name="T0" fmla="*/ 568 w 568"/>
                  <a:gd name="T1" fmla="*/ 381 h 381"/>
                  <a:gd name="T2" fmla="*/ 283 w 568"/>
                  <a:gd name="T3" fmla="*/ 0 h 381"/>
                  <a:gd name="T4" fmla="*/ 0 w 568"/>
                  <a:gd name="T5" fmla="*/ 381 h 381"/>
                  <a:gd name="T6" fmla="*/ 568 w 568"/>
                  <a:gd name="T7" fmla="*/ 381 h 381"/>
                </a:gdLst>
                <a:ahLst/>
                <a:cxnLst>
                  <a:cxn ang="0">
                    <a:pos x="T0" y="T1"/>
                  </a:cxn>
                  <a:cxn ang="0">
                    <a:pos x="T2" y="T3"/>
                  </a:cxn>
                  <a:cxn ang="0">
                    <a:pos x="T4" y="T5"/>
                  </a:cxn>
                  <a:cxn ang="0">
                    <a:pos x="T6" y="T7"/>
                  </a:cxn>
                </a:cxnLst>
                <a:rect l="0" t="0" r="r" b="b"/>
                <a:pathLst>
                  <a:path w="568" h="381">
                    <a:moveTo>
                      <a:pt x="568" y="381"/>
                    </a:moveTo>
                    <a:lnTo>
                      <a:pt x="283" y="0"/>
                    </a:lnTo>
                    <a:lnTo>
                      <a:pt x="0" y="381"/>
                    </a:lnTo>
                    <a:lnTo>
                      <a:pt x="568" y="381"/>
                    </a:ln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2" name="Freeform 53"/>
              <p:cNvSpPr>
                <a:spLocks/>
              </p:cNvSpPr>
              <p:nvPr/>
            </p:nvSpPr>
            <p:spPr bwMode="auto">
              <a:xfrm>
                <a:off x="762000" y="2405063"/>
                <a:ext cx="249767" cy="175531"/>
              </a:xfrm>
              <a:custGeom>
                <a:avLst/>
                <a:gdLst>
                  <a:gd name="T0" fmla="*/ 79 w 157"/>
                  <a:gd name="T1" fmla="*/ 0 h 110"/>
                  <a:gd name="T2" fmla="*/ 0 w 157"/>
                  <a:gd name="T3" fmla="*/ 106 h 110"/>
                  <a:gd name="T4" fmla="*/ 5 w 157"/>
                  <a:gd name="T5" fmla="*/ 110 h 110"/>
                  <a:gd name="T6" fmla="*/ 29 w 157"/>
                  <a:gd name="T7" fmla="*/ 91 h 110"/>
                  <a:gd name="T8" fmla="*/ 53 w 157"/>
                  <a:gd name="T9" fmla="*/ 110 h 110"/>
                  <a:gd name="T10" fmla="*/ 77 w 157"/>
                  <a:gd name="T11" fmla="*/ 91 h 110"/>
                  <a:gd name="T12" fmla="*/ 101 w 157"/>
                  <a:gd name="T13" fmla="*/ 110 h 110"/>
                  <a:gd name="T14" fmla="*/ 126 w 157"/>
                  <a:gd name="T15" fmla="*/ 91 h 110"/>
                  <a:gd name="T16" fmla="*/ 150 w 157"/>
                  <a:gd name="T17" fmla="*/ 110 h 110"/>
                  <a:gd name="T18" fmla="*/ 157 w 157"/>
                  <a:gd name="T19" fmla="*/ 104 h 110"/>
                  <a:gd name="T20" fmla="*/ 79 w 157"/>
                  <a:gd name="T21"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7" h="110">
                    <a:moveTo>
                      <a:pt x="79" y="0"/>
                    </a:moveTo>
                    <a:lnTo>
                      <a:pt x="0" y="106"/>
                    </a:lnTo>
                    <a:lnTo>
                      <a:pt x="5" y="110"/>
                    </a:lnTo>
                    <a:lnTo>
                      <a:pt x="29" y="91"/>
                    </a:lnTo>
                    <a:lnTo>
                      <a:pt x="53" y="110"/>
                    </a:lnTo>
                    <a:lnTo>
                      <a:pt x="77" y="91"/>
                    </a:lnTo>
                    <a:lnTo>
                      <a:pt x="101" y="110"/>
                    </a:lnTo>
                    <a:lnTo>
                      <a:pt x="126" y="91"/>
                    </a:lnTo>
                    <a:lnTo>
                      <a:pt x="150" y="110"/>
                    </a:lnTo>
                    <a:lnTo>
                      <a:pt x="157" y="104"/>
                    </a:lnTo>
                    <a:lnTo>
                      <a:pt x="79" y="0"/>
                    </a:lnTo>
                    <a:close/>
                  </a:path>
                </a:pathLst>
              </a:custGeom>
              <a:solidFill>
                <a:srgbClr val="D7EEEE"/>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3" name="Freeform 57"/>
              <p:cNvSpPr>
                <a:spLocks/>
              </p:cNvSpPr>
              <p:nvPr/>
            </p:nvSpPr>
            <p:spPr bwMode="auto">
              <a:xfrm>
                <a:off x="438151" y="2405063"/>
                <a:ext cx="455083" cy="604838"/>
              </a:xfrm>
              <a:custGeom>
                <a:avLst/>
                <a:gdLst>
                  <a:gd name="T0" fmla="*/ 283 w 287"/>
                  <a:gd name="T1" fmla="*/ 0 h 381"/>
                  <a:gd name="T2" fmla="*/ 283 w 287"/>
                  <a:gd name="T3" fmla="*/ 0 h 381"/>
                  <a:gd name="T4" fmla="*/ 0 w 287"/>
                  <a:gd name="T5" fmla="*/ 381 h 381"/>
                  <a:gd name="T6" fmla="*/ 287 w 287"/>
                  <a:gd name="T7" fmla="*/ 381 h 381"/>
                  <a:gd name="T8" fmla="*/ 284 w 287"/>
                  <a:gd name="T9" fmla="*/ 93 h 381"/>
                  <a:gd name="T10" fmla="*/ 281 w 287"/>
                  <a:gd name="T11" fmla="*/ 91 h 381"/>
                  <a:gd name="T12" fmla="*/ 257 w 287"/>
                  <a:gd name="T13" fmla="*/ 110 h 381"/>
                  <a:gd name="T14" fmla="*/ 233 w 287"/>
                  <a:gd name="T15" fmla="*/ 91 h 381"/>
                  <a:gd name="T16" fmla="*/ 209 w 287"/>
                  <a:gd name="T17" fmla="*/ 110 h 381"/>
                  <a:gd name="T18" fmla="*/ 204 w 287"/>
                  <a:gd name="T19" fmla="*/ 106 h 381"/>
                  <a:gd name="T20" fmla="*/ 283 w 287"/>
                  <a:gd name="T21" fmla="*/ 0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7" h="381">
                    <a:moveTo>
                      <a:pt x="283" y="0"/>
                    </a:moveTo>
                    <a:lnTo>
                      <a:pt x="283" y="0"/>
                    </a:lnTo>
                    <a:lnTo>
                      <a:pt x="0" y="381"/>
                    </a:lnTo>
                    <a:lnTo>
                      <a:pt x="287" y="381"/>
                    </a:lnTo>
                    <a:lnTo>
                      <a:pt x="284" y="93"/>
                    </a:lnTo>
                    <a:lnTo>
                      <a:pt x="281" y="91"/>
                    </a:lnTo>
                    <a:lnTo>
                      <a:pt x="257" y="110"/>
                    </a:lnTo>
                    <a:lnTo>
                      <a:pt x="233" y="91"/>
                    </a:lnTo>
                    <a:lnTo>
                      <a:pt x="209" y="110"/>
                    </a:lnTo>
                    <a:lnTo>
                      <a:pt x="204" y="106"/>
                    </a:lnTo>
                    <a:lnTo>
                      <a:pt x="283"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sp>
          <p:nvSpPr>
            <p:cNvPr id="20" name="Freeform 59"/>
            <p:cNvSpPr>
              <a:spLocks/>
            </p:cNvSpPr>
            <p:nvPr/>
          </p:nvSpPr>
          <p:spPr bwMode="auto">
            <a:xfrm>
              <a:off x="762000" y="2405063"/>
              <a:ext cx="127000" cy="175531"/>
            </a:xfrm>
            <a:custGeom>
              <a:avLst/>
              <a:gdLst>
                <a:gd name="T0" fmla="*/ 79 w 80"/>
                <a:gd name="T1" fmla="*/ 0 h 110"/>
                <a:gd name="T2" fmla="*/ 79 w 80"/>
                <a:gd name="T3" fmla="*/ 0 h 110"/>
                <a:gd name="T4" fmla="*/ 0 w 80"/>
                <a:gd name="T5" fmla="*/ 106 h 110"/>
                <a:gd name="T6" fmla="*/ 5 w 80"/>
                <a:gd name="T7" fmla="*/ 110 h 110"/>
                <a:gd name="T8" fmla="*/ 29 w 80"/>
                <a:gd name="T9" fmla="*/ 91 h 110"/>
                <a:gd name="T10" fmla="*/ 53 w 80"/>
                <a:gd name="T11" fmla="*/ 110 h 110"/>
                <a:gd name="T12" fmla="*/ 77 w 80"/>
                <a:gd name="T13" fmla="*/ 91 h 110"/>
                <a:gd name="T14" fmla="*/ 80 w 80"/>
                <a:gd name="T15" fmla="*/ 93 h 110"/>
                <a:gd name="T16" fmla="*/ 79 w 80"/>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110">
                  <a:moveTo>
                    <a:pt x="79" y="0"/>
                  </a:moveTo>
                  <a:lnTo>
                    <a:pt x="79" y="0"/>
                  </a:lnTo>
                  <a:lnTo>
                    <a:pt x="0" y="106"/>
                  </a:lnTo>
                  <a:lnTo>
                    <a:pt x="5" y="110"/>
                  </a:lnTo>
                  <a:lnTo>
                    <a:pt x="29" y="91"/>
                  </a:lnTo>
                  <a:lnTo>
                    <a:pt x="53" y="110"/>
                  </a:lnTo>
                  <a:lnTo>
                    <a:pt x="77" y="91"/>
                  </a:lnTo>
                  <a:lnTo>
                    <a:pt x="80" y="93"/>
                  </a:lnTo>
                  <a:lnTo>
                    <a:pt x="79"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24" name="Group 23"/>
          <p:cNvGrpSpPr>
            <a:grpSpLocks/>
          </p:cNvGrpSpPr>
          <p:nvPr/>
        </p:nvGrpSpPr>
        <p:grpSpPr>
          <a:xfrm>
            <a:off x="4073497" y="4813224"/>
            <a:ext cx="1507316" cy="330277"/>
            <a:chOff x="3387057" y="4645045"/>
            <a:chExt cx="1760964" cy="507114"/>
          </a:xfrm>
        </p:grpSpPr>
        <p:sp>
          <p:nvSpPr>
            <p:cNvPr id="25" name="Freeform 61"/>
            <p:cNvSpPr>
              <a:spLocks/>
            </p:cNvSpPr>
            <p:nvPr/>
          </p:nvSpPr>
          <p:spPr bwMode="auto">
            <a:xfrm>
              <a:off x="3387057" y="4645045"/>
              <a:ext cx="1760964" cy="496002"/>
            </a:xfrm>
            <a:custGeom>
              <a:avLst/>
              <a:gdLst>
                <a:gd name="T0" fmla="*/ 0 w 1089"/>
                <a:gd name="T1" fmla="*/ 279 h 279"/>
                <a:gd name="T2" fmla="*/ 545 w 1089"/>
                <a:gd name="T3" fmla="*/ 0 h 279"/>
                <a:gd name="T4" fmla="*/ 1089 w 1089"/>
                <a:gd name="T5" fmla="*/ 279 h 279"/>
                <a:gd name="T6" fmla="*/ 0 w 1089"/>
                <a:gd name="T7" fmla="*/ 279 h 279"/>
              </a:gdLst>
              <a:ahLst/>
              <a:cxnLst>
                <a:cxn ang="0">
                  <a:pos x="T0" y="T1"/>
                </a:cxn>
                <a:cxn ang="0">
                  <a:pos x="T2" y="T3"/>
                </a:cxn>
                <a:cxn ang="0">
                  <a:pos x="T4" y="T5"/>
                </a:cxn>
                <a:cxn ang="0">
                  <a:pos x="T6" y="T7"/>
                </a:cxn>
              </a:cxnLst>
              <a:rect l="0" t="0" r="r" b="b"/>
              <a:pathLst>
                <a:path w="1089" h="279">
                  <a:moveTo>
                    <a:pt x="0" y="279"/>
                  </a:moveTo>
                  <a:cubicBezTo>
                    <a:pt x="139" y="166"/>
                    <a:pt x="363" y="0"/>
                    <a:pt x="545" y="0"/>
                  </a:cubicBezTo>
                  <a:cubicBezTo>
                    <a:pt x="727" y="0"/>
                    <a:pt x="1051" y="193"/>
                    <a:pt x="1089" y="279"/>
                  </a:cubicBezTo>
                  <a:lnTo>
                    <a:pt x="0" y="279"/>
                  </a:lnTo>
                  <a:close/>
                </a:path>
              </a:pathLst>
            </a:custGeom>
            <a:solidFill>
              <a:srgbClr val="86C44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nvGrpSpPr>
            <p:cNvPr id="26" name="Group 25"/>
            <p:cNvGrpSpPr>
              <a:grpSpLocks/>
            </p:cNvGrpSpPr>
            <p:nvPr/>
          </p:nvGrpSpPr>
          <p:grpSpPr bwMode="auto">
            <a:xfrm>
              <a:off x="3434622" y="4993267"/>
              <a:ext cx="616436" cy="158892"/>
              <a:chOff x="438151" y="2865438"/>
              <a:chExt cx="665163" cy="157163"/>
            </a:xfrm>
          </p:grpSpPr>
          <p:sp>
            <p:nvSpPr>
              <p:cNvPr id="30" name="Rectangle 55"/>
              <p:cNvSpPr>
                <a:spLocks noChangeArrowheads="1"/>
              </p:cNvSpPr>
              <p:nvPr/>
            </p:nvSpPr>
            <p:spPr bwMode="auto">
              <a:xfrm>
                <a:off x="438151" y="3009858"/>
                <a:ext cx="455445" cy="2124"/>
              </a:xfrm>
              <a:prstGeom prst="rect">
                <a:avLst/>
              </a:prstGeom>
              <a:solidFill>
                <a:srgbClr val="ABA7A7"/>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1" name="Freeform 56"/>
              <p:cNvSpPr>
                <a:spLocks/>
              </p:cNvSpPr>
              <p:nvPr/>
            </p:nvSpPr>
            <p:spPr bwMode="auto">
              <a:xfrm>
                <a:off x="438151" y="3009858"/>
                <a:ext cx="455445" cy="0"/>
              </a:xfrm>
              <a:custGeom>
                <a:avLst/>
                <a:gdLst>
                  <a:gd name="T0" fmla="*/ 287 w 287"/>
                  <a:gd name="T1" fmla="*/ 0 w 287"/>
                  <a:gd name="T2" fmla="*/ 0 w 287"/>
                  <a:gd name="T3" fmla="*/ 287 w 287"/>
                </a:gdLst>
                <a:ahLst/>
                <a:cxnLst>
                  <a:cxn ang="0">
                    <a:pos x="T0" y="0"/>
                  </a:cxn>
                  <a:cxn ang="0">
                    <a:pos x="T1" y="0"/>
                  </a:cxn>
                  <a:cxn ang="0">
                    <a:pos x="T2" y="0"/>
                  </a:cxn>
                  <a:cxn ang="0">
                    <a:pos x="T3" y="0"/>
                  </a:cxn>
                </a:cxnLst>
                <a:rect l="0" t="0" r="r" b="b"/>
                <a:pathLst>
                  <a:path w="287">
                    <a:moveTo>
                      <a:pt x="287" y="0"/>
                    </a:moveTo>
                    <a:lnTo>
                      <a:pt x="0" y="0"/>
                    </a:lnTo>
                    <a:lnTo>
                      <a:pt x="0" y="0"/>
                    </a:lnTo>
                    <a:lnTo>
                      <a:pt x="28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2" name="Freeform 116"/>
              <p:cNvSpPr>
                <a:spLocks/>
              </p:cNvSpPr>
              <p:nvPr/>
            </p:nvSpPr>
            <p:spPr bwMode="auto">
              <a:xfrm>
                <a:off x="927490" y="2897296"/>
                <a:ext cx="175824" cy="93448"/>
              </a:xfrm>
              <a:custGeom>
                <a:avLst/>
                <a:gdLst>
                  <a:gd name="T0" fmla="*/ 0 w 111"/>
                  <a:gd name="T1" fmla="*/ 47 h 59"/>
                  <a:gd name="T2" fmla="*/ 17 w 111"/>
                  <a:gd name="T3" fmla="*/ 17 h 59"/>
                  <a:gd name="T4" fmla="*/ 49 w 111"/>
                  <a:gd name="T5" fmla="*/ 7 h 59"/>
                  <a:gd name="T6" fmla="*/ 75 w 111"/>
                  <a:gd name="T7" fmla="*/ 0 h 59"/>
                  <a:gd name="T8" fmla="*/ 103 w 111"/>
                  <a:gd name="T9" fmla="*/ 17 h 59"/>
                  <a:gd name="T10" fmla="*/ 111 w 111"/>
                  <a:gd name="T11" fmla="*/ 59 h 59"/>
                  <a:gd name="T12" fmla="*/ 0 w 111"/>
                  <a:gd name="T13" fmla="*/ 47 h 59"/>
                </a:gdLst>
                <a:ahLst/>
                <a:cxnLst>
                  <a:cxn ang="0">
                    <a:pos x="T0" y="T1"/>
                  </a:cxn>
                  <a:cxn ang="0">
                    <a:pos x="T2" y="T3"/>
                  </a:cxn>
                  <a:cxn ang="0">
                    <a:pos x="T4" y="T5"/>
                  </a:cxn>
                  <a:cxn ang="0">
                    <a:pos x="T6" y="T7"/>
                  </a:cxn>
                  <a:cxn ang="0">
                    <a:pos x="T8" y="T9"/>
                  </a:cxn>
                  <a:cxn ang="0">
                    <a:pos x="T10" y="T11"/>
                  </a:cxn>
                  <a:cxn ang="0">
                    <a:pos x="T12" y="T13"/>
                  </a:cxn>
                </a:cxnLst>
                <a:rect l="0" t="0" r="r" b="b"/>
                <a:pathLst>
                  <a:path w="111" h="59">
                    <a:moveTo>
                      <a:pt x="0" y="47"/>
                    </a:moveTo>
                    <a:lnTo>
                      <a:pt x="17" y="17"/>
                    </a:lnTo>
                    <a:lnTo>
                      <a:pt x="49" y="7"/>
                    </a:lnTo>
                    <a:lnTo>
                      <a:pt x="75" y="0"/>
                    </a:lnTo>
                    <a:lnTo>
                      <a:pt x="103" y="17"/>
                    </a:lnTo>
                    <a:lnTo>
                      <a:pt x="111" y="59"/>
                    </a:lnTo>
                    <a:lnTo>
                      <a:pt x="0" y="47"/>
                    </a:lnTo>
                    <a:close/>
                  </a:path>
                </a:pathLst>
              </a:custGeom>
              <a:solidFill>
                <a:srgbClr val="AD864A"/>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3" name="Freeform 117"/>
              <p:cNvSpPr>
                <a:spLocks/>
              </p:cNvSpPr>
              <p:nvPr/>
            </p:nvSpPr>
            <p:spPr bwMode="auto">
              <a:xfrm>
                <a:off x="666933" y="2865438"/>
                <a:ext cx="330463" cy="157163"/>
              </a:xfrm>
              <a:custGeom>
                <a:avLst/>
                <a:gdLst>
                  <a:gd name="T0" fmla="*/ 0 w 208"/>
                  <a:gd name="T1" fmla="*/ 99 h 99"/>
                  <a:gd name="T2" fmla="*/ 25 w 208"/>
                  <a:gd name="T3" fmla="*/ 36 h 99"/>
                  <a:gd name="T4" fmla="*/ 70 w 208"/>
                  <a:gd name="T5" fmla="*/ 0 h 99"/>
                  <a:gd name="T6" fmla="*/ 159 w 208"/>
                  <a:gd name="T7" fmla="*/ 0 h 99"/>
                  <a:gd name="T8" fmla="*/ 197 w 208"/>
                  <a:gd name="T9" fmla="*/ 30 h 99"/>
                  <a:gd name="T10" fmla="*/ 208 w 208"/>
                  <a:gd name="T11" fmla="*/ 99 h 99"/>
                  <a:gd name="T12" fmla="*/ 0 w 208"/>
                  <a:gd name="T13" fmla="*/ 99 h 99"/>
                </a:gdLst>
                <a:ahLst/>
                <a:cxnLst>
                  <a:cxn ang="0">
                    <a:pos x="T0" y="T1"/>
                  </a:cxn>
                  <a:cxn ang="0">
                    <a:pos x="T2" y="T3"/>
                  </a:cxn>
                  <a:cxn ang="0">
                    <a:pos x="T4" y="T5"/>
                  </a:cxn>
                  <a:cxn ang="0">
                    <a:pos x="T6" y="T7"/>
                  </a:cxn>
                  <a:cxn ang="0">
                    <a:pos x="T8" y="T9"/>
                  </a:cxn>
                  <a:cxn ang="0">
                    <a:pos x="T10" y="T11"/>
                  </a:cxn>
                  <a:cxn ang="0">
                    <a:pos x="T12" y="T13"/>
                  </a:cxn>
                </a:cxnLst>
                <a:rect l="0" t="0" r="r" b="b"/>
                <a:pathLst>
                  <a:path w="208" h="99">
                    <a:moveTo>
                      <a:pt x="0" y="99"/>
                    </a:moveTo>
                    <a:lnTo>
                      <a:pt x="25" y="36"/>
                    </a:lnTo>
                    <a:lnTo>
                      <a:pt x="70" y="0"/>
                    </a:lnTo>
                    <a:lnTo>
                      <a:pt x="159" y="0"/>
                    </a:lnTo>
                    <a:lnTo>
                      <a:pt x="197" y="30"/>
                    </a:lnTo>
                    <a:lnTo>
                      <a:pt x="208" y="99"/>
                    </a:lnTo>
                    <a:lnTo>
                      <a:pt x="0" y="99"/>
                    </a:lnTo>
                    <a:close/>
                  </a:path>
                </a:pathLst>
              </a:custGeom>
              <a:solidFill>
                <a:srgbClr val="EC9A1E"/>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27" name="Group 26"/>
            <p:cNvGrpSpPr>
              <a:grpSpLocks/>
            </p:cNvGrpSpPr>
            <p:nvPr/>
          </p:nvGrpSpPr>
          <p:grpSpPr bwMode="auto">
            <a:xfrm>
              <a:off x="4725392" y="4952561"/>
              <a:ext cx="408340" cy="193247"/>
              <a:chOff x="2105026" y="2824163"/>
              <a:chExt cx="441325" cy="188913"/>
            </a:xfrm>
          </p:grpSpPr>
          <p:sp>
            <p:nvSpPr>
              <p:cNvPr id="28" name="Freeform 115"/>
              <p:cNvSpPr>
                <a:spLocks/>
              </p:cNvSpPr>
              <p:nvPr/>
            </p:nvSpPr>
            <p:spPr bwMode="auto">
              <a:xfrm>
                <a:off x="2372367" y="2908124"/>
                <a:ext cx="173984" cy="94457"/>
              </a:xfrm>
              <a:custGeom>
                <a:avLst/>
                <a:gdLst>
                  <a:gd name="T0" fmla="*/ 110 w 110"/>
                  <a:gd name="T1" fmla="*/ 60 h 60"/>
                  <a:gd name="T2" fmla="*/ 102 w 110"/>
                  <a:gd name="T3" fmla="*/ 18 h 60"/>
                  <a:gd name="T4" fmla="*/ 76 w 110"/>
                  <a:gd name="T5" fmla="*/ 0 h 60"/>
                  <a:gd name="T6" fmla="*/ 50 w 110"/>
                  <a:gd name="T7" fmla="*/ 9 h 60"/>
                  <a:gd name="T8" fmla="*/ 17 w 110"/>
                  <a:gd name="T9" fmla="*/ 18 h 60"/>
                  <a:gd name="T10" fmla="*/ 0 w 110"/>
                  <a:gd name="T11" fmla="*/ 49 h 60"/>
                  <a:gd name="T12" fmla="*/ 110 w 110"/>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10" h="60">
                    <a:moveTo>
                      <a:pt x="110" y="60"/>
                    </a:moveTo>
                    <a:lnTo>
                      <a:pt x="102" y="18"/>
                    </a:lnTo>
                    <a:lnTo>
                      <a:pt x="76" y="0"/>
                    </a:lnTo>
                    <a:lnTo>
                      <a:pt x="50" y="9"/>
                    </a:lnTo>
                    <a:lnTo>
                      <a:pt x="17" y="18"/>
                    </a:lnTo>
                    <a:lnTo>
                      <a:pt x="0" y="49"/>
                    </a:lnTo>
                    <a:lnTo>
                      <a:pt x="110" y="60"/>
                    </a:lnTo>
                    <a:close/>
                  </a:path>
                </a:pathLst>
              </a:custGeom>
              <a:solidFill>
                <a:srgbClr val="AD864A"/>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9" name="Freeform 118"/>
              <p:cNvSpPr>
                <a:spLocks/>
              </p:cNvSpPr>
              <p:nvPr/>
            </p:nvSpPr>
            <p:spPr bwMode="auto">
              <a:xfrm>
                <a:off x="2105026" y="2824163"/>
                <a:ext cx="362819" cy="188913"/>
              </a:xfrm>
              <a:custGeom>
                <a:avLst/>
                <a:gdLst>
                  <a:gd name="T0" fmla="*/ 229 w 229"/>
                  <a:gd name="T1" fmla="*/ 119 h 119"/>
                  <a:gd name="T2" fmla="*/ 212 w 229"/>
                  <a:gd name="T3" fmla="*/ 35 h 119"/>
                  <a:gd name="T4" fmla="*/ 158 w 229"/>
                  <a:gd name="T5" fmla="*/ 0 h 119"/>
                  <a:gd name="T6" fmla="*/ 106 w 229"/>
                  <a:gd name="T7" fmla="*/ 16 h 119"/>
                  <a:gd name="T8" fmla="*/ 41 w 229"/>
                  <a:gd name="T9" fmla="*/ 35 h 119"/>
                  <a:gd name="T10" fmla="*/ 0 w 229"/>
                  <a:gd name="T11" fmla="*/ 117 h 119"/>
                  <a:gd name="T12" fmla="*/ 229 w 229"/>
                  <a:gd name="T13" fmla="*/ 119 h 119"/>
                </a:gdLst>
                <a:ahLst/>
                <a:cxnLst>
                  <a:cxn ang="0">
                    <a:pos x="T0" y="T1"/>
                  </a:cxn>
                  <a:cxn ang="0">
                    <a:pos x="T2" y="T3"/>
                  </a:cxn>
                  <a:cxn ang="0">
                    <a:pos x="T4" y="T5"/>
                  </a:cxn>
                  <a:cxn ang="0">
                    <a:pos x="T6" y="T7"/>
                  </a:cxn>
                  <a:cxn ang="0">
                    <a:pos x="T8" y="T9"/>
                  </a:cxn>
                  <a:cxn ang="0">
                    <a:pos x="T10" y="T11"/>
                  </a:cxn>
                  <a:cxn ang="0">
                    <a:pos x="T12" y="T13"/>
                  </a:cxn>
                </a:cxnLst>
                <a:rect l="0" t="0" r="r" b="b"/>
                <a:pathLst>
                  <a:path w="229" h="119">
                    <a:moveTo>
                      <a:pt x="229" y="119"/>
                    </a:moveTo>
                    <a:lnTo>
                      <a:pt x="212" y="35"/>
                    </a:lnTo>
                    <a:lnTo>
                      <a:pt x="158" y="0"/>
                    </a:lnTo>
                    <a:lnTo>
                      <a:pt x="106" y="16"/>
                    </a:lnTo>
                    <a:lnTo>
                      <a:pt x="41" y="35"/>
                    </a:lnTo>
                    <a:lnTo>
                      <a:pt x="0" y="117"/>
                    </a:lnTo>
                    <a:lnTo>
                      <a:pt x="229" y="119"/>
                    </a:lnTo>
                    <a:close/>
                  </a:path>
                </a:pathLst>
              </a:custGeom>
              <a:solidFill>
                <a:srgbClr val="EC9A1E"/>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grpSp>
      <p:grpSp>
        <p:nvGrpSpPr>
          <p:cNvPr id="34" name="Group 33"/>
          <p:cNvGrpSpPr>
            <a:grpSpLocks/>
          </p:cNvGrpSpPr>
          <p:nvPr/>
        </p:nvGrpSpPr>
        <p:grpSpPr bwMode="auto">
          <a:xfrm>
            <a:off x="2493081" y="4589392"/>
            <a:ext cx="1356936" cy="554108"/>
            <a:chOff x="438151" y="2405063"/>
            <a:chExt cx="901700" cy="604838"/>
          </a:xfrm>
        </p:grpSpPr>
        <p:grpSp>
          <p:nvGrpSpPr>
            <p:cNvPr id="35" name="Group 128"/>
            <p:cNvGrpSpPr>
              <a:grpSpLocks/>
            </p:cNvGrpSpPr>
            <p:nvPr/>
          </p:nvGrpSpPr>
          <p:grpSpPr bwMode="auto">
            <a:xfrm>
              <a:off x="438151" y="2405063"/>
              <a:ext cx="901700" cy="604838"/>
              <a:chOff x="438151" y="2405063"/>
              <a:chExt cx="901700" cy="604838"/>
            </a:xfrm>
          </p:grpSpPr>
          <p:sp>
            <p:nvSpPr>
              <p:cNvPr id="37" name="Freeform 51"/>
              <p:cNvSpPr>
                <a:spLocks/>
              </p:cNvSpPr>
              <p:nvPr/>
            </p:nvSpPr>
            <p:spPr bwMode="auto">
              <a:xfrm>
                <a:off x="438151" y="2405063"/>
                <a:ext cx="901700" cy="604838"/>
              </a:xfrm>
              <a:custGeom>
                <a:avLst/>
                <a:gdLst>
                  <a:gd name="T0" fmla="*/ 568 w 568"/>
                  <a:gd name="T1" fmla="*/ 381 h 381"/>
                  <a:gd name="T2" fmla="*/ 283 w 568"/>
                  <a:gd name="T3" fmla="*/ 0 h 381"/>
                  <a:gd name="T4" fmla="*/ 0 w 568"/>
                  <a:gd name="T5" fmla="*/ 381 h 381"/>
                  <a:gd name="T6" fmla="*/ 568 w 568"/>
                  <a:gd name="T7" fmla="*/ 381 h 381"/>
                </a:gdLst>
                <a:ahLst/>
                <a:cxnLst>
                  <a:cxn ang="0">
                    <a:pos x="T0" y="T1"/>
                  </a:cxn>
                  <a:cxn ang="0">
                    <a:pos x="T2" y="T3"/>
                  </a:cxn>
                  <a:cxn ang="0">
                    <a:pos x="T4" y="T5"/>
                  </a:cxn>
                  <a:cxn ang="0">
                    <a:pos x="T6" y="T7"/>
                  </a:cxn>
                </a:cxnLst>
                <a:rect l="0" t="0" r="r" b="b"/>
                <a:pathLst>
                  <a:path w="568" h="381">
                    <a:moveTo>
                      <a:pt x="568" y="381"/>
                    </a:moveTo>
                    <a:lnTo>
                      <a:pt x="283" y="0"/>
                    </a:lnTo>
                    <a:lnTo>
                      <a:pt x="0" y="381"/>
                    </a:lnTo>
                    <a:lnTo>
                      <a:pt x="568" y="381"/>
                    </a:ln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8" name="Freeform 53"/>
              <p:cNvSpPr>
                <a:spLocks/>
              </p:cNvSpPr>
              <p:nvPr/>
            </p:nvSpPr>
            <p:spPr bwMode="auto">
              <a:xfrm>
                <a:off x="762000" y="2405063"/>
                <a:ext cx="249767" cy="175531"/>
              </a:xfrm>
              <a:custGeom>
                <a:avLst/>
                <a:gdLst>
                  <a:gd name="T0" fmla="*/ 79 w 157"/>
                  <a:gd name="T1" fmla="*/ 0 h 110"/>
                  <a:gd name="T2" fmla="*/ 0 w 157"/>
                  <a:gd name="T3" fmla="*/ 106 h 110"/>
                  <a:gd name="T4" fmla="*/ 5 w 157"/>
                  <a:gd name="T5" fmla="*/ 110 h 110"/>
                  <a:gd name="T6" fmla="*/ 29 w 157"/>
                  <a:gd name="T7" fmla="*/ 91 h 110"/>
                  <a:gd name="T8" fmla="*/ 53 w 157"/>
                  <a:gd name="T9" fmla="*/ 110 h 110"/>
                  <a:gd name="T10" fmla="*/ 77 w 157"/>
                  <a:gd name="T11" fmla="*/ 91 h 110"/>
                  <a:gd name="T12" fmla="*/ 101 w 157"/>
                  <a:gd name="T13" fmla="*/ 110 h 110"/>
                  <a:gd name="T14" fmla="*/ 126 w 157"/>
                  <a:gd name="T15" fmla="*/ 91 h 110"/>
                  <a:gd name="T16" fmla="*/ 150 w 157"/>
                  <a:gd name="T17" fmla="*/ 110 h 110"/>
                  <a:gd name="T18" fmla="*/ 157 w 157"/>
                  <a:gd name="T19" fmla="*/ 104 h 110"/>
                  <a:gd name="T20" fmla="*/ 79 w 157"/>
                  <a:gd name="T21"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7" h="110">
                    <a:moveTo>
                      <a:pt x="79" y="0"/>
                    </a:moveTo>
                    <a:lnTo>
                      <a:pt x="0" y="106"/>
                    </a:lnTo>
                    <a:lnTo>
                      <a:pt x="5" y="110"/>
                    </a:lnTo>
                    <a:lnTo>
                      <a:pt x="29" y="91"/>
                    </a:lnTo>
                    <a:lnTo>
                      <a:pt x="53" y="110"/>
                    </a:lnTo>
                    <a:lnTo>
                      <a:pt x="77" y="91"/>
                    </a:lnTo>
                    <a:lnTo>
                      <a:pt x="101" y="110"/>
                    </a:lnTo>
                    <a:lnTo>
                      <a:pt x="126" y="91"/>
                    </a:lnTo>
                    <a:lnTo>
                      <a:pt x="150" y="110"/>
                    </a:lnTo>
                    <a:lnTo>
                      <a:pt x="157" y="104"/>
                    </a:lnTo>
                    <a:lnTo>
                      <a:pt x="79" y="0"/>
                    </a:lnTo>
                    <a:close/>
                  </a:path>
                </a:pathLst>
              </a:custGeom>
              <a:solidFill>
                <a:srgbClr val="D7EEEE"/>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9" name="Freeform 57"/>
              <p:cNvSpPr>
                <a:spLocks/>
              </p:cNvSpPr>
              <p:nvPr/>
            </p:nvSpPr>
            <p:spPr bwMode="auto">
              <a:xfrm>
                <a:off x="438151" y="2405063"/>
                <a:ext cx="455083" cy="604838"/>
              </a:xfrm>
              <a:custGeom>
                <a:avLst/>
                <a:gdLst>
                  <a:gd name="T0" fmla="*/ 283 w 287"/>
                  <a:gd name="T1" fmla="*/ 0 h 381"/>
                  <a:gd name="T2" fmla="*/ 283 w 287"/>
                  <a:gd name="T3" fmla="*/ 0 h 381"/>
                  <a:gd name="T4" fmla="*/ 0 w 287"/>
                  <a:gd name="T5" fmla="*/ 381 h 381"/>
                  <a:gd name="T6" fmla="*/ 287 w 287"/>
                  <a:gd name="T7" fmla="*/ 381 h 381"/>
                  <a:gd name="T8" fmla="*/ 284 w 287"/>
                  <a:gd name="T9" fmla="*/ 93 h 381"/>
                  <a:gd name="T10" fmla="*/ 281 w 287"/>
                  <a:gd name="T11" fmla="*/ 91 h 381"/>
                  <a:gd name="T12" fmla="*/ 257 w 287"/>
                  <a:gd name="T13" fmla="*/ 110 h 381"/>
                  <a:gd name="T14" fmla="*/ 233 w 287"/>
                  <a:gd name="T15" fmla="*/ 91 h 381"/>
                  <a:gd name="T16" fmla="*/ 209 w 287"/>
                  <a:gd name="T17" fmla="*/ 110 h 381"/>
                  <a:gd name="T18" fmla="*/ 204 w 287"/>
                  <a:gd name="T19" fmla="*/ 106 h 381"/>
                  <a:gd name="T20" fmla="*/ 283 w 287"/>
                  <a:gd name="T21" fmla="*/ 0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7" h="381">
                    <a:moveTo>
                      <a:pt x="283" y="0"/>
                    </a:moveTo>
                    <a:lnTo>
                      <a:pt x="283" y="0"/>
                    </a:lnTo>
                    <a:lnTo>
                      <a:pt x="0" y="381"/>
                    </a:lnTo>
                    <a:lnTo>
                      <a:pt x="287" y="381"/>
                    </a:lnTo>
                    <a:lnTo>
                      <a:pt x="284" y="93"/>
                    </a:lnTo>
                    <a:lnTo>
                      <a:pt x="281" y="91"/>
                    </a:lnTo>
                    <a:lnTo>
                      <a:pt x="257" y="110"/>
                    </a:lnTo>
                    <a:lnTo>
                      <a:pt x="233" y="91"/>
                    </a:lnTo>
                    <a:lnTo>
                      <a:pt x="209" y="110"/>
                    </a:lnTo>
                    <a:lnTo>
                      <a:pt x="204" y="106"/>
                    </a:lnTo>
                    <a:lnTo>
                      <a:pt x="283"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sp>
          <p:nvSpPr>
            <p:cNvPr id="36" name="Freeform 59"/>
            <p:cNvSpPr>
              <a:spLocks/>
            </p:cNvSpPr>
            <p:nvPr/>
          </p:nvSpPr>
          <p:spPr bwMode="auto">
            <a:xfrm>
              <a:off x="762000" y="2405063"/>
              <a:ext cx="127000" cy="175531"/>
            </a:xfrm>
            <a:custGeom>
              <a:avLst/>
              <a:gdLst>
                <a:gd name="T0" fmla="*/ 79 w 80"/>
                <a:gd name="T1" fmla="*/ 0 h 110"/>
                <a:gd name="T2" fmla="*/ 79 w 80"/>
                <a:gd name="T3" fmla="*/ 0 h 110"/>
                <a:gd name="T4" fmla="*/ 0 w 80"/>
                <a:gd name="T5" fmla="*/ 106 h 110"/>
                <a:gd name="T6" fmla="*/ 5 w 80"/>
                <a:gd name="T7" fmla="*/ 110 h 110"/>
                <a:gd name="T8" fmla="*/ 29 w 80"/>
                <a:gd name="T9" fmla="*/ 91 h 110"/>
                <a:gd name="T10" fmla="*/ 53 w 80"/>
                <a:gd name="T11" fmla="*/ 110 h 110"/>
                <a:gd name="T12" fmla="*/ 77 w 80"/>
                <a:gd name="T13" fmla="*/ 91 h 110"/>
                <a:gd name="T14" fmla="*/ 80 w 80"/>
                <a:gd name="T15" fmla="*/ 93 h 110"/>
                <a:gd name="T16" fmla="*/ 79 w 80"/>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110">
                  <a:moveTo>
                    <a:pt x="79" y="0"/>
                  </a:moveTo>
                  <a:lnTo>
                    <a:pt x="79" y="0"/>
                  </a:lnTo>
                  <a:lnTo>
                    <a:pt x="0" y="106"/>
                  </a:lnTo>
                  <a:lnTo>
                    <a:pt x="5" y="110"/>
                  </a:lnTo>
                  <a:lnTo>
                    <a:pt x="29" y="91"/>
                  </a:lnTo>
                  <a:lnTo>
                    <a:pt x="53" y="110"/>
                  </a:lnTo>
                  <a:lnTo>
                    <a:pt x="77" y="91"/>
                  </a:lnTo>
                  <a:lnTo>
                    <a:pt x="80" y="93"/>
                  </a:lnTo>
                  <a:lnTo>
                    <a:pt x="79"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sp>
        <p:nvSpPr>
          <p:cNvPr id="40" name="Rectangle 14"/>
          <p:cNvSpPr>
            <a:spLocks noChangeArrowheads="1"/>
          </p:cNvSpPr>
          <p:nvPr/>
        </p:nvSpPr>
        <p:spPr bwMode="auto">
          <a:xfrm>
            <a:off x="5115324" y="4673203"/>
            <a:ext cx="35719" cy="3214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41" name="Freeform 15"/>
          <p:cNvSpPr>
            <a:spLocks/>
          </p:cNvSpPr>
          <p:nvPr/>
        </p:nvSpPr>
        <p:spPr bwMode="auto">
          <a:xfrm>
            <a:off x="5240339" y="4663678"/>
            <a:ext cx="41672" cy="39291"/>
          </a:xfrm>
          <a:custGeom>
            <a:avLst/>
            <a:gdLst>
              <a:gd name="T0" fmla="*/ 11 w 14"/>
              <a:gd name="T1" fmla="*/ 0 h 13"/>
              <a:gd name="T2" fmla="*/ 0 w 14"/>
              <a:gd name="T3" fmla="*/ 3 h 13"/>
              <a:gd name="T4" fmla="*/ 2 w 14"/>
              <a:gd name="T5" fmla="*/ 13 h 13"/>
              <a:gd name="T6" fmla="*/ 14 w 14"/>
              <a:gd name="T7" fmla="*/ 11 h 13"/>
              <a:gd name="T8" fmla="*/ 11 w 14"/>
              <a:gd name="T9" fmla="*/ 0 h 13"/>
            </a:gdLst>
            <a:ahLst/>
            <a:cxnLst>
              <a:cxn ang="0">
                <a:pos x="T0" y="T1"/>
              </a:cxn>
              <a:cxn ang="0">
                <a:pos x="T2" y="T3"/>
              </a:cxn>
              <a:cxn ang="0">
                <a:pos x="T4" y="T5"/>
              </a:cxn>
              <a:cxn ang="0">
                <a:pos x="T6" y="T7"/>
              </a:cxn>
              <a:cxn ang="0">
                <a:pos x="T8" y="T9"/>
              </a:cxn>
            </a:cxnLst>
            <a:rect l="0" t="0" r="r" b="b"/>
            <a:pathLst>
              <a:path w="14" h="13">
                <a:moveTo>
                  <a:pt x="11" y="0"/>
                </a:moveTo>
                <a:cubicBezTo>
                  <a:pt x="8" y="1"/>
                  <a:pt x="4" y="2"/>
                  <a:pt x="0" y="3"/>
                </a:cubicBezTo>
                <a:cubicBezTo>
                  <a:pt x="2" y="13"/>
                  <a:pt x="2" y="13"/>
                  <a:pt x="2" y="13"/>
                </a:cubicBezTo>
                <a:cubicBezTo>
                  <a:pt x="6" y="13"/>
                  <a:pt x="10" y="12"/>
                  <a:pt x="14" y="11"/>
                </a:cubicBezTo>
                <a:lnTo>
                  <a:pt x="11"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6930922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371791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9" name="think-cell Slide" r:id="rId7" imgW="360" imgH="360" progId="TCLayout.ActiveDocument.1">
                  <p:embed/>
                </p:oleObj>
              </mc:Choice>
              <mc:Fallback>
                <p:oleObj name="think-cell Slide" r:id="rId7" imgW="360" imgH="360" progId="TCLayout.ActiveDocument.1">
                  <p:embed/>
                  <p:pic>
                    <p:nvPicPr>
                      <p:cNvPr id="6" name="Object 5"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4"/>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dirty="0">
              <a:latin typeface="Arial" panose="020B0604020202020204" pitchFamily="34" charset="0"/>
              <a:cs typeface="Arial" panose="020B0604020202020204" pitchFamily="34" charset="0"/>
              <a:sym typeface="Arial" panose="020B0604020202020204" pitchFamily="34" charset="0"/>
            </a:endParaRPr>
          </a:p>
        </p:txBody>
      </p:sp>
      <p:sp>
        <p:nvSpPr>
          <p:cNvPr id="3" name="Title 2"/>
          <p:cNvSpPr>
            <a:spLocks noGrp="1"/>
          </p:cNvSpPr>
          <p:nvPr>
            <p:ph type="ctrTitle"/>
          </p:nvPr>
        </p:nvSpPr>
        <p:spPr/>
        <p:txBody>
          <a:bodyPr/>
          <a:lstStyle/>
          <a:p>
            <a:r>
              <a:rPr lang="en-US" dirty="0"/>
              <a:t>Appendices</a:t>
            </a:r>
            <a:endParaRPr lang="en-US" spc="0" dirty="0">
              <a:latin typeface="Arial" panose="020B0604020202020204" pitchFamily="34" charset="0"/>
              <a:cs typeface="Arial" panose="020B0604020202020204" pitchFamily="34" charset="0"/>
            </a:endParaRPr>
          </a:p>
        </p:txBody>
      </p:sp>
      <p:sp>
        <p:nvSpPr>
          <p:cNvPr id="7" name="Text Placeholder 6"/>
          <p:cNvSpPr>
            <a:spLocks noGrp="1"/>
          </p:cNvSpPr>
          <p:nvPr>
            <p:ph type="body" sz="quarter" idx="12"/>
          </p:nvPr>
        </p:nvSpPr>
        <p:spPr/>
        <p:txBody>
          <a:bodyPr/>
          <a:lstStyle/>
          <a:p>
            <a:r>
              <a:rPr lang="en-US" dirty="0"/>
              <a:t>Sandoz Digital &amp; NBS IT</a:t>
            </a:r>
          </a:p>
          <a:p>
            <a:r>
              <a:rPr lang="en-US" b="0" dirty="0"/>
              <a:t>Scout</a:t>
            </a:r>
          </a:p>
        </p:txBody>
      </p:sp>
    </p:spTree>
    <p:custDataLst>
      <p:tags r:id="rId2"/>
    </p:custDataLst>
    <p:extLst>
      <p:ext uri="{BB962C8B-B14F-4D97-AF65-F5344CB8AC3E}">
        <p14:creationId xmlns:p14="http://schemas.microsoft.com/office/powerpoint/2010/main" val="44104370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GB" sz="2400" dirty="0">
                <a:solidFill>
                  <a:schemeClr val="accent6">
                    <a:lumMod val="50000"/>
                  </a:schemeClr>
                </a:solidFill>
              </a:rPr>
              <a:t>What is Roll-out?</a:t>
            </a:r>
          </a:p>
        </p:txBody>
      </p:sp>
      <p:sp>
        <p:nvSpPr>
          <p:cNvPr id="3" name="Slide Number Placeholder 2"/>
          <p:cNvSpPr>
            <a:spLocks noGrp="1"/>
          </p:cNvSpPr>
          <p:nvPr>
            <p:ph type="sldNum" sz="quarter" idx="10"/>
          </p:nvPr>
        </p:nvSpPr>
        <p:spPr/>
        <p:txBody>
          <a:bodyPr/>
          <a:lstStyle/>
          <a:p>
            <a:fld id="{47547CF9-5B10-D24F-A8D7-45A9778164F7}" type="slidenum">
              <a:rPr lang="en-US" smtClean="0"/>
              <a:pPr/>
              <a:t>2</a:t>
            </a:fld>
            <a:endParaRPr lang="en-US" dirty="0"/>
          </a:p>
        </p:txBody>
      </p:sp>
      <p:sp>
        <p:nvSpPr>
          <p:cNvPr id="4" name="Footer Placeholder 3"/>
          <p:cNvSpPr>
            <a:spLocks noGrp="1"/>
          </p:cNvSpPr>
          <p:nvPr>
            <p:ph type="ftr" sz="quarter" idx="11"/>
          </p:nvPr>
        </p:nvSpPr>
        <p:spPr/>
        <p:txBody>
          <a:bodyPr/>
          <a:lstStyle/>
          <a:p>
            <a:r>
              <a:rPr lang="en-US"/>
              <a:t>Scout l What is Roll-out? l August 2020</a:t>
            </a:r>
            <a:endParaRPr lang="en-GB" dirty="0"/>
          </a:p>
        </p:txBody>
      </p:sp>
      <p:sp>
        <p:nvSpPr>
          <p:cNvPr id="6" name="Freeform 13"/>
          <p:cNvSpPr>
            <a:spLocks noEditPoints="1"/>
          </p:cNvSpPr>
          <p:nvPr/>
        </p:nvSpPr>
        <p:spPr bwMode="auto">
          <a:xfrm>
            <a:off x="4588669" y="1678781"/>
            <a:ext cx="2878931" cy="1140619"/>
          </a:xfrm>
          <a:custGeom>
            <a:avLst/>
            <a:gdLst>
              <a:gd name="T0" fmla="*/ 946 w 2418"/>
              <a:gd name="T1" fmla="*/ 206 h 958"/>
              <a:gd name="T2" fmla="*/ 1986 w 2418"/>
              <a:gd name="T3" fmla="*/ 336 h 958"/>
              <a:gd name="T4" fmla="*/ 1570 w 2418"/>
              <a:gd name="T5" fmla="*/ 302 h 958"/>
              <a:gd name="T6" fmla="*/ 1320 w 2418"/>
              <a:gd name="T7" fmla="*/ 174 h 958"/>
              <a:gd name="T8" fmla="*/ 860 w 2418"/>
              <a:gd name="T9" fmla="*/ 248 h 958"/>
              <a:gd name="T10" fmla="*/ 822 w 2418"/>
              <a:gd name="T11" fmla="*/ 350 h 958"/>
              <a:gd name="T12" fmla="*/ 692 w 2418"/>
              <a:gd name="T13" fmla="*/ 356 h 958"/>
              <a:gd name="T14" fmla="*/ 344 w 2418"/>
              <a:gd name="T15" fmla="*/ 422 h 958"/>
              <a:gd name="T16" fmla="*/ 204 w 2418"/>
              <a:gd name="T17" fmla="*/ 342 h 958"/>
              <a:gd name="T18" fmla="*/ 114 w 2418"/>
              <a:gd name="T19" fmla="*/ 632 h 958"/>
              <a:gd name="T20" fmla="*/ 302 w 2418"/>
              <a:gd name="T21" fmla="*/ 920 h 958"/>
              <a:gd name="T22" fmla="*/ 536 w 2418"/>
              <a:gd name="T23" fmla="*/ 764 h 958"/>
              <a:gd name="T24" fmla="*/ 886 w 2418"/>
              <a:gd name="T25" fmla="*/ 770 h 958"/>
              <a:gd name="T26" fmla="*/ 1412 w 2418"/>
              <a:gd name="T27" fmla="*/ 764 h 958"/>
              <a:gd name="T28" fmla="*/ 1672 w 2418"/>
              <a:gd name="T29" fmla="*/ 856 h 958"/>
              <a:gd name="T30" fmla="*/ 1814 w 2418"/>
              <a:gd name="T31" fmla="*/ 584 h 958"/>
              <a:gd name="T32" fmla="*/ 1982 w 2418"/>
              <a:gd name="T33" fmla="*/ 584 h 958"/>
              <a:gd name="T34" fmla="*/ 2052 w 2418"/>
              <a:gd name="T35" fmla="*/ 574 h 958"/>
              <a:gd name="T36" fmla="*/ 2326 w 2418"/>
              <a:gd name="T37" fmla="*/ 456 h 958"/>
              <a:gd name="T38" fmla="*/ 2284 w 2418"/>
              <a:gd name="T39" fmla="*/ 296 h 958"/>
              <a:gd name="T40" fmla="*/ 1466 w 2418"/>
              <a:gd name="T41" fmla="*/ 248 h 958"/>
              <a:gd name="T42" fmla="*/ 1530 w 2418"/>
              <a:gd name="T43" fmla="*/ 260 h 958"/>
              <a:gd name="T44" fmla="*/ 4 w 2418"/>
              <a:gd name="T45" fmla="*/ 682 h 958"/>
              <a:gd name="T46" fmla="*/ 536 w 2418"/>
              <a:gd name="T47" fmla="*/ 16 h 958"/>
              <a:gd name="T48" fmla="*/ 536 w 2418"/>
              <a:gd name="T49" fmla="*/ 26 h 958"/>
              <a:gd name="T50" fmla="*/ 524 w 2418"/>
              <a:gd name="T51" fmla="*/ 32 h 958"/>
              <a:gd name="T52" fmla="*/ 512 w 2418"/>
              <a:gd name="T53" fmla="*/ 42 h 958"/>
              <a:gd name="T54" fmla="*/ 442 w 2418"/>
              <a:gd name="T55" fmla="*/ 54 h 958"/>
              <a:gd name="T56" fmla="*/ 1710 w 2418"/>
              <a:gd name="T57" fmla="*/ 174 h 958"/>
              <a:gd name="T58" fmla="*/ 800 w 2418"/>
              <a:gd name="T59" fmla="*/ 242 h 958"/>
              <a:gd name="T60" fmla="*/ 1516 w 2418"/>
              <a:gd name="T61" fmla="*/ 270 h 958"/>
              <a:gd name="T62" fmla="*/ 710 w 2418"/>
              <a:gd name="T63" fmla="*/ 406 h 958"/>
              <a:gd name="T64" fmla="*/ 546 w 2418"/>
              <a:gd name="T65" fmla="*/ 12 h 958"/>
              <a:gd name="T66" fmla="*/ 1034 w 2418"/>
              <a:gd name="T67" fmla="*/ 38 h 958"/>
              <a:gd name="T68" fmla="*/ 604 w 2418"/>
              <a:gd name="T69" fmla="*/ 26 h 958"/>
              <a:gd name="T70" fmla="*/ 454 w 2418"/>
              <a:gd name="T71" fmla="*/ 32 h 958"/>
              <a:gd name="T72" fmla="*/ 362 w 2418"/>
              <a:gd name="T73" fmla="*/ 38 h 958"/>
              <a:gd name="T74" fmla="*/ 512 w 2418"/>
              <a:gd name="T75" fmla="*/ 48 h 958"/>
              <a:gd name="T76" fmla="*/ 1104 w 2418"/>
              <a:gd name="T77" fmla="*/ 86 h 958"/>
              <a:gd name="T78" fmla="*/ 806 w 2418"/>
              <a:gd name="T79" fmla="*/ 70 h 958"/>
              <a:gd name="T80" fmla="*/ 1174 w 2418"/>
              <a:gd name="T81" fmla="*/ 86 h 958"/>
              <a:gd name="T82" fmla="*/ 1240 w 2418"/>
              <a:gd name="T83" fmla="*/ 128 h 958"/>
              <a:gd name="T84" fmla="*/ 664 w 2418"/>
              <a:gd name="T85" fmla="*/ 140 h 958"/>
              <a:gd name="T86" fmla="*/ 546 w 2418"/>
              <a:gd name="T87" fmla="*/ 216 h 958"/>
              <a:gd name="T88" fmla="*/ 508 w 2418"/>
              <a:gd name="T89" fmla="*/ 216 h 958"/>
              <a:gd name="T90" fmla="*/ 1104 w 2418"/>
              <a:gd name="T91" fmla="*/ 146 h 958"/>
              <a:gd name="T92" fmla="*/ 1078 w 2418"/>
              <a:gd name="T93" fmla="*/ 162 h 958"/>
              <a:gd name="T94" fmla="*/ 1672 w 2418"/>
              <a:gd name="T95" fmla="*/ 168 h 958"/>
              <a:gd name="T96" fmla="*/ 1748 w 2418"/>
              <a:gd name="T97" fmla="*/ 194 h 958"/>
              <a:gd name="T98" fmla="*/ 1808 w 2418"/>
              <a:gd name="T99" fmla="*/ 180 h 958"/>
              <a:gd name="T100" fmla="*/ 952 w 2418"/>
              <a:gd name="T101" fmla="*/ 194 h 958"/>
              <a:gd name="T102" fmla="*/ 1716 w 2418"/>
              <a:gd name="T103" fmla="*/ 216 h 958"/>
              <a:gd name="T104" fmla="*/ 1728 w 2418"/>
              <a:gd name="T105" fmla="*/ 238 h 958"/>
              <a:gd name="T106" fmla="*/ 464 w 2418"/>
              <a:gd name="T107" fmla="*/ 288 h 958"/>
              <a:gd name="T108" fmla="*/ 502 w 2418"/>
              <a:gd name="T109" fmla="*/ 276 h 958"/>
              <a:gd name="T110" fmla="*/ 838 w 2418"/>
              <a:gd name="T111" fmla="*/ 248 h 958"/>
              <a:gd name="T112" fmla="*/ 2008 w 2418"/>
              <a:gd name="T113" fmla="*/ 308 h 958"/>
              <a:gd name="T114" fmla="*/ 2004 w 2418"/>
              <a:gd name="T115" fmla="*/ 342 h 958"/>
              <a:gd name="T116" fmla="*/ 324 w 2418"/>
              <a:gd name="T117" fmla="*/ 406 h 958"/>
              <a:gd name="T118" fmla="*/ 1662 w 2418"/>
              <a:gd name="T119" fmla="*/ 682 h 958"/>
              <a:gd name="T120" fmla="*/ 1736 w 2418"/>
              <a:gd name="T121" fmla="*/ 704 h 958"/>
              <a:gd name="T122" fmla="*/ 1754 w 2418"/>
              <a:gd name="T123" fmla="*/ 850 h 958"/>
              <a:gd name="T124" fmla="*/ 1842 w 2418"/>
              <a:gd name="T125" fmla="*/ 866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18" h="958">
                <a:moveTo>
                  <a:pt x="758" y="710"/>
                </a:moveTo>
                <a:lnTo>
                  <a:pt x="764" y="710"/>
                </a:lnTo>
                <a:lnTo>
                  <a:pt x="766" y="704"/>
                </a:lnTo>
                <a:lnTo>
                  <a:pt x="758" y="704"/>
                </a:lnTo>
                <a:lnTo>
                  <a:pt x="758" y="710"/>
                </a:lnTo>
                <a:lnTo>
                  <a:pt x="758" y="710"/>
                </a:lnTo>
                <a:lnTo>
                  <a:pt x="758" y="710"/>
                </a:lnTo>
                <a:close/>
                <a:moveTo>
                  <a:pt x="1682" y="698"/>
                </a:moveTo>
                <a:lnTo>
                  <a:pt x="1678" y="704"/>
                </a:lnTo>
                <a:lnTo>
                  <a:pt x="1682" y="704"/>
                </a:lnTo>
                <a:lnTo>
                  <a:pt x="1682" y="698"/>
                </a:lnTo>
                <a:lnTo>
                  <a:pt x="1682" y="698"/>
                </a:lnTo>
                <a:lnTo>
                  <a:pt x="1682" y="698"/>
                </a:lnTo>
                <a:close/>
                <a:moveTo>
                  <a:pt x="242" y="878"/>
                </a:moveTo>
                <a:lnTo>
                  <a:pt x="242" y="884"/>
                </a:lnTo>
                <a:lnTo>
                  <a:pt x="248" y="884"/>
                </a:lnTo>
                <a:lnTo>
                  <a:pt x="248" y="878"/>
                </a:lnTo>
                <a:lnTo>
                  <a:pt x="242" y="878"/>
                </a:lnTo>
                <a:lnTo>
                  <a:pt x="242" y="878"/>
                </a:lnTo>
                <a:lnTo>
                  <a:pt x="242" y="878"/>
                </a:lnTo>
                <a:close/>
                <a:moveTo>
                  <a:pt x="122" y="548"/>
                </a:moveTo>
                <a:lnTo>
                  <a:pt x="118" y="548"/>
                </a:lnTo>
                <a:lnTo>
                  <a:pt x="118" y="552"/>
                </a:lnTo>
                <a:lnTo>
                  <a:pt x="122" y="552"/>
                </a:lnTo>
                <a:lnTo>
                  <a:pt x="122" y="548"/>
                </a:lnTo>
                <a:lnTo>
                  <a:pt x="122" y="548"/>
                </a:lnTo>
                <a:lnTo>
                  <a:pt x="122" y="548"/>
                </a:lnTo>
                <a:close/>
                <a:moveTo>
                  <a:pt x="492" y="774"/>
                </a:moveTo>
                <a:lnTo>
                  <a:pt x="496" y="770"/>
                </a:lnTo>
                <a:lnTo>
                  <a:pt x="492" y="770"/>
                </a:lnTo>
                <a:lnTo>
                  <a:pt x="492" y="774"/>
                </a:lnTo>
                <a:lnTo>
                  <a:pt x="492" y="774"/>
                </a:lnTo>
                <a:lnTo>
                  <a:pt x="492" y="774"/>
                </a:lnTo>
                <a:close/>
                <a:moveTo>
                  <a:pt x="1554" y="276"/>
                </a:moveTo>
                <a:lnTo>
                  <a:pt x="1548" y="276"/>
                </a:lnTo>
                <a:lnTo>
                  <a:pt x="1548" y="282"/>
                </a:lnTo>
                <a:lnTo>
                  <a:pt x="1554" y="282"/>
                </a:lnTo>
                <a:lnTo>
                  <a:pt x="1554" y="276"/>
                </a:lnTo>
                <a:lnTo>
                  <a:pt x="1554" y="276"/>
                </a:lnTo>
                <a:lnTo>
                  <a:pt x="1554" y="276"/>
                </a:lnTo>
                <a:close/>
                <a:moveTo>
                  <a:pt x="176" y="324"/>
                </a:moveTo>
                <a:lnTo>
                  <a:pt x="172" y="324"/>
                </a:lnTo>
                <a:lnTo>
                  <a:pt x="172" y="330"/>
                </a:lnTo>
                <a:lnTo>
                  <a:pt x="176" y="330"/>
                </a:lnTo>
                <a:lnTo>
                  <a:pt x="176" y="324"/>
                </a:lnTo>
                <a:lnTo>
                  <a:pt x="176" y="324"/>
                </a:lnTo>
                <a:lnTo>
                  <a:pt x="176" y="324"/>
                </a:lnTo>
                <a:close/>
                <a:moveTo>
                  <a:pt x="1982" y="542"/>
                </a:moveTo>
                <a:lnTo>
                  <a:pt x="1982" y="548"/>
                </a:lnTo>
                <a:lnTo>
                  <a:pt x="1986" y="548"/>
                </a:lnTo>
                <a:lnTo>
                  <a:pt x="1986" y="542"/>
                </a:lnTo>
                <a:lnTo>
                  <a:pt x="1982" y="542"/>
                </a:lnTo>
                <a:lnTo>
                  <a:pt x="1982" y="542"/>
                </a:lnTo>
                <a:lnTo>
                  <a:pt x="1982" y="542"/>
                </a:lnTo>
                <a:close/>
                <a:moveTo>
                  <a:pt x="1672" y="698"/>
                </a:moveTo>
                <a:lnTo>
                  <a:pt x="1662" y="698"/>
                </a:lnTo>
                <a:lnTo>
                  <a:pt x="1662" y="704"/>
                </a:lnTo>
                <a:lnTo>
                  <a:pt x="1672" y="704"/>
                </a:lnTo>
                <a:lnTo>
                  <a:pt x="1672" y="698"/>
                </a:lnTo>
                <a:lnTo>
                  <a:pt x="1672" y="698"/>
                </a:lnTo>
                <a:lnTo>
                  <a:pt x="1672" y="698"/>
                </a:lnTo>
                <a:close/>
                <a:moveTo>
                  <a:pt x="596" y="710"/>
                </a:moveTo>
                <a:lnTo>
                  <a:pt x="596" y="704"/>
                </a:lnTo>
                <a:lnTo>
                  <a:pt x="590" y="704"/>
                </a:lnTo>
                <a:lnTo>
                  <a:pt x="590" y="710"/>
                </a:lnTo>
                <a:lnTo>
                  <a:pt x="596" y="710"/>
                </a:lnTo>
                <a:lnTo>
                  <a:pt x="596" y="710"/>
                </a:lnTo>
                <a:lnTo>
                  <a:pt x="596" y="710"/>
                </a:lnTo>
                <a:close/>
                <a:moveTo>
                  <a:pt x="936" y="216"/>
                </a:moveTo>
                <a:lnTo>
                  <a:pt x="940" y="216"/>
                </a:lnTo>
                <a:lnTo>
                  <a:pt x="940" y="210"/>
                </a:lnTo>
                <a:lnTo>
                  <a:pt x="936" y="210"/>
                </a:lnTo>
                <a:lnTo>
                  <a:pt x="936" y="216"/>
                </a:lnTo>
                <a:lnTo>
                  <a:pt x="936" y="216"/>
                </a:lnTo>
                <a:lnTo>
                  <a:pt x="936" y="216"/>
                </a:lnTo>
                <a:close/>
                <a:moveTo>
                  <a:pt x="336" y="356"/>
                </a:moveTo>
                <a:lnTo>
                  <a:pt x="336" y="362"/>
                </a:lnTo>
                <a:lnTo>
                  <a:pt x="340" y="362"/>
                </a:lnTo>
                <a:lnTo>
                  <a:pt x="340" y="356"/>
                </a:lnTo>
                <a:lnTo>
                  <a:pt x="336" y="356"/>
                </a:lnTo>
                <a:lnTo>
                  <a:pt x="336" y="356"/>
                </a:lnTo>
                <a:lnTo>
                  <a:pt x="336" y="356"/>
                </a:lnTo>
                <a:close/>
                <a:moveTo>
                  <a:pt x="940" y="200"/>
                </a:moveTo>
                <a:lnTo>
                  <a:pt x="940" y="206"/>
                </a:lnTo>
                <a:lnTo>
                  <a:pt x="946" y="206"/>
                </a:lnTo>
                <a:lnTo>
                  <a:pt x="946" y="200"/>
                </a:lnTo>
                <a:lnTo>
                  <a:pt x="940" y="200"/>
                </a:lnTo>
                <a:lnTo>
                  <a:pt x="940" y="200"/>
                </a:lnTo>
                <a:lnTo>
                  <a:pt x="940" y="200"/>
                </a:lnTo>
                <a:close/>
                <a:moveTo>
                  <a:pt x="2338" y="390"/>
                </a:moveTo>
                <a:lnTo>
                  <a:pt x="2338" y="396"/>
                </a:lnTo>
                <a:lnTo>
                  <a:pt x="2344" y="396"/>
                </a:lnTo>
                <a:lnTo>
                  <a:pt x="2338" y="390"/>
                </a:lnTo>
                <a:lnTo>
                  <a:pt x="2338" y="390"/>
                </a:lnTo>
                <a:lnTo>
                  <a:pt x="2338" y="390"/>
                </a:lnTo>
                <a:close/>
                <a:moveTo>
                  <a:pt x="2398" y="410"/>
                </a:moveTo>
                <a:lnTo>
                  <a:pt x="2392" y="410"/>
                </a:lnTo>
                <a:lnTo>
                  <a:pt x="2392" y="406"/>
                </a:lnTo>
                <a:lnTo>
                  <a:pt x="2380" y="406"/>
                </a:lnTo>
                <a:lnTo>
                  <a:pt x="2380" y="402"/>
                </a:lnTo>
                <a:lnTo>
                  <a:pt x="2378" y="402"/>
                </a:lnTo>
                <a:lnTo>
                  <a:pt x="2372" y="406"/>
                </a:lnTo>
                <a:lnTo>
                  <a:pt x="2360" y="406"/>
                </a:lnTo>
                <a:lnTo>
                  <a:pt x="2360" y="396"/>
                </a:lnTo>
                <a:lnTo>
                  <a:pt x="2344" y="396"/>
                </a:lnTo>
                <a:lnTo>
                  <a:pt x="2344" y="402"/>
                </a:lnTo>
                <a:lnTo>
                  <a:pt x="2350" y="402"/>
                </a:lnTo>
                <a:lnTo>
                  <a:pt x="2354" y="406"/>
                </a:lnTo>
                <a:lnTo>
                  <a:pt x="2350" y="406"/>
                </a:lnTo>
                <a:lnTo>
                  <a:pt x="2350" y="416"/>
                </a:lnTo>
                <a:lnTo>
                  <a:pt x="2344" y="416"/>
                </a:lnTo>
                <a:lnTo>
                  <a:pt x="2344" y="410"/>
                </a:lnTo>
                <a:lnTo>
                  <a:pt x="2338" y="410"/>
                </a:lnTo>
                <a:lnTo>
                  <a:pt x="2338" y="406"/>
                </a:lnTo>
                <a:lnTo>
                  <a:pt x="2344" y="406"/>
                </a:lnTo>
                <a:lnTo>
                  <a:pt x="2344" y="402"/>
                </a:lnTo>
                <a:lnTo>
                  <a:pt x="2338" y="402"/>
                </a:lnTo>
                <a:lnTo>
                  <a:pt x="2338" y="396"/>
                </a:lnTo>
                <a:lnTo>
                  <a:pt x="2332" y="396"/>
                </a:lnTo>
                <a:lnTo>
                  <a:pt x="2332" y="384"/>
                </a:lnTo>
                <a:lnTo>
                  <a:pt x="2324" y="378"/>
                </a:lnTo>
                <a:lnTo>
                  <a:pt x="2318" y="378"/>
                </a:lnTo>
                <a:lnTo>
                  <a:pt x="2318" y="374"/>
                </a:lnTo>
                <a:lnTo>
                  <a:pt x="2306" y="374"/>
                </a:lnTo>
                <a:lnTo>
                  <a:pt x="2306" y="368"/>
                </a:lnTo>
                <a:lnTo>
                  <a:pt x="2296" y="368"/>
                </a:lnTo>
                <a:lnTo>
                  <a:pt x="2296" y="362"/>
                </a:lnTo>
                <a:lnTo>
                  <a:pt x="2284" y="362"/>
                </a:lnTo>
                <a:lnTo>
                  <a:pt x="2284" y="356"/>
                </a:lnTo>
                <a:lnTo>
                  <a:pt x="2272" y="356"/>
                </a:lnTo>
                <a:lnTo>
                  <a:pt x="2272" y="350"/>
                </a:lnTo>
                <a:lnTo>
                  <a:pt x="2268" y="350"/>
                </a:lnTo>
                <a:lnTo>
                  <a:pt x="2264" y="348"/>
                </a:lnTo>
                <a:lnTo>
                  <a:pt x="2258" y="348"/>
                </a:lnTo>
                <a:lnTo>
                  <a:pt x="2252" y="342"/>
                </a:lnTo>
                <a:lnTo>
                  <a:pt x="2252" y="348"/>
                </a:lnTo>
                <a:lnTo>
                  <a:pt x="2246" y="348"/>
                </a:lnTo>
                <a:lnTo>
                  <a:pt x="2246" y="342"/>
                </a:lnTo>
                <a:lnTo>
                  <a:pt x="2240" y="342"/>
                </a:lnTo>
                <a:lnTo>
                  <a:pt x="2236" y="336"/>
                </a:lnTo>
                <a:lnTo>
                  <a:pt x="2214" y="336"/>
                </a:lnTo>
                <a:lnTo>
                  <a:pt x="2214" y="330"/>
                </a:lnTo>
                <a:lnTo>
                  <a:pt x="2176" y="330"/>
                </a:lnTo>
                <a:lnTo>
                  <a:pt x="2176" y="324"/>
                </a:lnTo>
                <a:lnTo>
                  <a:pt x="2170" y="324"/>
                </a:lnTo>
                <a:lnTo>
                  <a:pt x="2170" y="330"/>
                </a:lnTo>
                <a:lnTo>
                  <a:pt x="2164" y="330"/>
                </a:lnTo>
                <a:lnTo>
                  <a:pt x="2164" y="324"/>
                </a:lnTo>
                <a:lnTo>
                  <a:pt x="2144" y="324"/>
                </a:lnTo>
                <a:lnTo>
                  <a:pt x="2144" y="320"/>
                </a:lnTo>
                <a:lnTo>
                  <a:pt x="2132" y="320"/>
                </a:lnTo>
                <a:lnTo>
                  <a:pt x="2132" y="336"/>
                </a:lnTo>
                <a:lnTo>
                  <a:pt x="2138" y="336"/>
                </a:lnTo>
                <a:lnTo>
                  <a:pt x="2138" y="350"/>
                </a:lnTo>
                <a:lnTo>
                  <a:pt x="2132" y="350"/>
                </a:lnTo>
                <a:lnTo>
                  <a:pt x="2132" y="356"/>
                </a:lnTo>
                <a:lnTo>
                  <a:pt x="2116" y="356"/>
                </a:lnTo>
                <a:lnTo>
                  <a:pt x="2116" y="348"/>
                </a:lnTo>
                <a:lnTo>
                  <a:pt x="2100" y="348"/>
                </a:lnTo>
                <a:lnTo>
                  <a:pt x="2100" y="336"/>
                </a:lnTo>
                <a:lnTo>
                  <a:pt x="2008" y="336"/>
                </a:lnTo>
                <a:lnTo>
                  <a:pt x="2008" y="356"/>
                </a:lnTo>
                <a:lnTo>
                  <a:pt x="2004" y="356"/>
                </a:lnTo>
                <a:lnTo>
                  <a:pt x="2004" y="362"/>
                </a:lnTo>
                <a:lnTo>
                  <a:pt x="1998" y="362"/>
                </a:lnTo>
                <a:lnTo>
                  <a:pt x="2004" y="356"/>
                </a:lnTo>
                <a:lnTo>
                  <a:pt x="2004" y="348"/>
                </a:lnTo>
                <a:lnTo>
                  <a:pt x="1998" y="348"/>
                </a:lnTo>
                <a:lnTo>
                  <a:pt x="1998" y="336"/>
                </a:lnTo>
                <a:lnTo>
                  <a:pt x="1986" y="336"/>
                </a:lnTo>
                <a:lnTo>
                  <a:pt x="1982" y="330"/>
                </a:lnTo>
                <a:lnTo>
                  <a:pt x="1982" y="324"/>
                </a:lnTo>
                <a:lnTo>
                  <a:pt x="1986" y="320"/>
                </a:lnTo>
                <a:lnTo>
                  <a:pt x="1986" y="308"/>
                </a:lnTo>
                <a:lnTo>
                  <a:pt x="1976" y="308"/>
                </a:lnTo>
                <a:lnTo>
                  <a:pt x="1970" y="302"/>
                </a:lnTo>
                <a:lnTo>
                  <a:pt x="1964" y="302"/>
                </a:lnTo>
                <a:lnTo>
                  <a:pt x="1958" y="296"/>
                </a:lnTo>
                <a:lnTo>
                  <a:pt x="1898" y="296"/>
                </a:lnTo>
                <a:lnTo>
                  <a:pt x="1898" y="302"/>
                </a:lnTo>
                <a:lnTo>
                  <a:pt x="1872" y="302"/>
                </a:lnTo>
                <a:lnTo>
                  <a:pt x="1872" y="296"/>
                </a:lnTo>
                <a:lnTo>
                  <a:pt x="1868" y="296"/>
                </a:lnTo>
                <a:lnTo>
                  <a:pt x="1868" y="292"/>
                </a:lnTo>
                <a:lnTo>
                  <a:pt x="1862" y="292"/>
                </a:lnTo>
                <a:lnTo>
                  <a:pt x="1856" y="288"/>
                </a:lnTo>
                <a:lnTo>
                  <a:pt x="1850" y="292"/>
                </a:lnTo>
                <a:lnTo>
                  <a:pt x="1850" y="288"/>
                </a:lnTo>
                <a:lnTo>
                  <a:pt x="1836" y="288"/>
                </a:lnTo>
                <a:lnTo>
                  <a:pt x="1836" y="282"/>
                </a:lnTo>
                <a:lnTo>
                  <a:pt x="1830" y="282"/>
                </a:lnTo>
                <a:lnTo>
                  <a:pt x="1830" y="276"/>
                </a:lnTo>
                <a:lnTo>
                  <a:pt x="1836" y="276"/>
                </a:lnTo>
                <a:lnTo>
                  <a:pt x="1842" y="282"/>
                </a:lnTo>
                <a:lnTo>
                  <a:pt x="1842" y="270"/>
                </a:lnTo>
                <a:lnTo>
                  <a:pt x="1830" y="270"/>
                </a:lnTo>
                <a:lnTo>
                  <a:pt x="1830" y="266"/>
                </a:lnTo>
                <a:lnTo>
                  <a:pt x="1802" y="266"/>
                </a:lnTo>
                <a:lnTo>
                  <a:pt x="1796" y="270"/>
                </a:lnTo>
                <a:lnTo>
                  <a:pt x="1786" y="282"/>
                </a:lnTo>
                <a:lnTo>
                  <a:pt x="1782" y="282"/>
                </a:lnTo>
                <a:lnTo>
                  <a:pt x="1776" y="288"/>
                </a:lnTo>
                <a:lnTo>
                  <a:pt x="1776" y="282"/>
                </a:lnTo>
                <a:lnTo>
                  <a:pt x="1770" y="282"/>
                </a:lnTo>
                <a:lnTo>
                  <a:pt x="1776" y="276"/>
                </a:lnTo>
                <a:lnTo>
                  <a:pt x="1782" y="276"/>
                </a:lnTo>
                <a:lnTo>
                  <a:pt x="1782" y="270"/>
                </a:lnTo>
                <a:lnTo>
                  <a:pt x="1796" y="270"/>
                </a:lnTo>
                <a:lnTo>
                  <a:pt x="1796" y="266"/>
                </a:lnTo>
                <a:lnTo>
                  <a:pt x="1790" y="260"/>
                </a:lnTo>
                <a:lnTo>
                  <a:pt x="1776" y="260"/>
                </a:lnTo>
                <a:lnTo>
                  <a:pt x="1776" y="266"/>
                </a:lnTo>
                <a:lnTo>
                  <a:pt x="1770" y="266"/>
                </a:lnTo>
                <a:lnTo>
                  <a:pt x="1770" y="270"/>
                </a:lnTo>
                <a:lnTo>
                  <a:pt x="1764" y="270"/>
                </a:lnTo>
                <a:lnTo>
                  <a:pt x="1758" y="270"/>
                </a:lnTo>
                <a:lnTo>
                  <a:pt x="1758" y="266"/>
                </a:lnTo>
                <a:lnTo>
                  <a:pt x="1764" y="266"/>
                </a:lnTo>
                <a:lnTo>
                  <a:pt x="1764" y="270"/>
                </a:lnTo>
                <a:lnTo>
                  <a:pt x="1770" y="266"/>
                </a:lnTo>
                <a:lnTo>
                  <a:pt x="1770" y="260"/>
                </a:lnTo>
                <a:lnTo>
                  <a:pt x="1758" y="260"/>
                </a:lnTo>
                <a:lnTo>
                  <a:pt x="1754" y="254"/>
                </a:lnTo>
                <a:lnTo>
                  <a:pt x="1722" y="254"/>
                </a:lnTo>
                <a:lnTo>
                  <a:pt x="1722" y="248"/>
                </a:lnTo>
                <a:lnTo>
                  <a:pt x="1710" y="248"/>
                </a:lnTo>
                <a:lnTo>
                  <a:pt x="1710" y="254"/>
                </a:lnTo>
                <a:lnTo>
                  <a:pt x="1716" y="254"/>
                </a:lnTo>
                <a:lnTo>
                  <a:pt x="1716" y="260"/>
                </a:lnTo>
                <a:lnTo>
                  <a:pt x="1694" y="260"/>
                </a:lnTo>
                <a:lnTo>
                  <a:pt x="1688" y="266"/>
                </a:lnTo>
                <a:lnTo>
                  <a:pt x="1688" y="270"/>
                </a:lnTo>
                <a:lnTo>
                  <a:pt x="1694" y="270"/>
                </a:lnTo>
                <a:lnTo>
                  <a:pt x="1700" y="266"/>
                </a:lnTo>
                <a:lnTo>
                  <a:pt x="1704" y="270"/>
                </a:lnTo>
                <a:lnTo>
                  <a:pt x="1700" y="270"/>
                </a:lnTo>
                <a:lnTo>
                  <a:pt x="1700" y="288"/>
                </a:lnTo>
                <a:lnTo>
                  <a:pt x="1672" y="288"/>
                </a:lnTo>
                <a:lnTo>
                  <a:pt x="1672" y="296"/>
                </a:lnTo>
                <a:lnTo>
                  <a:pt x="1668" y="292"/>
                </a:lnTo>
                <a:lnTo>
                  <a:pt x="1662" y="288"/>
                </a:lnTo>
                <a:lnTo>
                  <a:pt x="1624" y="288"/>
                </a:lnTo>
                <a:lnTo>
                  <a:pt x="1624" y="292"/>
                </a:lnTo>
                <a:lnTo>
                  <a:pt x="1618" y="288"/>
                </a:lnTo>
                <a:lnTo>
                  <a:pt x="1602" y="288"/>
                </a:lnTo>
                <a:lnTo>
                  <a:pt x="1602" y="276"/>
                </a:lnTo>
                <a:lnTo>
                  <a:pt x="1596" y="276"/>
                </a:lnTo>
                <a:lnTo>
                  <a:pt x="1590" y="282"/>
                </a:lnTo>
                <a:lnTo>
                  <a:pt x="1590" y="296"/>
                </a:lnTo>
                <a:lnTo>
                  <a:pt x="1586" y="296"/>
                </a:lnTo>
                <a:lnTo>
                  <a:pt x="1580" y="302"/>
                </a:lnTo>
                <a:lnTo>
                  <a:pt x="1574" y="308"/>
                </a:lnTo>
                <a:lnTo>
                  <a:pt x="1574" y="302"/>
                </a:lnTo>
                <a:lnTo>
                  <a:pt x="1570" y="296"/>
                </a:lnTo>
                <a:lnTo>
                  <a:pt x="1570" y="302"/>
                </a:lnTo>
                <a:lnTo>
                  <a:pt x="1564" y="302"/>
                </a:lnTo>
                <a:lnTo>
                  <a:pt x="1564" y="296"/>
                </a:lnTo>
                <a:lnTo>
                  <a:pt x="1554" y="296"/>
                </a:lnTo>
                <a:lnTo>
                  <a:pt x="1554" y="288"/>
                </a:lnTo>
                <a:lnTo>
                  <a:pt x="1542" y="288"/>
                </a:lnTo>
                <a:lnTo>
                  <a:pt x="1542" y="276"/>
                </a:lnTo>
                <a:lnTo>
                  <a:pt x="1536" y="276"/>
                </a:lnTo>
                <a:lnTo>
                  <a:pt x="1536" y="270"/>
                </a:lnTo>
                <a:lnTo>
                  <a:pt x="1530" y="270"/>
                </a:lnTo>
                <a:lnTo>
                  <a:pt x="1530" y="266"/>
                </a:lnTo>
                <a:lnTo>
                  <a:pt x="1520" y="266"/>
                </a:lnTo>
                <a:lnTo>
                  <a:pt x="1520" y="260"/>
                </a:lnTo>
                <a:lnTo>
                  <a:pt x="1516" y="260"/>
                </a:lnTo>
                <a:lnTo>
                  <a:pt x="1516" y="270"/>
                </a:lnTo>
                <a:lnTo>
                  <a:pt x="1510" y="266"/>
                </a:lnTo>
                <a:lnTo>
                  <a:pt x="1494" y="266"/>
                </a:lnTo>
                <a:lnTo>
                  <a:pt x="1494" y="260"/>
                </a:lnTo>
                <a:lnTo>
                  <a:pt x="1482" y="260"/>
                </a:lnTo>
                <a:lnTo>
                  <a:pt x="1476" y="254"/>
                </a:lnTo>
                <a:lnTo>
                  <a:pt x="1456" y="254"/>
                </a:lnTo>
                <a:lnTo>
                  <a:pt x="1456" y="248"/>
                </a:lnTo>
                <a:lnTo>
                  <a:pt x="1412" y="248"/>
                </a:lnTo>
                <a:lnTo>
                  <a:pt x="1408" y="242"/>
                </a:lnTo>
                <a:lnTo>
                  <a:pt x="1402" y="242"/>
                </a:lnTo>
                <a:lnTo>
                  <a:pt x="1396" y="238"/>
                </a:lnTo>
                <a:lnTo>
                  <a:pt x="1408" y="238"/>
                </a:lnTo>
                <a:lnTo>
                  <a:pt x="1402" y="234"/>
                </a:lnTo>
                <a:lnTo>
                  <a:pt x="1374" y="234"/>
                </a:lnTo>
                <a:lnTo>
                  <a:pt x="1374" y="228"/>
                </a:lnTo>
                <a:lnTo>
                  <a:pt x="1348" y="228"/>
                </a:lnTo>
                <a:lnTo>
                  <a:pt x="1348" y="234"/>
                </a:lnTo>
                <a:lnTo>
                  <a:pt x="1326" y="234"/>
                </a:lnTo>
                <a:lnTo>
                  <a:pt x="1326" y="238"/>
                </a:lnTo>
                <a:lnTo>
                  <a:pt x="1320" y="238"/>
                </a:lnTo>
                <a:lnTo>
                  <a:pt x="1326" y="234"/>
                </a:lnTo>
                <a:lnTo>
                  <a:pt x="1326" y="228"/>
                </a:lnTo>
                <a:lnTo>
                  <a:pt x="1294" y="228"/>
                </a:lnTo>
                <a:lnTo>
                  <a:pt x="1288" y="222"/>
                </a:lnTo>
                <a:lnTo>
                  <a:pt x="1276" y="222"/>
                </a:lnTo>
                <a:lnTo>
                  <a:pt x="1276" y="228"/>
                </a:lnTo>
                <a:lnTo>
                  <a:pt x="1282" y="228"/>
                </a:lnTo>
                <a:lnTo>
                  <a:pt x="1282" y="234"/>
                </a:lnTo>
                <a:lnTo>
                  <a:pt x="1276" y="234"/>
                </a:lnTo>
                <a:lnTo>
                  <a:pt x="1276" y="238"/>
                </a:lnTo>
                <a:lnTo>
                  <a:pt x="1250" y="238"/>
                </a:lnTo>
                <a:lnTo>
                  <a:pt x="1250" y="242"/>
                </a:lnTo>
                <a:lnTo>
                  <a:pt x="1222" y="242"/>
                </a:lnTo>
                <a:lnTo>
                  <a:pt x="1222" y="248"/>
                </a:lnTo>
                <a:lnTo>
                  <a:pt x="1218" y="248"/>
                </a:lnTo>
                <a:lnTo>
                  <a:pt x="1212" y="254"/>
                </a:lnTo>
                <a:lnTo>
                  <a:pt x="1206" y="254"/>
                </a:lnTo>
                <a:lnTo>
                  <a:pt x="1212" y="248"/>
                </a:lnTo>
                <a:lnTo>
                  <a:pt x="1218" y="248"/>
                </a:lnTo>
                <a:lnTo>
                  <a:pt x="1218" y="238"/>
                </a:lnTo>
                <a:lnTo>
                  <a:pt x="1234" y="238"/>
                </a:lnTo>
                <a:lnTo>
                  <a:pt x="1240" y="234"/>
                </a:lnTo>
                <a:lnTo>
                  <a:pt x="1246" y="234"/>
                </a:lnTo>
                <a:lnTo>
                  <a:pt x="1250" y="228"/>
                </a:lnTo>
                <a:lnTo>
                  <a:pt x="1260" y="228"/>
                </a:lnTo>
                <a:lnTo>
                  <a:pt x="1260" y="222"/>
                </a:lnTo>
                <a:lnTo>
                  <a:pt x="1266" y="222"/>
                </a:lnTo>
                <a:lnTo>
                  <a:pt x="1266" y="216"/>
                </a:lnTo>
                <a:lnTo>
                  <a:pt x="1276" y="216"/>
                </a:lnTo>
                <a:lnTo>
                  <a:pt x="1276" y="210"/>
                </a:lnTo>
                <a:lnTo>
                  <a:pt x="1288" y="210"/>
                </a:lnTo>
                <a:lnTo>
                  <a:pt x="1288" y="206"/>
                </a:lnTo>
                <a:lnTo>
                  <a:pt x="1294" y="206"/>
                </a:lnTo>
                <a:lnTo>
                  <a:pt x="1294" y="200"/>
                </a:lnTo>
                <a:lnTo>
                  <a:pt x="1308" y="200"/>
                </a:lnTo>
                <a:lnTo>
                  <a:pt x="1308" y="194"/>
                </a:lnTo>
                <a:lnTo>
                  <a:pt x="1314" y="194"/>
                </a:lnTo>
                <a:lnTo>
                  <a:pt x="1320" y="188"/>
                </a:lnTo>
                <a:lnTo>
                  <a:pt x="1326" y="188"/>
                </a:lnTo>
                <a:lnTo>
                  <a:pt x="1326" y="182"/>
                </a:lnTo>
                <a:lnTo>
                  <a:pt x="1332" y="182"/>
                </a:lnTo>
                <a:lnTo>
                  <a:pt x="1326" y="180"/>
                </a:lnTo>
                <a:lnTo>
                  <a:pt x="1332" y="180"/>
                </a:lnTo>
                <a:lnTo>
                  <a:pt x="1332" y="168"/>
                </a:lnTo>
                <a:lnTo>
                  <a:pt x="1326" y="168"/>
                </a:lnTo>
                <a:lnTo>
                  <a:pt x="1326" y="156"/>
                </a:lnTo>
                <a:lnTo>
                  <a:pt x="1320" y="162"/>
                </a:lnTo>
                <a:lnTo>
                  <a:pt x="1320" y="168"/>
                </a:lnTo>
                <a:lnTo>
                  <a:pt x="1314" y="168"/>
                </a:lnTo>
                <a:lnTo>
                  <a:pt x="1314" y="174"/>
                </a:lnTo>
                <a:lnTo>
                  <a:pt x="1320" y="174"/>
                </a:lnTo>
                <a:lnTo>
                  <a:pt x="1320" y="180"/>
                </a:lnTo>
                <a:lnTo>
                  <a:pt x="1314" y="180"/>
                </a:lnTo>
                <a:lnTo>
                  <a:pt x="1314" y="174"/>
                </a:lnTo>
                <a:lnTo>
                  <a:pt x="1308" y="174"/>
                </a:lnTo>
                <a:lnTo>
                  <a:pt x="1308" y="168"/>
                </a:lnTo>
                <a:lnTo>
                  <a:pt x="1314" y="168"/>
                </a:lnTo>
                <a:lnTo>
                  <a:pt x="1314" y="156"/>
                </a:lnTo>
                <a:lnTo>
                  <a:pt x="1308" y="152"/>
                </a:lnTo>
                <a:lnTo>
                  <a:pt x="1300" y="152"/>
                </a:lnTo>
                <a:lnTo>
                  <a:pt x="1300" y="146"/>
                </a:lnTo>
                <a:lnTo>
                  <a:pt x="1250" y="146"/>
                </a:lnTo>
                <a:lnTo>
                  <a:pt x="1250" y="152"/>
                </a:lnTo>
                <a:lnTo>
                  <a:pt x="1234" y="152"/>
                </a:lnTo>
                <a:lnTo>
                  <a:pt x="1234" y="140"/>
                </a:lnTo>
                <a:lnTo>
                  <a:pt x="1218" y="140"/>
                </a:lnTo>
                <a:lnTo>
                  <a:pt x="1218" y="134"/>
                </a:lnTo>
                <a:lnTo>
                  <a:pt x="1206" y="134"/>
                </a:lnTo>
                <a:lnTo>
                  <a:pt x="1206" y="128"/>
                </a:lnTo>
                <a:lnTo>
                  <a:pt x="1218" y="128"/>
                </a:lnTo>
                <a:lnTo>
                  <a:pt x="1218" y="124"/>
                </a:lnTo>
                <a:lnTo>
                  <a:pt x="1206" y="124"/>
                </a:lnTo>
                <a:lnTo>
                  <a:pt x="1206" y="120"/>
                </a:lnTo>
                <a:lnTo>
                  <a:pt x="1180" y="120"/>
                </a:lnTo>
                <a:lnTo>
                  <a:pt x="1180" y="124"/>
                </a:lnTo>
                <a:lnTo>
                  <a:pt x="1168" y="124"/>
                </a:lnTo>
                <a:lnTo>
                  <a:pt x="1168" y="128"/>
                </a:lnTo>
                <a:lnTo>
                  <a:pt x="1162" y="128"/>
                </a:lnTo>
                <a:lnTo>
                  <a:pt x="1158" y="134"/>
                </a:lnTo>
                <a:lnTo>
                  <a:pt x="1152" y="134"/>
                </a:lnTo>
                <a:lnTo>
                  <a:pt x="1152" y="140"/>
                </a:lnTo>
                <a:lnTo>
                  <a:pt x="1146" y="140"/>
                </a:lnTo>
                <a:lnTo>
                  <a:pt x="1146" y="146"/>
                </a:lnTo>
                <a:lnTo>
                  <a:pt x="1152" y="146"/>
                </a:lnTo>
                <a:lnTo>
                  <a:pt x="1152" y="152"/>
                </a:lnTo>
                <a:lnTo>
                  <a:pt x="1120" y="152"/>
                </a:lnTo>
                <a:lnTo>
                  <a:pt x="1120" y="156"/>
                </a:lnTo>
                <a:lnTo>
                  <a:pt x="1132" y="156"/>
                </a:lnTo>
                <a:lnTo>
                  <a:pt x="1132" y="162"/>
                </a:lnTo>
                <a:lnTo>
                  <a:pt x="1136" y="162"/>
                </a:lnTo>
                <a:lnTo>
                  <a:pt x="1136" y="168"/>
                </a:lnTo>
                <a:lnTo>
                  <a:pt x="1132" y="174"/>
                </a:lnTo>
                <a:lnTo>
                  <a:pt x="1132" y="162"/>
                </a:lnTo>
                <a:lnTo>
                  <a:pt x="1120" y="162"/>
                </a:lnTo>
                <a:lnTo>
                  <a:pt x="1120" y="156"/>
                </a:lnTo>
                <a:lnTo>
                  <a:pt x="1114" y="162"/>
                </a:lnTo>
                <a:lnTo>
                  <a:pt x="1108" y="162"/>
                </a:lnTo>
                <a:lnTo>
                  <a:pt x="1108" y="168"/>
                </a:lnTo>
                <a:lnTo>
                  <a:pt x="1082" y="168"/>
                </a:lnTo>
                <a:lnTo>
                  <a:pt x="1078" y="162"/>
                </a:lnTo>
                <a:lnTo>
                  <a:pt x="1060" y="162"/>
                </a:lnTo>
                <a:lnTo>
                  <a:pt x="1066" y="168"/>
                </a:lnTo>
                <a:lnTo>
                  <a:pt x="1054" y="168"/>
                </a:lnTo>
                <a:lnTo>
                  <a:pt x="1050" y="162"/>
                </a:lnTo>
                <a:lnTo>
                  <a:pt x="1044" y="162"/>
                </a:lnTo>
                <a:lnTo>
                  <a:pt x="1044" y="174"/>
                </a:lnTo>
                <a:lnTo>
                  <a:pt x="1018" y="174"/>
                </a:lnTo>
                <a:lnTo>
                  <a:pt x="1018" y="180"/>
                </a:lnTo>
                <a:lnTo>
                  <a:pt x="990" y="180"/>
                </a:lnTo>
                <a:lnTo>
                  <a:pt x="984" y="182"/>
                </a:lnTo>
                <a:lnTo>
                  <a:pt x="984" y="180"/>
                </a:lnTo>
                <a:lnTo>
                  <a:pt x="980" y="180"/>
                </a:lnTo>
                <a:lnTo>
                  <a:pt x="980" y="182"/>
                </a:lnTo>
                <a:lnTo>
                  <a:pt x="974" y="182"/>
                </a:lnTo>
                <a:lnTo>
                  <a:pt x="968" y="188"/>
                </a:lnTo>
                <a:lnTo>
                  <a:pt x="964" y="188"/>
                </a:lnTo>
                <a:lnTo>
                  <a:pt x="964" y="194"/>
                </a:lnTo>
                <a:lnTo>
                  <a:pt x="958" y="194"/>
                </a:lnTo>
                <a:lnTo>
                  <a:pt x="958" y="200"/>
                </a:lnTo>
                <a:lnTo>
                  <a:pt x="952" y="200"/>
                </a:lnTo>
                <a:lnTo>
                  <a:pt x="952" y="206"/>
                </a:lnTo>
                <a:lnTo>
                  <a:pt x="946" y="206"/>
                </a:lnTo>
                <a:lnTo>
                  <a:pt x="946" y="210"/>
                </a:lnTo>
                <a:lnTo>
                  <a:pt x="940" y="210"/>
                </a:lnTo>
                <a:lnTo>
                  <a:pt x="946" y="216"/>
                </a:lnTo>
                <a:lnTo>
                  <a:pt x="952" y="210"/>
                </a:lnTo>
                <a:lnTo>
                  <a:pt x="958" y="210"/>
                </a:lnTo>
                <a:lnTo>
                  <a:pt x="952" y="216"/>
                </a:lnTo>
                <a:lnTo>
                  <a:pt x="958" y="216"/>
                </a:lnTo>
                <a:lnTo>
                  <a:pt x="958" y="234"/>
                </a:lnTo>
                <a:lnTo>
                  <a:pt x="946" y="234"/>
                </a:lnTo>
                <a:lnTo>
                  <a:pt x="946" y="228"/>
                </a:lnTo>
                <a:lnTo>
                  <a:pt x="876" y="228"/>
                </a:lnTo>
                <a:lnTo>
                  <a:pt x="872" y="234"/>
                </a:lnTo>
                <a:lnTo>
                  <a:pt x="860" y="234"/>
                </a:lnTo>
                <a:lnTo>
                  <a:pt x="860" y="248"/>
                </a:lnTo>
                <a:lnTo>
                  <a:pt x="866" y="248"/>
                </a:lnTo>
                <a:lnTo>
                  <a:pt x="860" y="254"/>
                </a:lnTo>
                <a:lnTo>
                  <a:pt x="860" y="260"/>
                </a:lnTo>
                <a:lnTo>
                  <a:pt x="872" y="260"/>
                </a:lnTo>
                <a:lnTo>
                  <a:pt x="872" y="266"/>
                </a:lnTo>
                <a:lnTo>
                  <a:pt x="880" y="266"/>
                </a:lnTo>
                <a:lnTo>
                  <a:pt x="880" y="276"/>
                </a:lnTo>
                <a:lnTo>
                  <a:pt x="904" y="276"/>
                </a:lnTo>
                <a:lnTo>
                  <a:pt x="904" y="288"/>
                </a:lnTo>
                <a:lnTo>
                  <a:pt x="898" y="288"/>
                </a:lnTo>
                <a:lnTo>
                  <a:pt x="898" y="296"/>
                </a:lnTo>
                <a:lnTo>
                  <a:pt x="904" y="302"/>
                </a:lnTo>
                <a:lnTo>
                  <a:pt x="904" y="308"/>
                </a:lnTo>
                <a:lnTo>
                  <a:pt x="908" y="308"/>
                </a:lnTo>
                <a:lnTo>
                  <a:pt x="908" y="314"/>
                </a:lnTo>
                <a:lnTo>
                  <a:pt x="904" y="314"/>
                </a:lnTo>
                <a:lnTo>
                  <a:pt x="904" y="320"/>
                </a:lnTo>
                <a:lnTo>
                  <a:pt x="892" y="320"/>
                </a:lnTo>
                <a:lnTo>
                  <a:pt x="898" y="314"/>
                </a:lnTo>
                <a:lnTo>
                  <a:pt x="898" y="296"/>
                </a:lnTo>
                <a:lnTo>
                  <a:pt x="892" y="296"/>
                </a:lnTo>
                <a:lnTo>
                  <a:pt x="886" y="302"/>
                </a:lnTo>
                <a:lnTo>
                  <a:pt x="886" y="308"/>
                </a:lnTo>
                <a:lnTo>
                  <a:pt x="880" y="302"/>
                </a:lnTo>
                <a:lnTo>
                  <a:pt x="880" y="292"/>
                </a:lnTo>
                <a:lnTo>
                  <a:pt x="892" y="292"/>
                </a:lnTo>
                <a:lnTo>
                  <a:pt x="892" y="288"/>
                </a:lnTo>
                <a:lnTo>
                  <a:pt x="898" y="288"/>
                </a:lnTo>
                <a:lnTo>
                  <a:pt x="898" y="282"/>
                </a:lnTo>
                <a:lnTo>
                  <a:pt x="872" y="282"/>
                </a:lnTo>
                <a:lnTo>
                  <a:pt x="872" y="276"/>
                </a:lnTo>
                <a:lnTo>
                  <a:pt x="866" y="276"/>
                </a:lnTo>
                <a:lnTo>
                  <a:pt x="866" y="270"/>
                </a:lnTo>
                <a:lnTo>
                  <a:pt x="854" y="270"/>
                </a:lnTo>
                <a:lnTo>
                  <a:pt x="850" y="266"/>
                </a:lnTo>
                <a:lnTo>
                  <a:pt x="844" y="260"/>
                </a:lnTo>
                <a:lnTo>
                  <a:pt x="826" y="260"/>
                </a:lnTo>
                <a:lnTo>
                  <a:pt x="826" y="266"/>
                </a:lnTo>
                <a:lnTo>
                  <a:pt x="822" y="266"/>
                </a:lnTo>
                <a:lnTo>
                  <a:pt x="822" y="270"/>
                </a:lnTo>
                <a:lnTo>
                  <a:pt x="818" y="270"/>
                </a:lnTo>
                <a:lnTo>
                  <a:pt x="818" y="276"/>
                </a:lnTo>
                <a:lnTo>
                  <a:pt x="800" y="276"/>
                </a:lnTo>
                <a:lnTo>
                  <a:pt x="800" y="288"/>
                </a:lnTo>
                <a:lnTo>
                  <a:pt x="812" y="288"/>
                </a:lnTo>
                <a:lnTo>
                  <a:pt x="812" y="292"/>
                </a:lnTo>
                <a:lnTo>
                  <a:pt x="826" y="292"/>
                </a:lnTo>
                <a:lnTo>
                  <a:pt x="826" y="296"/>
                </a:lnTo>
                <a:lnTo>
                  <a:pt x="832" y="296"/>
                </a:lnTo>
                <a:lnTo>
                  <a:pt x="838" y="302"/>
                </a:lnTo>
                <a:lnTo>
                  <a:pt x="826" y="302"/>
                </a:lnTo>
                <a:lnTo>
                  <a:pt x="822" y="296"/>
                </a:lnTo>
                <a:lnTo>
                  <a:pt x="800" y="296"/>
                </a:lnTo>
                <a:lnTo>
                  <a:pt x="794" y="292"/>
                </a:lnTo>
                <a:lnTo>
                  <a:pt x="790" y="292"/>
                </a:lnTo>
                <a:lnTo>
                  <a:pt x="790" y="282"/>
                </a:lnTo>
                <a:lnTo>
                  <a:pt x="784" y="282"/>
                </a:lnTo>
                <a:lnTo>
                  <a:pt x="784" y="276"/>
                </a:lnTo>
                <a:lnTo>
                  <a:pt x="790" y="276"/>
                </a:lnTo>
                <a:lnTo>
                  <a:pt x="790" y="248"/>
                </a:lnTo>
                <a:lnTo>
                  <a:pt x="778" y="248"/>
                </a:lnTo>
                <a:lnTo>
                  <a:pt x="778" y="254"/>
                </a:lnTo>
                <a:lnTo>
                  <a:pt x="784" y="254"/>
                </a:lnTo>
                <a:lnTo>
                  <a:pt x="784" y="270"/>
                </a:lnTo>
                <a:lnTo>
                  <a:pt x="778" y="270"/>
                </a:lnTo>
                <a:lnTo>
                  <a:pt x="778" y="276"/>
                </a:lnTo>
                <a:lnTo>
                  <a:pt x="764" y="276"/>
                </a:lnTo>
                <a:lnTo>
                  <a:pt x="764" y="288"/>
                </a:lnTo>
                <a:lnTo>
                  <a:pt x="758" y="288"/>
                </a:lnTo>
                <a:lnTo>
                  <a:pt x="758" y="292"/>
                </a:lnTo>
                <a:lnTo>
                  <a:pt x="764" y="292"/>
                </a:lnTo>
                <a:lnTo>
                  <a:pt x="764" y="296"/>
                </a:lnTo>
                <a:lnTo>
                  <a:pt x="766" y="296"/>
                </a:lnTo>
                <a:lnTo>
                  <a:pt x="766" y="308"/>
                </a:lnTo>
                <a:lnTo>
                  <a:pt x="772" y="308"/>
                </a:lnTo>
                <a:lnTo>
                  <a:pt x="772" y="314"/>
                </a:lnTo>
                <a:lnTo>
                  <a:pt x="766" y="314"/>
                </a:lnTo>
                <a:lnTo>
                  <a:pt x="766" y="320"/>
                </a:lnTo>
                <a:lnTo>
                  <a:pt x="764" y="330"/>
                </a:lnTo>
                <a:lnTo>
                  <a:pt x="764" y="336"/>
                </a:lnTo>
                <a:lnTo>
                  <a:pt x="766" y="336"/>
                </a:lnTo>
                <a:lnTo>
                  <a:pt x="766" y="348"/>
                </a:lnTo>
                <a:lnTo>
                  <a:pt x="812" y="348"/>
                </a:lnTo>
                <a:lnTo>
                  <a:pt x="812" y="350"/>
                </a:lnTo>
                <a:lnTo>
                  <a:pt x="822" y="350"/>
                </a:lnTo>
                <a:lnTo>
                  <a:pt x="822" y="368"/>
                </a:lnTo>
                <a:lnTo>
                  <a:pt x="818" y="368"/>
                </a:lnTo>
                <a:lnTo>
                  <a:pt x="818" y="384"/>
                </a:lnTo>
                <a:lnTo>
                  <a:pt x="812" y="384"/>
                </a:lnTo>
                <a:lnTo>
                  <a:pt x="812" y="356"/>
                </a:lnTo>
                <a:lnTo>
                  <a:pt x="806" y="356"/>
                </a:lnTo>
                <a:lnTo>
                  <a:pt x="806" y="350"/>
                </a:lnTo>
                <a:lnTo>
                  <a:pt x="790" y="350"/>
                </a:lnTo>
                <a:lnTo>
                  <a:pt x="784" y="356"/>
                </a:lnTo>
                <a:lnTo>
                  <a:pt x="772" y="356"/>
                </a:lnTo>
                <a:lnTo>
                  <a:pt x="772" y="368"/>
                </a:lnTo>
                <a:lnTo>
                  <a:pt x="778" y="368"/>
                </a:lnTo>
                <a:lnTo>
                  <a:pt x="778" y="384"/>
                </a:lnTo>
                <a:lnTo>
                  <a:pt x="772" y="384"/>
                </a:lnTo>
                <a:lnTo>
                  <a:pt x="772" y="390"/>
                </a:lnTo>
                <a:lnTo>
                  <a:pt x="766" y="390"/>
                </a:lnTo>
                <a:lnTo>
                  <a:pt x="766" y="402"/>
                </a:lnTo>
                <a:lnTo>
                  <a:pt x="764" y="406"/>
                </a:lnTo>
                <a:lnTo>
                  <a:pt x="752" y="406"/>
                </a:lnTo>
                <a:lnTo>
                  <a:pt x="752" y="410"/>
                </a:lnTo>
                <a:lnTo>
                  <a:pt x="746" y="410"/>
                </a:lnTo>
                <a:lnTo>
                  <a:pt x="746" y="416"/>
                </a:lnTo>
                <a:lnTo>
                  <a:pt x="710" y="416"/>
                </a:lnTo>
                <a:lnTo>
                  <a:pt x="710" y="410"/>
                </a:lnTo>
                <a:lnTo>
                  <a:pt x="698" y="410"/>
                </a:lnTo>
                <a:lnTo>
                  <a:pt x="698" y="406"/>
                </a:lnTo>
                <a:lnTo>
                  <a:pt x="718" y="406"/>
                </a:lnTo>
                <a:lnTo>
                  <a:pt x="718" y="410"/>
                </a:lnTo>
                <a:lnTo>
                  <a:pt x="730" y="410"/>
                </a:lnTo>
                <a:lnTo>
                  <a:pt x="730" y="402"/>
                </a:lnTo>
                <a:lnTo>
                  <a:pt x="736" y="406"/>
                </a:lnTo>
                <a:lnTo>
                  <a:pt x="736" y="402"/>
                </a:lnTo>
                <a:lnTo>
                  <a:pt x="740" y="402"/>
                </a:lnTo>
                <a:lnTo>
                  <a:pt x="740" y="396"/>
                </a:lnTo>
                <a:lnTo>
                  <a:pt x="746" y="396"/>
                </a:lnTo>
                <a:lnTo>
                  <a:pt x="746" y="384"/>
                </a:lnTo>
                <a:lnTo>
                  <a:pt x="758" y="384"/>
                </a:lnTo>
                <a:lnTo>
                  <a:pt x="758" y="368"/>
                </a:lnTo>
                <a:lnTo>
                  <a:pt x="764" y="368"/>
                </a:lnTo>
                <a:lnTo>
                  <a:pt x="764" y="356"/>
                </a:lnTo>
                <a:lnTo>
                  <a:pt x="752" y="356"/>
                </a:lnTo>
                <a:lnTo>
                  <a:pt x="752" y="350"/>
                </a:lnTo>
                <a:lnTo>
                  <a:pt x="746" y="350"/>
                </a:lnTo>
                <a:lnTo>
                  <a:pt x="746" y="348"/>
                </a:lnTo>
                <a:lnTo>
                  <a:pt x="752" y="342"/>
                </a:lnTo>
                <a:lnTo>
                  <a:pt x="752" y="330"/>
                </a:lnTo>
                <a:lnTo>
                  <a:pt x="746" y="324"/>
                </a:lnTo>
                <a:lnTo>
                  <a:pt x="746" y="314"/>
                </a:lnTo>
                <a:lnTo>
                  <a:pt x="752" y="314"/>
                </a:lnTo>
                <a:lnTo>
                  <a:pt x="752" y="296"/>
                </a:lnTo>
                <a:lnTo>
                  <a:pt x="746" y="296"/>
                </a:lnTo>
                <a:lnTo>
                  <a:pt x="740" y="292"/>
                </a:lnTo>
                <a:lnTo>
                  <a:pt x="740" y="288"/>
                </a:lnTo>
                <a:lnTo>
                  <a:pt x="746" y="282"/>
                </a:lnTo>
                <a:lnTo>
                  <a:pt x="740" y="282"/>
                </a:lnTo>
                <a:lnTo>
                  <a:pt x="740" y="276"/>
                </a:lnTo>
                <a:lnTo>
                  <a:pt x="746" y="276"/>
                </a:lnTo>
                <a:lnTo>
                  <a:pt x="752" y="270"/>
                </a:lnTo>
                <a:lnTo>
                  <a:pt x="752" y="254"/>
                </a:lnTo>
                <a:lnTo>
                  <a:pt x="746" y="254"/>
                </a:lnTo>
                <a:lnTo>
                  <a:pt x="740" y="248"/>
                </a:lnTo>
                <a:lnTo>
                  <a:pt x="704" y="248"/>
                </a:lnTo>
                <a:lnTo>
                  <a:pt x="704" y="254"/>
                </a:lnTo>
                <a:lnTo>
                  <a:pt x="698" y="254"/>
                </a:lnTo>
                <a:lnTo>
                  <a:pt x="698" y="260"/>
                </a:lnTo>
                <a:lnTo>
                  <a:pt x="692" y="266"/>
                </a:lnTo>
                <a:lnTo>
                  <a:pt x="692" y="276"/>
                </a:lnTo>
                <a:lnTo>
                  <a:pt x="686" y="282"/>
                </a:lnTo>
                <a:lnTo>
                  <a:pt x="686" y="288"/>
                </a:lnTo>
                <a:lnTo>
                  <a:pt x="676" y="288"/>
                </a:lnTo>
                <a:lnTo>
                  <a:pt x="676" y="292"/>
                </a:lnTo>
                <a:lnTo>
                  <a:pt x="670" y="292"/>
                </a:lnTo>
                <a:lnTo>
                  <a:pt x="670" y="296"/>
                </a:lnTo>
                <a:lnTo>
                  <a:pt x="664" y="296"/>
                </a:lnTo>
                <a:lnTo>
                  <a:pt x="664" y="308"/>
                </a:lnTo>
                <a:lnTo>
                  <a:pt x="670" y="302"/>
                </a:lnTo>
                <a:lnTo>
                  <a:pt x="670" y="324"/>
                </a:lnTo>
                <a:lnTo>
                  <a:pt x="664" y="336"/>
                </a:lnTo>
                <a:lnTo>
                  <a:pt x="680" y="336"/>
                </a:lnTo>
                <a:lnTo>
                  <a:pt x="680" y="348"/>
                </a:lnTo>
                <a:lnTo>
                  <a:pt x="692" y="348"/>
                </a:lnTo>
                <a:lnTo>
                  <a:pt x="692" y="350"/>
                </a:lnTo>
                <a:lnTo>
                  <a:pt x="698" y="350"/>
                </a:lnTo>
                <a:lnTo>
                  <a:pt x="698" y="356"/>
                </a:lnTo>
                <a:lnTo>
                  <a:pt x="692" y="356"/>
                </a:lnTo>
                <a:lnTo>
                  <a:pt x="692" y="368"/>
                </a:lnTo>
                <a:lnTo>
                  <a:pt x="680" y="368"/>
                </a:lnTo>
                <a:lnTo>
                  <a:pt x="680" y="362"/>
                </a:lnTo>
                <a:lnTo>
                  <a:pt x="676" y="356"/>
                </a:lnTo>
                <a:lnTo>
                  <a:pt x="670" y="356"/>
                </a:lnTo>
                <a:lnTo>
                  <a:pt x="670" y="350"/>
                </a:lnTo>
                <a:lnTo>
                  <a:pt x="658" y="350"/>
                </a:lnTo>
                <a:lnTo>
                  <a:pt x="658" y="348"/>
                </a:lnTo>
                <a:lnTo>
                  <a:pt x="644" y="348"/>
                </a:lnTo>
                <a:lnTo>
                  <a:pt x="638" y="342"/>
                </a:lnTo>
                <a:lnTo>
                  <a:pt x="632" y="342"/>
                </a:lnTo>
                <a:lnTo>
                  <a:pt x="632" y="336"/>
                </a:lnTo>
                <a:lnTo>
                  <a:pt x="596" y="336"/>
                </a:lnTo>
                <a:lnTo>
                  <a:pt x="596" y="330"/>
                </a:lnTo>
                <a:lnTo>
                  <a:pt x="578" y="330"/>
                </a:lnTo>
                <a:lnTo>
                  <a:pt x="578" y="336"/>
                </a:lnTo>
                <a:lnTo>
                  <a:pt x="572" y="336"/>
                </a:lnTo>
                <a:lnTo>
                  <a:pt x="572" y="342"/>
                </a:lnTo>
                <a:lnTo>
                  <a:pt x="578" y="348"/>
                </a:lnTo>
                <a:lnTo>
                  <a:pt x="584" y="348"/>
                </a:lnTo>
                <a:lnTo>
                  <a:pt x="584" y="356"/>
                </a:lnTo>
                <a:lnTo>
                  <a:pt x="568" y="356"/>
                </a:lnTo>
                <a:lnTo>
                  <a:pt x="568" y="362"/>
                </a:lnTo>
                <a:lnTo>
                  <a:pt x="572" y="362"/>
                </a:lnTo>
                <a:lnTo>
                  <a:pt x="568" y="368"/>
                </a:lnTo>
                <a:lnTo>
                  <a:pt x="556" y="368"/>
                </a:lnTo>
                <a:lnTo>
                  <a:pt x="556" y="356"/>
                </a:lnTo>
                <a:lnTo>
                  <a:pt x="562" y="356"/>
                </a:lnTo>
                <a:lnTo>
                  <a:pt x="556" y="350"/>
                </a:lnTo>
                <a:lnTo>
                  <a:pt x="546" y="350"/>
                </a:lnTo>
                <a:lnTo>
                  <a:pt x="546" y="356"/>
                </a:lnTo>
                <a:lnTo>
                  <a:pt x="536" y="356"/>
                </a:lnTo>
                <a:lnTo>
                  <a:pt x="536" y="362"/>
                </a:lnTo>
                <a:lnTo>
                  <a:pt x="524" y="362"/>
                </a:lnTo>
                <a:lnTo>
                  <a:pt x="524" y="356"/>
                </a:lnTo>
                <a:lnTo>
                  <a:pt x="512" y="356"/>
                </a:lnTo>
                <a:lnTo>
                  <a:pt x="508" y="362"/>
                </a:lnTo>
                <a:lnTo>
                  <a:pt x="502" y="362"/>
                </a:lnTo>
                <a:lnTo>
                  <a:pt x="502" y="368"/>
                </a:lnTo>
                <a:lnTo>
                  <a:pt x="486" y="368"/>
                </a:lnTo>
                <a:lnTo>
                  <a:pt x="486" y="362"/>
                </a:lnTo>
                <a:lnTo>
                  <a:pt x="482" y="362"/>
                </a:lnTo>
                <a:lnTo>
                  <a:pt x="482" y="356"/>
                </a:lnTo>
                <a:lnTo>
                  <a:pt x="458" y="356"/>
                </a:lnTo>
                <a:lnTo>
                  <a:pt x="464" y="362"/>
                </a:lnTo>
                <a:lnTo>
                  <a:pt x="464" y="368"/>
                </a:lnTo>
                <a:lnTo>
                  <a:pt x="458" y="368"/>
                </a:lnTo>
                <a:lnTo>
                  <a:pt x="464" y="362"/>
                </a:lnTo>
                <a:lnTo>
                  <a:pt x="454" y="362"/>
                </a:lnTo>
                <a:lnTo>
                  <a:pt x="454" y="368"/>
                </a:lnTo>
                <a:lnTo>
                  <a:pt x="432" y="368"/>
                </a:lnTo>
                <a:lnTo>
                  <a:pt x="432" y="374"/>
                </a:lnTo>
                <a:lnTo>
                  <a:pt x="426" y="374"/>
                </a:lnTo>
                <a:lnTo>
                  <a:pt x="422" y="378"/>
                </a:lnTo>
                <a:lnTo>
                  <a:pt x="410" y="378"/>
                </a:lnTo>
                <a:lnTo>
                  <a:pt x="410" y="384"/>
                </a:lnTo>
                <a:lnTo>
                  <a:pt x="394" y="384"/>
                </a:lnTo>
                <a:lnTo>
                  <a:pt x="398" y="390"/>
                </a:lnTo>
                <a:lnTo>
                  <a:pt x="398" y="396"/>
                </a:lnTo>
                <a:lnTo>
                  <a:pt x="394" y="396"/>
                </a:lnTo>
                <a:lnTo>
                  <a:pt x="394" y="406"/>
                </a:lnTo>
                <a:lnTo>
                  <a:pt x="372" y="406"/>
                </a:lnTo>
                <a:lnTo>
                  <a:pt x="368" y="402"/>
                </a:lnTo>
                <a:lnTo>
                  <a:pt x="368" y="396"/>
                </a:lnTo>
                <a:lnTo>
                  <a:pt x="356" y="396"/>
                </a:lnTo>
                <a:lnTo>
                  <a:pt x="356" y="390"/>
                </a:lnTo>
                <a:lnTo>
                  <a:pt x="362" y="390"/>
                </a:lnTo>
                <a:lnTo>
                  <a:pt x="362" y="384"/>
                </a:lnTo>
                <a:lnTo>
                  <a:pt x="384" y="384"/>
                </a:lnTo>
                <a:lnTo>
                  <a:pt x="384" y="374"/>
                </a:lnTo>
                <a:lnTo>
                  <a:pt x="378" y="368"/>
                </a:lnTo>
                <a:lnTo>
                  <a:pt x="372" y="368"/>
                </a:lnTo>
                <a:lnTo>
                  <a:pt x="372" y="362"/>
                </a:lnTo>
                <a:lnTo>
                  <a:pt x="340" y="362"/>
                </a:lnTo>
                <a:lnTo>
                  <a:pt x="340" y="368"/>
                </a:lnTo>
                <a:lnTo>
                  <a:pt x="344" y="368"/>
                </a:lnTo>
                <a:lnTo>
                  <a:pt x="344" y="384"/>
                </a:lnTo>
                <a:lnTo>
                  <a:pt x="340" y="390"/>
                </a:lnTo>
                <a:lnTo>
                  <a:pt x="340" y="396"/>
                </a:lnTo>
                <a:lnTo>
                  <a:pt x="344" y="396"/>
                </a:lnTo>
                <a:lnTo>
                  <a:pt x="344" y="402"/>
                </a:lnTo>
                <a:lnTo>
                  <a:pt x="350" y="402"/>
                </a:lnTo>
                <a:lnTo>
                  <a:pt x="350" y="406"/>
                </a:lnTo>
                <a:lnTo>
                  <a:pt x="344" y="410"/>
                </a:lnTo>
                <a:lnTo>
                  <a:pt x="344" y="422"/>
                </a:lnTo>
                <a:lnTo>
                  <a:pt x="340" y="416"/>
                </a:lnTo>
                <a:lnTo>
                  <a:pt x="336" y="422"/>
                </a:lnTo>
                <a:lnTo>
                  <a:pt x="336" y="416"/>
                </a:lnTo>
                <a:lnTo>
                  <a:pt x="324" y="416"/>
                </a:lnTo>
                <a:lnTo>
                  <a:pt x="324" y="410"/>
                </a:lnTo>
                <a:lnTo>
                  <a:pt x="318" y="410"/>
                </a:lnTo>
                <a:lnTo>
                  <a:pt x="318" y="416"/>
                </a:lnTo>
                <a:lnTo>
                  <a:pt x="312" y="416"/>
                </a:lnTo>
                <a:lnTo>
                  <a:pt x="308" y="422"/>
                </a:lnTo>
                <a:lnTo>
                  <a:pt x="302" y="422"/>
                </a:lnTo>
                <a:lnTo>
                  <a:pt x="302" y="428"/>
                </a:lnTo>
                <a:lnTo>
                  <a:pt x="296" y="428"/>
                </a:lnTo>
                <a:lnTo>
                  <a:pt x="296" y="434"/>
                </a:lnTo>
                <a:lnTo>
                  <a:pt x="284" y="434"/>
                </a:lnTo>
                <a:lnTo>
                  <a:pt x="284" y="450"/>
                </a:lnTo>
                <a:lnTo>
                  <a:pt x="290" y="450"/>
                </a:lnTo>
                <a:lnTo>
                  <a:pt x="290" y="456"/>
                </a:lnTo>
                <a:lnTo>
                  <a:pt x="296" y="456"/>
                </a:lnTo>
                <a:lnTo>
                  <a:pt x="296" y="460"/>
                </a:lnTo>
                <a:lnTo>
                  <a:pt x="276" y="460"/>
                </a:lnTo>
                <a:lnTo>
                  <a:pt x="276" y="456"/>
                </a:lnTo>
                <a:lnTo>
                  <a:pt x="258" y="456"/>
                </a:lnTo>
                <a:lnTo>
                  <a:pt x="254" y="450"/>
                </a:lnTo>
                <a:lnTo>
                  <a:pt x="254" y="444"/>
                </a:lnTo>
                <a:lnTo>
                  <a:pt x="242" y="444"/>
                </a:lnTo>
                <a:lnTo>
                  <a:pt x="242" y="450"/>
                </a:lnTo>
                <a:lnTo>
                  <a:pt x="236" y="456"/>
                </a:lnTo>
                <a:lnTo>
                  <a:pt x="242" y="460"/>
                </a:lnTo>
                <a:lnTo>
                  <a:pt x="248" y="464"/>
                </a:lnTo>
                <a:lnTo>
                  <a:pt x="258" y="464"/>
                </a:lnTo>
                <a:lnTo>
                  <a:pt x="258" y="476"/>
                </a:lnTo>
                <a:lnTo>
                  <a:pt x="236" y="476"/>
                </a:lnTo>
                <a:lnTo>
                  <a:pt x="236" y="470"/>
                </a:lnTo>
                <a:lnTo>
                  <a:pt x="230" y="464"/>
                </a:lnTo>
                <a:lnTo>
                  <a:pt x="216" y="464"/>
                </a:lnTo>
                <a:lnTo>
                  <a:pt x="216" y="444"/>
                </a:lnTo>
                <a:lnTo>
                  <a:pt x="204" y="444"/>
                </a:lnTo>
                <a:lnTo>
                  <a:pt x="210" y="438"/>
                </a:lnTo>
                <a:lnTo>
                  <a:pt x="216" y="438"/>
                </a:lnTo>
                <a:lnTo>
                  <a:pt x="216" y="428"/>
                </a:lnTo>
                <a:lnTo>
                  <a:pt x="210" y="422"/>
                </a:lnTo>
                <a:lnTo>
                  <a:pt x="204" y="422"/>
                </a:lnTo>
                <a:lnTo>
                  <a:pt x="204" y="416"/>
                </a:lnTo>
                <a:lnTo>
                  <a:pt x="200" y="416"/>
                </a:lnTo>
                <a:lnTo>
                  <a:pt x="200" y="410"/>
                </a:lnTo>
                <a:lnTo>
                  <a:pt x="194" y="410"/>
                </a:lnTo>
                <a:lnTo>
                  <a:pt x="194" y="416"/>
                </a:lnTo>
                <a:lnTo>
                  <a:pt x="188" y="410"/>
                </a:lnTo>
                <a:lnTo>
                  <a:pt x="188" y="406"/>
                </a:lnTo>
                <a:lnTo>
                  <a:pt x="176" y="406"/>
                </a:lnTo>
                <a:lnTo>
                  <a:pt x="176" y="396"/>
                </a:lnTo>
                <a:lnTo>
                  <a:pt x="182" y="396"/>
                </a:lnTo>
                <a:lnTo>
                  <a:pt x="182" y="402"/>
                </a:lnTo>
                <a:lnTo>
                  <a:pt x="188" y="402"/>
                </a:lnTo>
                <a:lnTo>
                  <a:pt x="188" y="406"/>
                </a:lnTo>
                <a:lnTo>
                  <a:pt x="204" y="406"/>
                </a:lnTo>
                <a:lnTo>
                  <a:pt x="204" y="410"/>
                </a:lnTo>
                <a:lnTo>
                  <a:pt x="216" y="410"/>
                </a:lnTo>
                <a:lnTo>
                  <a:pt x="222" y="416"/>
                </a:lnTo>
                <a:lnTo>
                  <a:pt x="254" y="416"/>
                </a:lnTo>
                <a:lnTo>
                  <a:pt x="254" y="422"/>
                </a:lnTo>
                <a:lnTo>
                  <a:pt x="276" y="422"/>
                </a:lnTo>
                <a:lnTo>
                  <a:pt x="282" y="416"/>
                </a:lnTo>
                <a:lnTo>
                  <a:pt x="296" y="416"/>
                </a:lnTo>
                <a:lnTo>
                  <a:pt x="302" y="410"/>
                </a:lnTo>
                <a:lnTo>
                  <a:pt x="302" y="406"/>
                </a:lnTo>
                <a:lnTo>
                  <a:pt x="308" y="406"/>
                </a:lnTo>
                <a:lnTo>
                  <a:pt x="308" y="396"/>
                </a:lnTo>
                <a:lnTo>
                  <a:pt x="302" y="396"/>
                </a:lnTo>
                <a:lnTo>
                  <a:pt x="302" y="384"/>
                </a:lnTo>
                <a:lnTo>
                  <a:pt x="290" y="384"/>
                </a:lnTo>
                <a:lnTo>
                  <a:pt x="290" y="378"/>
                </a:lnTo>
                <a:lnTo>
                  <a:pt x="284" y="378"/>
                </a:lnTo>
                <a:lnTo>
                  <a:pt x="284" y="374"/>
                </a:lnTo>
                <a:lnTo>
                  <a:pt x="282" y="374"/>
                </a:lnTo>
                <a:lnTo>
                  <a:pt x="276" y="368"/>
                </a:lnTo>
                <a:lnTo>
                  <a:pt x="264" y="368"/>
                </a:lnTo>
                <a:lnTo>
                  <a:pt x="258" y="362"/>
                </a:lnTo>
                <a:lnTo>
                  <a:pt x="258" y="356"/>
                </a:lnTo>
                <a:lnTo>
                  <a:pt x="248" y="356"/>
                </a:lnTo>
                <a:lnTo>
                  <a:pt x="242" y="350"/>
                </a:lnTo>
                <a:lnTo>
                  <a:pt x="236" y="350"/>
                </a:lnTo>
                <a:lnTo>
                  <a:pt x="236" y="348"/>
                </a:lnTo>
                <a:lnTo>
                  <a:pt x="204" y="348"/>
                </a:lnTo>
                <a:lnTo>
                  <a:pt x="204" y="342"/>
                </a:lnTo>
                <a:lnTo>
                  <a:pt x="200" y="342"/>
                </a:lnTo>
                <a:lnTo>
                  <a:pt x="200" y="348"/>
                </a:lnTo>
                <a:lnTo>
                  <a:pt x="194" y="348"/>
                </a:lnTo>
                <a:lnTo>
                  <a:pt x="194" y="342"/>
                </a:lnTo>
                <a:lnTo>
                  <a:pt x="188" y="342"/>
                </a:lnTo>
                <a:lnTo>
                  <a:pt x="188" y="348"/>
                </a:lnTo>
                <a:lnTo>
                  <a:pt x="182" y="348"/>
                </a:lnTo>
                <a:lnTo>
                  <a:pt x="188" y="342"/>
                </a:lnTo>
                <a:lnTo>
                  <a:pt x="188" y="330"/>
                </a:lnTo>
                <a:lnTo>
                  <a:pt x="176" y="330"/>
                </a:lnTo>
                <a:lnTo>
                  <a:pt x="176" y="336"/>
                </a:lnTo>
                <a:lnTo>
                  <a:pt x="172" y="330"/>
                </a:lnTo>
                <a:lnTo>
                  <a:pt x="168" y="330"/>
                </a:lnTo>
                <a:lnTo>
                  <a:pt x="168" y="336"/>
                </a:lnTo>
                <a:lnTo>
                  <a:pt x="156" y="330"/>
                </a:lnTo>
                <a:lnTo>
                  <a:pt x="156" y="336"/>
                </a:lnTo>
                <a:lnTo>
                  <a:pt x="144" y="336"/>
                </a:lnTo>
                <a:lnTo>
                  <a:pt x="144" y="342"/>
                </a:lnTo>
                <a:lnTo>
                  <a:pt x="140" y="342"/>
                </a:lnTo>
                <a:lnTo>
                  <a:pt x="134" y="348"/>
                </a:lnTo>
                <a:lnTo>
                  <a:pt x="128" y="348"/>
                </a:lnTo>
                <a:lnTo>
                  <a:pt x="128" y="350"/>
                </a:lnTo>
                <a:lnTo>
                  <a:pt x="122" y="350"/>
                </a:lnTo>
                <a:lnTo>
                  <a:pt x="122" y="356"/>
                </a:lnTo>
                <a:lnTo>
                  <a:pt x="128" y="356"/>
                </a:lnTo>
                <a:lnTo>
                  <a:pt x="122" y="362"/>
                </a:lnTo>
                <a:lnTo>
                  <a:pt x="122" y="368"/>
                </a:lnTo>
                <a:lnTo>
                  <a:pt x="128" y="368"/>
                </a:lnTo>
                <a:lnTo>
                  <a:pt x="134" y="374"/>
                </a:lnTo>
                <a:lnTo>
                  <a:pt x="140" y="374"/>
                </a:lnTo>
                <a:lnTo>
                  <a:pt x="140" y="378"/>
                </a:lnTo>
                <a:lnTo>
                  <a:pt x="144" y="384"/>
                </a:lnTo>
                <a:lnTo>
                  <a:pt x="144" y="390"/>
                </a:lnTo>
                <a:lnTo>
                  <a:pt x="140" y="396"/>
                </a:lnTo>
                <a:lnTo>
                  <a:pt x="134" y="402"/>
                </a:lnTo>
                <a:lnTo>
                  <a:pt x="128" y="402"/>
                </a:lnTo>
                <a:lnTo>
                  <a:pt x="128" y="406"/>
                </a:lnTo>
                <a:lnTo>
                  <a:pt x="134" y="406"/>
                </a:lnTo>
                <a:lnTo>
                  <a:pt x="140" y="410"/>
                </a:lnTo>
                <a:lnTo>
                  <a:pt x="140" y="416"/>
                </a:lnTo>
                <a:lnTo>
                  <a:pt x="144" y="416"/>
                </a:lnTo>
                <a:lnTo>
                  <a:pt x="144" y="450"/>
                </a:lnTo>
                <a:lnTo>
                  <a:pt x="140" y="450"/>
                </a:lnTo>
                <a:lnTo>
                  <a:pt x="140" y="456"/>
                </a:lnTo>
                <a:lnTo>
                  <a:pt x="150" y="456"/>
                </a:lnTo>
                <a:lnTo>
                  <a:pt x="144" y="460"/>
                </a:lnTo>
                <a:lnTo>
                  <a:pt x="144" y="464"/>
                </a:lnTo>
                <a:lnTo>
                  <a:pt x="156" y="464"/>
                </a:lnTo>
                <a:lnTo>
                  <a:pt x="156" y="476"/>
                </a:lnTo>
                <a:lnTo>
                  <a:pt x="144" y="476"/>
                </a:lnTo>
                <a:lnTo>
                  <a:pt x="156" y="488"/>
                </a:lnTo>
                <a:lnTo>
                  <a:pt x="156" y="492"/>
                </a:lnTo>
                <a:lnTo>
                  <a:pt x="168" y="492"/>
                </a:lnTo>
                <a:lnTo>
                  <a:pt x="168" y="510"/>
                </a:lnTo>
                <a:lnTo>
                  <a:pt x="162" y="514"/>
                </a:lnTo>
                <a:lnTo>
                  <a:pt x="156" y="514"/>
                </a:lnTo>
                <a:lnTo>
                  <a:pt x="150" y="520"/>
                </a:lnTo>
                <a:lnTo>
                  <a:pt x="150" y="524"/>
                </a:lnTo>
                <a:lnTo>
                  <a:pt x="144" y="524"/>
                </a:lnTo>
                <a:lnTo>
                  <a:pt x="144" y="530"/>
                </a:lnTo>
                <a:lnTo>
                  <a:pt x="140" y="536"/>
                </a:lnTo>
                <a:lnTo>
                  <a:pt x="128" y="536"/>
                </a:lnTo>
                <a:lnTo>
                  <a:pt x="128" y="558"/>
                </a:lnTo>
                <a:lnTo>
                  <a:pt x="144" y="558"/>
                </a:lnTo>
                <a:lnTo>
                  <a:pt x="144" y="564"/>
                </a:lnTo>
                <a:lnTo>
                  <a:pt x="150" y="568"/>
                </a:lnTo>
                <a:lnTo>
                  <a:pt x="140" y="568"/>
                </a:lnTo>
                <a:lnTo>
                  <a:pt x="134" y="564"/>
                </a:lnTo>
                <a:lnTo>
                  <a:pt x="128" y="568"/>
                </a:lnTo>
                <a:lnTo>
                  <a:pt x="128" y="574"/>
                </a:lnTo>
                <a:lnTo>
                  <a:pt x="122" y="568"/>
                </a:lnTo>
                <a:lnTo>
                  <a:pt x="122" y="574"/>
                </a:lnTo>
                <a:lnTo>
                  <a:pt x="118" y="574"/>
                </a:lnTo>
                <a:lnTo>
                  <a:pt x="118" y="584"/>
                </a:lnTo>
                <a:lnTo>
                  <a:pt x="114" y="584"/>
                </a:lnTo>
                <a:lnTo>
                  <a:pt x="114" y="590"/>
                </a:lnTo>
                <a:lnTo>
                  <a:pt x="108" y="590"/>
                </a:lnTo>
                <a:lnTo>
                  <a:pt x="108" y="606"/>
                </a:lnTo>
                <a:lnTo>
                  <a:pt x="114" y="606"/>
                </a:lnTo>
                <a:lnTo>
                  <a:pt x="114" y="618"/>
                </a:lnTo>
                <a:lnTo>
                  <a:pt x="108" y="618"/>
                </a:lnTo>
                <a:lnTo>
                  <a:pt x="108" y="622"/>
                </a:lnTo>
                <a:lnTo>
                  <a:pt x="114" y="622"/>
                </a:lnTo>
                <a:lnTo>
                  <a:pt x="118" y="628"/>
                </a:lnTo>
                <a:lnTo>
                  <a:pt x="114" y="632"/>
                </a:lnTo>
                <a:lnTo>
                  <a:pt x="118" y="632"/>
                </a:lnTo>
                <a:lnTo>
                  <a:pt x="118" y="656"/>
                </a:lnTo>
                <a:lnTo>
                  <a:pt x="140" y="656"/>
                </a:lnTo>
                <a:lnTo>
                  <a:pt x="134" y="660"/>
                </a:lnTo>
                <a:lnTo>
                  <a:pt x="144" y="660"/>
                </a:lnTo>
                <a:lnTo>
                  <a:pt x="144" y="656"/>
                </a:lnTo>
                <a:lnTo>
                  <a:pt x="150" y="656"/>
                </a:lnTo>
                <a:lnTo>
                  <a:pt x="156" y="660"/>
                </a:lnTo>
                <a:lnTo>
                  <a:pt x="156" y="672"/>
                </a:lnTo>
                <a:lnTo>
                  <a:pt x="162" y="672"/>
                </a:lnTo>
                <a:lnTo>
                  <a:pt x="162" y="676"/>
                </a:lnTo>
                <a:lnTo>
                  <a:pt x="156" y="676"/>
                </a:lnTo>
                <a:lnTo>
                  <a:pt x="156" y="682"/>
                </a:lnTo>
                <a:lnTo>
                  <a:pt x="162" y="682"/>
                </a:lnTo>
                <a:lnTo>
                  <a:pt x="162" y="688"/>
                </a:lnTo>
                <a:lnTo>
                  <a:pt x="168" y="688"/>
                </a:lnTo>
                <a:lnTo>
                  <a:pt x="168" y="692"/>
                </a:lnTo>
                <a:lnTo>
                  <a:pt x="172" y="692"/>
                </a:lnTo>
                <a:lnTo>
                  <a:pt x="172" y="704"/>
                </a:lnTo>
                <a:lnTo>
                  <a:pt x="176" y="704"/>
                </a:lnTo>
                <a:lnTo>
                  <a:pt x="176" y="710"/>
                </a:lnTo>
                <a:lnTo>
                  <a:pt x="182" y="710"/>
                </a:lnTo>
                <a:lnTo>
                  <a:pt x="182" y="716"/>
                </a:lnTo>
                <a:lnTo>
                  <a:pt x="168" y="716"/>
                </a:lnTo>
                <a:lnTo>
                  <a:pt x="168" y="736"/>
                </a:lnTo>
                <a:lnTo>
                  <a:pt x="172" y="736"/>
                </a:lnTo>
                <a:lnTo>
                  <a:pt x="172" y="742"/>
                </a:lnTo>
                <a:lnTo>
                  <a:pt x="176" y="742"/>
                </a:lnTo>
                <a:lnTo>
                  <a:pt x="176" y="736"/>
                </a:lnTo>
                <a:lnTo>
                  <a:pt x="188" y="736"/>
                </a:lnTo>
                <a:lnTo>
                  <a:pt x="188" y="730"/>
                </a:lnTo>
                <a:lnTo>
                  <a:pt x="194" y="730"/>
                </a:lnTo>
                <a:lnTo>
                  <a:pt x="194" y="736"/>
                </a:lnTo>
                <a:lnTo>
                  <a:pt x="200" y="736"/>
                </a:lnTo>
                <a:lnTo>
                  <a:pt x="200" y="730"/>
                </a:lnTo>
                <a:lnTo>
                  <a:pt x="204" y="736"/>
                </a:lnTo>
                <a:lnTo>
                  <a:pt x="204" y="742"/>
                </a:lnTo>
                <a:lnTo>
                  <a:pt x="210" y="746"/>
                </a:lnTo>
                <a:lnTo>
                  <a:pt x="204" y="746"/>
                </a:lnTo>
                <a:lnTo>
                  <a:pt x="204" y="758"/>
                </a:lnTo>
                <a:lnTo>
                  <a:pt x="216" y="758"/>
                </a:lnTo>
                <a:lnTo>
                  <a:pt x="216" y="764"/>
                </a:lnTo>
                <a:lnTo>
                  <a:pt x="228" y="764"/>
                </a:lnTo>
                <a:lnTo>
                  <a:pt x="228" y="770"/>
                </a:lnTo>
                <a:lnTo>
                  <a:pt x="222" y="770"/>
                </a:lnTo>
                <a:lnTo>
                  <a:pt x="222" y="774"/>
                </a:lnTo>
                <a:lnTo>
                  <a:pt x="254" y="774"/>
                </a:lnTo>
                <a:lnTo>
                  <a:pt x="254" y="780"/>
                </a:lnTo>
                <a:lnTo>
                  <a:pt x="258" y="780"/>
                </a:lnTo>
                <a:lnTo>
                  <a:pt x="258" y="784"/>
                </a:lnTo>
                <a:lnTo>
                  <a:pt x="276" y="784"/>
                </a:lnTo>
                <a:lnTo>
                  <a:pt x="276" y="790"/>
                </a:lnTo>
                <a:lnTo>
                  <a:pt x="284" y="790"/>
                </a:lnTo>
                <a:lnTo>
                  <a:pt x="284" y="830"/>
                </a:lnTo>
                <a:lnTo>
                  <a:pt x="270" y="830"/>
                </a:lnTo>
                <a:lnTo>
                  <a:pt x="270" y="834"/>
                </a:lnTo>
                <a:lnTo>
                  <a:pt x="264" y="834"/>
                </a:lnTo>
                <a:lnTo>
                  <a:pt x="264" y="844"/>
                </a:lnTo>
                <a:lnTo>
                  <a:pt x="270" y="844"/>
                </a:lnTo>
                <a:lnTo>
                  <a:pt x="270" y="838"/>
                </a:lnTo>
                <a:lnTo>
                  <a:pt x="276" y="838"/>
                </a:lnTo>
                <a:lnTo>
                  <a:pt x="276" y="850"/>
                </a:lnTo>
                <a:lnTo>
                  <a:pt x="254" y="850"/>
                </a:lnTo>
                <a:lnTo>
                  <a:pt x="258" y="856"/>
                </a:lnTo>
                <a:lnTo>
                  <a:pt x="258" y="866"/>
                </a:lnTo>
                <a:lnTo>
                  <a:pt x="264" y="860"/>
                </a:lnTo>
                <a:lnTo>
                  <a:pt x="264" y="866"/>
                </a:lnTo>
                <a:lnTo>
                  <a:pt x="258" y="866"/>
                </a:lnTo>
                <a:lnTo>
                  <a:pt x="258" y="872"/>
                </a:lnTo>
                <a:lnTo>
                  <a:pt x="254" y="872"/>
                </a:lnTo>
                <a:lnTo>
                  <a:pt x="254" y="878"/>
                </a:lnTo>
                <a:lnTo>
                  <a:pt x="248" y="878"/>
                </a:lnTo>
                <a:lnTo>
                  <a:pt x="254" y="884"/>
                </a:lnTo>
                <a:lnTo>
                  <a:pt x="248" y="884"/>
                </a:lnTo>
                <a:lnTo>
                  <a:pt x="254" y="888"/>
                </a:lnTo>
                <a:lnTo>
                  <a:pt x="254" y="892"/>
                </a:lnTo>
                <a:lnTo>
                  <a:pt x="258" y="892"/>
                </a:lnTo>
                <a:lnTo>
                  <a:pt x="264" y="898"/>
                </a:lnTo>
                <a:lnTo>
                  <a:pt x="270" y="898"/>
                </a:lnTo>
                <a:lnTo>
                  <a:pt x="276" y="904"/>
                </a:lnTo>
                <a:lnTo>
                  <a:pt x="276" y="910"/>
                </a:lnTo>
                <a:lnTo>
                  <a:pt x="282" y="910"/>
                </a:lnTo>
                <a:lnTo>
                  <a:pt x="284" y="914"/>
                </a:lnTo>
                <a:lnTo>
                  <a:pt x="302" y="914"/>
                </a:lnTo>
                <a:lnTo>
                  <a:pt x="302" y="920"/>
                </a:lnTo>
                <a:lnTo>
                  <a:pt x="330" y="920"/>
                </a:lnTo>
                <a:lnTo>
                  <a:pt x="336" y="926"/>
                </a:lnTo>
                <a:lnTo>
                  <a:pt x="336" y="932"/>
                </a:lnTo>
                <a:lnTo>
                  <a:pt x="372" y="932"/>
                </a:lnTo>
                <a:lnTo>
                  <a:pt x="372" y="938"/>
                </a:lnTo>
                <a:lnTo>
                  <a:pt x="368" y="938"/>
                </a:lnTo>
                <a:lnTo>
                  <a:pt x="368" y="942"/>
                </a:lnTo>
                <a:lnTo>
                  <a:pt x="378" y="942"/>
                </a:lnTo>
                <a:lnTo>
                  <a:pt x="378" y="946"/>
                </a:lnTo>
                <a:lnTo>
                  <a:pt x="384" y="946"/>
                </a:lnTo>
                <a:lnTo>
                  <a:pt x="384" y="952"/>
                </a:lnTo>
                <a:lnTo>
                  <a:pt x="390" y="952"/>
                </a:lnTo>
                <a:lnTo>
                  <a:pt x="390" y="958"/>
                </a:lnTo>
                <a:lnTo>
                  <a:pt x="398" y="958"/>
                </a:lnTo>
                <a:lnTo>
                  <a:pt x="398" y="952"/>
                </a:lnTo>
                <a:lnTo>
                  <a:pt x="410" y="952"/>
                </a:lnTo>
                <a:lnTo>
                  <a:pt x="410" y="942"/>
                </a:lnTo>
                <a:lnTo>
                  <a:pt x="416" y="942"/>
                </a:lnTo>
                <a:lnTo>
                  <a:pt x="422" y="938"/>
                </a:lnTo>
                <a:lnTo>
                  <a:pt x="426" y="932"/>
                </a:lnTo>
                <a:lnTo>
                  <a:pt x="422" y="926"/>
                </a:lnTo>
                <a:lnTo>
                  <a:pt x="422" y="914"/>
                </a:lnTo>
                <a:lnTo>
                  <a:pt x="416" y="910"/>
                </a:lnTo>
                <a:lnTo>
                  <a:pt x="416" y="898"/>
                </a:lnTo>
                <a:lnTo>
                  <a:pt x="410" y="892"/>
                </a:lnTo>
                <a:lnTo>
                  <a:pt x="410" y="884"/>
                </a:lnTo>
                <a:lnTo>
                  <a:pt x="416" y="884"/>
                </a:lnTo>
                <a:lnTo>
                  <a:pt x="422" y="878"/>
                </a:lnTo>
                <a:lnTo>
                  <a:pt x="422" y="872"/>
                </a:lnTo>
                <a:lnTo>
                  <a:pt x="432" y="872"/>
                </a:lnTo>
                <a:lnTo>
                  <a:pt x="432" y="866"/>
                </a:lnTo>
                <a:lnTo>
                  <a:pt x="426" y="866"/>
                </a:lnTo>
                <a:lnTo>
                  <a:pt x="416" y="856"/>
                </a:lnTo>
                <a:lnTo>
                  <a:pt x="410" y="856"/>
                </a:lnTo>
                <a:lnTo>
                  <a:pt x="410" y="850"/>
                </a:lnTo>
                <a:lnTo>
                  <a:pt x="416" y="850"/>
                </a:lnTo>
                <a:lnTo>
                  <a:pt x="410" y="844"/>
                </a:lnTo>
                <a:lnTo>
                  <a:pt x="410" y="838"/>
                </a:lnTo>
                <a:lnTo>
                  <a:pt x="404" y="834"/>
                </a:lnTo>
                <a:lnTo>
                  <a:pt x="404" y="830"/>
                </a:lnTo>
                <a:lnTo>
                  <a:pt x="390" y="830"/>
                </a:lnTo>
                <a:lnTo>
                  <a:pt x="390" y="818"/>
                </a:lnTo>
                <a:lnTo>
                  <a:pt x="384" y="818"/>
                </a:lnTo>
                <a:lnTo>
                  <a:pt x="378" y="812"/>
                </a:lnTo>
                <a:lnTo>
                  <a:pt x="384" y="812"/>
                </a:lnTo>
                <a:lnTo>
                  <a:pt x="384" y="784"/>
                </a:lnTo>
                <a:lnTo>
                  <a:pt x="394" y="784"/>
                </a:lnTo>
                <a:lnTo>
                  <a:pt x="394" y="780"/>
                </a:lnTo>
                <a:lnTo>
                  <a:pt x="390" y="780"/>
                </a:lnTo>
                <a:lnTo>
                  <a:pt x="394" y="774"/>
                </a:lnTo>
                <a:lnTo>
                  <a:pt x="398" y="774"/>
                </a:lnTo>
                <a:lnTo>
                  <a:pt x="398" y="780"/>
                </a:lnTo>
                <a:lnTo>
                  <a:pt x="404" y="780"/>
                </a:lnTo>
                <a:lnTo>
                  <a:pt x="404" y="784"/>
                </a:lnTo>
                <a:lnTo>
                  <a:pt x="410" y="790"/>
                </a:lnTo>
                <a:lnTo>
                  <a:pt x="410" y="784"/>
                </a:lnTo>
                <a:lnTo>
                  <a:pt x="416" y="784"/>
                </a:lnTo>
                <a:lnTo>
                  <a:pt x="416" y="780"/>
                </a:lnTo>
                <a:lnTo>
                  <a:pt x="410" y="780"/>
                </a:lnTo>
                <a:lnTo>
                  <a:pt x="410" y="770"/>
                </a:lnTo>
                <a:lnTo>
                  <a:pt x="416" y="770"/>
                </a:lnTo>
                <a:lnTo>
                  <a:pt x="416" y="764"/>
                </a:lnTo>
                <a:lnTo>
                  <a:pt x="422" y="764"/>
                </a:lnTo>
                <a:lnTo>
                  <a:pt x="426" y="758"/>
                </a:lnTo>
                <a:lnTo>
                  <a:pt x="432" y="758"/>
                </a:lnTo>
                <a:lnTo>
                  <a:pt x="432" y="752"/>
                </a:lnTo>
                <a:lnTo>
                  <a:pt x="442" y="752"/>
                </a:lnTo>
                <a:lnTo>
                  <a:pt x="442" y="746"/>
                </a:lnTo>
                <a:lnTo>
                  <a:pt x="448" y="746"/>
                </a:lnTo>
                <a:lnTo>
                  <a:pt x="448" y="752"/>
                </a:lnTo>
                <a:lnTo>
                  <a:pt x="454" y="752"/>
                </a:lnTo>
                <a:lnTo>
                  <a:pt x="454" y="746"/>
                </a:lnTo>
                <a:lnTo>
                  <a:pt x="464" y="746"/>
                </a:lnTo>
                <a:lnTo>
                  <a:pt x="464" y="752"/>
                </a:lnTo>
                <a:lnTo>
                  <a:pt x="476" y="752"/>
                </a:lnTo>
                <a:lnTo>
                  <a:pt x="482" y="758"/>
                </a:lnTo>
                <a:lnTo>
                  <a:pt x="486" y="758"/>
                </a:lnTo>
                <a:lnTo>
                  <a:pt x="486" y="764"/>
                </a:lnTo>
                <a:lnTo>
                  <a:pt x="502" y="764"/>
                </a:lnTo>
                <a:lnTo>
                  <a:pt x="502" y="770"/>
                </a:lnTo>
                <a:lnTo>
                  <a:pt x="508" y="770"/>
                </a:lnTo>
                <a:lnTo>
                  <a:pt x="508" y="774"/>
                </a:lnTo>
                <a:lnTo>
                  <a:pt x="512" y="770"/>
                </a:lnTo>
                <a:lnTo>
                  <a:pt x="512" y="764"/>
                </a:lnTo>
                <a:lnTo>
                  <a:pt x="536" y="764"/>
                </a:lnTo>
                <a:lnTo>
                  <a:pt x="536" y="758"/>
                </a:lnTo>
                <a:lnTo>
                  <a:pt x="540" y="764"/>
                </a:lnTo>
                <a:lnTo>
                  <a:pt x="546" y="764"/>
                </a:lnTo>
                <a:lnTo>
                  <a:pt x="546" y="758"/>
                </a:lnTo>
                <a:lnTo>
                  <a:pt x="550" y="758"/>
                </a:lnTo>
                <a:lnTo>
                  <a:pt x="550" y="764"/>
                </a:lnTo>
                <a:lnTo>
                  <a:pt x="556" y="770"/>
                </a:lnTo>
                <a:lnTo>
                  <a:pt x="562" y="770"/>
                </a:lnTo>
                <a:lnTo>
                  <a:pt x="562" y="774"/>
                </a:lnTo>
                <a:lnTo>
                  <a:pt x="568" y="774"/>
                </a:lnTo>
                <a:lnTo>
                  <a:pt x="568" y="764"/>
                </a:lnTo>
                <a:lnTo>
                  <a:pt x="572" y="764"/>
                </a:lnTo>
                <a:lnTo>
                  <a:pt x="572" y="770"/>
                </a:lnTo>
                <a:lnTo>
                  <a:pt x="584" y="770"/>
                </a:lnTo>
                <a:lnTo>
                  <a:pt x="590" y="764"/>
                </a:lnTo>
                <a:lnTo>
                  <a:pt x="596" y="758"/>
                </a:lnTo>
                <a:lnTo>
                  <a:pt x="596" y="752"/>
                </a:lnTo>
                <a:lnTo>
                  <a:pt x="578" y="752"/>
                </a:lnTo>
                <a:lnTo>
                  <a:pt x="572" y="746"/>
                </a:lnTo>
                <a:lnTo>
                  <a:pt x="572" y="742"/>
                </a:lnTo>
                <a:lnTo>
                  <a:pt x="578" y="742"/>
                </a:lnTo>
                <a:lnTo>
                  <a:pt x="584" y="736"/>
                </a:lnTo>
                <a:lnTo>
                  <a:pt x="584" y="720"/>
                </a:lnTo>
                <a:lnTo>
                  <a:pt x="600" y="720"/>
                </a:lnTo>
                <a:lnTo>
                  <a:pt x="600" y="716"/>
                </a:lnTo>
                <a:lnTo>
                  <a:pt x="584" y="716"/>
                </a:lnTo>
                <a:lnTo>
                  <a:pt x="584" y="698"/>
                </a:lnTo>
                <a:lnTo>
                  <a:pt x="610" y="698"/>
                </a:lnTo>
                <a:lnTo>
                  <a:pt x="610" y="692"/>
                </a:lnTo>
                <a:lnTo>
                  <a:pt x="644" y="692"/>
                </a:lnTo>
                <a:lnTo>
                  <a:pt x="644" y="682"/>
                </a:lnTo>
                <a:lnTo>
                  <a:pt x="650" y="682"/>
                </a:lnTo>
                <a:lnTo>
                  <a:pt x="650" y="688"/>
                </a:lnTo>
                <a:lnTo>
                  <a:pt x="654" y="688"/>
                </a:lnTo>
                <a:lnTo>
                  <a:pt x="654" y="682"/>
                </a:lnTo>
                <a:lnTo>
                  <a:pt x="680" y="682"/>
                </a:lnTo>
                <a:lnTo>
                  <a:pt x="686" y="676"/>
                </a:lnTo>
                <a:lnTo>
                  <a:pt x="686" y="672"/>
                </a:lnTo>
                <a:lnTo>
                  <a:pt x="692" y="672"/>
                </a:lnTo>
                <a:lnTo>
                  <a:pt x="692" y="666"/>
                </a:lnTo>
                <a:lnTo>
                  <a:pt x="698" y="672"/>
                </a:lnTo>
                <a:lnTo>
                  <a:pt x="698" y="666"/>
                </a:lnTo>
                <a:lnTo>
                  <a:pt x="710" y="666"/>
                </a:lnTo>
                <a:lnTo>
                  <a:pt x="710" y="672"/>
                </a:lnTo>
                <a:lnTo>
                  <a:pt x="718" y="672"/>
                </a:lnTo>
                <a:lnTo>
                  <a:pt x="718" y="666"/>
                </a:lnTo>
                <a:lnTo>
                  <a:pt x="724" y="666"/>
                </a:lnTo>
                <a:lnTo>
                  <a:pt x="724" y="682"/>
                </a:lnTo>
                <a:lnTo>
                  <a:pt x="730" y="682"/>
                </a:lnTo>
                <a:lnTo>
                  <a:pt x="730" y="692"/>
                </a:lnTo>
                <a:lnTo>
                  <a:pt x="758" y="692"/>
                </a:lnTo>
                <a:lnTo>
                  <a:pt x="758" y="698"/>
                </a:lnTo>
                <a:lnTo>
                  <a:pt x="766" y="698"/>
                </a:lnTo>
                <a:lnTo>
                  <a:pt x="766" y="704"/>
                </a:lnTo>
                <a:lnTo>
                  <a:pt x="772" y="704"/>
                </a:lnTo>
                <a:lnTo>
                  <a:pt x="772" y="710"/>
                </a:lnTo>
                <a:lnTo>
                  <a:pt x="778" y="704"/>
                </a:lnTo>
                <a:lnTo>
                  <a:pt x="784" y="704"/>
                </a:lnTo>
                <a:lnTo>
                  <a:pt x="790" y="698"/>
                </a:lnTo>
                <a:lnTo>
                  <a:pt x="790" y="692"/>
                </a:lnTo>
                <a:lnTo>
                  <a:pt x="800" y="692"/>
                </a:lnTo>
                <a:lnTo>
                  <a:pt x="800" y="698"/>
                </a:lnTo>
                <a:lnTo>
                  <a:pt x="806" y="704"/>
                </a:lnTo>
                <a:lnTo>
                  <a:pt x="812" y="704"/>
                </a:lnTo>
                <a:lnTo>
                  <a:pt x="818" y="710"/>
                </a:lnTo>
                <a:lnTo>
                  <a:pt x="822" y="716"/>
                </a:lnTo>
                <a:lnTo>
                  <a:pt x="826" y="726"/>
                </a:lnTo>
                <a:lnTo>
                  <a:pt x="832" y="726"/>
                </a:lnTo>
                <a:lnTo>
                  <a:pt x="832" y="730"/>
                </a:lnTo>
                <a:lnTo>
                  <a:pt x="838" y="730"/>
                </a:lnTo>
                <a:lnTo>
                  <a:pt x="838" y="736"/>
                </a:lnTo>
                <a:lnTo>
                  <a:pt x="844" y="746"/>
                </a:lnTo>
                <a:lnTo>
                  <a:pt x="850" y="752"/>
                </a:lnTo>
                <a:lnTo>
                  <a:pt x="850" y="764"/>
                </a:lnTo>
                <a:lnTo>
                  <a:pt x="860" y="764"/>
                </a:lnTo>
                <a:lnTo>
                  <a:pt x="860" y="752"/>
                </a:lnTo>
                <a:lnTo>
                  <a:pt x="866" y="758"/>
                </a:lnTo>
                <a:lnTo>
                  <a:pt x="872" y="758"/>
                </a:lnTo>
                <a:lnTo>
                  <a:pt x="872" y="770"/>
                </a:lnTo>
                <a:lnTo>
                  <a:pt x="876" y="770"/>
                </a:lnTo>
                <a:lnTo>
                  <a:pt x="876" y="764"/>
                </a:lnTo>
                <a:lnTo>
                  <a:pt x="880" y="764"/>
                </a:lnTo>
                <a:lnTo>
                  <a:pt x="880" y="770"/>
                </a:lnTo>
                <a:lnTo>
                  <a:pt x="886" y="764"/>
                </a:lnTo>
                <a:lnTo>
                  <a:pt x="886" y="770"/>
                </a:lnTo>
                <a:lnTo>
                  <a:pt x="892" y="764"/>
                </a:lnTo>
                <a:lnTo>
                  <a:pt x="908" y="764"/>
                </a:lnTo>
                <a:lnTo>
                  <a:pt x="908" y="770"/>
                </a:lnTo>
                <a:lnTo>
                  <a:pt x="914" y="774"/>
                </a:lnTo>
                <a:lnTo>
                  <a:pt x="914" y="780"/>
                </a:lnTo>
                <a:lnTo>
                  <a:pt x="926" y="780"/>
                </a:lnTo>
                <a:lnTo>
                  <a:pt x="926" y="790"/>
                </a:lnTo>
                <a:lnTo>
                  <a:pt x="936" y="790"/>
                </a:lnTo>
                <a:lnTo>
                  <a:pt x="940" y="796"/>
                </a:lnTo>
                <a:lnTo>
                  <a:pt x="940" y="790"/>
                </a:lnTo>
                <a:lnTo>
                  <a:pt x="952" y="790"/>
                </a:lnTo>
                <a:lnTo>
                  <a:pt x="952" y="802"/>
                </a:lnTo>
                <a:lnTo>
                  <a:pt x="968" y="802"/>
                </a:lnTo>
                <a:lnTo>
                  <a:pt x="968" y="796"/>
                </a:lnTo>
                <a:lnTo>
                  <a:pt x="980" y="796"/>
                </a:lnTo>
                <a:lnTo>
                  <a:pt x="980" y="790"/>
                </a:lnTo>
                <a:lnTo>
                  <a:pt x="990" y="790"/>
                </a:lnTo>
                <a:lnTo>
                  <a:pt x="990" y="784"/>
                </a:lnTo>
                <a:lnTo>
                  <a:pt x="994" y="784"/>
                </a:lnTo>
                <a:lnTo>
                  <a:pt x="994" y="780"/>
                </a:lnTo>
                <a:lnTo>
                  <a:pt x="1000" y="780"/>
                </a:lnTo>
                <a:lnTo>
                  <a:pt x="1000" y="774"/>
                </a:lnTo>
                <a:lnTo>
                  <a:pt x="1018" y="774"/>
                </a:lnTo>
                <a:lnTo>
                  <a:pt x="1018" y="770"/>
                </a:lnTo>
                <a:lnTo>
                  <a:pt x="1028" y="770"/>
                </a:lnTo>
                <a:lnTo>
                  <a:pt x="1028" y="764"/>
                </a:lnTo>
                <a:lnTo>
                  <a:pt x="1034" y="770"/>
                </a:lnTo>
                <a:lnTo>
                  <a:pt x="1034" y="764"/>
                </a:lnTo>
                <a:lnTo>
                  <a:pt x="1038" y="764"/>
                </a:lnTo>
                <a:lnTo>
                  <a:pt x="1038" y="770"/>
                </a:lnTo>
                <a:lnTo>
                  <a:pt x="1054" y="770"/>
                </a:lnTo>
                <a:lnTo>
                  <a:pt x="1054" y="780"/>
                </a:lnTo>
                <a:lnTo>
                  <a:pt x="1060" y="780"/>
                </a:lnTo>
                <a:lnTo>
                  <a:pt x="1060" y="784"/>
                </a:lnTo>
                <a:lnTo>
                  <a:pt x="1066" y="780"/>
                </a:lnTo>
                <a:lnTo>
                  <a:pt x="1066" y="784"/>
                </a:lnTo>
                <a:lnTo>
                  <a:pt x="1092" y="784"/>
                </a:lnTo>
                <a:lnTo>
                  <a:pt x="1098" y="790"/>
                </a:lnTo>
                <a:lnTo>
                  <a:pt x="1104" y="790"/>
                </a:lnTo>
                <a:lnTo>
                  <a:pt x="1104" y="784"/>
                </a:lnTo>
                <a:lnTo>
                  <a:pt x="1108" y="784"/>
                </a:lnTo>
                <a:lnTo>
                  <a:pt x="1108" y="764"/>
                </a:lnTo>
                <a:lnTo>
                  <a:pt x="1104" y="764"/>
                </a:lnTo>
                <a:lnTo>
                  <a:pt x="1108" y="758"/>
                </a:lnTo>
                <a:lnTo>
                  <a:pt x="1108" y="746"/>
                </a:lnTo>
                <a:lnTo>
                  <a:pt x="1120" y="746"/>
                </a:lnTo>
                <a:lnTo>
                  <a:pt x="1120" y="742"/>
                </a:lnTo>
                <a:lnTo>
                  <a:pt x="1136" y="742"/>
                </a:lnTo>
                <a:lnTo>
                  <a:pt x="1136" y="746"/>
                </a:lnTo>
                <a:lnTo>
                  <a:pt x="1146" y="746"/>
                </a:lnTo>
                <a:lnTo>
                  <a:pt x="1146" y="752"/>
                </a:lnTo>
                <a:lnTo>
                  <a:pt x="1168" y="752"/>
                </a:lnTo>
                <a:lnTo>
                  <a:pt x="1168" y="774"/>
                </a:lnTo>
                <a:lnTo>
                  <a:pt x="1186" y="774"/>
                </a:lnTo>
                <a:lnTo>
                  <a:pt x="1186" y="780"/>
                </a:lnTo>
                <a:lnTo>
                  <a:pt x="1196" y="780"/>
                </a:lnTo>
                <a:lnTo>
                  <a:pt x="1196" y="774"/>
                </a:lnTo>
                <a:lnTo>
                  <a:pt x="1234" y="774"/>
                </a:lnTo>
                <a:lnTo>
                  <a:pt x="1234" y="780"/>
                </a:lnTo>
                <a:lnTo>
                  <a:pt x="1240" y="784"/>
                </a:lnTo>
                <a:lnTo>
                  <a:pt x="1250" y="784"/>
                </a:lnTo>
                <a:lnTo>
                  <a:pt x="1250" y="790"/>
                </a:lnTo>
                <a:lnTo>
                  <a:pt x="1254" y="796"/>
                </a:lnTo>
                <a:lnTo>
                  <a:pt x="1266" y="796"/>
                </a:lnTo>
                <a:lnTo>
                  <a:pt x="1272" y="802"/>
                </a:lnTo>
                <a:lnTo>
                  <a:pt x="1294" y="802"/>
                </a:lnTo>
                <a:lnTo>
                  <a:pt x="1294" y="796"/>
                </a:lnTo>
                <a:lnTo>
                  <a:pt x="1308" y="796"/>
                </a:lnTo>
                <a:lnTo>
                  <a:pt x="1314" y="790"/>
                </a:lnTo>
                <a:lnTo>
                  <a:pt x="1326" y="790"/>
                </a:lnTo>
                <a:lnTo>
                  <a:pt x="1326" y="784"/>
                </a:lnTo>
                <a:lnTo>
                  <a:pt x="1332" y="780"/>
                </a:lnTo>
                <a:lnTo>
                  <a:pt x="1336" y="780"/>
                </a:lnTo>
                <a:lnTo>
                  <a:pt x="1336" y="774"/>
                </a:lnTo>
                <a:lnTo>
                  <a:pt x="1348" y="774"/>
                </a:lnTo>
                <a:lnTo>
                  <a:pt x="1348" y="780"/>
                </a:lnTo>
                <a:lnTo>
                  <a:pt x="1354" y="780"/>
                </a:lnTo>
                <a:lnTo>
                  <a:pt x="1354" y="784"/>
                </a:lnTo>
                <a:lnTo>
                  <a:pt x="1374" y="784"/>
                </a:lnTo>
                <a:lnTo>
                  <a:pt x="1374" y="790"/>
                </a:lnTo>
                <a:lnTo>
                  <a:pt x="1402" y="790"/>
                </a:lnTo>
                <a:lnTo>
                  <a:pt x="1402" y="784"/>
                </a:lnTo>
                <a:lnTo>
                  <a:pt x="1408" y="784"/>
                </a:lnTo>
                <a:lnTo>
                  <a:pt x="1412" y="780"/>
                </a:lnTo>
                <a:lnTo>
                  <a:pt x="1412" y="764"/>
                </a:lnTo>
                <a:lnTo>
                  <a:pt x="1418" y="758"/>
                </a:lnTo>
                <a:lnTo>
                  <a:pt x="1418" y="752"/>
                </a:lnTo>
                <a:lnTo>
                  <a:pt x="1422" y="752"/>
                </a:lnTo>
                <a:lnTo>
                  <a:pt x="1422" y="742"/>
                </a:lnTo>
                <a:lnTo>
                  <a:pt x="1428" y="742"/>
                </a:lnTo>
                <a:lnTo>
                  <a:pt x="1428" y="726"/>
                </a:lnTo>
                <a:lnTo>
                  <a:pt x="1422" y="726"/>
                </a:lnTo>
                <a:lnTo>
                  <a:pt x="1422" y="720"/>
                </a:lnTo>
                <a:lnTo>
                  <a:pt x="1428" y="716"/>
                </a:lnTo>
                <a:lnTo>
                  <a:pt x="1446" y="716"/>
                </a:lnTo>
                <a:lnTo>
                  <a:pt x="1446" y="710"/>
                </a:lnTo>
                <a:lnTo>
                  <a:pt x="1476" y="710"/>
                </a:lnTo>
                <a:lnTo>
                  <a:pt x="1476" y="716"/>
                </a:lnTo>
                <a:lnTo>
                  <a:pt x="1500" y="716"/>
                </a:lnTo>
                <a:lnTo>
                  <a:pt x="1500" y="720"/>
                </a:lnTo>
                <a:lnTo>
                  <a:pt x="1504" y="726"/>
                </a:lnTo>
                <a:lnTo>
                  <a:pt x="1504" y="736"/>
                </a:lnTo>
                <a:lnTo>
                  <a:pt x="1510" y="736"/>
                </a:lnTo>
                <a:lnTo>
                  <a:pt x="1510" y="746"/>
                </a:lnTo>
                <a:lnTo>
                  <a:pt x="1516" y="746"/>
                </a:lnTo>
                <a:lnTo>
                  <a:pt x="1516" y="764"/>
                </a:lnTo>
                <a:lnTo>
                  <a:pt x="1520" y="764"/>
                </a:lnTo>
                <a:lnTo>
                  <a:pt x="1520" y="774"/>
                </a:lnTo>
                <a:lnTo>
                  <a:pt x="1526" y="774"/>
                </a:lnTo>
                <a:lnTo>
                  <a:pt x="1526" y="790"/>
                </a:lnTo>
                <a:lnTo>
                  <a:pt x="1542" y="790"/>
                </a:lnTo>
                <a:lnTo>
                  <a:pt x="1542" y="796"/>
                </a:lnTo>
                <a:lnTo>
                  <a:pt x="1554" y="796"/>
                </a:lnTo>
                <a:lnTo>
                  <a:pt x="1554" y="802"/>
                </a:lnTo>
                <a:lnTo>
                  <a:pt x="1560" y="802"/>
                </a:lnTo>
                <a:lnTo>
                  <a:pt x="1564" y="806"/>
                </a:lnTo>
                <a:lnTo>
                  <a:pt x="1570" y="806"/>
                </a:lnTo>
                <a:lnTo>
                  <a:pt x="1570" y="824"/>
                </a:lnTo>
                <a:lnTo>
                  <a:pt x="1574" y="824"/>
                </a:lnTo>
                <a:lnTo>
                  <a:pt x="1574" y="830"/>
                </a:lnTo>
                <a:lnTo>
                  <a:pt x="1580" y="830"/>
                </a:lnTo>
                <a:lnTo>
                  <a:pt x="1580" y="834"/>
                </a:lnTo>
                <a:lnTo>
                  <a:pt x="1590" y="834"/>
                </a:lnTo>
                <a:lnTo>
                  <a:pt x="1590" y="830"/>
                </a:lnTo>
                <a:lnTo>
                  <a:pt x="1596" y="830"/>
                </a:lnTo>
                <a:lnTo>
                  <a:pt x="1596" y="824"/>
                </a:lnTo>
                <a:lnTo>
                  <a:pt x="1614" y="824"/>
                </a:lnTo>
                <a:lnTo>
                  <a:pt x="1614" y="818"/>
                </a:lnTo>
                <a:lnTo>
                  <a:pt x="1624" y="818"/>
                </a:lnTo>
                <a:lnTo>
                  <a:pt x="1624" y="838"/>
                </a:lnTo>
                <a:lnTo>
                  <a:pt x="1618" y="838"/>
                </a:lnTo>
                <a:lnTo>
                  <a:pt x="1618" y="850"/>
                </a:lnTo>
                <a:lnTo>
                  <a:pt x="1614" y="850"/>
                </a:lnTo>
                <a:lnTo>
                  <a:pt x="1614" y="872"/>
                </a:lnTo>
                <a:lnTo>
                  <a:pt x="1602" y="872"/>
                </a:lnTo>
                <a:lnTo>
                  <a:pt x="1602" y="884"/>
                </a:lnTo>
                <a:lnTo>
                  <a:pt x="1590" y="884"/>
                </a:lnTo>
                <a:lnTo>
                  <a:pt x="1590" y="878"/>
                </a:lnTo>
                <a:lnTo>
                  <a:pt x="1586" y="878"/>
                </a:lnTo>
                <a:lnTo>
                  <a:pt x="1586" y="884"/>
                </a:lnTo>
                <a:lnTo>
                  <a:pt x="1574" y="884"/>
                </a:lnTo>
                <a:lnTo>
                  <a:pt x="1574" y="926"/>
                </a:lnTo>
                <a:lnTo>
                  <a:pt x="1570" y="926"/>
                </a:lnTo>
                <a:lnTo>
                  <a:pt x="1570" y="938"/>
                </a:lnTo>
                <a:lnTo>
                  <a:pt x="1574" y="932"/>
                </a:lnTo>
                <a:lnTo>
                  <a:pt x="1580" y="926"/>
                </a:lnTo>
                <a:lnTo>
                  <a:pt x="1580" y="920"/>
                </a:lnTo>
                <a:lnTo>
                  <a:pt x="1590" y="920"/>
                </a:lnTo>
                <a:lnTo>
                  <a:pt x="1590" y="926"/>
                </a:lnTo>
                <a:lnTo>
                  <a:pt x="1596" y="926"/>
                </a:lnTo>
                <a:lnTo>
                  <a:pt x="1596" y="932"/>
                </a:lnTo>
                <a:lnTo>
                  <a:pt x="1602" y="926"/>
                </a:lnTo>
                <a:lnTo>
                  <a:pt x="1602" y="932"/>
                </a:lnTo>
                <a:lnTo>
                  <a:pt x="1614" y="932"/>
                </a:lnTo>
                <a:lnTo>
                  <a:pt x="1614" y="926"/>
                </a:lnTo>
                <a:lnTo>
                  <a:pt x="1618" y="926"/>
                </a:lnTo>
                <a:lnTo>
                  <a:pt x="1618" y="920"/>
                </a:lnTo>
                <a:lnTo>
                  <a:pt x="1628" y="920"/>
                </a:lnTo>
                <a:lnTo>
                  <a:pt x="1628" y="914"/>
                </a:lnTo>
                <a:lnTo>
                  <a:pt x="1634" y="914"/>
                </a:lnTo>
                <a:lnTo>
                  <a:pt x="1634" y="910"/>
                </a:lnTo>
                <a:lnTo>
                  <a:pt x="1640" y="910"/>
                </a:lnTo>
                <a:lnTo>
                  <a:pt x="1640" y="898"/>
                </a:lnTo>
                <a:lnTo>
                  <a:pt x="1650" y="898"/>
                </a:lnTo>
                <a:lnTo>
                  <a:pt x="1650" y="884"/>
                </a:lnTo>
                <a:lnTo>
                  <a:pt x="1656" y="884"/>
                </a:lnTo>
                <a:lnTo>
                  <a:pt x="1662" y="878"/>
                </a:lnTo>
                <a:lnTo>
                  <a:pt x="1662" y="872"/>
                </a:lnTo>
                <a:lnTo>
                  <a:pt x="1672" y="872"/>
                </a:lnTo>
                <a:lnTo>
                  <a:pt x="1672" y="856"/>
                </a:lnTo>
                <a:lnTo>
                  <a:pt x="1678" y="856"/>
                </a:lnTo>
                <a:lnTo>
                  <a:pt x="1678" y="850"/>
                </a:lnTo>
                <a:lnTo>
                  <a:pt x="1682" y="844"/>
                </a:lnTo>
                <a:lnTo>
                  <a:pt x="1682" y="838"/>
                </a:lnTo>
                <a:lnTo>
                  <a:pt x="1688" y="838"/>
                </a:lnTo>
                <a:lnTo>
                  <a:pt x="1688" y="830"/>
                </a:lnTo>
                <a:lnTo>
                  <a:pt x="1694" y="830"/>
                </a:lnTo>
                <a:lnTo>
                  <a:pt x="1694" y="824"/>
                </a:lnTo>
                <a:lnTo>
                  <a:pt x="1700" y="824"/>
                </a:lnTo>
                <a:lnTo>
                  <a:pt x="1700" y="818"/>
                </a:lnTo>
                <a:lnTo>
                  <a:pt x="1704" y="812"/>
                </a:lnTo>
                <a:lnTo>
                  <a:pt x="1704" y="806"/>
                </a:lnTo>
                <a:lnTo>
                  <a:pt x="1710" y="806"/>
                </a:lnTo>
                <a:lnTo>
                  <a:pt x="1710" y="752"/>
                </a:lnTo>
                <a:lnTo>
                  <a:pt x="1716" y="752"/>
                </a:lnTo>
                <a:lnTo>
                  <a:pt x="1716" y="746"/>
                </a:lnTo>
                <a:lnTo>
                  <a:pt x="1722" y="746"/>
                </a:lnTo>
                <a:lnTo>
                  <a:pt x="1722" y="726"/>
                </a:lnTo>
                <a:lnTo>
                  <a:pt x="1716" y="720"/>
                </a:lnTo>
                <a:lnTo>
                  <a:pt x="1710" y="716"/>
                </a:lnTo>
                <a:lnTo>
                  <a:pt x="1716" y="716"/>
                </a:lnTo>
                <a:lnTo>
                  <a:pt x="1722" y="720"/>
                </a:lnTo>
                <a:lnTo>
                  <a:pt x="1722" y="716"/>
                </a:lnTo>
                <a:lnTo>
                  <a:pt x="1716" y="710"/>
                </a:lnTo>
                <a:lnTo>
                  <a:pt x="1710" y="710"/>
                </a:lnTo>
                <a:lnTo>
                  <a:pt x="1710" y="704"/>
                </a:lnTo>
                <a:lnTo>
                  <a:pt x="1704" y="704"/>
                </a:lnTo>
                <a:lnTo>
                  <a:pt x="1704" y="692"/>
                </a:lnTo>
                <a:lnTo>
                  <a:pt x="1688" y="692"/>
                </a:lnTo>
                <a:lnTo>
                  <a:pt x="1688" y="698"/>
                </a:lnTo>
                <a:lnTo>
                  <a:pt x="1682" y="704"/>
                </a:lnTo>
                <a:lnTo>
                  <a:pt x="1682" y="710"/>
                </a:lnTo>
                <a:lnTo>
                  <a:pt x="1678" y="710"/>
                </a:lnTo>
                <a:lnTo>
                  <a:pt x="1678" y="704"/>
                </a:lnTo>
                <a:lnTo>
                  <a:pt x="1672" y="704"/>
                </a:lnTo>
                <a:lnTo>
                  <a:pt x="1672" y="710"/>
                </a:lnTo>
                <a:lnTo>
                  <a:pt x="1662" y="710"/>
                </a:lnTo>
                <a:lnTo>
                  <a:pt x="1662" y="704"/>
                </a:lnTo>
                <a:lnTo>
                  <a:pt x="1656" y="704"/>
                </a:lnTo>
                <a:lnTo>
                  <a:pt x="1656" y="682"/>
                </a:lnTo>
                <a:lnTo>
                  <a:pt x="1650" y="688"/>
                </a:lnTo>
                <a:lnTo>
                  <a:pt x="1650" y="682"/>
                </a:lnTo>
                <a:lnTo>
                  <a:pt x="1644" y="688"/>
                </a:lnTo>
                <a:lnTo>
                  <a:pt x="1640" y="688"/>
                </a:lnTo>
                <a:lnTo>
                  <a:pt x="1640" y="682"/>
                </a:lnTo>
                <a:lnTo>
                  <a:pt x="1634" y="682"/>
                </a:lnTo>
                <a:lnTo>
                  <a:pt x="1634" y="676"/>
                </a:lnTo>
                <a:lnTo>
                  <a:pt x="1640" y="676"/>
                </a:lnTo>
                <a:lnTo>
                  <a:pt x="1640" y="672"/>
                </a:lnTo>
                <a:lnTo>
                  <a:pt x="1644" y="672"/>
                </a:lnTo>
                <a:lnTo>
                  <a:pt x="1644" y="666"/>
                </a:lnTo>
                <a:lnTo>
                  <a:pt x="1650" y="666"/>
                </a:lnTo>
                <a:lnTo>
                  <a:pt x="1656" y="660"/>
                </a:lnTo>
                <a:lnTo>
                  <a:pt x="1662" y="660"/>
                </a:lnTo>
                <a:lnTo>
                  <a:pt x="1662" y="656"/>
                </a:lnTo>
                <a:lnTo>
                  <a:pt x="1668" y="656"/>
                </a:lnTo>
                <a:lnTo>
                  <a:pt x="1672" y="650"/>
                </a:lnTo>
                <a:lnTo>
                  <a:pt x="1672" y="644"/>
                </a:lnTo>
                <a:lnTo>
                  <a:pt x="1678" y="644"/>
                </a:lnTo>
                <a:lnTo>
                  <a:pt x="1678" y="638"/>
                </a:lnTo>
                <a:lnTo>
                  <a:pt x="1682" y="632"/>
                </a:lnTo>
                <a:lnTo>
                  <a:pt x="1688" y="632"/>
                </a:lnTo>
                <a:lnTo>
                  <a:pt x="1688" y="628"/>
                </a:lnTo>
                <a:lnTo>
                  <a:pt x="1694" y="628"/>
                </a:lnTo>
                <a:lnTo>
                  <a:pt x="1694" y="622"/>
                </a:lnTo>
                <a:lnTo>
                  <a:pt x="1700" y="622"/>
                </a:lnTo>
                <a:lnTo>
                  <a:pt x="1700" y="618"/>
                </a:lnTo>
                <a:lnTo>
                  <a:pt x="1710" y="618"/>
                </a:lnTo>
                <a:lnTo>
                  <a:pt x="1710" y="606"/>
                </a:lnTo>
                <a:lnTo>
                  <a:pt x="1716" y="602"/>
                </a:lnTo>
                <a:lnTo>
                  <a:pt x="1722" y="602"/>
                </a:lnTo>
                <a:lnTo>
                  <a:pt x="1722" y="596"/>
                </a:lnTo>
                <a:lnTo>
                  <a:pt x="1728" y="596"/>
                </a:lnTo>
                <a:lnTo>
                  <a:pt x="1728" y="590"/>
                </a:lnTo>
                <a:lnTo>
                  <a:pt x="1732" y="590"/>
                </a:lnTo>
                <a:lnTo>
                  <a:pt x="1732" y="584"/>
                </a:lnTo>
                <a:lnTo>
                  <a:pt x="1748" y="584"/>
                </a:lnTo>
                <a:lnTo>
                  <a:pt x="1748" y="578"/>
                </a:lnTo>
                <a:lnTo>
                  <a:pt x="1786" y="578"/>
                </a:lnTo>
                <a:lnTo>
                  <a:pt x="1782" y="584"/>
                </a:lnTo>
                <a:lnTo>
                  <a:pt x="1790" y="584"/>
                </a:lnTo>
                <a:lnTo>
                  <a:pt x="1790" y="578"/>
                </a:lnTo>
                <a:lnTo>
                  <a:pt x="1802" y="578"/>
                </a:lnTo>
                <a:lnTo>
                  <a:pt x="1802" y="584"/>
                </a:lnTo>
                <a:lnTo>
                  <a:pt x="1814" y="584"/>
                </a:lnTo>
                <a:lnTo>
                  <a:pt x="1814" y="578"/>
                </a:lnTo>
                <a:lnTo>
                  <a:pt x="1818" y="578"/>
                </a:lnTo>
                <a:lnTo>
                  <a:pt x="1818" y="584"/>
                </a:lnTo>
                <a:lnTo>
                  <a:pt x="1830" y="584"/>
                </a:lnTo>
                <a:lnTo>
                  <a:pt x="1830" y="578"/>
                </a:lnTo>
                <a:lnTo>
                  <a:pt x="1824" y="578"/>
                </a:lnTo>
                <a:lnTo>
                  <a:pt x="1830" y="574"/>
                </a:lnTo>
                <a:lnTo>
                  <a:pt x="1850" y="574"/>
                </a:lnTo>
                <a:lnTo>
                  <a:pt x="1850" y="578"/>
                </a:lnTo>
                <a:lnTo>
                  <a:pt x="1856" y="578"/>
                </a:lnTo>
                <a:lnTo>
                  <a:pt x="1856" y="574"/>
                </a:lnTo>
                <a:lnTo>
                  <a:pt x="1862" y="574"/>
                </a:lnTo>
                <a:lnTo>
                  <a:pt x="1862" y="578"/>
                </a:lnTo>
                <a:lnTo>
                  <a:pt x="1868" y="578"/>
                </a:lnTo>
                <a:lnTo>
                  <a:pt x="1868" y="584"/>
                </a:lnTo>
                <a:lnTo>
                  <a:pt x="1862" y="584"/>
                </a:lnTo>
                <a:lnTo>
                  <a:pt x="1862" y="590"/>
                </a:lnTo>
                <a:lnTo>
                  <a:pt x="1872" y="590"/>
                </a:lnTo>
                <a:lnTo>
                  <a:pt x="1878" y="584"/>
                </a:lnTo>
                <a:lnTo>
                  <a:pt x="1878" y="590"/>
                </a:lnTo>
                <a:lnTo>
                  <a:pt x="1884" y="590"/>
                </a:lnTo>
                <a:lnTo>
                  <a:pt x="1890" y="584"/>
                </a:lnTo>
                <a:lnTo>
                  <a:pt x="1916" y="584"/>
                </a:lnTo>
                <a:lnTo>
                  <a:pt x="1916" y="578"/>
                </a:lnTo>
                <a:lnTo>
                  <a:pt x="1910" y="578"/>
                </a:lnTo>
                <a:lnTo>
                  <a:pt x="1910" y="574"/>
                </a:lnTo>
                <a:lnTo>
                  <a:pt x="1904" y="574"/>
                </a:lnTo>
                <a:lnTo>
                  <a:pt x="1904" y="578"/>
                </a:lnTo>
                <a:lnTo>
                  <a:pt x="1898" y="578"/>
                </a:lnTo>
                <a:lnTo>
                  <a:pt x="1898" y="568"/>
                </a:lnTo>
                <a:lnTo>
                  <a:pt x="1904" y="568"/>
                </a:lnTo>
                <a:lnTo>
                  <a:pt x="1904" y="564"/>
                </a:lnTo>
                <a:lnTo>
                  <a:pt x="1910" y="564"/>
                </a:lnTo>
                <a:lnTo>
                  <a:pt x="1910" y="558"/>
                </a:lnTo>
                <a:lnTo>
                  <a:pt x="1916" y="558"/>
                </a:lnTo>
                <a:lnTo>
                  <a:pt x="1922" y="552"/>
                </a:lnTo>
                <a:lnTo>
                  <a:pt x="1922" y="548"/>
                </a:lnTo>
                <a:lnTo>
                  <a:pt x="1928" y="548"/>
                </a:lnTo>
                <a:lnTo>
                  <a:pt x="1928" y="542"/>
                </a:lnTo>
                <a:lnTo>
                  <a:pt x="1932" y="536"/>
                </a:lnTo>
                <a:lnTo>
                  <a:pt x="1938" y="536"/>
                </a:lnTo>
                <a:lnTo>
                  <a:pt x="1938" y="530"/>
                </a:lnTo>
                <a:lnTo>
                  <a:pt x="1944" y="530"/>
                </a:lnTo>
                <a:lnTo>
                  <a:pt x="1944" y="524"/>
                </a:lnTo>
                <a:lnTo>
                  <a:pt x="1986" y="524"/>
                </a:lnTo>
                <a:lnTo>
                  <a:pt x="1986" y="520"/>
                </a:lnTo>
                <a:lnTo>
                  <a:pt x="1992" y="520"/>
                </a:lnTo>
                <a:lnTo>
                  <a:pt x="1992" y="524"/>
                </a:lnTo>
                <a:lnTo>
                  <a:pt x="1986" y="530"/>
                </a:lnTo>
                <a:lnTo>
                  <a:pt x="1986" y="542"/>
                </a:lnTo>
                <a:lnTo>
                  <a:pt x="1992" y="542"/>
                </a:lnTo>
                <a:lnTo>
                  <a:pt x="1986" y="548"/>
                </a:lnTo>
                <a:lnTo>
                  <a:pt x="1998" y="548"/>
                </a:lnTo>
                <a:lnTo>
                  <a:pt x="1998" y="542"/>
                </a:lnTo>
                <a:lnTo>
                  <a:pt x="2004" y="542"/>
                </a:lnTo>
                <a:lnTo>
                  <a:pt x="2008" y="536"/>
                </a:lnTo>
                <a:lnTo>
                  <a:pt x="2012" y="536"/>
                </a:lnTo>
                <a:lnTo>
                  <a:pt x="2018" y="530"/>
                </a:lnTo>
                <a:lnTo>
                  <a:pt x="2030" y="530"/>
                </a:lnTo>
                <a:lnTo>
                  <a:pt x="2030" y="524"/>
                </a:lnTo>
                <a:lnTo>
                  <a:pt x="2024" y="524"/>
                </a:lnTo>
                <a:lnTo>
                  <a:pt x="2030" y="520"/>
                </a:lnTo>
                <a:lnTo>
                  <a:pt x="2030" y="510"/>
                </a:lnTo>
                <a:lnTo>
                  <a:pt x="2036" y="510"/>
                </a:lnTo>
                <a:lnTo>
                  <a:pt x="2036" y="504"/>
                </a:lnTo>
                <a:lnTo>
                  <a:pt x="2052" y="504"/>
                </a:lnTo>
                <a:lnTo>
                  <a:pt x="2052" y="510"/>
                </a:lnTo>
                <a:lnTo>
                  <a:pt x="2046" y="510"/>
                </a:lnTo>
                <a:lnTo>
                  <a:pt x="2046" y="524"/>
                </a:lnTo>
                <a:lnTo>
                  <a:pt x="2040" y="524"/>
                </a:lnTo>
                <a:lnTo>
                  <a:pt x="2036" y="536"/>
                </a:lnTo>
                <a:lnTo>
                  <a:pt x="2036" y="548"/>
                </a:lnTo>
                <a:lnTo>
                  <a:pt x="2024" y="548"/>
                </a:lnTo>
                <a:lnTo>
                  <a:pt x="2018" y="552"/>
                </a:lnTo>
                <a:lnTo>
                  <a:pt x="2012" y="552"/>
                </a:lnTo>
                <a:lnTo>
                  <a:pt x="2012" y="558"/>
                </a:lnTo>
                <a:lnTo>
                  <a:pt x="2008" y="558"/>
                </a:lnTo>
                <a:lnTo>
                  <a:pt x="2008" y="564"/>
                </a:lnTo>
                <a:lnTo>
                  <a:pt x="2004" y="568"/>
                </a:lnTo>
                <a:lnTo>
                  <a:pt x="1998" y="574"/>
                </a:lnTo>
                <a:lnTo>
                  <a:pt x="1992" y="574"/>
                </a:lnTo>
                <a:lnTo>
                  <a:pt x="1992" y="578"/>
                </a:lnTo>
                <a:lnTo>
                  <a:pt x="1986" y="578"/>
                </a:lnTo>
                <a:lnTo>
                  <a:pt x="1986" y="584"/>
                </a:lnTo>
                <a:lnTo>
                  <a:pt x="1982" y="584"/>
                </a:lnTo>
                <a:lnTo>
                  <a:pt x="1982" y="590"/>
                </a:lnTo>
                <a:lnTo>
                  <a:pt x="1976" y="596"/>
                </a:lnTo>
                <a:lnTo>
                  <a:pt x="1970" y="596"/>
                </a:lnTo>
                <a:lnTo>
                  <a:pt x="1970" y="602"/>
                </a:lnTo>
                <a:lnTo>
                  <a:pt x="1964" y="606"/>
                </a:lnTo>
                <a:lnTo>
                  <a:pt x="1958" y="606"/>
                </a:lnTo>
                <a:lnTo>
                  <a:pt x="1958" y="612"/>
                </a:lnTo>
                <a:lnTo>
                  <a:pt x="1950" y="612"/>
                </a:lnTo>
                <a:lnTo>
                  <a:pt x="1950" y="618"/>
                </a:lnTo>
                <a:lnTo>
                  <a:pt x="1944" y="618"/>
                </a:lnTo>
                <a:lnTo>
                  <a:pt x="1944" y="612"/>
                </a:lnTo>
                <a:lnTo>
                  <a:pt x="1938" y="618"/>
                </a:lnTo>
                <a:lnTo>
                  <a:pt x="1938" y="622"/>
                </a:lnTo>
                <a:lnTo>
                  <a:pt x="1944" y="622"/>
                </a:lnTo>
                <a:lnTo>
                  <a:pt x="1938" y="628"/>
                </a:lnTo>
                <a:lnTo>
                  <a:pt x="1938" y="632"/>
                </a:lnTo>
                <a:lnTo>
                  <a:pt x="1932" y="632"/>
                </a:lnTo>
                <a:lnTo>
                  <a:pt x="1932" y="638"/>
                </a:lnTo>
                <a:lnTo>
                  <a:pt x="1928" y="638"/>
                </a:lnTo>
                <a:lnTo>
                  <a:pt x="1928" y="644"/>
                </a:lnTo>
                <a:lnTo>
                  <a:pt x="1922" y="644"/>
                </a:lnTo>
                <a:lnTo>
                  <a:pt x="1922" y="698"/>
                </a:lnTo>
                <a:lnTo>
                  <a:pt x="1928" y="698"/>
                </a:lnTo>
                <a:lnTo>
                  <a:pt x="1928" y="726"/>
                </a:lnTo>
                <a:lnTo>
                  <a:pt x="1932" y="726"/>
                </a:lnTo>
                <a:lnTo>
                  <a:pt x="1932" y="730"/>
                </a:lnTo>
                <a:lnTo>
                  <a:pt x="1938" y="726"/>
                </a:lnTo>
                <a:lnTo>
                  <a:pt x="1938" y="730"/>
                </a:lnTo>
                <a:lnTo>
                  <a:pt x="1932" y="730"/>
                </a:lnTo>
                <a:lnTo>
                  <a:pt x="1938" y="736"/>
                </a:lnTo>
                <a:lnTo>
                  <a:pt x="1938" y="764"/>
                </a:lnTo>
                <a:lnTo>
                  <a:pt x="1944" y="758"/>
                </a:lnTo>
                <a:lnTo>
                  <a:pt x="1950" y="758"/>
                </a:lnTo>
                <a:lnTo>
                  <a:pt x="1950" y="752"/>
                </a:lnTo>
                <a:lnTo>
                  <a:pt x="1954" y="752"/>
                </a:lnTo>
                <a:lnTo>
                  <a:pt x="1954" y="746"/>
                </a:lnTo>
                <a:lnTo>
                  <a:pt x="1958" y="742"/>
                </a:lnTo>
                <a:lnTo>
                  <a:pt x="1958" y="736"/>
                </a:lnTo>
                <a:lnTo>
                  <a:pt x="1964" y="736"/>
                </a:lnTo>
                <a:lnTo>
                  <a:pt x="1964" y="720"/>
                </a:lnTo>
                <a:lnTo>
                  <a:pt x="1958" y="720"/>
                </a:lnTo>
                <a:lnTo>
                  <a:pt x="1964" y="716"/>
                </a:lnTo>
                <a:lnTo>
                  <a:pt x="1964" y="720"/>
                </a:lnTo>
                <a:lnTo>
                  <a:pt x="1970" y="720"/>
                </a:lnTo>
                <a:lnTo>
                  <a:pt x="1970" y="716"/>
                </a:lnTo>
                <a:lnTo>
                  <a:pt x="1986" y="716"/>
                </a:lnTo>
                <a:lnTo>
                  <a:pt x="1986" y="692"/>
                </a:lnTo>
                <a:lnTo>
                  <a:pt x="1992" y="692"/>
                </a:lnTo>
                <a:lnTo>
                  <a:pt x="1992" y="688"/>
                </a:lnTo>
                <a:lnTo>
                  <a:pt x="2008" y="688"/>
                </a:lnTo>
                <a:lnTo>
                  <a:pt x="2008" y="682"/>
                </a:lnTo>
                <a:lnTo>
                  <a:pt x="2012" y="682"/>
                </a:lnTo>
                <a:lnTo>
                  <a:pt x="2012" y="676"/>
                </a:lnTo>
                <a:lnTo>
                  <a:pt x="2008" y="676"/>
                </a:lnTo>
                <a:lnTo>
                  <a:pt x="2008" y="656"/>
                </a:lnTo>
                <a:lnTo>
                  <a:pt x="2012" y="656"/>
                </a:lnTo>
                <a:lnTo>
                  <a:pt x="2018" y="650"/>
                </a:lnTo>
                <a:lnTo>
                  <a:pt x="2024" y="656"/>
                </a:lnTo>
                <a:lnTo>
                  <a:pt x="2030" y="656"/>
                </a:lnTo>
                <a:lnTo>
                  <a:pt x="2036" y="650"/>
                </a:lnTo>
                <a:lnTo>
                  <a:pt x="2036" y="644"/>
                </a:lnTo>
                <a:lnTo>
                  <a:pt x="2030" y="644"/>
                </a:lnTo>
                <a:lnTo>
                  <a:pt x="2036" y="638"/>
                </a:lnTo>
                <a:lnTo>
                  <a:pt x="2024" y="638"/>
                </a:lnTo>
                <a:lnTo>
                  <a:pt x="2024" y="622"/>
                </a:lnTo>
                <a:lnTo>
                  <a:pt x="2030" y="622"/>
                </a:lnTo>
                <a:lnTo>
                  <a:pt x="2036" y="618"/>
                </a:lnTo>
                <a:lnTo>
                  <a:pt x="2030" y="612"/>
                </a:lnTo>
                <a:lnTo>
                  <a:pt x="2018" y="612"/>
                </a:lnTo>
                <a:lnTo>
                  <a:pt x="2018" y="618"/>
                </a:lnTo>
                <a:lnTo>
                  <a:pt x="2012" y="612"/>
                </a:lnTo>
                <a:lnTo>
                  <a:pt x="2012" y="602"/>
                </a:lnTo>
                <a:lnTo>
                  <a:pt x="2018" y="596"/>
                </a:lnTo>
                <a:lnTo>
                  <a:pt x="2024" y="596"/>
                </a:lnTo>
                <a:lnTo>
                  <a:pt x="2024" y="590"/>
                </a:lnTo>
                <a:lnTo>
                  <a:pt x="2030" y="590"/>
                </a:lnTo>
                <a:lnTo>
                  <a:pt x="2030" y="584"/>
                </a:lnTo>
                <a:lnTo>
                  <a:pt x="2036" y="584"/>
                </a:lnTo>
                <a:lnTo>
                  <a:pt x="2036" y="578"/>
                </a:lnTo>
                <a:lnTo>
                  <a:pt x="2030" y="578"/>
                </a:lnTo>
                <a:lnTo>
                  <a:pt x="2030" y="574"/>
                </a:lnTo>
                <a:lnTo>
                  <a:pt x="2036" y="574"/>
                </a:lnTo>
                <a:lnTo>
                  <a:pt x="2036" y="564"/>
                </a:lnTo>
                <a:lnTo>
                  <a:pt x="2052" y="564"/>
                </a:lnTo>
                <a:lnTo>
                  <a:pt x="2052" y="574"/>
                </a:lnTo>
                <a:lnTo>
                  <a:pt x="2058" y="568"/>
                </a:lnTo>
                <a:lnTo>
                  <a:pt x="2058" y="564"/>
                </a:lnTo>
                <a:lnTo>
                  <a:pt x="2062" y="558"/>
                </a:lnTo>
                <a:lnTo>
                  <a:pt x="2068" y="558"/>
                </a:lnTo>
                <a:lnTo>
                  <a:pt x="2072" y="552"/>
                </a:lnTo>
                <a:lnTo>
                  <a:pt x="2072" y="564"/>
                </a:lnTo>
                <a:lnTo>
                  <a:pt x="2068" y="564"/>
                </a:lnTo>
                <a:lnTo>
                  <a:pt x="2068" y="574"/>
                </a:lnTo>
                <a:lnTo>
                  <a:pt x="2072" y="574"/>
                </a:lnTo>
                <a:lnTo>
                  <a:pt x="2072" y="568"/>
                </a:lnTo>
                <a:lnTo>
                  <a:pt x="2078" y="568"/>
                </a:lnTo>
                <a:lnTo>
                  <a:pt x="2078" y="558"/>
                </a:lnTo>
                <a:lnTo>
                  <a:pt x="2096" y="558"/>
                </a:lnTo>
                <a:lnTo>
                  <a:pt x="2096" y="552"/>
                </a:lnTo>
                <a:lnTo>
                  <a:pt x="2116" y="552"/>
                </a:lnTo>
                <a:lnTo>
                  <a:pt x="2116" y="558"/>
                </a:lnTo>
                <a:lnTo>
                  <a:pt x="2122" y="558"/>
                </a:lnTo>
                <a:lnTo>
                  <a:pt x="2126" y="564"/>
                </a:lnTo>
                <a:lnTo>
                  <a:pt x="2126" y="568"/>
                </a:lnTo>
                <a:lnTo>
                  <a:pt x="2132" y="568"/>
                </a:lnTo>
                <a:lnTo>
                  <a:pt x="2132" y="558"/>
                </a:lnTo>
                <a:lnTo>
                  <a:pt x="2138" y="558"/>
                </a:lnTo>
                <a:lnTo>
                  <a:pt x="2138" y="552"/>
                </a:lnTo>
                <a:lnTo>
                  <a:pt x="2144" y="552"/>
                </a:lnTo>
                <a:lnTo>
                  <a:pt x="2144" y="548"/>
                </a:lnTo>
                <a:lnTo>
                  <a:pt x="2154" y="548"/>
                </a:lnTo>
                <a:lnTo>
                  <a:pt x="2154" y="542"/>
                </a:lnTo>
                <a:lnTo>
                  <a:pt x="2160" y="542"/>
                </a:lnTo>
                <a:lnTo>
                  <a:pt x="2160" y="536"/>
                </a:lnTo>
                <a:lnTo>
                  <a:pt x="2164" y="530"/>
                </a:lnTo>
                <a:lnTo>
                  <a:pt x="2164" y="536"/>
                </a:lnTo>
                <a:lnTo>
                  <a:pt x="2170" y="536"/>
                </a:lnTo>
                <a:lnTo>
                  <a:pt x="2176" y="530"/>
                </a:lnTo>
                <a:lnTo>
                  <a:pt x="2176" y="524"/>
                </a:lnTo>
                <a:lnTo>
                  <a:pt x="2192" y="524"/>
                </a:lnTo>
                <a:lnTo>
                  <a:pt x="2192" y="520"/>
                </a:lnTo>
                <a:lnTo>
                  <a:pt x="2198" y="520"/>
                </a:lnTo>
                <a:lnTo>
                  <a:pt x="2198" y="514"/>
                </a:lnTo>
                <a:lnTo>
                  <a:pt x="2214" y="514"/>
                </a:lnTo>
                <a:lnTo>
                  <a:pt x="2218" y="510"/>
                </a:lnTo>
                <a:lnTo>
                  <a:pt x="2246" y="510"/>
                </a:lnTo>
                <a:lnTo>
                  <a:pt x="2246" y="514"/>
                </a:lnTo>
                <a:lnTo>
                  <a:pt x="2258" y="514"/>
                </a:lnTo>
                <a:lnTo>
                  <a:pt x="2258" y="492"/>
                </a:lnTo>
                <a:lnTo>
                  <a:pt x="2252" y="492"/>
                </a:lnTo>
                <a:lnTo>
                  <a:pt x="2252" y="488"/>
                </a:lnTo>
                <a:lnTo>
                  <a:pt x="2246" y="482"/>
                </a:lnTo>
                <a:lnTo>
                  <a:pt x="2246" y="488"/>
                </a:lnTo>
                <a:lnTo>
                  <a:pt x="2240" y="482"/>
                </a:lnTo>
                <a:lnTo>
                  <a:pt x="2246" y="482"/>
                </a:lnTo>
                <a:lnTo>
                  <a:pt x="2246" y="464"/>
                </a:lnTo>
                <a:lnTo>
                  <a:pt x="2230" y="464"/>
                </a:lnTo>
                <a:lnTo>
                  <a:pt x="2230" y="456"/>
                </a:lnTo>
                <a:lnTo>
                  <a:pt x="2224" y="450"/>
                </a:lnTo>
                <a:lnTo>
                  <a:pt x="2230" y="450"/>
                </a:lnTo>
                <a:lnTo>
                  <a:pt x="2230" y="456"/>
                </a:lnTo>
                <a:lnTo>
                  <a:pt x="2246" y="456"/>
                </a:lnTo>
                <a:lnTo>
                  <a:pt x="2246" y="460"/>
                </a:lnTo>
                <a:lnTo>
                  <a:pt x="2252" y="456"/>
                </a:lnTo>
                <a:lnTo>
                  <a:pt x="2264" y="456"/>
                </a:lnTo>
                <a:lnTo>
                  <a:pt x="2264" y="450"/>
                </a:lnTo>
                <a:lnTo>
                  <a:pt x="2268" y="450"/>
                </a:lnTo>
                <a:lnTo>
                  <a:pt x="2268" y="444"/>
                </a:lnTo>
                <a:lnTo>
                  <a:pt x="2272" y="444"/>
                </a:lnTo>
                <a:lnTo>
                  <a:pt x="2272" y="438"/>
                </a:lnTo>
                <a:lnTo>
                  <a:pt x="2278" y="438"/>
                </a:lnTo>
                <a:lnTo>
                  <a:pt x="2272" y="434"/>
                </a:lnTo>
                <a:lnTo>
                  <a:pt x="2268" y="434"/>
                </a:lnTo>
                <a:lnTo>
                  <a:pt x="2268" y="416"/>
                </a:lnTo>
                <a:lnTo>
                  <a:pt x="2272" y="422"/>
                </a:lnTo>
                <a:lnTo>
                  <a:pt x="2278" y="422"/>
                </a:lnTo>
                <a:lnTo>
                  <a:pt x="2278" y="416"/>
                </a:lnTo>
                <a:lnTo>
                  <a:pt x="2290" y="416"/>
                </a:lnTo>
                <a:lnTo>
                  <a:pt x="2284" y="422"/>
                </a:lnTo>
                <a:lnTo>
                  <a:pt x="2284" y="434"/>
                </a:lnTo>
                <a:lnTo>
                  <a:pt x="2290" y="434"/>
                </a:lnTo>
                <a:lnTo>
                  <a:pt x="2284" y="438"/>
                </a:lnTo>
                <a:lnTo>
                  <a:pt x="2306" y="438"/>
                </a:lnTo>
                <a:lnTo>
                  <a:pt x="2306" y="434"/>
                </a:lnTo>
                <a:lnTo>
                  <a:pt x="2318" y="434"/>
                </a:lnTo>
                <a:lnTo>
                  <a:pt x="2318" y="438"/>
                </a:lnTo>
                <a:lnTo>
                  <a:pt x="2324" y="438"/>
                </a:lnTo>
                <a:lnTo>
                  <a:pt x="2324" y="444"/>
                </a:lnTo>
                <a:lnTo>
                  <a:pt x="2326" y="444"/>
                </a:lnTo>
                <a:lnTo>
                  <a:pt x="2326" y="456"/>
                </a:lnTo>
                <a:lnTo>
                  <a:pt x="2344" y="456"/>
                </a:lnTo>
                <a:lnTo>
                  <a:pt x="2350" y="460"/>
                </a:lnTo>
                <a:lnTo>
                  <a:pt x="2350" y="464"/>
                </a:lnTo>
                <a:lnTo>
                  <a:pt x="2378" y="464"/>
                </a:lnTo>
                <a:lnTo>
                  <a:pt x="2378" y="460"/>
                </a:lnTo>
                <a:lnTo>
                  <a:pt x="2366" y="460"/>
                </a:lnTo>
                <a:lnTo>
                  <a:pt x="2366" y="456"/>
                </a:lnTo>
                <a:lnTo>
                  <a:pt x="2378" y="456"/>
                </a:lnTo>
                <a:lnTo>
                  <a:pt x="2378" y="438"/>
                </a:lnTo>
                <a:lnTo>
                  <a:pt x="2392" y="438"/>
                </a:lnTo>
                <a:lnTo>
                  <a:pt x="2392" y="434"/>
                </a:lnTo>
                <a:lnTo>
                  <a:pt x="2404" y="434"/>
                </a:lnTo>
                <a:lnTo>
                  <a:pt x="2404" y="416"/>
                </a:lnTo>
                <a:lnTo>
                  <a:pt x="2398" y="416"/>
                </a:lnTo>
                <a:lnTo>
                  <a:pt x="2398" y="410"/>
                </a:lnTo>
                <a:lnTo>
                  <a:pt x="2398" y="410"/>
                </a:lnTo>
                <a:lnTo>
                  <a:pt x="2398" y="410"/>
                </a:lnTo>
                <a:close/>
                <a:moveTo>
                  <a:pt x="806" y="692"/>
                </a:moveTo>
                <a:lnTo>
                  <a:pt x="806" y="688"/>
                </a:lnTo>
                <a:lnTo>
                  <a:pt x="812" y="692"/>
                </a:lnTo>
                <a:lnTo>
                  <a:pt x="806" y="692"/>
                </a:lnTo>
                <a:lnTo>
                  <a:pt x="806" y="692"/>
                </a:lnTo>
                <a:lnTo>
                  <a:pt x="806" y="692"/>
                </a:lnTo>
                <a:close/>
                <a:moveTo>
                  <a:pt x="936" y="238"/>
                </a:moveTo>
                <a:lnTo>
                  <a:pt x="936" y="234"/>
                </a:lnTo>
                <a:lnTo>
                  <a:pt x="940" y="234"/>
                </a:lnTo>
                <a:lnTo>
                  <a:pt x="936" y="238"/>
                </a:lnTo>
                <a:lnTo>
                  <a:pt x="936" y="238"/>
                </a:lnTo>
                <a:lnTo>
                  <a:pt x="936" y="238"/>
                </a:lnTo>
                <a:close/>
                <a:moveTo>
                  <a:pt x="946" y="242"/>
                </a:moveTo>
                <a:lnTo>
                  <a:pt x="940" y="242"/>
                </a:lnTo>
                <a:lnTo>
                  <a:pt x="940" y="238"/>
                </a:lnTo>
                <a:lnTo>
                  <a:pt x="946" y="238"/>
                </a:lnTo>
                <a:lnTo>
                  <a:pt x="946" y="242"/>
                </a:lnTo>
                <a:lnTo>
                  <a:pt x="946" y="242"/>
                </a:lnTo>
                <a:lnTo>
                  <a:pt x="946" y="242"/>
                </a:lnTo>
                <a:close/>
                <a:moveTo>
                  <a:pt x="1126" y="180"/>
                </a:moveTo>
                <a:lnTo>
                  <a:pt x="1120" y="180"/>
                </a:lnTo>
                <a:lnTo>
                  <a:pt x="1126" y="174"/>
                </a:lnTo>
                <a:lnTo>
                  <a:pt x="1126" y="180"/>
                </a:lnTo>
                <a:lnTo>
                  <a:pt x="1126" y="180"/>
                </a:lnTo>
                <a:lnTo>
                  <a:pt x="1126" y="180"/>
                </a:lnTo>
                <a:close/>
                <a:moveTo>
                  <a:pt x="1136" y="182"/>
                </a:moveTo>
                <a:lnTo>
                  <a:pt x="1132" y="182"/>
                </a:lnTo>
                <a:lnTo>
                  <a:pt x="1132" y="180"/>
                </a:lnTo>
                <a:lnTo>
                  <a:pt x="1136" y="180"/>
                </a:lnTo>
                <a:lnTo>
                  <a:pt x="1136" y="182"/>
                </a:lnTo>
                <a:lnTo>
                  <a:pt x="1136" y="182"/>
                </a:lnTo>
                <a:lnTo>
                  <a:pt x="1136" y="182"/>
                </a:lnTo>
                <a:close/>
                <a:moveTo>
                  <a:pt x="1168" y="156"/>
                </a:moveTo>
                <a:lnTo>
                  <a:pt x="1162" y="152"/>
                </a:lnTo>
                <a:lnTo>
                  <a:pt x="1168" y="152"/>
                </a:lnTo>
                <a:lnTo>
                  <a:pt x="1168" y="156"/>
                </a:lnTo>
                <a:lnTo>
                  <a:pt x="1168" y="156"/>
                </a:lnTo>
                <a:lnTo>
                  <a:pt x="1168" y="156"/>
                </a:lnTo>
                <a:close/>
                <a:moveTo>
                  <a:pt x="1520" y="288"/>
                </a:moveTo>
                <a:lnTo>
                  <a:pt x="1516" y="282"/>
                </a:lnTo>
                <a:lnTo>
                  <a:pt x="1516" y="276"/>
                </a:lnTo>
                <a:lnTo>
                  <a:pt x="1520" y="276"/>
                </a:lnTo>
                <a:lnTo>
                  <a:pt x="1520" y="288"/>
                </a:lnTo>
                <a:lnTo>
                  <a:pt x="1520" y="288"/>
                </a:lnTo>
                <a:lnTo>
                  <a:pt x="1520" y="288"/>
                </a:lnTo>
                <a:close/>
                <a:moveTo>
                  <a:pt x="1844" y="296"/>
                </a:moveTo>
                <a:lnTo>
                  <a:pt x="1842" y="296"/>
                </a:lnTo>
                <a:lnTo>
                  <a:pt x="1844" y="292"/>
                </a:lnTo>
                <a:lnTo>
                  <a:pt x="1844" y="296"/>
                </a:lnTo>
                <a:lnTo>
                  <a:pt x="1844" y="296"/>
                </a:lnTo>
                <a:lnTo>
                  <a:pt x="1844" y="296"/>
                </a:lnTo>
                <a:close/>
                <a:moveTo>
                  <a:pt x="2214" y="460"/>
                </a:moveTo>
                <a:lnTo>
                  <a:pt x="2210" y="460"/>
                </a:lnTo>
                <a:lnTo>
                  <a:pt x="2210" y="450"/>
                </a:lnTo>
                <a:lnTo>
                  <a:pt x="2214" y="456"/>
                </a:lnTo>
                <a:lnTo>
                  <a:pt x="2214" y="460"/>
                </a:lnTo>
                <a:lnTo>
                  <a:pt x="2214" y="460"/>
                </a:lnTo>
                <a:lnTo>
                  <a:pt x="2214" y="460"/>
                </a:lnTo>
                <a:close/>
                <a:moveTo>
                  <a:pt x="2408" y="416"/>
                </a:moveTo>
                <a:lnTo>
                  <a:pt x="2408" y="428"/>
                </a:lnTo>
                <a:lnTo>
                  <a:pt x="2414" y="428"/>
                </a:lnTo>
                <a:lnTo>
                  <a:pt x="2414" y="422"/>
                </a:lnTo>
                <a:lnTo>
                  <a:pt x="2408" y="416"/>
                </a:lnTo>
                <a:lnTo>
                  <a:pt x="2408" y="416"/>
                </a:lnTo>
                <a:lnTo>
                  <a:pt x="2408" y="416"/>
                </a:lnTo>
                <a:close/>
                <a:moveTo>
                  <a:pt x="2306" y="292"/>
                </a:moveTo>
                <a:lnTo>
                  <a:pt x="2300" y="296"/>
                </a:lnTo>
                <a:lnTo>
                  <a:pt x="2284" y="296"/>
                </a:lnTo>
                <a:lnTo>
                  <a:pt x="2278" y="302"/>
                </a:lnTo>
                <a:lnTo>
                  <a:pt x="2272" y="302"/>
                </a:lnTo>
                <a:lnTo>
                  <a:pt x="2268" y="296"/>
                </a:lnTo>
                <a:lnTo>
                  <a:pt x="2264" y="296"/>
                </a:lnTo>
                <a:lnTo>
                  <a:pt x="2264" y="302"/>
                </a:lnTo>
                <a:lnTo>
                  <a:pt x="2246" y="302"/>
                </a:lnTo>
                <a:lnTo>
                  <a:pt x="2246" y="296"/>
                </a:lnTo>
                <a:lnTo>
                  <a:pt x="2252" y="296"/>
                </a:lnTo>
                <a:lnTo>
                  <a:pt x="2252" y="292"/>
                </a:lnTo>
                <a:lnTo>
                  <a:pt x="2258" y="292"/>
                </a:lnTo>
                <a:lnTo>
                  <a:pt x="2258" y="288"/>
                </a:lnTo>
                <a:lnTo>
                  <a:pt x="2296" y="288"/>
                </a:lnTo>
                <a:lnTo>
                  <a:pt x="2296" y="292"/>
                </a:lnTo>
                <a:lnTo>
                  <a:pt x="2306" y="292"/>
                </a:lnTo>
                <a:lnTo>
                  <a:pt x="2306" y="292"/>
                </a:lnTo>
                <a:lnTo>
                  <a:pt x="2306" y="292"/>
                </a:lnTo>
                <a:close/>
                <a:moveTo>
                  <a:pt x="1314" y="152"/>
                </a:moveTo>
                <a:lnTo>
                  <a:pt x="1308" y="152"/>
                </a:lnTo>
                <a:lnTo>
                  <a:pt x="1308" y="152"/>
                </a:lnTo>
                <a:lnTo>
                  <a:pt x="1304" y="152"/>
                </a:lnTo>
                <a:lnTo>
                  <a:pt x="1308" y="152"/>
                </a:lnTo>
                <a:lnTo>
                  <a:pt x="1314" y="152"/>
                </a:lnTo>
                <a:lnTo>
                  <a:pt x="1314" y="152"/>
                </a:lnTo>
                <a:lnTo>
                  <a:pt x="1314" y="152"/>
                </a:lnTo>
                <a:lnTo>
                  <a:pt x="1314" y="152"/>
                </a:lnTo>
                <a:lnTo>
                  <a:pt x="1314" y="152"/>
                </a:lnTo>
                <a:lnTo>
                  <a:pt x="1314" y="152"/>
                </a:lnTo>
                <a:lnTo>
                  <a:pt x="1314" y="152"/>
                </a:lnTo>
                <a:close/>
                <a:moveTo>
                  <a:pt x="1466" y="242"/>
                </a:moveTo>
                <a:lnTo>
                  <a:pt x="1466" y="238"/>
                </a:lnTo>
                <a:lnTo>
                  <a:pt x="1466" y="238"/>
                </a:lnTo>
                <a:lnTo>
                  <a:pt x="1466" y="234"/>
                </a:lnTo>
                <a:lnTo>
                  <a:pt x="1466" y="228"/>
                </a:lnTo>
                <a:lnTo>
                  <a:pt x="1466" y="228"/>
                </a:lnTo>
                <a:lnTo>
                  <a:pt x="1466" y="234"/>
                </a:lnTo>
                <a:lnTo>
                  <a:pt x="1472" y="234"/>
                </a:lnTo>
                <a:lnTo>
                  <a:pt x="1476" y="234"/>
                </a:lnTo>
                <a:lnTo>
                  <a:pt x="1472" y="228"/>
                </a:lnTo>
                <a:lnTo>
                  <a:pt x="1476" y="228"/>
                </a:lnTo>
                <a:lnTo>
                  <a:pt x="1482" y="228"/>
                </a:lnTo>
                <a:lnTo>
                  <a:pt x="1482" y="228"/>
                </a:lnTo>
                <a:lnTo>
                  <a:pt x="1482" y="228"/>
                </a:lnTo>
                <a:lnTo>
                  <a:pt x="1488" y="228"/>
                </a:lnTo>
                <a:lnTo>
                  <a:pt x="1488" y="234"/>
                </a:lnTo>
                <a:lnTo>
                  <a:pt x="1494" y="228"/>
                </a:lnTo>
                <a:lnTo>
                  <a:pt x="1494" y="234"/>
                </a:lnTo>
                <a:lnTo>
                  <a:pt x="1494" y="234"/>
                </a:lnTo>
                <a:lnTo>
                  <a:pt x="1500" y="234"/>
                </a:lnTo>
                <a:lnTo>
                  <a:pt x="1500" y="238"/>
                </a:lnTo>
                <a:lnTo>
                  <a:pt x="1494" y="238"/>
                </a:lnTo>
                <a:lnTo>
                  <a:pt x="1500" y="238"/>
                </a:lnTo>
                <a:lnTo>
                  <a:pt x="1504" y="238"/>
                </a:lnTo>
                <a:lnTo>
                  <a:pt x="1504" y="234"/>
                </a:lnTo>
                <a:lnTo>
                  <a:pt x="1504" y="234"/>
                </a:lnTo>
                <a:lnTo>
                  <a:pt x="1510" y="234"/>
                </a:lnTo>
                <a:lnTo>
                  <a:pt x="1504" y="238"/>
                </a:lnTo>
                <a:lnTo>
                  <a:pt x="1510" y="238"/>
                </a:lnTo>
                <a:lnTo>
                  <a:pt x="1510" y="238"/>
                </a:lnTo>
                <a:lnTo>
                  <a:pt x="1510" y="242"/>
                </a:lnTo>
                <a:lnTo>
                  <a:pt x="1516" y="242"/>
                </a:lnTo>
                <a:lnTo>
                  <a:pt x="1516" y="248"/>
                </a:lnTo>
                <a:lnTo>
                  <a:pt x="1510" y="248"/>
                </a:lnTo>
                <a:lnTo>
                  <a:pt x="1510" y="248"/>
                </a:lnTo>
                <a:lnTo>
                  <a:pt x="1504" y="248"/>
                </a:lnTo>
                <a:lnTo>
                  <a:pt x="1510" y="248"/>
                </a:lnTo>
                <a:lnTo>
                  <a:pt x="1510" y="254"/>
                </a:lnTo>
                <a:lnTo>
                  <a:pt x="1504" y="254"/>
                </a:lnTo>
                <a:lnTo>
                  <a:pt x="1504" y="260"/>
                </a:lnTo>
                <a:lnTo>
                  <a:pt x="1504" y="260"/>
                </a:lnTo>
                <a:lnTo>
                  <a:pt x="1504" y="266"/>
                </a:lnTo>
                <a:lnTo>
                  <a:pt x="1504" y="266"/>
                </a:lnTo>
                <a:lnTo>
                  <a:pt x="1500" y="266"/>
                </a:lnTo>
                <a:lnTo>
                  <a:pt x="1500" y="260"/>
                </a:lnTo>
                <a:lnTo>
                  <a:pt x="1494" y="260"/>
                </a:lnTo>
                <a:lnTo>
                  <a:pt x="1494" y="260"/>
                </a:lnTo>
                <a:lnTo>
                  <a:pt x="1494" y="260"/>
                </a:lnTo>
                <a:lnTo>
                  <a:pt x="1488" y="260"/>
                </a:lnTo>
                <a:lnTo>
                  <a:pt x="1488" y="254"/>
                </a:lnTo>
                <a:lnTo>
                  <a:pt x="1482" y="254"/>
                </a:lnTo>
                <a:lnTo>
                  <a:pt x="1482" y="254"/>
                </a:lnTo>
                <a:lnTo>
                  <a:pt x="1476" y="254"/>
                </a:lnTo>
                <a:lnTo>
                  <a:pt x="1472" y="254"/>
                </a:lnTo>
                <a:lnTo>
                  <a:pt x="1466" y="254"/>
                </a:lnTo>
                <a:lnTo>
                  <a:pt x="1466" y="248"/>
                </a:lnTo>
                <a:lnTo>
                  <a:pt x="1466" y="248"/>
                </a:lnTo>
                <a:lnTo>
                  <a:pt x="1462" y="248"/>
                </a:lnTo>
                <a:lnTo>
                  <a:pt x="1456" y="248"/>
                </a:lnTo>
                <a:lnTo>
                  <a:pt x="1456" y="248"/>
                </a:lnTo>
                <a:lnTo>
                  <a:pt x="1456" y="248"/>
                </a:lnTo>
                <a:lnTo>
                  <a:pt x="1456" y="248"/>
                </a:lnTo>
                <a:lnTo>
                  <a:pt x="1462" y="248"/>
                </a:lnTo>
                <a:lnTo>
                  <a:pt x="1466" y="248"/>
                </a:lnTo>
                <a:lnTo>
                  <a:pt x="1466" y="248"/>
                </a:lnTo>
                <a:lnTo>
                  <a:pt x="1466" y="242"/>
                </a:lnTo>
                <a:lnTo>
                  <a:pt x="1466" y="242"/>
                </a:lnTo>
                <a:lnTo>
                  <a:pt x="1466" y="242"/>
                </a:lnTo>
                <a:lnTo>
                  <a:pt x="1466" y="242"/>
                </a:lnTo>
                <a:lnTo>
                  <a:pt x="1466" y="242"/>
                </a:lnTo>
                <a:close/>
                <a:moveTo>
                  <a:pt x="1516" y="248"/>
                </a:moveTo>
                <a:lnTo>
                  <a:pt x="1516" y="242"/>
                </a:lnTo>
                <a:lnTo>
                  <a:pt x="1510" y="238"/>
                </a:lnTo>
                <a:lnTo>
                  <a:pt x="1516" y="238"/>
                </a:lnTo>
                <a:lnTo>
                  <a:pt x="1516" y="238"/>
                </a:lnTo>
                <a:lnTo>
                  <a:pt x="1516" y="234"/>
                </a:lnTo>
                <a:lnTo>
                  <a:pt x="1516" y="234"/>
                </a:lnTo>
                <a:lnTo>
                  <a:pt x="1516" y="234"/>
                </a:lnTo>
                <a:lnTo>
                  <a:pt x="1520" y="234"/>
                </a:lnTo>
                <a:lnTo>
                  <a:pt x="1526" y="238"/>
                </a:lnTo>
                <a:lnTo>
                  <a:pt x="1530" y="238"/>
                </a:lnTo>
                <a:lnTo>
                  <a:pt x="1530" y="238"/>
                </a:lnTo>
                <a:lnTo>
                  <a:pt x="1530" y="238"/>
                </a:lnTo>
                <a:lnTo>
                  <a:pt x="1536" y="238"/>
                </a:lnTo>
                <a:lnTo>
                  <a:pt x="1542" y="238"/>
                </a:lnTo>
                <a:lnTo>
                  <a:pt x="1542" y="238"/>
                </a:lnTo>
                <a:lnTo>
                  <a:pt x="1542" y="242"/>
                </a:lnTo>
                <a:lnTo>
                  <a:pt x="1542" y="248"/>
                </a:lnTo>
                <a:lnTo>
                  <a:pt x="1542" y="242"/>
                </a:lnTo>
                <a:lnTo>
                  <a:pt x="1548" y="242"/>
                </a:lnTo>
                <a:lnTo>
                  <a:pt x="1548" y="248"/>
                </a:lnTo>
                <a:lnTo>
                  <a:pt x="1542" y="248"/>
                </a:lnTo>
                <a:lnTo>
                  <a:pt x="1542" y="248"/>
                </a:lnTo>
                <a:lnTo>
                  <a:pt x="1536" y="248"/>
                </a:lnTo>
                <a:lnTo>
                  <a:pt x="1530" y="248"/>
                </a:lnTo>
                <a:lnTo>
                  <a:pt x="1530" y="254"/>
                </a:lnTo>
                <a:lnTo>
                  <a:pt x="1530" y="254"/>
                </a:lnTo>
                <a:lnTo>
                  <a:pt x="1526" y="254"/>
                </a:lnTo>
                <a:lnTo>
                  <a:pt x="1520" y="254"/>
                </a:lnTo>
                <a:lnTo>
                  <a:pt x="1516" y="260"/>
                </a:lnTo>
                <a:lnTo>
                  <a:pt x="1516" y="260"/>
                </a:lnTo>
                <a:lnTo>
                  <a:pt x="1510" y="260"/>
                </a:lnTo>
                <a:lnTo>
                  <a:pt x="1510" y="260"/>
                </a:lnTo>
                <a:lnTo>
                  <a:pt x="1504" y="260"/>
                </a:lnTo>
                <a:lnTo>
                  <a:pt x="1504" y="254"/>
                </a:lnTo>
                <a:lnTo>
                  <a:pt x="1510" y="254"/>
                </a:lnTo>
                <a:lnTo>
                  <a:pt x="1510" y="248"/>
                </a:lnTo>
                <a:lnTo>
                  <a:pt x="1504" y="248"/>
                </a:lnTo>
                <a:lnTo>
                  <a:pt x="1510" y="248"/>
                </a:lnTo>
                <a:lnTo>
                  <a:pt x="1510" y="248"/>
                </a:lnTo>
                <a:lnTo>
                  <a:pt x="1516" y="248"/>
                </a:lnTo>
                <a:lnTo>
                  <a:pt x="1516" y="248"/>
                </a:lnTo>
                <a:lnTo>
                  <a:pt x="1516" y="248"/>
                </a:lnTo>
                <a:lnTo>
                  <a:pt x="1516" y="248"/>
                </a:lnTo>
                <a:close/>
                <a:moveTo>
                  <a:pt x="1520" y="260"/>
                </a:moveTo>
                <a:lnTo>
                  <a:pt x="1520" y="254"/>
                </a:lnTo>
                <a:lnTo>
                  <a:pt x="1526" y="254"/>
                </a:lnTo>
                <a:lnTo>
                  <a:pt x="1530" y="254"/>
                </a:lnTo>
                <a:lnTo>
                  <a:pt x="1530" y="254"/>
                </a:lnTo>
                <a:lnTo>
                  <a:pt x="1536" y="254"/>
                </a:lnTo>
                <a:lnTo>
                  <a:pt x="1542" y="254"/>
                </a:lnTo>
                <a:lnTo>
                  <a:pt x="1542" y="254"/>
                </a:lnTo>
                <a:lnTo>
                  <a:pt x="1548" y="254"/>
                </a:lnTo>
                <a:lnTo>
                  <a:pt x="1554" y="254"/>
                </a:lnTo>
                <a:lnTo>
                  <a:pt x="1548" y="260"/>
                </a:lnTo>
                <a:lnTo>
                  <a:pt x="1542" y="254"/>
                </a:lnTo>
                <a:lnTo>
                  <a:pt x="1542" y="254"/>
                </a:lnTo>
                <a:lnTo>
                  <a:pt x="1536" y="254"/>
                </a:lnTo>
                <a:lnTo>
                  <a:pt x="1530" y="260"/>
                </a:lnTo>
                <a:lnTo>
                  <a:pt x="1530" y="254"/>
                </a:lnTo>
                <a:lnTo>
                  <a:pt x="1526" y="260"/>
                </a:lnTo>
                <a:lnTo>
                  <a:pt x="1520" y="260"/>
                </a:lnTo>
                <a:lnTo>
                  <a:pt x="1520" y="260"/>
                </a:lnTo>
                <a:lnTo>
                  <a:pt x="1520" y="260"/>
                </a:lnTo>
                <a:lnTo>
                  <a:pt x="1520" y="260"/>
                </a:lnTo>
                <a:close/>
                <a:moveTo>
                  <a:pt x="1516" y="260"/>
                </a:moveTo>
                <a:lnTo>
                  <a:pt x="1516" y="260"/>
                </a:lnTo>
                <a:lnTo>
                  <a:pt x="1516" y="260"/>
                </a:lnTo>
                <a:lnTo>
                  <a:pt x="1520" y="260"/>
                </a:lnTo>
                <a:lnTo>
                  <a:pt x="1526" y="260"/>
                </a:lnTo>
                <a:lnTo>
                  <a:pt x="1530" y="260"/>
                </a:lnTo>
                <a:lnTo>
                  <a:pt x="1530" y="260"/>
                </a:lnTo>
                <a:lnTo>
                  <a:pt x="1542" y="260"/>
                </a:lnTo>
                <a:lnTo>
                  <a:pt x="1542" y="260"/>
                </a:lnTo>
                <a:lnTo>
                  <a:pt x="1548" y="260"/>
                </a:lnTo>
                <a:lnTo>
                  <a:pt x="1554" y="260"/>
                </a:lnTo>
                <a:lnTo>
                  <a:pt x="1554" y="266"/>
                </a:lnTo>
                <a:lnTo>
                  <a:pt x="1554" y="266"/>
                </a:lnTo>
                <a:lnTo>
                  <a:pt x="1554" y="270"/>
                </a:lnTo>
                <a:lnTo>
                  <a:pt x="1554" y="270"/>
                </a:lnTo>
                <a:lnTo>
                  <a:pt x="1548" y="270"/>
                </a:lnTo>
                <a:lnTo>
                  <a:pt x="1554" y="270"/>
                </a:lnTo>
                <a:lnTo>
                  <a:pt x="1548" y="276"/>
                </a:lnTo>
                <a:lnTo>
                  <a:pt x="1542" y="276"/>
                </a:lnTo>
                <a:lnTo>
                  <a:pt x="1542" y="276"/>
                </a:lnTo>
                <a:lnTo>
                  <a:pt x="1542" y="270"/>
                </a:lnTo>
                <a:lnTo>
                  <a:pt x="1536" y="270"/>
                </a:lnTo>
                <a:lnTo>
                  <a:pt x="1536" y="266"/>
                </a:lnTo>
                <a:lnTo>
                  <a:pt x="1530" y="266"/>
                </a:lnTo>
                <a:lnTo>
                  <a:pt x="1530" y="266"/>
                </a:lnTo>
                <a:lnTo>
                  <a:pt x="1530" y="260"/>
                </a:lnTo>
                <a:lnTo>
                  <a:pt x="1526" y="260"/>
                </a:lnTo>
                <a:lnTo>
                  <a:pt x="1520" y="260"/>
                </a:lnTo>
                <a:lnTo>
                  <a:pt x="1516" y="260"/>
                </a:lnTo>
                <a:lnTo>
                  <a:pt x="1516" y="260"/>
                </a:lnTo>
                <a:lnTo>
                  <a:pt x="1516" y="260"/>
                </a:lnTo>
                <a:lnTo>
                  <a:pt x="1516" y="260"/>
                </a:lnTo>
                <a:lnTo>
                  <a:pt x="1516" y="260"/>
                </a:lnTo>
                <a:close/>
                <a:moveTo>
                  <a:pt x="1998" y="302"/>
                </a:moveTo>
                <a:lnTo>
                  <a:pt x="1992" y="302"/>
                </a:lnTo>
                <a:lnTo>
                  <a:pt x="1998" y="302"/>
                </a:lnTo>
                <a:lnTo>
                  <a:pt x="1998" y="302"/>
                </a:lnTo>
                <a:lnTo>
                  <a:pt x="1998" y="302"/>
                </a:lnTo>
                <a:lnTo>
                  <a:pt x="1998" y="302"/>
                </a:lnTo>
                <a:close/>
                <a:moveTo>
                  <a:pt x="562" y="348"/>
                </a:moveTo>
                <a:lnTo>
                  <a:pt x="556" y="348"/>
                </a:lnTo>
                <a:lnTo>
                  <a:pt x="550" y="348"/>
                </a:lnTo>
                <a:lnTo>
                  <a:pt x="550" y="342"/>
                </a:lnTo>
                <a:lnTo>
                  <a:pt x="550" y="348"/>
                </a:lnTo>
                <a:lnTo>
                  <a:pt x="556" y="348"/>
                </a:lnTo>
                <a:lnTo>
                  <a:pt x="562" y="348"/>
                </a:lnTo>
                <a:lnTo>
                  <a:pt x="562" y="348"/>
                </a:lnTo>
                <a:lnTo>
                  <a:pt x="562" y="348"/>
                </a:lnTo>
                <a:lnTo>
                  <a:pt x="562" y="348"/>
                </a:lnTo>
                <a:lnTo>
                  <a:pt x="562" y="348"/>
                </a:lnTo>
                <a:close/>
                <a:moveTo>
                  <a:pt x="14" y="672"/>
                </a:moveTo>
                <a:lnTo>
                  <a:pt x="20" y="672"/>
                </a:lnTo>
                <a:lnTo>
                  <a:pt x="14" y="672"/>
                </a:lnTo>
                <a:lnTo>
                  <a:pt x="14" y="676"/>
                </a:lnTo>
                <a:lnTo>
                  <a:pt x="14" y="676"/>
                </a:lnTo>
                <a:lnTo>
                  <a:pt x="14" y="682"/>
                </a:lnTo>
                <a:lnTo>
                  <a:pt x="14" y="682"/>
                </a:lnTo>
                <a:lnTo>
                  <a:pt x="20" y="682"/>
                </a:lnTo>
                <a:lnTo>
                  <a:pt x="26" y="682"/>
                </a:lnTo>
                <a:lnTo>
                  <a:pt x="26" y="676"/>
                </a:lnTo>
                <a:lnTo>
                  <a:pt x="20" y="672"/>
                </a:lnTo>
                <a:lnTo>
                  <a:pt x="26" y="672"/>
                </a:lnTo>
                <a:lnTo>
                  <a:pt x="26" y="672"/>
                </a:lnTo>
                <a:lnTo>
                  <a:pt x="36" y="676"/>
                </a:lnTo>
                <a:lnTo>
                  <a:pt x="36" y="676"/>
                </a:lnTo>
                <a:lnTo>
                  <a:pt x="42" y="676"/>
                </a:lnTo>
                <a:lnTo>
                  <a:pt x="48" y="682"/>
                </a:lnTo>
                <a:lnTo>
                  <a:pt x="48" y="682"/>
                </a:lnTo>
                <a:lnTo>
                  <a:pt x="42" y="682"/>
                </a:lnTo>
                <a:lnTo>
                  <a:pt x="42" y="688"/>
                </a:lnTo>
                <a:lnTo>
                  <a:pt x="42" y="692"/>
                </a:lnTo>
                <a:lnTo>
                  <a:pt x="36" y="692"/>
                </a:lnTo>
                <a:lnTo>
                  <a:pt x="36" y="692"/>
                </a:lnTo>
                <a:lnTo>
                  <a:pt x="30" y="692"/>
                </a:lnTo>
                <a:lnTo>
                  <a:pt x="26" y="692"/>
                </a:lnTo>
                <a:lnTo>
                  <a:pt x="26" y="692"/>
                </a:lnTo>
                <a:lnTo>
                  <a:pt x="20" y="692"/>
                </a:lnTo>
                <a:lnTo>
                  <a:pt x="14" y="692"/>
                </a:lnTo>
                <a:lnTo>
                  <a:pt x="14" y="692"/>
                </a:lnTo>
                <a:lnTo>
                  <a:pt x="10" y="692"/>
                </a:lnTo>
                <a:lnTo>
                  <a:pt x="4" y="692"/>
                </a:lnTo>
                <a:lnTo>
                  <a:pt x="0" y="692"/>
                </a:lnTo>
                <a:lnTo>
                  <a:pt x="0" y="688"/>
                </a:lnTo>
                <a:lnTo>
                  <a:pt x="4" y="688"/>
                </a:lnTo>
                <a:lnTo>
                  <a:pt x="10" y="688"/>
                </a:lnTo>
                <a:lnTo>
                  <a:pt x="10" y="682"/>
                </a:lnTo>
                <a:lnTo>
                  <a:pt x="4" y="682"/>
                </a:lnTo>
                <a:lnTo>
                  <a:pt x="0" y="682"/>
                </a:lnTo>
                <a:lnTo>
                  <a:pt x="4" y="682"/>
                </a:lnTo>
                <a:lnTo>
                  <a:pt x="4" y="682"/>
                </a:lnTo>
                <a:lnTo>
                  <a:pt x="4" y="676"/>
                </a:lnTo>
                <a:lnTo>
                  <a:pt x="4" y="682"/>
                </a:lnTo>
                <a:lnTo>
                  <a:pt x="10" y="682"/>
                </a:lnTo>
                <a:lnTo>
                  <a:pt x="14" y="682"/>
                </a:lnTo>
                <a:lnTo>
                  <a:pt x="14" y="676"/>
                </a:lnTo>
                <a:lnTo>
                  <a:pt x="14" y="676"/>
                </a:lnTo>
                <a:lnTo>
                  <a:pt x="14" y="672"/>
                </a:lnTo>
                <a:lnTo>
                  <a:pt x="14" y="672"/>
                </a:lnTo>
                <a:lnTo>
                  <a:pt x="14" y="672"/>
                </a:lnTo>
                <a:lnTo>
                  <a:pt x="14" y="672"/>
                </a:lnTo>
                <a:close/>
                <a:moveTo>
                  <a:pt x="0" y="688"/>
                </a:moveTo>
                <a:lnTo>
                  <a:pt x="0" y="688"/>
                </a:lnTo>
                <a:lnTo>
                  <a:pt x="0" y="688"/>
                </a:lnTo>
                <a:lnTo>
                  <a:pt x="0" y="688"/>
                </a:lnTo>
                <a:lnTo>
                  <a:pt x="0" y="688"/>
                </a:lnTo>
                <a:lnTo>
                  <a:pt x="0" y="688"/>
                </a:lnTo>
                <a:close/>
                <a:moveTo>
                  <a:pt x="600" y="6"/>
                </a:moveTo>
                <a:lnTo>
                  <a:pt x="604" y="6"/>
                </a:lnTo>
                <a:lnTo>
                  <a:pt x="610" y="0"/>
                </a:lnTo>
                <a:lnTo>
                  <a:pt x="610" y="6"/>
                </a:lnTo>
                <a:lnTo>
                  <a:pt x="610" y="6"/>
                </a:lnTo>
                <a:lnTo>
                  <a:pt x="610" y="0"/>
                </a:lnTo>
                <a:lnTo>
                  <a:pt x="616" y="0"/>
                </a:lnTo>
                <a:lnTo>
                  <a:pt x="622" y="0"/>
                </a:lnTo>
                <a:lnTo>
                  <a:pt x="622" y="6"/>
                </a:lnTo>
                <a:lnTo>
                  <a:pt x="622" y="6"/>
                </a:lnTo>
                <a:lnTo>
                  <a:pt x="622" y="12"/>
                </a:lnTo>
                <a:lnTo>
                  <a:pt x="616" y="6"/>
                </a:lnTo>
                <a:lnTo>
                  <a:pt x="610" y="6"/>
                </a:lnTo>
                <a:lnTo>
                  <a:pt x="610" y="6"/>
                </a:lnTo>
                <a:lnTo>
                  <a:pt x="604" y="6"/>
                </a:lnTo>
                <a:lnTo>
                  <a:pt x="600" y="6"/>
                </a:lnTo>
                <a:lnTo>
                  <a:pt x="600" y="6"/>
                </a:lnTo>
                <a:lnTo>
                  <a:pt x="600" y="6"/>
                </a:lnTo>
                <a:lnTo>
                  <a:pt x="600" y="6"/>
                </a:lnTo>
                <a:close/>
                <a:moveTo>
                  <a:pt x="546" y="6"/>
                </a:moveTo>
                <a:lnTo>
                  <a:pt x="550" y="6"/>
                </a:lnTo>
                <a:lnTo>
                  <a:pt x="550" y="6"/>
                </a:lnTo>
                <a:lnTo>
                  <a:pt x="550" y="12"/>
                </a:lnTo>
                <a:lnTo>
                  <a:pt x="550" y="12"/>
                </a:lnTo>
                <a:lnTo>
                  <a:pt x="546" y="12"/>
                </a:lnTo>
                <a:lnTo>
                  <a:pt x="546" y="6"/>
                </a:lnTo>
                <a:lnTo>
                  <a:pt x="546" y="6"/>
                </a:lnTo>
                <a:lnTo>
                  <a:pt x="546" y="6"/>
                </a:lnTo>
                <a:lnTo>
                  <a:pt x="546" y="6"/>
                </a:lnTo>
                <a:close/>
                <a:moveTo>
                  <a:pt x="596" y="6"/>
                </a:moveTo>
                <a:lnTo>
                  <a:pt x="600" y="6"/>
                </a:lnTo>
                <a:lnTo>
                  <a:pt x="600" y="12"/>
                </a:lnTo>
                <a:lnTo>
                  <a:pt x="600" y="12"/>
                </a:lnTo>
                <a:lnTo>
                  <a:pt x="596" y="6"/>
                </a:lnTo>
                <a:lnTo>
                  <a:pt x="596" y="6"/>
                </a:lnTo>
                <a:lnTo>
                  <a:pt x="596" y="6"/>
                </a:lnTo>
                <a:lnTo>
                  <a:pt x="596" y="6"/>
                </a:lnTo>
                <a:close/>
                <a:moveTo>
                  <a:pt x="550" y="12"/>
                </a:moveTo>
                <a:lnTo>
                  <a:pt x="550" y="12"/>
                </a:lnTo>
                <a:lnTo>
                  <a:pt x="556" y="12"/>
                </a:lnTo>
                <a:lnTo>
                  <a:pt x="562" y="12"/>
                </a:lnTo>
                <a:lnTo>
                  <a:pt x="562" y="16"/>
                </a:lnTo>
                <a:lnTo>
                  <a:pt x="556" y="16"/>
                </a:lnTo>
                <a:lnTo>
                  <a:pt x="550" y="16"/>
                </a:lnTo>
                <a:lnTo>
                  <a:pt x="550" y="16"/>
                </a:lnTo>
                <a:lnTo>
                  <a:pt x="550" y="12"/>
                </a:lnTo>
                <a:lnTo>
                  <a:pt x="550" y="12"/>
                </a:lnTo>
                <a:lnTo>
                  <a:pt x="550" y="12"/>
                </a:lnTo>
                <a:lnTo>
                  <a:pt x="550" y="12"/>
                </a:lnTo>
                <a:close/>
                <a:moveTo>
                  <a:pt x="492" y="16"/>
                </a:moveTo>
                <a:lnTo>
                  <a:pt x="486" y="12"/>
                </a:lnTo>
                <a:lnTo>
                  <a:pt x="492" y="12"/>
                </a:lnTo>
                <a:lnTo>
                  <a:pt x="492" y="16"/>
                </a:lnTo>
                <a:lnTo>
                  <a:pt x="492" y="16"/>
                </a:lnTo>
                <a:lnTo>
                  <a:pt x="492" y="16"/>
                </a:lnTo>
                <a:lnTo>
                  <a:pt x="492" y="16"/>
                </a:lnTo>
                <a:lnTo>
                  <a:pt x="492" y="16"/>
                </a:lnTo>
                <a:lnTo>
                  <a:pt x="492" y="16"/>
                </a:lnTo>
                <a:close/>
                <a:moveTo>
                  <a:pt x="568" y="16"/>
                </a:moveTo>
                <a:lnTo>
                  <a:pt x="572" y="16"/>
                </a:lnTo>
                <a:lnTo>
                  <a:pt x="572" y="16"/>
                </a:lnTo>
                <a:lnTo>
                  <a:pt x="578" y="16"/>
                </a:lnTo>
                <a:lnTo>
                  <a:pt x="572" y="16"/>
                </a:lnTo>
                <a:lnTo>
                  <a:pt x="572" y="16"/>
                </a:lnTo>
                <a:lnTo>
                  <a:pt x="568" y="16"/>
                </a:lnTo>
                <a:lnTo>
                  <a:pt x="568" y="16"/>
                </a:lnTo>
                <a:lnTo>
                  <a:pt x="568" y="16"/>
                </a:lnTo>
                <a:lnTo>
                  <a:pt x="568" y="16"/>
                </a:lnTo>
                <a:close/>
                <a:moveTo>
                  <a:pt x="530" y="20"/>
                </a:moveTo>
                <a:lnTo>
                  <a:pt x="536" y="16"/>
                </a:lnTo>
                <a:lnTo>
                  <a:pt x="536" y="16"/>
                </a:lnTo>
                <a:lnTo>
                  <a:pt x="540" y="16"/>
                </a:lnTo>
                <a:lnTo>
                  <a:pt x="540" y="20"/>
                </a:lnTo>
                <a:lnTo>
                  <a:pt x="536" y="20"/>
                </a:lnTo>
                <a:lnTo>
                  <a:pt x="536" y="20"/>
                </a:lnTo>
                <a:lnTo>
                  <a:pt x="530" y="20"/>
                </a:lnTo>
                <a:lnTo>
                  <a:pt x="524" y="20"/>
                </a:lnTo>
                <a:lnTo>
                  <a:pt x="530" y="20"/>
                </a:lnTo>
                <a:lnTo>
                  <a:pt x="530" y="20"/>
                </a:lnTo>
                <a:lnTo>
                  <a:pt x="530" y="20"/>
                </a:lnTo>
                <a:lnTo>
                  <a:pt x="530" y="20"/>
                </a:lnTo>
                <a:close/>
                <a:moveTo>
                  <a:pt x="1006" y="26"/>
                </a:moveTo>
                <a:lnTo>
                  <a:pt x="1006" y="26"/>
                </a:lnTo>
                <a:lnTo>
                  <a:pt x="994" y="20"/>
                </a:lnTo>
                <a:lnTo>
                  <a:pt x="990" y="20"/>
                </a:lnTo>
                <a:lnTo>
                  <a:pt x="994" y="20"/>
                </a:lnTo>
                <a:lnTo>
                  <a:pt x="994" y="16"/>
                </a:lnTo>
                <a:lnTo>
                  <a:pt x="1000" y="16"/>
                </a:lnTo>
                <a:lnTo>
                  <a:pt x="1006" y="16"/>
                </a:lnTo>
                <a:lnTo>
                  <a:pt x="1006" y="16"/>
                </a:lnTo>
                <a:lnTo>
                  <a:pt x="1012" y="16"/>
                </a:lnTo>
                <a:lnTo>
                  <a:pt x="1018" y="20"/>
                </a:lnTo>
                <a:lnTo>
                  <a:pt x="1018" y="20"/>
                </a:lnTo>
                <a:lnTo>
                  <a:pt x="1018" y="20"/>
                </a:lnTo>
                <a:lnTo>
                  <a:pt x="1018" y="26"/>
                </a:lnTo>
                <a:lnTo>
                  <a:pt x="1012" y="26"/>
                </a:lnTo>
                <a:lnTo>
                  <a:pt x="1006" y="26"/>
                </a:lnTo>
                <a:lnTo>
                  <a:pt x="1006" y="26"/>
                </a:lnTo>
                <a:lnTo>
                  <a:pt x="1006" y="26"/>
                </a:lnTo>
                <a:lnTo>
                  <a:pt x="1006" y="26"/>
                </a:lnTo>
                <a:close/>
                <a:moveTo>
                  <a:pt x="556" y="16"/>
                </a:moveTo>
                <a:lnTo>
                  <a:pt x="562" y="16"/>
                </a:lnTo>
                <a:lnTo>
                  <a:pt x="562" y="16"/>
                </a:lnTo>
                <a:lnTo>
                  <a:pt x="562" y="20"/>
                </a:lnTo>
                <a:lnTo>
                  <a:pt x="568" y="20"/>
                </a:lnTo>
                <a:lnTo>
                  <a:pt x="562" y="20"/>
                </a:lnTo>
                <a:lnTo>
                  <a:pt x="556" y="20"/>
                </a:lnTo>
                <a:lnTo>
                  <a:pt x="556" y="16"/>
                </a:lnTo>
                <a:lnTo>
                  <a:pt x="556" y="16"/>
                </a:lnTo>
                <a:lnTo>
                  <a:pt x="556" y="16"/>
                </a:lnTo>
                <a:lnTo>
                  <a:pt x="556" y="16"/>
                </a:lnTo>
                <a:close/>
                <a:moveTo>
                  <a:pt x="432" y="26"/>
                </a:moveTo>
                <a:lnTo>
                  <a:pt x="438" y="26"/>
                </a:lnTo>
                <a:lnTo>
                  <a:pt x="432" y="26"/>
                </a:lnTo>
                <a:lnTo>
                  <a:pt x="432" y="20"/>
                </a:lnTo>
                <a:lnTo>
                  <a:pt x="438" y="20"/>
                </a:lnTo>
                <a:lnTo>
                  <a:pt x="442" y="20"/>
                </a:lnTo>
                <a:lnTo>
                  <a:pt x="442" y="26"/>
                </a:lnTo>
                <a:lnTo>
                  <a:pt x="438" y="26"/>
                </a:lnTo>
                <a:lnTo>
                  <a:pt x="432" y="26"/>
                </a:lnTo>
                <a:lnTo>
                  <a:pt x="432" y="26"/>
                </a:lnTo>
                <a:lnTo>
                  <a:pt x="432" y="26"/>
                </a:lnTo>
                <a:lnTo>
                  <a:pt x="432" y="26"/>
                </a:lnTo>
                <a:close/>
                <a:moveTo>
                  <a:pt x="546" y="20"/>
                </a:moveTo>
                <a:lnTo>
                  <a:pt x="550" y="20"/>
                </a:lnTo>
                <a:lnTo>
                  <a:pt x="550" y="20"/>
                </a:lnTo>
                <a:lnTo>
                  <a:pt x="550" y="20"/>
                </a:lnTo>
                <a:lnTo>
                  <a:pt x="546" y="20"/>
                </a:lnTo>
                <a:lnTo>
                  <a:pt x="546" y="20"/>
                </a:lnTo>
                <a:lnTo>
                  <a:pt x="546" y="20"/>
                </a:lnTo>
                <a:lnTo>
                  <a:pt x="546" y="20"/>
                </a:lnTo>
                <a:close/>
                <a:moveTo>
                  <a:pt x="572" y="26"/>
                </a:moveTo>
                <a:lnTo>
                  <a:pt x="572" y="26"/>
                </a:lnTo>
                <a:lnTo>
                  <a:pt x="578" y="20"/>
                </a:lnTo>
                <a:lnTo>
                  <a:pt x="584" y="20"/>
                </a:lnTo>
                <a:lnTo>
                  <a:pt x="584" y="20"/>
                </a:lnTo>
                <a:lnTo>
                  <a:pt x="590" y="20"/>
                </a:lnTo>
                <a:lnTo>
                  <a:pt x="596" y="20"/>
                </a:lnTo>
                <a:lnTo>
                  <a:pt x="596" y="26"/>
                </a:lnTo>
                <a:lnTo>
                  <a:pt x="590" y="26"/>
                </a:lnTo>
                <a:lnTo>
                  <a:pt x="584" y="26"/>
                </a:lnTo>
                <a:lnTo>
                  <a:pt x="584" y="26"/>
                </a:lnTo>
                <a:lnTo>
                  <a:pt x="578" y="26"/>
                </a:lnTo>
                <a:lnTo>
                  <a:pt x="572" y="26"/>
                </a:lnTo>
                <a:lnTo>
                  <a:pt x="572" y="26"/>
                </a:lnTo>
                <a:lnTo>
                  <a:pt x="572" y="26"/>
                </a:lnTo>
                <a:lnTo>
                  <a:pt x="572" y="26"/>
                </a:lnTo>
                <a:lnTo>
                  <a:pt x="572" y="26"/>
                </a:lnTo>
                <a:close/>
                <a:moveTo>
                  <a:pt x="512" y="20"/>
                </a:moveTo>
                <a:lnTo>
                  <a:pt x="518" y="20"/>
                </a:lnTo>
                <a:lnTo>
                  <a:pt x="524" y="20"/>
                </a:lnTo>
                <a:lnTo>
                  <a:pt x="524" y="20"/>
                </a:lnTo>
                <a:lnTo>
                  <a:pt x="524" y="26"/>
                </a:lnTo>
                <a:lnTo>
                  <a:pt x="530" y="26"/>
                </a:lnTo>
                <a:lnTo>
                  <a:pt x="536" y="26"/>
                </a:lnTo>
                <a:lnTo>
                  <a:pt x="536" y="26"/>
                </a:lnTo>
                <a:lnTo>
                  <a:pt x="540" y="26"/>
                </a:lnTo>
                <a:lnTo>
                  <a:pt x="546" y="26"/>
                </a:lnTo>
                <a:lnTo>
                  <a:pt x="540" y="26"/>
                </a:lnTo>
                <a:lnTo>
                  <a:pt x="536" y="26"/>
                </a:lnTo>
                <a:lnTo>
                  <a:pt x="536" y="26"/>
                </a:lnTo>
                <a:lnTo>
                  <a:pt x="530" y="26"/>
                </a:lnTo>
                <a:lnTo>
                  <a:pt x="524" y="26"/>
                </a:lnTo>
                <a:lnTo>
                  <a:pt x="524" y="26"/>
                </a:lnTo>
                <a:lnTo>
                  <a:pt x="518" y="26"/>
                </a:lnTo>
                <a:lnTo>
                  <a:pt x="512" y="26"/>
                </a:lnTo>
                <a:lnTo>
                  <a:pt x="512" y="20"/>
                </a:lnTo>
                <a:lnTo>
                  <a:pt x="512" y="20"/>
                </a:lnTo>
                <a:lnTo>
                  <a:pt x="512" y="20"/>
                </a:lnTo>
                <a:lnTo>
                  <a:pt x="512" y="20"/>
                </a:lnTo>
                <a:close/>
                <a:moveTo>
                  <a:pt x="540" y="26"/>
                </a:moveTo>
                <a:lnTo>
                  <a:pt x="536" y="26"/>
                </a:lnTo>
                <a:lnTo>
                  <a:pt x="540" y="20"/>
                </a:lnTo>
                <a:lnTo>
                  <a:pt x="546" y="20"/>
                </a:lnTo>
                <a:lnTo>
                  <a:pt x="550" y="20"/>
                </a:lnTo>
                <a:lnTo>
                  <a:pt x="550" y="26"/>
                </a:lnTo>
                <a:lnTo>
                  <a:pt x="550" y="26"/>
                </a:lnTo>
                <a:lnTo>
                  <a:pt x="550" y="26"/>
                </a:lnTo>
                <a:lnTo>
                  <a:pt x="546" y="26"/>
                </a:lnTo>
                <a:lnTo>
                  <a:pt x="546" y="26"/>
                </a:lnTo>
                <a:lnTo>
                  <a:pt x="540" y="26"/>
                </a:lnTo>
                <a:lnTo>
                  <a:pt x="540" y="26"/>
                </a:lnTo>
                <a:lnTo>
                  <a:pt x="540" y="26"/>
                </a:lnTo>
                <a:lnTo>
                  <a:pt x="540" y="26"/>
                </a:lnTo>
                <a:close/>
                <a:moveTo>
                  <a:pt x="844" y="26"/>
                </a:moveTo>
                <a:lnTo>
                  <a:pt x="850" y="26"/>
                </a:lnTo>
                <a:lnTo>
                  <a:pt x="850" y="26"/>
                </a:lnTo>
                <a:lnTo>
                  <a:pt x="850" y="26"/>
                </a:lnTo>
                <a:lnTo>
                  <a:pt x="850" y="26"/>
                </a:lnTo>
                <a:lnTo>
                  <a:pt x="854" y="26"/>
                </a:lnTo>
                <a:lnTo>
                  <a:pt x="860" y="26"/>
                </a:lnTo>
                <a:lnTo>
                  <a:pt x="854" y="32"/>
                </a:lnTo>
                <a:lnTo>
                  <a:pt x="850" y="32"/>
                </a:lnTo>
                <a:lnTo>
                  <a:pt x="844" y="32"/>
                </a:lnTo>
                <a:lnTo>
                  <a:pt x="838" y="32"/>
                </a:lnTo>
                <a:lnTo>
                  <a:pt x="838" y="26"/>
                </a:lnTo>
                <a:lnTo>
                  <a:pt x="844" y="26"/>
                </a:lnTo>
                <a:lnTo>
                  <a:pt x="844" y="26"/>
                </a:lnTo>
                <a:lnTo>
                  <a:pt x="844" y="26"/>
                </a:lnTo>
                <a:lnTo>
                  <a:pt x="844" y="26"/>
                </a:lnTo>
                <a:close/>
                <a:moveTo>
                  <a:pt x="540" y="32"/>
                </a:moveTo>
                <a:lnTo>
                  <a:pt x="540" y="26"/>
                </a:lnTo>
                <a:lnTo>
                  <a:pt x="546" y="26"/>
                </a:lnTo>
                <a:lnTo>
                  <a:pt x="550" y="26"/>
                </a:lnTo>
                <a:lnTo>
                  <a:pt x="550" y="26"/>
                </a:lnTo>
                <a:lnTo>
                  <a:pt x="556" y="26"/>
                </a:lnTo>
                <a:lnTo>
                  <a:pt x="556" y="32"/>
                </a:lnTo>
                <a:lnTo>
                  <a:pt x="550" y="32"/>
                </a:lnTo>
                <a:lnTo>
                  <a:pt x="550" y="32"/>
                </a:lnTo>
                <a:lnTo>
                  <a:pt x="546" y="32"/>
                </a:lnTo>
                <a:lnTo>
                  <a:pt x="540" y="32"/>
                </a:lnTo>
                <a:lnTo>
                  <a:pt x="536" y="32"/>
                </a:lnTo>
                <a:lnTo>
                  <a:pt x="540" y="32"/>
                </a:lnTo>
                <a:lnTo>
                  <a:pt x="540" y="32"/>
                </a:lnTo>
                <a:lnTo>
                  <a:pt x="540" y="32"/>
                </a:lnTo>
                <a:lnTo>
                  <a:pt x="540" y="32"/>
                </a:lnTo>
                <a:close/>
                <a:moveTo>
                  <a:pt x="486" y="32"/>
                </a:moveTo>
                <a:lnTo>
                  <a:pt x="486" y="26"/>
                </a:lnTo>
                <a:lnTo>
                  <a:pt x="492" y="26"/>
                </a:lnTo>
                <a:lnTo>
                  <a:pt x="492" y="26"/>
                </a:lnTo>
                <a:lnTo>
                  <a:pt x="496" y="26"/>
                </a:lnTo>
                <a:lnTo>
                  <a:pt x="502" y="26"/>
                </a:lnTo>
                <a:lnTo>
                  <a:pt x="502" y="26"/>
                </a:lnTo>
                <a:lnTo>
                  <a:pt x="508" y="32"/>
                </a:lnTo>
                <a:lnTo>
                  <a:pt x="512" y="32"/>
                </a:lnTo>
                <a:lnTo>
                  <a:pt x="508" y="32"/>
                </a:lnTo>
                <a:lnTo>
                  <a:pt x="502" y="32"/>
                </a:lnTo>
                <a:lnTo>
                  <a:pt x="502" y="32"/>
                </a:lnTo>
                <a:lnTo>
                  <a:pt x="496" y="32"/>
                </a:lnTo>
                <a:lnTo>
                  <a:pt x="492" y="32"/>
                </a:lnTo>
                <a:lnTo>
                  <a:pt x="496" y="32"/>
                </a:lnTo>
                <a:lnTo>
                  <a:pt x="492" y="32"/>
                </a:lnTo>
                <a:lnTo>
                  <a:pt x="492" y="32"/>
                </a:lnTo>
                <a:lnTo>
                  <a:pt x="486" y="32"/>
                </a:lnTo>
                <a:lnTo>
                  <a:pt x="486" y="32"/>
                </a:lnTo>
                <a:lnTo>
                  <a:pt x="486" y="32"/>
                </a:lnTo>
                <a:lnTo>
                  <a:pt x="486" y="32"/>
                </a:lnTo>
                <a:close/>
                <a:moveTo>
                  <a:pt x="508" y="32"/>
                </a:moveTo>
                <a:lnTo>
                  <a:pt x="512" y="32"/>
                </a:lnTo>
                <a:lnTo>
                  <a:pt x="518" y="32"/>
                </a:lnTo>
                <a:lnTo>
                  <a:pt x="524" y="32"/>
                </a:lnTo>
                <a:lnTo>
                  <a:pt x="524" y="38"/>
                </a:lnTo>
                <a:lnTo>
                  <a:pt x="524" y="38"/>
                </a:lnTo>
                <a:lnTo>
                  <a:pt x="518" y="38"/>
                </a:lnTo>
                <a:lnTo>
                  <a:pt x="512" y="38"/>
                </a:lnTo>
                <a:lnTo>
                  <a:pt x="512" y="38"/>
                </a:lnTo>
                <a:lnTo>
                  <a:pt x="508" y="38"/>
                </a:lnTo>
                <a:lnTo>
                  <a:pt x="502" y="38"/>
                </a:lnTo>
                <a:lnTo>
                  <a:pt x="502" y="32"/>
                </a:lnTo>
                <a:lnTo>
                  <a:pt x="508" y="32"/>
                </a:lnTo>
                <a:lnTo>
                  <a:pt x="508" y="32"/>
                </a:lnTo>
                <a:lnTo>
                  <a:pt x="508" y="32"/>
                </a:lnTo>
                <a:lnTo>
                  <a:pt x="508" y="32"/>
                </a:lnTo>
                <a:close/>
                <a:moveTo>
                  <a:pt x="476" y="38"/>
                </a:moveTo>
                <a:lnTo>
                  <a:pt x="476" y="38"/>
                </a:lnTo>
                <a:lnTo>
                  <a:pt x="476" y="38"/>
                </a:lnTo>
                <a:lnTo>
                  <a:pt x="476" y="38"/>
                </a:lnTo>
                <a:lnTo>
                  <a:pt x="476" y="38"/>
                </a:lnTo>
                <a:lnTo>
                  <a:pt x="476" y="38"/>
                </a:lnTo>
                <a:lnTo>
                  <a:pt x="476" y="38"/>
                </a:lnTo>
                <a:lnTo>
                  <a:pt x="476" y="38"/>
                </a:lnTo>
                <a:close/>
                <a:moveTo>
                  <a:pt x="550" y="38"/>
                </a:moveTo>
                <a:lnTo>
                  <a:pt x="550" y="38"/>
                </a:lnTo>
                <a:lnTo>
                  <a:pt x="550" y="38"/>
                </a:lnTo>
                <a:lnTo>
                  <a:pt x="550" y="38"/>
                </a:lnTo>
                <a:lnTo>
                  <a:pt x="550" y="38"/>
                </a:lnTo>
                <a:lnTo>
                  <a:pt x="550" y="38"/>
                </a:lnTo>
                <a:close/>
                <a:moveTo>
                  <a:pt x="530" y="38"/>
                </a:moveTo>
                <a:lnTo>
                  <a:pt x="536" y="38"/>
                </a:lnTo>
                <a:lnTo>
                  <a:pt x="536" y="38"/>
                </a:lnTo>
                <a:lnTo>
                  <a:pt x="540" y="38"/>
                </a:lnTo>
                <a:lnTo>
                  <a:pt x="540" y="38"/>
                </a:lnTo>
                <a:lnTo>
                  <a:pt x="536" y="38"/>
                </a:lnTo>
                <a:lnTo>
                  <a:pt x="536" y="38"/>
                </a:lnTo>
                <a:lnTo>
                  <a:pt x="530" y="38"/>
                </a:lnTo>
                <a:lnTo>
                  <a:pt x="530" y="38"/>
                </a:lnTo>
                <a:lnTo>
                  <a:pt x="530" y="38"/>
                </a:lnTo>
                <a:lnTo>
                  <a:pt x="530" y="38"/>
                </a:lnTo>
                <a:close/>
                <a:moveTo>
                  <a:pt x="482" y="38"/>
                </a:moveTo>
                <a:lnTo>
                  <a:pt x="486" y="38"/>
                </a:lnTo>
                <a:lnTo>
                  <a:pt x="482" y="38"/>
                </a:lnTo>
                <a:lnTo>
                  <a:pt x="482" y="38"/>
                </a:lnTo>
                <a:lnTo>
                  <a:pt x="486" y="38"/>
                </a:lnTo>
                <a:lnTo>
                  <a:pt x="492" y="38"/>
                </a:lnTo>
                <a:lnTo>
                  <a:pt x="492" y="38"/>
                </a:lnTo>
                <a:lnTo>
                  <a:pt x="486" y="38"/>
                </a:lnTo>
                <a:lnTo>
                  <a:pt x="492" y="38"/>
                </a:lnTo>
                <a:lnTo>
                  <a:pt x="492" y="38"/>
                </a:lnTo>
                <a:lnTo>
                  <a:pt x="492" y="42"/>
                </a:lnTo>
                <a:lnTo>
                  <a:pt x="486" y="42"/>
                </a:lnTo>
                <a:lnTo>
                  <a:pt x="486" y="38"/>
                </a:lnTo>
                <a:lnTo>
                  <a:pt x="482" y="38"/>
                </a:lnTo>
                <a:lnTo>
                  <a:pt x="482" y="38"/>
                </a:lnTo>
                <a:lnTo>
                  <a:pt x="482" y="38"/>
                </a:lnTo>
                <a:lnTo>
                  <a:pt x="482" y="38"/>
                </a:lnTo>
                <a:close/>
                <a:moveTo>
                  <a:pt x="492" y="38"/>
                </a:moveTo>
                <a:lnTo>
                  <a:pt x="496" y="38"/>
                </a:lnTo>
                <a:lnTo>
                  <a:pt x="502" y="38"/>
                </a:lnTo>
                <a:lnTo>
                  <a:pt x="496" y="38"/>
                </a:lnTo>
                <a:lnTo>
                  <a:pt x="492" y="38"/>
                </a:lnTo>
                <a:lnTo>
                  <a:pt x="492" y="38"/>
                </a:lnTo>
                <a:lnTo>
                  <a:pt x="492" y="38"/>
                </a:lnTo>
                <a:lnTo>
                  <a:pt x="492" y="38"/>
                </a:lnTo>
                <a:close/>
                <a:moveTo>
                  <a:pt x="492" y="42"/>
                </a:moveTo>
                <a:lnTo>
                  <a:pt x="492" y="38"/>
                </a:lnTo>
                <a:lnTo>
                  <a:pt x="496" y="38"/>
                </a:lnTo>
                <a:lnTo>
                  <a:pt x="496" y="42"/>
                </a:lnTo>
                <a:lnTo>
                  <a:pt x="492" y="42"/>
                </a:lnTo>
                <a:lnTo>
                  <a:pt x="492" y="42"/>
                </a:lnTo>
                <a:lnTo>
                  <a:pt x="492" y="42"/>
                </a:lnTo>
                <a:lnTo>
                  <a:pt x="492" y="42"/>
                </a:lnTo>
                <a:lnTo>
                  <a:pt x="492" y="42"/>
                </a:lnTo>
                <a:lnTo>
                  <a:pt x="492" y="42"/>
                </a:lnTo>
                <a:close/>
                <a:moveTo>
                  <a:pt x="502" y="42"/>
                </a:moveTo>
                <a:lnTo>
                  <a:pt x="502" y="42"/>
                </a:lnTo>
                <a:lnTo>
                  <a:pt x="502" y="42"/>
                </a:lnTo>
                <a:lnTo>
                  <a:pt x="502" y="42"/>
                </a:lnTo>
                <a:lnTo>
                  <a:pt x="502" y="42"/>
                </a:lnTo>
                <a:lnTo>
                  <a:pt x="502" y="42"/>
                </a:lnTo>
                <a:close/>
                <a:moveTo>
                  <a:pt x="512" y="42"/>
                </a:moveTo>
                <a:lnTo>
                  <a:pt x="512" y="42"/>
                </a:lnTo>
                <a:lnTo>
                  <a:pt x="518" y="42"/>
                </a:lnTo>
                <a:lnTo>
                  <a:pt x="512" y="42"/>
                </a:lnTo>
                <a:lnTo>
                  <a:pt x="512" y="42"/>
                </a:lnTo>
                <a:lnTo>
                  <a:pt x="512" y="42"/>
                </a:lnTo>
                <a:lnTo>
                  <a:pt x="512" y="42"/>
                </a:lnTo>
                <a:lnTo>
                  <a:pt x="512" y="42"/>
                </a:lnTo>
                <a:close/>
                <a:moveTo>
                  <a:pt x="464" y="48"/>
                </a:moveTo>
                <a:lnTo>
                  <a:pt x="458" y="48"/>
                </a:lnTo>
                <a:lnTo>
                  <a:pt x="464" y="48"/>
                </a:lnTo>
                <a:lnTo>
                  <a:pt x="464" y="48"/>
                </a:lnTo>
                <a:lnTo>
                  <a:pt x="464" y="42"/>
                </a:lnTo>
                <a:lnTo>
                  <a:pt x="470" y="42"/>
                </a:lnTo>
                <a:lnTo>
                  <a:pt x="476" y="42"/>
                </a:lnTo>
                <a:lnTo>
                  <a:pt x="476" y="42"/>
                </a:lnTo>
                <a:lnTo>
                  <a:pt x="476" y="48"/>
                </a:lnTo>
                <a:lnTo>
                  <a:pt x="482" y="48"/>
                </a:lnTo>
                <a:lnTo>
                  <a:pt x="476" y="48"/>
                </a:lnTo>
                <a:lnTo>
                  <a:pt x="476" y="48"/>
                </a:lnTo>
                <a:lnTo>
                  <a:pt x="476" y="48"/>
                </a:lnTo>
                <a:lnTo>
                  <a:pt x="470" y="48"/>
                </a:lnTo>
                <a:lnTo>
                  <a:pt x="464" y="48"/>
                </a:lnTo>
                <a:lnTo>
                  <a:pt x="464" y="48"/>
                </a:lnTo>
                <a:lnTo>
                  <a:pt x="464" y="48"/>
                </a:lnTo>
                <a:lnTo>
                  <a:pt x="464" y="48"/>
                </a:lnTo>
                <a:lnTo>
                  <a:pt x="464" y="48"/>
                </a:lnTo>
                <a:lnTo>
                  <a:pt x="464" y="48"/>
                </a:lnTo>
                <a:lnTo>
                  <a:pt x="464" y="48"/>
                </a:lnTo>
                <a:close/>
                <a:moveTo>
                  <a:pt x="496" y="48"/>
                </a:moveTo>
                <a:lnTo>
                  <a:pt x="502" y="48"/>
                </a:lnTo>
                <a:lnTo>
                  <a:pt x="502" y="42"/>
                </a:lnTo>
                <a:lnTo>
                  <a:pt x="508" y="48"/>
                </a:lnTo>
                <a:lnTo>
                  <a:pt x="502" y="48"/>
                </a:lnTo>
                <a:lnTo>
                  <a:pt x="502" y="48"/>
                </a:lnTo>
                <a:lnTo>
                  <a:pt x="496" y="48"/>
                </a:lnTo>
                <a:lnTo>
                  <a:pt x="496" y="48"/>
                </a:lnTo>
                <a:lnTo>
                  <a:pt x="496" y="48"/>
                </a:lnTo>
                <a:lnTo>
                  <a:pt x="496" y="48"/>
                </a:lnTo>
                <a:close/>
                <a:moveTo>
                  <a:pt x="492" y="48"/>
                </a:moveTo>
                <a:lnTo>
                  <a:pt x="486" y="48"/>
                </a:lnTo>
                <a:lnTo>
                  <a:pt x="492" y="48"/>
                </a:lnTo>
                <a:lnTo>
                  <a:pt x="492" y="42"/>
                </a:lnTo>
                <a:lnTo>
                  <a:pt x="492" y="48"/>
                </a:lnTo>
                <a:lnTo>
                  <a:pt x="492" y="48"/>
                </a:lnTo>
                <a:lnTo>
                  <a:pt x="492" y="48"/>
                </a:lnTo>
                <a:lnTo>
                  <a:pt x="492" y="48"/>
                </a:lnTo>
                <a:lnTo>
                  <a:pt x="492" y="48"/>
                </a:lnTo>
                <a:lnTo>
                  <a:pt x="492" y="48"/>
                </a:lnTo>
                <a:close/>
                <a:moveTo>
                  <a:pt x="426" y="54"/>
                </a:moveTo>
                <a:lnTo>
                  <a:pt x="426" y="48"/>
                </a:lnTo>
                <a:lnTo>
                  <a:pt x="422" y="48"/>
                </a:lnTo>
                <a:lnTo>
                  <a:pt x="426" y="48"/>
                </a:lnTo>
                <a:lnTo>
                  <a:pt x="432" y="48"/>
                </a:lnTo>
                <a:lnTo>
                  <a:pt x="432" y="48"/>
                </a:lnTo>
                <a:lnTo>
                  <a:pt x="432" y="48"/>
                </a:lnTo>
                <a:lnTo>
                  <a:pt x="432" y="48"/>
                </a:lnTo>
                <a:lnTo>
                  <a:pt x="432" y="54"/>
                </a:lnTo>
                <a:lnTo>
                  <a:pt x="426" y="54"/>
                </a:lnTo>
                <a:lnTo>
                  <a:pt x="426" y="54"/>
                </a:lnTo>
                <a:lnTo>
                  <a:pt x="426" y="54"/>
                </a:lnTo>
                <a:lnTo>
                  <a:pt x="426" y="54"/>
                </a:lnTo>
                <a:close/>
                <a:moveTo>
                  <a:pt x="568" y="48"/>
                </a:moveTo>
                <a:lnTo>
                  <a:pt x="568" y="48"/>
                </a:lnTo>
                <a:lnTo>
                  <a:pt x="572" y="48"/>
                </a:lnTo>
                <a:lnTo>
                  <a:pt x="572" y="48"/>
                </a:lnTo>
                <a:lnTo>
                  <a:pt x="572" y="48"/>
                </a:lnTo>
                <a:lnTo>
                  <a:pt x="572" y="48"/>
                </a:lnTo>
                <a:lnTo>
                  <a:pt x="568" y="48"/>
                </a:lnTo>
                <a:lnTo>
                  <a:pt x="568" y="48"/>
                </a:lnTo>
                <a:lnTo>
                  <a:pt x="568" y="48"/>
                </a:lnTo>
                <a:lnTo>
                  <a:pt x="568" y="48"/>
                </a:lnTo>
                <a:close/>
                <a:moveTo>
                  <a:pt x="550" y="54"/>
                </a:moveTo>
                <a:lnTo>
                  <a:pt x="556" y="54"/>
                </a:lnTo>
                <a:lnTo>
                  <a:pt x="556" y="48"/>
                </a:lnTo>
                <a:lnTo>
                  <a:pt x="562" y="48"/>
                </a:lnTo>
                <a:lnTo>
                  <a:pt x="562" y="48"/>
                </a:lnTo>
                <a:lnTo>
                  <a:pt x="568" y="48"/>
                </a:lnTo>
                <a:lnTo>
                  <a:pt x="568" y="54"/>
                </a:lnTo>
                <a:lnTo>
                  <a:pt x="562" y="54"/>
                </a:lnTo>
                <a:lnTo>
                  <a:pt x="562" y="60"/>
                </a:lnTo>
                <a:lnTo>
                  <a:pt x="562" y="60"/>
                </a:lnTo>
                <a:lnTo>
                  <a:pt x="562" y="54"/>
                </a:lnTo>
                <a:lnTo>
                  <a:pt x="556" y="54"/>
                </a:lnTo>
                <a:lnTo>
                  <a:pt x="550" y="54"/>
                </a:lnTo>
                <a:lnTo>
                  <a:pt x="550" y="54"/>
                </a:lnTo>
                <a:lnTo>
                  <a:pt x="550" y="54"/>
                </a:lnTo>
                <a:lnTo>
                  <a:pt x="550" y="54"/>
                </a:lnTo>
                <a:close/>
                <a:moveTo>
                  <a:pt x="432" y="54"/>
                </a:moveTo>
                <a:lnTo>
                  <a:pt x="432" y="54"/>
                </a:lnTo>
                <a:lnTo>
                  <a:pt x="438" y="54"/>
                </a:lnTo>
                <a:lnTo>
                  <a:pt x="442" y="54"/>
                </a:lnTo>
                <a:lnTo>
                  <a:pt x="442" y="48"/>
                </a:lnTo>
                <a:lnTo>
                  <a:pt x="442" y="48"/>
                </a:lnTo>
                <a:lnTo>
                  <a:pt x="442" y="54"/>
                </a:lnTo>
                <a:lnTo>
                  <a:pt x="448" y="54"/>
                </a:lnTo>
                <a:lnTo>
                  <a:pt x="448" y="60"/>
                </a:lnTo>
                <a:lnTo>
                  <a:pt x="442" y="60"/>
                </a:lnTo>
                <a:lnTo>
                  <a:pt x="442" y="60"/>
                </a:lnTo>
                <a:lnTo>
                  <a:pt x="442" y="54"/>
                </a:lnTo>
                <a:lnTo>
                  <a:pt x="438" y="54"/>
                </a:lnTo>
                <a:lnTo>
                  <a:pt x="438" y="60"/>
                </a:lnTo>
                <a:lnTo>
                  <a:pt x="432" y="54"/>
                </a:lnTo>
                <a:lnTo>
                  <a:pt x="432" y="54"/>
                </a:lnTo>
                <a:lnTo>
                  <a:pt x="432" y="54"/>
                </a:lnTo>
                <a:lnTo>
                  <a:pt x="432" y="54"/>
                </a:lnTo>
                <a:lnTo>
                  <a:pt x="432" y="54"/>
                </a:lnTo>
                <a:close/>
                <a:moveTo>
                  <a:pt x="422" y="54"/>
                </a:moveTo>
                <a:lnTo>
                  <a:pt x="422" y="48"/>
                </a:lnTo>
                <a:lnTo>
                  <a:pt x="426" y="54"/>
                </a:lnTo>
                <a:lnTo>
                  <a:pt x="422" y="54"/>
                </a:lnTo>
                <a:lnTo>
                  <a:pt x="422" y="54"/>
                </a:lnTo>
                <a:lnTo>
                  <a:pt x="422" y="54"/>
                </a:lnTo>
                <a:lnTo>
                  <a:pt x="422" y="54"/>
                </a:lnTo>
                <a:lnTo>
                  <a:pt x="422" y="54"/>
                </a:lnTo>
                <a:close/>
                <a:moveTo>
                  <a:pt x="1054" y="54"/>
                </a:moveTo>
                <a:lnTo>
                  <a:pt x="1054" y="54"/>
                </a:lnTo>
                <a:lnTo>
                  <a:pt x="1054" y="54"/>
                </a:lnTo>
                <a:lnTo>
                  <a:pt x="1050" y="54"/>
                </a:lnTo>
                <a:lnTo>
                  <a:pt x="1054" y="54"/>
                </a:lnTo>
                <a:lnTo>
                  <a:pt x="1054" y="54"/>
                </a:lnTo>
                <a:lnTo>
                  <a:pt x="1054" y="54"/>
                </a:lnTo>
                <a:lnTo>
                  <a:pt x="1054" y="54"/>
                </a:lnTo>
                <a:close/>
                <a:moveTo>
                  <a:pt x="546" y="60"/>
                </a:moveTo>
                <a:lnTo>
                  <a:pt x="550" y="60"/>
                </a:lnTo>
                <a:lnTo>
                  <a:pt x="550" y="54"/>
                </a:lnTo>
                <a:lnTo>
                  <a:pt x="550" y="54"/>
                </a:lnTo>
                <a:lnTo>
                  <a:pt x="550" y="60"/>
                </a:lnTo>
                <a:lnTo>
                  <a:pt x="556" y="60"/>
                </a:lnTo>
                <a:lnTo>
                  <a:pt x="550" y="60"/>
                </a:lnTo>
                <a:lnTo>
                  <a:pt x="550" y="60"/>
                </a:lnTo>
                <a:lnTo>
                  <a:pt x="546" y="60"/>
                </a:lnTo>
                <a:lnTo>
                  <a:pt x="546" y="60"/>
                </a:lnTo>
                <a:lnTo>
                  <a:pt x="546" y="60"/>
                </a:lnTo>
                <a:lnTo>
                  <a:pt x="546" y="60"/>
                </a:lnTo>
                <a:close/>
                <a:moveTo>
                  <a:pt x="1018" y="66"/>
                </a:moveTo>
                <a:lnTo>
                  <a:pt x="1018" y="66"/>
                </a:lnTo>
                <a:lnTo>
                  <a:pt x="1012" y="60"/>
                </a:lnTo>
                <a:lnTo>
                  <a:pt x="1018" y="60"/>
                </a:lnTo>
                <a:lnTo>
                  <a:pt x="1018" y="60"/>
                </a:lnTo>
                <a:lnTo>
                  <a:pt x="1022" y="66"/>
                </a:lnTo>
                <a:lnTo>
                  <a:pt x="1018" y="66"/>
                </a:lnTo>
                <a:lnTo>
                  <a:pt x="1018" y="66"/>
                </a:lnTo>
                <a:lnTo>
                  <a:pt x="1018" y="66"/>
                </a:lnTo>
                <a:lnTo>
                  <a:pt x="1018" y="66"/>
                </a:lnTo>
                <a:close/>
                <a:moveTo>
                  <a:pt x="1078" y="146"/>
                </a:moveTo>
                <a:lnTo>
                  <a:pt x="1078" y="146"/>
                </a:lnTo>
                <a:lnTo>
                  <a:pt x="1078" y="152"/>
                </a:lnTo>
                <a:lnTo>
                  <a:pt x="1072" y="152"/>
                </a:lnTo>
                <a:lnTo>
                  <a:pt x="1072" y="146"/>
                </a:lnTo>
                <a:lnTo>
                  <a:pt x="1078" y="146"/>
                </a:lnTo>
                <a:lnTo>
                  <a:pt x="1078" y="146"/>
                </a:lnTo>
                <a:lnTo>
                  <a:pt x="1078" y="146"/>
                </a:lnTo>
                <a:lnTo>
                  <a:pt x="1078" y="146"/>
                </a:lnTo>
                <a:close/>
                <a:moveTo>
                  <a:pt x="568" y="162"/>
                </a:moveTo>
                <a:lnTo>
                  <a:pt x="572" y="162"/>
                </a:lnTo>
                <a:lnTo>
                  <a:pt x="572" y="162"/>
                </a:lnTo>
                <a:lnTo>
                  <a:pt x="578" y="162"/>
                </a:lnTo>
                <a:lnTo>
                  <a:pt x="572" y="162"/>
                </a:lnTo>
                <a:lnTo>
                  <a:pt x="572" y="168"/>
                </a:lnTo>
                <a:lnTo>
                  <a:pt x="572" y="168"/>
                </a:lnTo>
                <a:lnTo>
                  <a:pt x="568" y="168"/>
                </a:lnTo>
                <a:lnTo>
                  <a:pt x="568" y="162"/>
                </a:lnTo>
                <a:lnTo>
                  <a:pt x="568" y="162"/>
                </a:lnTo>
                <a:lnTo>
                  <a:pt x="568" y="162"/>
                </a:lnTo>
                <a:lnTo>
                  <a:pt x="568" y="162"/>
                </a:lnTo>
                <a:close/>
                <a:moveTo>
                  <a:pt x="550" y="168"/>
                </a:moveTo>
                <a:lnTo>
                  <a:pt x="562" y="168"/>
                </a:lnTo>
                <a:lnTo>
                  <a:pt x="562" y="168"/>
                </a:lnTo>
                <a:lnTo>
                  <a:pt x="562" y="168"/>
                </a:lnTo>
                <a:lnTo>
                  <a:pt x="550" y="168"/>
                </a:lnTo>
                <a:lnTo>
                  <a:pt x="550" y="168"/>
                </a:lnTo>
                <a:lnTo>
                  <a:pt x="550" y="168"/>
                </a:lnTo>
                <a:lnTo>
                  <a:pt x="550" y="168"/>
                </a:lnTo>
                <a:close/>
                <a:moveTo>
                  <a:pt x="1710" y="180"/>
                </a:moveTo>
                <a:lnTo>
                  <a:pt x="1710" y="180"/>
                </a:lnTo>
                <a:lnTo>
                  <a:pt x="1710" y="174"/>
                </a:lnTo>
                <a:lnTo>
                  <a:pt x="1710" y="180"/>
                </a:lnTo>
                <a:lnTo>
                  <a:pt x="1710" y="180"/>
                </a:lnTo>
                <a:lnTo>
                  <a:pt x="1710" y="180"/>
                </a:lnTo>
                <a:lnTo>
                  <a:pt x="1710" y="180"/>
                </a:lnTo>
                <a:lnTo>
                  <a:pt x="1710" y="180"/>
                </a:lnTo>
                <a:close/>
                <a:moveTo>
                  <a:pt x="946" y="200"/>
                </a:moveTo>
                <a:lnTo>
                  <a:pt x="946" y="200"/>
                </a:lnTo>
                <a:lnTo>
                  <a:pt x="946" y="200"/>
                </a:lnTo>
                <a:lnTo>
                  <a:pt x="946" y="200"/>
                </a:lnTo>
                <a:lnTo>
                  <a:pt x="946" y="200"/>
                </a:lnTo>
                <a:lnTo>
                  <a:pt x="946" y="200"/>
                </a:lnTo>
                <a:lnTo>
                  <a:pt x="946" y="200"/>
                </a:lnTo>
                <a:close/>
                <a:moveTo>
                  <a:pt x="936" y="210"/>
                </a:moveTo>
                <a:lnTo>
                  <a:pt x="930" y="210"/>
                </a:lnTo>
                <a:lnTo>
                  <a:pt x="930" y="206"/>
                </a:lnTo>
                <a:lnTo>
                  <a:pt x="936" y="206"/>
                </a:lnTo>
                <a:lnTo>
                  <a:pt x="940" y="206"/>
                </a:lnTo>
                <a:lnTo>
                  <a:pt x="936" y="206"/>
                </a:lnTo>
                <a:lnTo>
                  <a:pt x="936" y="210"/>
                </a:lnTo>
                <a:lnTo>
                  <a:pt x="936" y="210"/>
                </a:lnTo>
                <a:lnTo>
                  <a:pt x="936" y="210"/>
                </a:lnTo>
                <a:lnTo>
                  <a:pt x="936" y="210"/>
                </a:lnTo>
                <a:close/>
                <a:moveTo>
                  <a:pt x="926" y="210"/>
                </a:moveTo>
                <a:lnTo>
                  <a:pt x="930" y="210"/>
                </a:lnTo>
                <a:lnTo>
                  <a:pt x="930" y="210"/>
                </a:lnTo>
                <a:lnTo>
                  <a:pt x="930" y="210"/>
                </a:lnTo>
                <a:lnTo>
                  <a:pt x="926" y="210"/>
                </a:lnTo>
                <a:lnTo>
                  <a:pt x="926" y="210"/>
                </a:lnTo>
                <a:lnTo>
                  <a:pt x="926" y="210"/>
                </a:lnTo>
                <a:lnTo>
                  <a:pt x="926" y="210"/>
                </a:lnTo>
                <a:close/>
                <a:moveTo>
                  <a:pt x="952" y="234"/>
                </a:moveTo>
                <a:lnTo>
                  <a:pt x="952" y="228"/>
                </a:lnTo>
                <a:lnTo>
                  <a:pt x="958" y="228"/>
                </a:lnTo>
                <a:lnTo>
                  <a:pt x="958" y="228"/>
                </a:lnTo>
                <a:lnTo>
                  <a:pt x="958" y="228"/>
                </a:lnTo>
                <a:lnTo>
                  <a:pt x="952" y="228"/>
                </a:lnTo>
                <a:lnTo>
                  <a:pt x="952" y="234"/>
                </a:lnTo>
                <a:lnTo>
                  <a:pt x="952" y="234"/>
                </a:lnTo>
                <a:lnTo>
                  <a:pt x="952" y="234"/>
                </a:lnTo>
                <a:lnTo>
                  <a:pt x="952" y="234"/>
                </a:lnTo>
                <a:close/>
                <a:moveTo>
                  <a:pt x="952" y="228"/>
                </a:moveTo>
                <a:lnTo>
                  <a:pt x="946" y="234"/>
                </a:lnTo>
                <a:lnTo>
                  <a:pt x="946" y="234"/>
                </a:lnTo>
                <a:lnTo>
                  <a:pt x="946" y="228"/>
                </a:lnTo>
                <a:lnTo>
                  <a:pt x="946" y="228"/>
                </a:lnTo>
                <a:lnTo>
                  <a:pt x="952" y="228"/>
                </a:lnTo>
                <a:lnTo>
                  <a:pt x="952" y="228"/>
                </a:lnTo>
                <a:lnTo>
                  <a:pt x="952" y="228"/>
                </a:lnTo>
                <a:lnTo>
                  <a:pt x="952" y="228"/>
                </a:lnTo>
                <a:close/>
                <a:moveTo>
                  <a:pt x="790" y="238"/>
                </a:moveTo>
                <a:lnTo>
                  <a:pt x="790" y="234"/>
                </a:lnTo>
                <a:lnTo>
                  <a:pt x="794" y="234"/>
                </a:lnTo>
                <a:lnTo>
                  <a:pt x="800" y="234"/>
                </a:lnTo>
                <a:lnTo>
                  <a:pt x="794" y="238"/>
                </a:lnTo>
                <a:lnTo>
                  <a:pt x="790" y="238"/>
                </a:lnTo>
                <a:lnTo>
                  <a:pt x="790" y="238"/>
                </a:lnTo>
                <a:lnTo>
                  <a:pt x="790" y="238"/>
                </a:lnTo>
                <a:lnTo>
                  <a:pt x="790" y="238"/>
                </a:lnTo>
                <a:lnTo>
                  <a:pt x="790" y="238"/>
                </a:lnTo>
                <a:close/>
                <a:moveTo>
                  <a:pt x="800" y="234"/>
                </a:moveTo>
                <a:lnTo>
                  <a:pt x="800" y="234"/>
                </a:lnTo>
                <a:lnTo>
                  <a:pt x="800" y="238"/>
                </a:lnTo>
                <a:lnTo>
                  <a:pt x="806" y="238"/>
                </a:lnTo>
                <a:lnTo>
                  <a:pt x="800" y="238"/>
                </a:lnTo>
                <a:lnTo>
                  <a:pt x="800" y="234"/>
                </a:lnTo>
                <a:lnTo>
                  <a:pt x="800" y="234"/>
                </a:lnTo>
                <a:lnTo>
                  <a:pt x="800" y="234"/>
                </a:lnTo>
                <a:lnTo>
                  <a:pt x="800" y="234"/>
                </a:lnTo>
                <a:lnTo>
                  <a:pt x="800" y="234"/>
                </a:lnTo>
                <a:close/>
                <a:moveTo>
                  <a:pt x="1510" y="238"/>
                </a:moveTo>
                <a:lnTo>
                  <a:pt x="1516" y="238"/>
                </a:lnTo>
                <a:lnTo>
                  <a:pt x="1510" y="238"/>
                </a:lnTo>
                <a:lnTo>
                  <a:pt x="1510" y="238"/>
                </a:lnTo>
                <a:lnTo>
                  <a:pt x="1510" y="238"/>
                </a:lnTo>
                <a:lnTo>
                  <a:pt x="1510" y="238"/>
                </a:lnTo>
                <a:close/>
                <a:moveTo>
                  <a:pt x="730" y="238"/>
                </a:moveTo>
                <a:lnTo>
                  <a:pt x="730" y="238"/>
                </a:lnTo>
                <a:lnTo>
                  <a:pt x="730" y="238"/>
                </a:lnTo>
                <a:lnTo>
                  <a:pt x="730" y="238"/>
                </a:lnTo>
                <a:lnTo>
                  <a:pt x="730" y="238"/>
                </a:lnTo>
                <a:lnTo>
                  <a:pt x="730" y="238"/>
                </a:lnTo>
                <a:lnTo>
                  <a:pt x="730" y="238"/>
                </a:lnTo>
                <a:lnTo>
                  <a:pt x="730" y="238"/>
                </a:lnTo>
                <a:close/>
                <a:moveTo>
                  <a:pt x="800" y="242"/>
                </a:moveTo>
                <a:lnTo>
                  <a:pt x="800" y="242"/>
                </a:lnTo>
                <a:lnTo>
                  <a:pt x="806" y="242"/>
                </a:lnTo>
                <a:lnTo>
                  <a:pt x="800" y="242"/>
                </a:lnTo>
                <a:lnTo>
                  <a:pt x="800" y="242"/>
                </a:lnTo>
                <a:lnTo>
                  <a:pt x="800" y="242"/>
                </a:lnTo>
                <a:lnTo>
                  <a:pt x="800" y="242"/>
                </a:lnTo>
                <a:lnTo>
                  <a:pt x="800" y="242"/>
                </a:lnTo>
                <a:close/>
                <a:moveTo>
                  <a:pt x="766" y="248"/>
                </a:moveTo>
                <a:lnTo>
                  <a:pt x="766" y="242"/>
                </a:lnTo>
                <a:lnTo>
                  <a:pt x="772" y="242"/>
                </a:lnTo>
                <a:lnTo>
                  <a:pt x="778" y="242"/>
                </a:lnTo>
                <a:lnTo>
                  <a:pt x="778" y="242"/>
                </a:lnTo>
                <a:lnTo>
                  <a:pt x="778" y="248"/>
                </a:lnTo>
                <a:lnTo>
                  <a:pt x="778" y="242"/>
                </a:lnTo>
                <a:lnTo>
                  <a:pt x="778" y="248"/>
                </a:lnTo>
                <a:lnTo>
                  <a:pt x="778" y="248"/>
                </a:lnTo>
                <a:lnTo>
                  <a:pt x="778" y="248"/>
                </a:lnTo>
                <a:lnTo>
                  <a:pt x="778" y="248"/>
                </a:lnTo>
                <a:lnTo>
                  <a:pt x="778" y="248"/>
                </a:lnTo>
                <a:lnTo>
                  <a:pt x="772" y="248"/>
                </a:lnTo>
                <a:lnTo>
                  <a:pt x="772" y="248"/>
                </a:lnTo>
                <a:lnTo>
                  <a:pt x="766" y="248"/>
                </a:lnTo>
                <a:lnTo>
                  <a:pt x="766" y="248"/>
                </a:lnTo>
                <a:lnTo>
                  <a:pt x="766" y="248"/>
                </a:lnTo>
                <a:lnTo>
                  <a:pt x="766" y="248"/>
                </a:lnTo>
                <a:close/>
                <a:moveTo>
                  <a:pt x="1446" y="248"/>
                </a:moveTo>
                <a:lnTo>
                  <a:pt x="1446" y="248"/>
                </a:lnTo>
                <a:lnTo>
                  <a:pt x="1450" y="248"/>
                </a:lnTo>
                <a:lnTo>
                  <a:pt x="1450" y="248"/>
                </a:lnTo>
                <a:lnTo>
                  <a:pt x="1446" y="248"/>
                </a:lnTo>
                <a:lnTo>
                  <a:pt x="1446" y="248"/>
                </a:lnTo>
                <a:lnTo>
                  <a:pt x="1446" y="248"/>
                </a:lnTo>
                <a:lnTo>
                  <a:pt x="1446" y="248"/>
                </a:lnTo>
                <a:close/>
                <a:moveTo>
                  <a:pt x="1542" y="248"/>
                </a:moveTo>
                <a:lnTo>
                  <a:pt x="1542" y="248"/>
                </a:lnTo>
                <a:lnTo>
                  <a:pt x="1548" y="248"/>
                </a:lnTo>
                <a:lnTo>
                  <a:pt x="1548" y="248"/>
                </a:lnTo>
                <a:lnTo>
                  <a:pt x="1542" y="248"/>
                </a:lnTo>
                <a:lnTo>
                  <a:pt x="1542" y="248"/>
                </a:lnTo>
                <a:lnTo>
                  <a:pt x="1542" y="248"/>
                </a:lnTo>
                <a:lnTo>
                  <a:pt x="1542" y="248"/>
                </a:lnTo>
                <a:close/>
                <a:moveTo>
                  <a:pt x="1450" y="248"/>
                </a:moveTo>
                <a:lnTo>
                  <a:pt x="1456" y="248"/>
                </a:lnTo>
                <a:lnTo>
                  <a:pt x="1456" y="248"/>
                </a:lnTo>
                <a:lnTo>
                  <a:pt x="1462" y="248"/>
                </a:lnTo>
                <a:lnTo>
                  <a:pt x="1466" y="248"/>
                </a:lnTo>
                <a:lnTo>
                  <a:pt x="1466" y="254"/>
                </a:lnTo>
                <a:lnTo>
                  <a:pt x="1466" y="254"/>
                </a:lnTo>
                <a:lnTo>
                  <a:pt x="1462" y="248"/>
                </a:lnTo>
                <a:lnTo>
                  <a:pt x="1456" y="248"/>
                </a:lnTo>
                <a:lnTo>
                  <a:pt x="1450" y="248"/>
                </a:lnTo>
                <a:lnTo>
                  <a:pt x="1450" y="248"/>
                </a:lnTo>
                <a:lnTo>
                  <a:pt x="1450" y="248"/>
                </a:lnTo>
                <a:lnTo>
                  <a:pt x="1450" y="248"/>
                </a:lnTo>
                <a:lnTo>
                  <a:pt x="1450" y="248"/>
                </a:lnTo>
                <a:close/>
                <a:moveTo>
                  <a:pt x="1548" y="254"/>
                </a:moveTo>
                <a:lnTo>
                  <a:pt x="1542" y="254"/>
                </a:lnTo>
                <a:lnTo>
                  <a:pt x="1542" y="248"/>
                </a:lnTo>
                <a:lnTo>
                  <a:pt x="1536" y="248"/>
                </a:lnTo>
                <a:lnTo>
                  <a:pt x="1542" y="248"/>
                </a:lnTo>
                <a:lnTo>
                  <a:pt x="1542" y="248"/>
                </a:lnTo>
                <a:lnTo>
                  <a:pt x="1548" y="248"/>
                </a:lnTo>
                <a:lnTo>
                  <a:pt x="1554" y="248"/>
                </a:lnTo>
                <a:lnTo>
                  <a:pt x="1548" y="254"/>
                </a:lnTo>
                <a:lnTo>
                  <a:pt x="1548" y="254"/>
                </a:lnTo>
                <a:lnTo>
                  <a:pt x="1548" y="254"/>
                </a:lnTo>
                <a:lnTo>
                  <a:pt x="1548" y="254"/>
                </a:lnTo>
                <a:close/>
                <a:moveTo>
                  <a:pt x="1530" y="260"/>
                </a:moveTo>
                <a:lnTo>
                  <a:pt x="1536" y="260"/>
                </a:lnTo>
                <a:lnTo>
                  <a:pt x="1536" y="254"/>
                </a:lnTo>
                <a:lnTo>
                  <a:pt x="1542" y="254"/>
                </a:lnTo>
                <a:lnTo>
                  <a:pt x="1542" y="254"/>
                </a:lnTo>
                <a:lnTo>
                  <a:pt x="1542" y="260"/>
                </a:lnTo>
                <a:lnTo>
                  <a:pt x="1542" y="260"/>
                </a:lnTo>
                <a:lnTo>
                  <a:pt x="1536" y="260"/>
                </a:lnTo>
                <a:lnTo>
                  <a:pt x="1530" y="260"/>
                </a:lnTo>
                <a:lnTo>
                  <a:pt x="1530" y="260"/>
                </a:lnTo>
                <a:lnTo>
                  <a:pt x="1530" y="260"/>
                </a:lnTo>
                <a:lnTo>
                  <a:pt x="1530" y="260"/>
                </a:lnTo>
                <a:close/>
                <a:moveTo>
                  <a:pt x="1516" y="270"/>
                </a:moveTo>
                <a:lnTo>
                  <a:pt x="1516" y="266"/>
                </a:lnTo>
                <a:lnTo>
                  <a:pt x="1510" y="266"/>
                </a:lnTo>
                <a:lnTo>
                  <a:pt x="1516" y="266"/>
                </a:lnTo>
                <a:lnTo>
                  <a:pt x="1516" y="270"/>
                </a:lnTo>
                <a:lnTo>
                  <a:pt x="1516" y="270"/>
                </a:lnTo>
                <a:lnTo>
                  <a:pt x="1516" y="270"/>
                </a:lnTo>
                <a:lnTo>
                  <a:pt x="1516" y="270"/>
                </a:lnTo>
                <a:close/>
                <a:moveTo>
                  <a:pt x="1516" y="276"/>
                </a:moveTo>
                <a:lnTo>
                  <a:pt x="1520" y="276"/>
                </a:lnTo>
                <a:lnTo>
                  <a:pt x="1520" y="276"/>
                </a:lnTo>
                <a:lnTo>
                  <a:pt x="1516" y="276"/>
                </a:lnTo>
                <a:lnTo>
                  <a:pt x="1516" y="276"/>
                </a:lnTo>
                <a:lnTo>
                  <a:pt x="1516" y="276"/>
                </a:lnTo>
                <a:lnTo>
                  <a:pt x="1516" y="276"/>
                </a:lnTo>
                <a:lnTo>
                  <a:pt x="1516" y="276"/>
                </a:lnTo>
                <a:close/>
                <a:moveTo>
                  <a:pt x="886" y="302"/>
                </a:moveTo>
                <a:lnTo>
                  <a:pt x="880" y="302"/>
                </a:lnTo>
                <a:lnTo>
                  <a:pt x="880" y="296"/>
                </a:lnTo>
                <a:lnTo>
                  <a:pt x="886" y="296"/>
                </a:lnTo>
                <a:lnTo>
                  <a:pt x="886" y="302"/>
                </a:lnTo>
                <a:lnTo>
                  <a:pt x="886" y="302"/>
                </a:lnTo>
                <a:lnTo>
                  <a:pt x="886" y="302"/>
                </a:lnTo>
                <a:lnTo>
                  <a:pt x="886" y="302"/>
                </a:lnTo>
                <a:close/>
                <a:moveTo>
                  <a:pt x="898" y="302"/>
                </a:moveTo>
                <a:lnTo>
                  <a:pt x="898" y="302"/>
                </a:lnTo>
                <a:lnTo>
                  <a:pt x="898" y="296"/>
                </a:lnTo>
                <a:lnTo>
                  <a:pt x="898" y="296"/>
                </a:lnTo>
                <a:lnTo>
                  <a:pt x="898" y="302"/>
                </a:lnTo>
                <a:lnTo>
                  <a:pt x="898" y="302"/>
                </a:lnTo>
                <a:lnTo>
                  <a:pt x="898" y="302"/>
                </a:lnTo>
                <a:lnTo>
                  <a:pt x="898" y="302"/>
                </a:lnTo>
                <a:close/>
                <a:moveTo>
                  <a:pt x="898" y="314"/>
                </a:moveTo>
                <a:lnTo>
                  <a:pt x="898" y="308"/>
                </a:lnTo>
                <a:lnTo>
                  <a:pt x="898" y="308"/>
                </a:lnTo>
                <a:lnTo>
                  <a:pt x="898" y="308"/>
                </a:lnTo>
                <a:lnTo>
                  <a:pt x="898" y="302"/>
                </a:lnTo>
                <a:lnTo>
                  <a:pt x="904" y="308"/>
                </a:lnTo>
                <a:lnTo>
                  <a:pt x="898" y="308"/>
                </a:lnTo>
                <a:lnTo>
                  <a:pt x="898" y="308"/>
                </a:lnTo>
                <a:lnTo>
                  <a:pt x="898" y="314"/>
                </a:lnTo>
                <a:lnTo>
                  <a:pt x="898" y="314"/>
                </a:lnTo>
                <a:lnTo>
                  <a:pt x="898" y="314"/>
                </a:lnTo>
                <a:lnTo>
                  <a:pt x="898" y="314"/>
                </a:lnTo>
                <a:lnTo>
                  <a:pt x="898" y="314"/>
                </a:lnTo>
                <a:close/>
                <a:moveTo>
                  <a:pt x="530" y="314"/>
                </a:moveTo>
                <a:lnTo>
                  <a:pt x="524" y="308"/>
                </a:lnTo>
                <a:lnTo>
                  <a:pt x="530" y="308"/>
                </a:lnTo>
                <a:lnTo>
                  <a:pt x="530" y="314"/>
                </a:lnTo>
                <a:lnTo>
                  <a:pt x="530" y="314"/>
                </a:lnTo>
                <a:lnTo>
                  <a:pt x="530" y="314"/>
                </a:lnTo>
                <a:lnTo>
                  <a:pt x="530" y="314"/>
                </a:lnTo>
                <a:close/>
                <a:moveTo>
                  <a:pt x="904" y="308"/>
                </a:moveTo>
                <a:lnTo>
                  <a:pt x="898" y="308"/>
                </a:lnTo>
                <a:lnTo>
                  <a:pt x="904" y="308"/>
                </a:lnTo>
                <a:lnTo>
                  <a:pt x="904" y="314"/>
                </a:lnTo>
                <a:lnTo>
                  <a:pt x="904" y="308"/>
                </a:lnTo>
                <a:lnTo>
                  <a:pt x="904" y="308"/>
                </a:lnTo>
                <a:lnTo>
                  <a:pt x="904" y="308"/>
                </a:lnTo>
                <a:lnTo>
                  <a:pt x="904" y="308"/>
                </a:lnTo>
                <a:close/>
                <a:moveTo>
                  <a:pt x="904" y="314"/>
                </a:moveTo>
                <a:lnTo>
                  <a:pt x="898" y="314"/>
                </a:lnTo>
                <a:lnTo>
                  <a:pt x="904" y="314"/>
                </a:lnTo>
                <a:lnTo>
                  <a:pt x="904" y="308"/>
                </a:lnTo>
                <a:lnTo>
                  <a:pt x="904" y="314"/>
                </a:lnTo>
                <a:lnTo>
                  <a:pt x="904" y="314"/>
                </a:lnTo>
                <a:lnTo>
                  <a:pt x="904" y="314"/>
                </a:lnTo>
                <a:lnTo>
                  <a:pt x="904" y="314"/>
                </a:lnTo>
                <a:close/>
                <a:moveTo>
                  <a:pt x="892" y="320"/>
                </a:moveTo>
                <a:lnTo>
                  <a:pt x="892" y="320"/>
                </a:lnTo>
                <a:lnTo>
                  <a:pt x="898" y="320"/>
                </a:lnTo>
                <a:lnTo>
                  <a:pt x="898" y="320"/>
                </a:lnTo>
                <a:lnTo>
                  <a:pt x="892" y="320"/>
                </a:lnTo>
                <a:lnTo>
                  <a:pt x="892" y="320"/>
                </a:lnTo>
                <a:lnTo>
                  <a:pt x="892" y="320"/>
                </a:lnTo>
                <a:lnTo>
                  <a:pt x="892" y="320"/>
                </a:lnTo>
                <a:close/>
                <a:moveTo>
                  <a:pt x="670" y="342"/>
                </a:moveTo>
                <a:lnTo>
                  <a:pt x="670" y="342"/>
                </a:lnTo>
                <a:lnTo>
                  <a:pt x="670" y="342"/>
                </a:lnTo>
                <a:lnTo>
                  <a:pt x="670" y="342"/>
                </a:lnTo>
                <a:lnTo>
                  <a:pt x="670" y="342"/>
                </a:lnTo>
                <a:lnTo>
                  <a:pt x="670" y="342"/>
                </a:lnTo>
                <a:close/>
                <a:moveTo>
                  <a:pt x="710" y="410"/>
                </a:moveTo>
                <a:lnTo>
                  <a:pt x="710" y="410"/>
                </a:lnTo>
                <a:lnTo>
                  <a:pt x="710" y="406"/>
                </a:lnTo>
                <a:lnTo>
                  <a:pt x="704" y="406"/>
                </a:lnTo>
                <a:lnTo>
                  <a:pt x="698" y="406"/>
                </a:lnTo>
                <a:lnTo>
                  <a:pt x="698" y="406"/>
                </a:lnTo>
                <a:lnTo>
                  <a:pt x="704" y="406"/>
                </a:lnTo>
                <a:lnTo>
                  <a:pt x="710" y="406"/>
                </a:lnTo>
                <a:lnTo>
                  <a:pt x="710" y="406"/>
                </a:lnTo>
                <a:lnTo>
                  <a:pt x="710" y="406"/>
                </a:lnTo>
                <a:lnTo>
                  <a:pt x="712" y="406"/>
                </a:lnTo>
                <a:lnTo>
                  <a:pt x="712" y="410"/>
                </a:lnTo>
                <a:lnTo>
                  <a:pt x="710" y="416"/>
                </a:lnTo>
                <a:lnTo>
                  <a:pt x="710" y="410"/>
                </a:lnTo>
                <a:lnTo>
                  <a:pt x="710" y="410"/>
                </a:lnTo>
                <a:lnTo>
                  <a:pt x="710" y="410"/>
                </a:lnTo>
                <a:lnTo>
                  <a:pt x="710" y="410"/>
                </a:lnTo>
                <a:close/>
                <a:moveTo>
                  <a:pt x="290" y="456"/>
                </a:moveTo>
                <a:lnTo>
                  <a:pt x="296" y="460"/>
                </a:lnTo>
                <a:lnTo>
                  <a:pt x="290" y="460"/>
                </a:lnTo>
                <a:lnTo>
                  <a:pt x="284" y="460"/>
                </a:lnTo>
                <a:lnTo>
                  <a:pt x="284" y="456"/>
                </a:lnTo>
                <a:lnTo>
                  <a:pt x="290" y="456"/>
                </a:lnTo>
                <a:lnTo>
                  <a:pt x="284" y="456"/>
                </a:lnTo>
                <a:lnTo>
                  <a:pt x="290" y="456"/>
                </a:lnTo>
                <a:lnTo>
                  <a:pt x="290" y="456"/>
                </a:lnTo>
                <a:lnTo>
                  <a:pt x="290" y="456"/>
                </a:lnTo>
                <a:lnTo>
                  <a:pt x="290" y="456"/>
                </a:lnTo>
                <a:close/>
                <a:moveTo>
                  <a:pt x="1850" y="584"/>
                </a:moveTo>
                <a:lnTo>
                  <a:pt x="1850" y="584"/>
                </a:lnTo>
                <a:lnTo>
                  <a:pt x="1850" y="584"/>
                </a:lnTo>
                <a:lnTo>
                  <a:pt x="1850" y="590"/>
                </a:lnTo>
                <a:lnTo>
                  <a:pt x="1850" y="584"/>
                </a:lnTo>
                <a:lnTo>
                  <a:pt x="1850" y="584"/>
                </a:lnTo>
                <a:lnTo>
                  <a:pt x="1850" y="584"/>
                </a:lnTo>
                <a:lnTo>
                  <a:pt x="1850" y="584"/>
                </a:lnTo>
                <a:close/>
                <a:moveTo>
                  <a:pt x="1656" y="682"/>
                </a:moveTo>
                <a:lnTo>
                  <a:pt x="1656" y="676"/>
                </a:lnTo>
                <a:lnTo>
                  <a:pt x="1662" y="676"/>
                </a:lnTo>
                <a:lnTo>
                  <a:pt x="1662" y="676"/>
                </a:lnTo>
                <a:lnTo>
                  <a:pt x="1662" y="682"/>
                </a:lnTo>
                <a:lnTo>
                  <a:pt x="1662" y="676"/>
                </a:lnTo>
                <a:lnTo>
                  <a:pt x="1656" y="676"/>
                </a:lnTo>
                <a:lnTo>
                  <a:pt x="1656" y="682"/>
                </a:lnTo>
                <a:lnTo>
                  <a:pt x="1656" y="682"/>
                </a:lnTo>
                <a:lnTo>
                  <a:pt x="1656" y="682"/>
                </a:lnTo>
                <a:lnTo>
                  <a:pt x="1656" y="682"/>
                </a:lnTo>
                <a:close/>
                <a:moveTo>
                  <a:pt x="1668" y="692"/>
                </a:moveTo>
                <a:lnTo>
                  <a:pt x="1668" y="688"/>
                </a:lnTo>
                <a:lnTo>
                  <a:pt x="1668" y="692"/>
                </a:lnTo>
                <a:lnTo>
                  <a:pt x="1668" y="692"/>
                </a:lnTo>
                <a:lnTo>
                  <a:pt x="1668" y="692"/>
                </a:lnTo>
                <a:lnTo>
                  <a:pt x="1668" y="692"/>
                </a:lnTo>
                <a:close/>
                <a:moveTo>
                  <a:pt x="1672" y="692"/>
                </a:moveTo>
                <a:lnTo>
                  <a:pt x="1672" y="688"/>
                </a:lnTo>
                <a:lnTo>
                  <a:pt x="1672" y="692"/>
                </a:lnTo>
                <a:lnTo>
                  <a:pt x="1672" y="692"/>
                </a:lnTo>
                <a:lnTo>
                  <a:pt x="1672" y="692"/>
                </a:lnTo>
                <a:lnTo>
                  <a:pt x="1672" y="692"/>
                </a:lnTo>
                <a:close/>
                <a:moveTo>
                  <a:pt x="1590" y="926"/>
                </a:moveTo>
                <a:lnTo>
                  <a:pt x="1586" y="926"/>
                </a:lnTo>
                <a:lnTo>
                  <a:pt x="1586" y="920"/>
                </a:lnTo>
                <a:lnTo>
                  <a:pt x="1590" y="926"/>
                </a:lnTo>
                <a:lnTo>
                  <a:pt x="1590" y="926"/>
                </a:lnTo>
                <a:lnTo>
                  <a:pt x="1590" y="926"/>
                </a:lnTo>
                <a:lnTo>
                  <a:pt x="1590" y="926"/>
                </a:lnTo>
                <a:close/>
                <a:moveTo>
                  <a:pt x="540" y="6"/>
                </a:moveTo>
                <a:lnTo>
                  <a:pt x="540" y="0"/>
                </a:lnTo>
                <a:lnTo>
                  <a:pt x="546" y="0"/>
                </a:lnTo>
                <a:lnTo>
                  <a:pt x="550" y="0"/>
                </a:lnTo>
                <a:lnTo>
                  <a:pt x="550" y="0"/>
                </a:lnTo>
                <a:lnTo>
                  <a:pt x="556" y="0"/>
                </a:lnTo>
                <a:lnTo>
                  <a:pt x="562" y="0"/>
                </a:lnTo>
                <a:lnTo>
                  <a:pt x="562" y="0"/>
                </a:lnTo>
                <a:lnTo>
                  <a:pt x="562" y="0"/>
                </a:lnTo>
                <a:lnTo>
                  <a:pt x="556" y="0"/>
                </a:lnTo>
                <a:lnTo>
                  <a:pt x="550" y="0"/>
                </a:lnTo>
                <a:lnTo>
                  <a:pt x="550" y="0"/>
                </a:lnTo>
                <a:lnTo>
                  <a:pt x="546" y="6"/>
                </a:lnTo>
                <a:lnTo>
                  <a:pt x="540" y="6"/>
                </a:lnTo>
                <a:lnTo>
                  <a:pt x="540" y="6"/>
                </a:lnTo>
                <a:lnTo>
                  <a:pt x="540" y="6"/>
                </a:lnTo>
                <a:lnTo>
                  <a:pt x="540" y="6"/>
                </a:lnTo>
                <a:close/>
                <a:moveTo>
                  <a:pt x="540" y="12"/>
                </a:moveTo>
                <a:lnTo>
                  <a:pt x="536" y="12"/>
                </a:lnTo>
                <a:lnTo>
                  <a:pt x="536" y="12"/>
                </a:lnTo>
                <a:lnTo>
                  <a:pt x="530" y="12"/>
                </a:lnTo>
                <a:lnTo>
                  <a:pt x="524" y="12"/>
                </a:lnTo>
                <a:lnTo>
                  <a:pt x="524" y="12"/>
                </a:lnTo>
                <a:lnTo>
                  <a:pt x="524" y="12"/>
                </a:lnTo>
                <a:lnTo>
                  <a:pt x="530" y="12"/>
                </a:lnTo>
                <a:lnTo>
                  <a:pt x="536" y="12"/>
                </a:lnTo>
                <a:lnTo>
                  <a:pt x="536" y="12"/>
                </a:lnTo>
                <a:lnTo>
                  <a:pt x="540" y="12"/>
                </a:lnTo>
                <a:lnTo>
                  <a:pt x="546" y="12"/>
                </a:lnTo>
                <a:lnTo>
                  <a:pt x="550" y="12"/>
                </a:lnTo>
                <a:lnTo>
                  <a:pt x="550" y="12"/>
                </a:lnTo>
                <a:lnTo>
                  <a:pt x="546" y="12"/>
                </a:lnTo>
                <a:lnTo>
                  <a:pt x="540" y="12"/>
                </a:lnTo>
                <a:lnTo>
                  <a:pt x="540" y="12"/>
                </a:lnTo>
                <a:lnTo>
                  <a:pt x="540" y="12"/>
                </a:lnTo>
                <a:lnTo>
                  <a:pt x="540" y="12"/>
                </a:lnTo>
                <a:close/>
                <a:moveTo>
                  <a:pt x="508" y="16"/>
                </a:moveTo>
                <a:lnTo>
                  <a:pt x="502" y="16"/>
                </a:lnTo>
                <a:lnTo>
                  <a:pt x="508" y="16"/>
                </a:lnTo>
                <a:lnTo>
                  <a:pt x="512" y="16"/>
                </a:lnTo>
                <a:lnTo>
                  <a:pt x="512" y="16"/>
                </a:lnTo>
                <a:lnTo>
                  <a:pt x="518" y="16"/>
                </a:lnTo>
                <a:lnTo>
                  <a:pt x="524" y="16"/>
                </a:lnTo>
                <a:lnTo>
                  <a:pt x="518" y="16"/>
                </a:lnTo>
                <a:lnTo>
                  <a:pt x="518" y="12"/>
                </a:lnTo>
                <a:lnTo>
                  <a:pt x="524" y="12"/>
                </a:lnTo>
                <a:lnTo>
                  <a:pt x="524" y="12"/>
                </a:lnTo>
                <a:lnTo>
                  <a:pt x="530" y="12"/>
                </a:lnTo>
                <a:lnTo>
                  <a:pt x="536" y="16"/>
                </a:lnTo>
                <a:lnTo>
                  <a:pt x="536" y="16"/>
                </a:lnTo>
                <a:lnTo>
                  <a:pt x="540" y="16"/>
                </a:lnTo>
                <a:lnTo>
                  <a:pt x="536" y="16"/>
                </a:lnTo>
                <a:lnTo>
                  <a:pt x="536" y="16"/>
                </a:lnTo>
                <a:lnTo>
                  <a:pt x="530" y="16"/>
                </a:lnTo>
                <a:lnTo>
                  <a:pt x="524" y="16"/>
                </a:lnTo>
                <a:lnTo>
                  <a:pt x="524" y="20"/>
                </a:lnTo>
                <a:lnTo>
                  <a:pt x="518" y="20"/>
                </a:lnTo>
                <a:lnTo>
                  <a:pt x="518" y="16"/>
                </a:lnTo>
                <a:lnTo>
                  <a:pt x="512" y="16"/>
                </a:lnTo>
                <a:lnTo>
                  <a:pt x="512" y="20"/>
                </a:lnTo>
                <a:lnTo>
                  <a:pt x="512" y="20"/>
                </a:lnTo>
                <a:lnTo>
                  <a:pt x="508" y="20"/>
                </a:lnTo>
                <a:lnTo>
                  <a:pt x="508" y="16"/>
                </a:lnTo>
                <a:lnTo>
                  <a:pt x="508" y="16"/>
                </a:lnTo>
                <a:lnTo>
                  <a:pt x="508" y="16"/>
                </a:lnTo>
                <a:lnTo>
                  <a:pt x="508" y="16"/>
                </a:lnTo>
                <a:close/>
                <a:moveTo>
                  <a:pt x="1088" y="48"/>
                </a:moveTo>
                <a:lnTo>
                  <a:pt x="1088" y="48"/>
                </a:lnTo>
                <a:lnTo>
                  <a:pt x="1082" y="48"/>
                </a:lnTo>
                <a:lnTo>
                  <a:pt x="1078" y="48"/>
                </a:lnTo>
                <a:lnTo>
                  <a:pt x="1078" y="48"/>
                </a:lnTo>
                <a:lnTo>
                  <a:pt x="1072" y="48"/>
                </a:lnTo>
                <a:lnTo>
                  <a:pt x="1066" y="48"/>
                </a:lnTo>
                <a:lnTo>
                  <a:pt x="1066" y="48"/>
                </a:lnTo>
                <a:lnTo>
                  <a:pt x="1060" y="48"/>
                </a:lnTo>
                <a:lnTo>
                  <a:pt x="1054" y="48"/>
                </a:lnTo>
                <a:lnTo>
                  <a:pt x="1054" y="54"/>
                </a:lnTo>
                <a:lnTo>
                  <a:pt x="1054" y="54"/>
                </a:lnTo>
                <a:lnTo>
                  <a:pt x="1050" y="54"/>
                </a:lnTo>
                <a:lnTo>
                  <a:pt x="1044" y="54"/>
                </a:lnTo>
                <a:lnTo>
                  <a:pt x="1038" y="54"/>
                </a:lnTo>
                <a:lnTo>
                  <a:pt x="1038" y="54"/>
                </a:lnTo>
                <a:lnTo>
                  <a:pt x="1038" y="48"/>
                </a:lnTo>
                <a:lnTo>
                  <a:pt x="1034" y="48"/>
                </a:lnTo>
                <a:lnTo>
                  <a:pt x="1028" y="48"/>
                </a:lnTo>
                <a:lnTo>
                  <a:pt x="1028" y="48"/>
                </a:lnTo>
                <a:lnTo>
                  <a:pt x="1022" y="48"/>
                </a:lnTo>
                <a:lnTo>
                  <a:pt x="1028" y="48"/>
                </a:lnTo>
                <a:lnTo>
                  <a:pt x="1028" y="48"/>
                </a:lnTo>
                <a:lnTo>
                  <a:pt x="1034" y="48"/>
                </a:lnTo>
                <a:lnTo>
                  <a:pt x="1028" y="48"/>
                </a:lnTo>
                <a:lnTo>
                  <a:pt x="1028" y="48"/>
                </a:lnTo>
                <a:lnTo>
                  <a:pt x="1028" y="48"/>
                </a:lnTo>
                <a:lnTo>
                  <a:pt x="1034" y="48"/>
                </a:lnTo>
                <a:lnTo>
                  <a:pt x="1038" y="48"/>
                </a:lnTo>
                <a:lnTo>
                  <a:pt x="1038" y="48"/>
                </a:lnTo>
                <a:lnTo>
                  <a:pt x="1038" y="48"/>
                </a:lnTo>
                <a:lnTo>
                  <a:pt x="1034" y="48"/>
                </a:lnTo>
                <a:lnTo>
                  <a:pt x="1028" y="48"/>
                </a:lnTo>
                <a:lnTo>
                  <a:pt x="1028" y="48"/>
                </a:lnTo>
                <a:lnTo>
                  <a:pt x="1022" y="48"/>
                </a:lnTo>
                <a:lnTo>
                  <a:pt x="1018" y="48"/>
                </a:lnTo>
                <a:lnTo>
                  <a:pt x="1018" y="48"/>
                </a:lnTo>
                <a:lnTo>
                  <a:pt x="1018" y="42"/>
                </a:lnTo>
                <a:lnTo>
                  <a:pt x="1018" y="42"/>
                </a:lnTo>
                <a:lnTo>
                  <a:pt x="1022" y="42"/>
                </a:lnTo>
                <a:lnTo>
                  <a:pt x="1028" y="42"/>
                </a:lnTo>
                <a:lnTo>
                  <a:pt x="1028" y="42"/>
                </a:lnTo>
                <a:lnTo>
                  <a:pt x="1028" y="42"/>
                </a:lnTo>
                <a:lnTo>
                  <a:pt x="1022" y="42"/>
                </a:lnTo>
                <a:lnTo>
                  <a:pt x="1022" y="38"/>
                </a:lnTo>
                <a:lnTo>
                  <a:pt x="1028" y="38"/>
                </a:lnTo>
                <a:lnTo>
                  <a:pt x="1028" y="38"/>
                </a:lnTo>
                <a:lnTo>
                  <a:pt x="1034" y="38"/>
                </a:lnTo>
                <a:lnTo>
                  <a:pt x="1034" y="38"/>
                </a:lnTo>
                <a:lnTo>
                  <a:pt x="1038" y="38"/>
                </a:lnTo>
                <a:lnTo>
                  <a:pt x="1038" y="32"/>
                </a:lnTo>
                <a:lnTo>
                  <a:pt x="1038" y="32"/>
                </a:lnTo>
                <a:lnTo>
                  <a:pt x="1038" y="32"/>
                </a:lnTo>
                <a:lnTo>
                  <a:pt x="1034" y="32"/>
                </a:lnTo>
                <a:lnTo>
                  <a:pt x="1028" y="32"/>
                </a:lnTo>
                <a:lnTo>
                  <a:pt x="1034" y="32"/>
                </a:lnTo>
                <a:lnTo>
                  <a:pt x="1034" y="26"/>
                </a:lnTo>
                <a:lnTo>
                  <a:pt x="1038" y="26"/>
                </a:lnTo>
                <a:lnTo>
                  <a:pt x="1038" y="26"/>
                </a:lnTo>
                <a:lnTo>
                  <a:pt x="1038" y="26"/>
                </a:lnTo>
                <a:lnTo>
                  <a:pt x="1038" y="26"/>
                </a:lnTo>
                <a:lnTo>
                  <a:pt x="1044" y="26"/>
                </a:lnTo>
                <a:lnTo>
                  <a:pt x="1050" y="26"/>
                </a:lnTo>
                <a:lnTo>
                  <a:pt x="1054" y="26"/>
                </a:lnTo>
                <a:lnTo>
                  <a:pt x="1054" y="20"/>
                </a:lnTo>
                <a:lnTo>
                  <a:pt x="1054" y="20"/>
                </a:lnTo>
                <a:lnTo>
                  <a:pt x="1060" y="20"/>
                </a:lnTo>
                <a:lnTo>
                  <a:pt x="1066" y="20"/>
                </a:lnTo>
                <a:lnTo>
                  <a:pt x="1066" y="20"/>
                </a:lnTo>
                <a:lnTo>
                  <a:pt x="1066" y="16"/>
                </a:lnTo>
                <a:lnTo>
                  <a:pt x="1072" y="16"/>
                </a:lnTo>
                <a:lnTo>
                  <a:pt x="1078" y="16"/>
                </a:lnTo>
                <a:lnTo>
                  <a:pt x="1072" y="16"/>
                </a:lnTo>
                <a:lnTo>
                  <a:pt x="1066" y="16"/>
                </a:lnTo>
                <a:lnTo>
                  <a:pt x="1072" y="16"/>
                </a:lnTo>
                <a:lnTo>
                  <a:pt x="1078" y="16"/>
                </a:lnTo>
                <a:lnTo>
                  <a:pt x="1078" y="16"/>
                </a:lnTo>
                <a:lnTo>
                  <a:pt x="1082" y="20"/>
                </a:lnTo>
                <a:lnTo>
                  <a:pt x="1088" y="26"/>
                </a:lnTo>
                <a:lnTo>
                  <a:pt x="1088" y="26"/>
                </a:lnTo>
                <a:lnTo>
                  <a:pt x="1088" y="26"/>
                </a:lnTo>
                <a:lnTo>
                  <a:pt x="1092" y="26"/>
                </a:lnTo>
                <a:lnTo>
                  <a:pt x="1104" y="26"/>
                </a:lnTo>
                <a:lnTo>
                  <a:pt x="1104" y="32"/>
                </a:lnTo>
                <a:lnTo>
                  <a:pt x="1108" y="32"/>
                </a:lnTo>
                <a:lnTo>
                  <a:pt x="1104" y="38"/>
                </a:lnTo>
                <a:lnTo>
                  <a:pt x="1104" y="38"/>
                </a:lnTo>
                <a:lnTo>
                  <a:pt x="1098" y="38"/>
                </a:lnTo>
                <a:lnTo>
                  <a:pt x="1092" y="38"/>
                </a:lnTo>
                <a:lnTo>
                  <a:pt x="1092" y="38"/>
                </a:lnTo>
                <a:lnTo>
                  <a:pt x="1098" y="38"/>
                </a:lnTo>
                <a:lnTo>
                  <a:pt x="1098" y="42"/>
                </a:lnTo>
                <a:lnTo>
                  <a:pt x="1104" y="48"/>
                </a:lnTo>
                <a:lnTo>
                  <a:pt x="1098" y="48"/>
                </a:lnTo>
                <a:lnTo>
                  <a:pt x="1092" y="48"/>
                </a:lnTo>
                <a:lnTo>
                  <a:pt x="1088" y="48"/>
                </a:lnTo>
                <a:lnTo>
                  <a:pt x="1088" y="48"/>
                </a:lnTo>
                <a:lnTo>
                  <a:pt x="1088" y="48"/>
                </a:lnTo>
                <a:lnTo>
                  <a:pt x="1088" y="48"/>
                </a:lnTo>
                <a:close/>
                <a:moveTo>
                  <a:pt x="604" y="26"/>
                </a:moveTo>
                <a:lnTo>
                  <a:pt x="610" y="26"/>
                </a:lnTo>
                <a:lnTo>
                  <a:pt x="610" y="26"/>
                </a:lnTo>
                <a:lnTo>
                  <a:pt x="616" y="26"/>
                </a:lnTo>
                <a:lnTo>
                  <a:pt x="622" y="26"/>
                </a:lnTo>
                <a:lnTo>
                  <a:pt x="622" y="26"/>
                </a:lnTo>
                <a:lnTo>
                  <a:pt x="626" y="26"/>
                </a:lnTo>
                <a:lnTo>
                  <a:pt x="632" y="26"/>
                </a:lnTo>
                <a:lnTo>
                  <a:pt x="626" y="26"/>
                </a:lnTo>
                <a:lnTo>
                  <a:pt x="626" y="20"/>
                </a:lnTo>
                <a:lnTo>
                  <a:pt x="632" y="20"/>
                </a:lnTo>
                <a:lnTo>
                  <a:pt x="632" y="20"/>
                </a:lnTo>
                <a:lnTo>
                  <a:pt x="638" y="20"/>
                </a:lnTo>
                <a:lnTo>
                  <a:pt x="644" y="20"/>
                </a:lnTo>
                <a:lnTo>
                  <a:pt x="644" y="20"/>
                </a:lnTo>
                <a:lnTo>
                  <a:pt x="644" y="26"/>
                </a:lnTo>
                <a:lnTo>
                  <a:pt x="644" y="26"/>
                </a:lnTo>
                <a:lnTo>
                  <a:pt x="644" y="32"/>
                </a:lnTo>
                <a:lnTo>
                  <a:pt x="638" y="32"/>
                </a:lnTo>
                <a:lnTo>
                  <a:pt x="632" y="32"/>
                </a:lnTo>
                <a:lnTo>
                  <a:pt x="632" y="32"/>
                </a:lnTo>
                <a:lnTo>
                  <a:pt x="626" y="32"/>
                </a:lnTo>
                <a:lnTo>
                  <a:pt x="622" y="32"/>
                </a:lnTo>
                <a:lnTo>
                  <a:pt x="622" y="32"/>
                </a:lnTo>
                <a:lnTo>
                  <a:pt x="622" y="38"/>
                </a:lnTo>
                <a:lnTo>
                  <a:pt x="616" y="38"/>
                </a:lnTo>
                <a:lnTo>
                  <a:pt x="610" y="38"/>
                </a:lnTo>
                <a:lnTo>
                  <a:pt x="610" y="32"/>
                </a:lnTo>
                <a:lnTo>
                  <a:pt x="610" y="32"/>
                </a:lnTo>
                <a:lnTo>
                  <a:pt x="604" y="32"/>
                </a:lnTo>
                <a:lnTo>
                  <a:pt x="604" y="26"/>
                </a:lnTo>
                <a:lnTo>
                  <a:pt x="604" y="26"/>
                </a:lnTo>
                <a:lnTo>
                  <a:pt x="604" y="26"/>
                </a:lnTo>
                <a:lnTo>
                  <a:pt x="604" y="26"/>
                </a:lnTo>
                <a:close/>
                <a:moveTo>
                  <a:pt x="492" y="26"/>
                </a:moveTo>
                <a:lnTo>
                  <a:pt x="492" y="20"/>
                </a:lnTo>
                <a:lnTo>
                  <a:pt x="496" y="20"/>
                </a:lnTo>
                <a:lnTo>
                  <a:pt x="496" y="26"/>
                </a:lnTo>
                <a:lnTo>
                  <a:pt x="502" y="26"/>
                </a:lnTo>
                <a:lnTo>
                  <a:pt x="502" y="26"/>
                </a:lnTo>
                <a:lnTo>
                  <a:pt x="508" y="26"/>
                </a:lnTo>
                <a:lnTo>
                  <a:pt x="512" y="26"/>
                </a:lnTo>
                <a:lnTo>
                  <a:pt x="512" y="26"/>
                </a:lnTo>
                <a:lnTo>
                  <a:pt x="518" y="26"/>
                </a:lnTo>
                <a:lnTo>
                  <a:pt x="524" y="26"/>
                </a:lnTo>
                <a:lnTo>
                  <a:pt x="524" y="26"/>
                </a:lnTo>
                <a:lnTo>
                  <a:pt x="524" y="26"/>
                </a:lnTo>
                <a:lnTo>
                  <a:pt x="530" y="26"/>
                </a:lnTo>
                <a:lnTo>
                  <a:pt x="536" y="26"/>
                </a:lnTo>
                <a:lnTo>
                  <a:pt x="536" y="32"/>
                </a:lnTo>
                <a:lnTo>
                  <a:pt x="536" y="32"/>
                </a:lnTo>
                <a:lnTo>
                  <a:pt x="530" y="38"/>
                </a:lnTo>
                <a:lnTo>
                  <a:pt x="524" y="38"/>
                </a:lnTo>
                <a:lnTo>
                  <a:pt x="524" y="32"/>
                </a:lnTo>
                <a:lnTo>
                  <a:pt x="524" y="32"/>
                </a:lnTo>
                <a:lnTo>
                  <a:pt x="518" y="32"/>
                </a:lnTo>
                <a:lnTo>
                  <a:pt x="512" y="32"/>
                </a:lnTo>
                <a:lnTo>
                  <a:pt x="512" y="26"/>
                </a:lnTo>
                <a:lnTo>
                  <a:pt x="512" y="26"/>
                </a:lnTo>
                <a:lnTo>
                  <a:pt x="508" y="26"/>
                </a:lnTo>
                <a:lnTo>
                  <a:pt x="502" y="26"/>
                </a:lnTo>
                <a:lnTo>
                  <a:pt x="502" y="26"/>
                </a:lnTo>
                <a:lnTo>
                  <a:pt x="502" y="26"/>
                </a:lnTo>
                <a:lnTo>
                  <a:pt x="502" y="26"/>
                </a:lnTo>
                <a:lnTo>
                  <a:pt x="496" y="26"/>
                </a:lnTo>
                <a:lnTo>
                  <a:pt x="492" y="26"/>
                </a:lnTo>
                <a:lnTo>
                  <a:pt x="492" y="26"/>
                </a:lnTo>
                <a:lnTo>
                  <a:pt x="492" y="26"/>
                </a:lnTo>
                <a:lnTo>
                  <a:pt x="492" y="26"/>
                </a:lnTo>
                <a:close/>
                <a:moveTo>
                  <a:pt x="384" y="48"/>
                </a:moveTo>
                <a:lnTo>
                  <a:pt x="384" y="42"/>
                </a:lnTo>
                <a:lnTo>
                  <a:pt x="390" y="42"/>
                </a:lnTo>
                <a:lnTo>
                  <a:pt x="394" y="48"/>
                </a:lnTo>
                <a:lnTo>
                  <a:pt x="394" y="48"/>
                </a:lnTo>
                <a:lnTo>
                  <a:pt x="398" y="48"/>
                </a:lnTo>
                <a:lnTo>
                  <a:pt x="404" y="42"/>
                </a:lnTo>
                <a:lnTo>
                  <a:pt x="398" y="42"/>
                </a:lnTo>
                <a:lnTo>
                  <a:pt x="394" y="42"/>
                </a:lnTo>
                <a:lnTo>
                  <a:pt x="398" y="42"/>
                </a:lnTo>
                <a:lnTo>
                  <a:pt x="404" y="42"/>
                </a:lnTo>
                <a:lnTo>
                  <a:pt x="404" y="38"/>
                </a:lnTo>
                <a:lnTo>
                  <a:pt x="398" y="38"/>
                </a:lnTo>
                <a:lnTo>
                  <a:pt x="394" y="38"/>
                </a:lnTo>
                <a:lnTo>
                  <a:pt x="394" y="42"/>
                </a:lnTo>
                <a:lnTo>
                  <a:pt x="394" y="38"/>
                </a:lnTo>
                <a:lnTo>
                  <a:pt x="394" y="38"/>
                </a:lnTo>
                <a:lnTo>
                  <a:pt x="398" y="38"/>
                </a:lnTo>
                <a:lnTo>
                  <a:pt x="404" y="38"/>
                </a:lnTo>
                <a:lnTo>
                  <a:pt x="410" y="38"/>
                </a:lnTo>
                <a:lnTo>
                  <a:pt x="410" y="38"/>
                </a:lnTo>
                <a:lnTo>
                  <a:pt x="416" y="38"/>
                </a:lnTo>
                <a:lnTo>
                  <a:pt x="422" y="38"/>
                </a:lnTo>
                <a:lnTo>
                  <a:pt x="422" y="38"/>
                </a:lnTo>
                <a:lnTo>
                  <a:pt x="422" y="38"/>
                </a:lnTo>
                <a:lnTo>
                  <a:pt x="422" y="38"/>
                </a:lnTo>
                <a:lnTo>
                  <a:pt x="422" y="38"/>
                </a:lnTo>
                <a:lnTo>
                  <a:pt x="426" y="32"/>
                </a:lnTo>
                <a:lnTo>
                  <a:pt x="422" y="32"/>
                </a:lnTo>
                <a:lnTo>
                  <a:pt x="422" y="38"/>
                </a:lnTo>
                <a:lnTo>
                  <a:pt x="422" y="38"/>
                </a:lnTo>
                <a:lnTo>
                  <a:pt x="422" y="32"/>
                </a:lnTo>
                <a:lnTo>
                  <a:pt x="416" y="32"/>
                </a:lnTo>
                <a:lnTo>
                  <a:pt x="422" y="32"/>
                </a:lnTo>
                <a:lnTo>
                  <a:pt x="422" y="32"/>
                </a:lnTo>
                <a:lnTo>
                  <a:pt x="422" y="26"/>
                </a:lnTo>
                <a:lnTo>
                  <a:pt x="426" y="26"/>
                </a:lnTo>
                <a:lnTo>
                  <a:pt x="432" y="26"/>
                </a:lnTo>
                <a:lnTo>
                  <a:pt x="432" y="26"/>
                </a:lnTo>
                <a:lnTo>
                  <a:pt x="432" y="26"/>
                </a:lnTo>
                <a:lnTo>
                  <a:pt x="438" y="26"/>
                </a:lnTo>
                <a:lnTo>
                  <a:pt x="442" y="26"/>
                </a:lnTo>
                <a:lnTo>
                  <a:pt x="442" y="26"/>
                </a:lnTo>
                <a:lnTo>
                  <a:pt x="438" y="32"/>
                </a:lnTo>
                <a:lnTo>
                  <a:pt x="432" y="32"/>
                </a:lnTo>
                <a:lnTo>
                  <a:pt x="438" y="32"/>
                </a:lnTo>
                <a:lnTo>
                  <a:pt x="442" y="32"/>
                </a:lnTo>
                <a:lnTo>
                  <a:pt x="442" y="32"/>
                </a:lnTo>
                <a:lnTo>
                  <a:pt x="448" y="32"/>
                </a:lnTo>
                <a:lnTo>
                  <a:pt x="454" y="32"/>
                </a:lnTo>
                <a:lnTo>
                  <a:pt x="454" y="38"/>
                </a:lnTo>
                <a:lnTo>
                  <a:pt x="448" y="38"/>
                </a:lnTo>
                <a:lnTo>
                  <a:pt x="442" y="38"/>
                </a:lnTo>
                <a:lnTo>
                  <a:pt x="442" y="38"/>
                </a:lnTo>
                <a:lnTo>
                  <a:pt x="442" y="38"/>
                </a:lnTo>
                <a:lnTo>
                  <a:pt x="438" y="38"/>
                </a:lnTo>
                <a:lnTo>
                  <a:pt x="432" y="38"/>
                </a:lnTo>
                <a:lnTo>
                  <a:pt x="432" y="38"/>
                </a:lnTo>
                <a:lnTo>
                  <a:pt x="426" y="38"/>
                </a:lnTo>
                <a:lnTo>
                  <a:pt x="426" y="42"/>
                </a:lnTo>
                <a:lnTo>
                  <a:pt x="422" y="42"/>
                </a:lnTo>
                <a:lnTo>
                  <a:pt x="422" y="42"/>
                </a:lnTo>
                <a:lnTo>
                  <a:pt x="416" y="42"/>
                </a:lnTo>
                <a:lnTo>
                  <a:pt x="410" y="42"/>
                </a:lnTo>
                <a:lnTo>
                  <a:pt x="410" y="48"/>
                </a:lnTo>
                <a:lnTo>
                  <a:pt x="416" y="48"/>
                </a:lnTo>
                <a:lnTo>
                  <a:pt x="416" y="48"/>
                </a:lnTo>
                <a:lnTo>
                  <a:pt x="410" y="48"/>
                </a:lnTo>
                <a:lnTo>
                  <a:pt x="410" y="48"/>
                </a:lnTo>
                <a:lnTo>
                  <a:pt x="410" y="48"/>
                </a:lnTo>
                <a:lnTo>
                  <a:pt x="410" y="48"/>
                </a:lnTo>
                <a:lnTo>
                  <a:pt x="404" y="48"/>
                </a:lnTo>
                <a:lnTo>
                  <a:pt x="398" y="48"/>
                </a:lnTo>
                <a:lnTo>
                  <a:pt x="394" y="48"/>
                </a:lnTo>
                <a:lnTo>
                  <a:pt x="394" y="54"/>
                </a:lnTo>
                <a:lnTo>
                  <a:pt x="394" y="48"/>
                </a:lnTo>
                <a:lnTo>
                  <a:pt x="398" y="48"/>
                </a:lnTo>
                <a:lnTo>
                  <a:pt x="398" y="48"/>
                </a:lnTo>
                <a:lnTo>
                  <a:pt x="394" y="48"/>
                </a:lnTo>
                <a:lnTo>
                  <a:pt x="394" y="48"/>
                </a:lnTo>
                <a:lnTo>
                  <a:pt x="390" y="48"/>
                </a:lnTo>
                <a:lnTo>
                  <a:pt x="384" y="48"/>
                </a:lnTo>
                <a:lnTo>
                  <a:pt x="384" y="48"/>
                </a:lnTo>
                <a:lnTo>
                  <a:pt x="384" y="48"/>
                </a:lnTo>
                <a:lnTo>
                  <a:pt x="384" y="48"/>
                </a:lnTo>
                <a:lnTo>
                  <a:pt x="384" y="48"/>
                </a:lnTo>
                <a:lnTo>
                  <a:pt x="384" y="48"/>
                </a:lnTo>
                <a:close/>
                <a:moveTo>
                  <a:pt x="562" y="38"/>
                </a:moveTo>
                <a:lnTo>
                  <a:pt x="562" y="38"/>
                </a:lnTo>
                <a:lnTo>
                  <a:pt x="562" y="32"/>
                </a:lnTo>
                <a:lnTo>
                  <a:pt x="562" y="32"/>
                </a:lnTo>
                <a:lnTo>
                  <a:pt x="568" y="32"/>
                </a:lnTo>
                <a:lnTo>
                  <a:pt x="568" y="26"/>
                </a:lnTo>
                <a:lnTo>
                  <a:pt x="572" y="26"/>
                </a:lnTo>
                <a:lnTo>
                  <a:pt x="572" y="26"/>
                </a:lnTo>
                <a:lnTo>
                  <a:pt x="572" y="32"/>
                </a:lnTo>
                <a:lnTo>
                  <a:pt x="572" y="32"/>
                </a:lnTo>
                <a:lnTo>
                  <a:pt x="572" y="32"/>
                </a:lnTo>
                <a:lnTo>
                  <a:pt x="578" y="32"/>
                </a:lnTo>
                <a:lnTo>
                  <a:pt x="584" y="32"/>
                </a:lnTo>
                <a:lnTo>
                  <a:pt x="584" y="26"/>
                </a:lnTo>
                <a:lnTo>
                  <a:pt x="590" y="26"/>
                </a:lnTo>
                <a:lnTo>
                  <a:pt x="596" y="26"/>
                </a:lnTo>
                <a:lnTo>
                  <a:pt x="600" y="26"/>
                </a:lnTo>
                <a:lnTo>
                  <a:pt x="600" y="26"/>
                </a:lnTo>
                <a:lnTo>
                  <a:pt x="600" y="32"/>
                </a:lnTo>
                <a:lnTo>
                  <a:pt x="600" y="38"/>
                </a:lnTo>
                <a:lnTo>
                  <a:pt x="600" y="38"/>
                </a:lnTo>
                <a:lnTo>
                  <a:pt x="600" y="38"/>
                </a:lnTo>
                <a:lnTo>
                  <a:pt x="600" y="38"/>
                </a:lnTo>
                <a:lnTo>
                  <a:pt x="596" y="38"/>
                </a:lnTo>
                <a:lnTo>
                  <a:pt x="596" y="38"/>
                </a:lnTo>
                <a:lnTo>
                  <a:pt x="590" y="38"/>
                </a:lnTo>
                <a:lnTo>
                  <a:pt x="584" y="42"/>
                </a:lnTo>
                <a:lnTo>
                  <a:pt x="584" y="42"/>
                </a:lnTo>
                <a:lnTo>
                  <a:pt x="578" y="42"/>
                </a:lnTo>
                <a:lnTo>
                  <a:pt x="578" y="38"/>
                </a:lnTo>
                <a:lnTo>
                  <a:pt x="572" y="38"/>
                </a:lnTo>
                <a:lnTo>
                  <a:pt x="572" y="38"/>
                </a:lnTo>
                <a:lnTo>
                  <a:pt x="568" y="42"/>
                </a:lnTo>
                <a:lnTo>
                  <a:pt x="562" y="42"/>
                </a:lnTo>
                <a:lnTo>
                  <a:pt x="562" y="38"/>
                </a:lnTo>
                <a:lnTo>
                  <a:pt x="562" y="38"/>
                </a:lnTo>
                <a:lnTo>
                  <a:pt x="562" y="38"/>
                </a:lnTo>
                <a:lnTo>
                  <a:pt x="562" y="38"/>
                </a:lnTo>
                <a:lnTo>
                  <a:pt x="562" y="38"/>
                </a:lnTo>
                <a:close/>
                <a:moveTo>
                  <a:pt x="372" y="42"/>
                </a:moveTo>
                <a:lnTo>
                  <a:pt x="372" y="38"/>
                </a:lnTo>
                <a:lnTo>
                  <a:pt x="372" y="38"/>
                </a:lnTo>
                <a:lnTo>
                  <a:pt x="368" y="38"/>
                </a:lnTo>
                <a:lnTo>
                  <a:pt x="362" y="38"/>
                </a:lnTo>
                <a:lnTo>
                  <a:pt x="362" y="38"/>
                </a:lnTo>
                <a:lnTo>
                  <a:pt x="362" y="38"/>
                </a:lnTo>
                <a:lnTo>
                  <a:pt x="356" y="38"/>
                </a:lnTo>
                <a:lnTo>
                  <a:pt x="362" y="38"/>
                </a:lnTo>
                <a:lnTo>
                  <a:pt x="362" y="38"/>
                </a:lnTo>
                <a:lnTo>
                  <a:pt x="368" y="38"/>
                </a:lnTo>
                <a:lnTo>
                  <a:pt x="372" y="38"/>
                </a:lnTo>
                <a:lnTo>
                  <a:pt x="372" y="38"/>
                </a:lnTo>
                <a:lnTo>
                  <a:pt x="378" y="38"/>
                </a:lnTo>
                <a:lnTo>
                  <a:pt x="384" y="32"/>
                </a:lnTo>
                <a:lnTo>
                  <a:pt x="378" y="32"/>
                </a:lnTo>
                <a:lnTo>
                  <a:pt x="384" y="32"/>
                </a:lnTo>
                <a:lnTo>
                  <a:pt x="384" y="32"/>
                </a:lnTo>
                <a:lnTo>
                  <a:pt x="390" y="32"/>
                </a:lnTo>
                <a:lnTo>
                  <a:pt x="390" y="26"/>
                </a:lnTo>
                <a:lnTo>
                  <a:pt x="394" y="26"/>
                </a:lnTo>
                <a:lnTo>
                  <a:pt x="394" y="26"/>
                </a:lnTo>
                <a:lnTo>
                  <a:pt x="394" y="32"/>
                </a:lnTo>
                <a:lnTo>
                  <a:pt x="398" y="32"/>
                </a:lnTo>
                <a:lnTo>
                  <a:pt x="404" y="32"/>
                </a:lnTo>
                <a:lnTo>
                  <a:pt x="410" y="32"/>
                </a:lnTo>
                <a:lnTo>
                  <a:pt x="410" y="32"/>
                </a:lnTo>
                <a:lnTo>
                  <a:pt x="410" y="32"/>
                </a:lnTo>
                <a:lnTo>
                  <a:pt x="410" y="38"/>
                </a:lnTo>
                <a:lnTo>
                  <a:pt x="410" y="38"/>
                </a:lnTo>
                <a:lnTo>
                  <a:pt x="404" y="38"/>
                </a:lnTo>
                <a:lnTo>
                  <a:pt x="398" y="38"/>
                </a:lnTo>
                <a:lnTo>
                  <a:pt x="398" y="32"/>
                </a:lnTo>
                <a:lnTo>
                  <a:pt x="394" y="32"/>
                </a:lnTo>
                <a:lnTo>
                  <a:pt x="394" y="32"/>
                </a:lnTo>
                <a:lnTo>
                  <a:pt x="394" y="38"/>
                </a:lnTo>
                <a:lnTo>
                  <a:pt x="390" y="38"/>
                </a:lnTo>
                <a:lnTo>
                  <a:pt x="384" y="38"/>
                </a:lnTo>
                <a:lnTo>
                  <a:pt x="384" y="38"/>
                </a:lnTo>
                <a:lnTo>
                  <a:pt x="378" y="38"/>
                </a:lnTo>
                <a:lnTo>
                  <a:pt x="384" y="38"/>
                </a:lnTo>
                <a:lnTo>
                  <a:pt x="378" y="38"/>
                </a:lnTo>
                <a:lnTo>
                  <a:pt x="372" y="42"/>
                </a:lnTo>
                <a:lnTo>
                  <a:pt x="372" y="42"/>
                </a:lnTo>
                <a:lnTo>
                  <a:pt x="372" y="42"/>
                </a:lnTo>
                <a:lnTo>
                  <a:pt x="372" y="42"/>
                </a:lnTo>
                <a:close/>
                <a:moveTo>
                  <a:pt x="536" y="48"/>
                </a:moveTo>
                <a:lnTo>
                  <a:pt x="536" y="48"/>
                </a:lnTo>
                <a:lnTo>
                  <a:pt x="530" y="48"/>
                </a:lnTo>
                <a:lnTo>
                  <a:pt x="530" y="42"/>
                </a:lnTo>
                <a:lnTo>
                  <a:pt x="530" y="38"/>
                </a:lnTo>
                <a:lnTo>
                  <a:pt x="524" y="38"/>
                </a:lnTo>
                <a:lnTo>
                  <a:pt x="530" y="38"/>
                </a:lnTo>
                <a:lnTo>
                  <a:pt x="536" y="38"/>
                </a:lnTo>
                <a:lnTo>
                  <a:pt x="536" y="38"/>
                </a:lnTo>
                <a:lnTo>
                  <a:pt x="540" y="38"/>
                </a:lnTo>
                <a:lnTo>
                  <a:pt x="550" y="38"/>
                </a:lnTo>
                <a:lnTo>
                  <a:pt x="550" y="42"/>
                </a:lnTo>
                <a:lnTo>
                  <a:pt x="556" y="42"/>
                </a:lnTo>
                <a:lnTo>
                  <a:pt x="562" y="42"/>
                </a:lnTo>
                <a:lnTo>
                  <a:pt x="562" y="48"/>
                </a:lnTo>
                <a:lnTo>
                  <a:pt x="550" y="42"/>
                </a:lnTo>
                <a:lnTo>
                  <a:pt x="550" y="42"/>
                </a:lnTo>
                <a:lnTo>
                  <a:pt x="550" y="48"/>
                </a:lnTo>
                <a:lnTo>
                  <a:pt x="546" y="48"/>
                </a:lnTo>
                <a:lnTo>
                  <a:pt x="540" y="48"/>
                </a:lnTo>
                <a:lnTo>
                  <a:pt x="546" y="48"/>
                </a:lnTo>
                <a:lnTo>
                  <a:pt x="550" y="48"/>
                </a:lnTo>
                <a:lnTo>
                  <a:pt x="550" y="48"/>
                </a:lnTo>
                <a:lnTo>
                  <a:pt x="546" y="48"/>
                </a:lnTo>
                <a:lnTo>
                  <a:pt x="540" y="48"/>
                </a:lnTo>
                <a:lnTo>
                  <a:pt x="540" y="48"/>
                </a:lnTo>
                <a:lnTo>
                  <a:pt x="540" y="48"/>
                </a:lnTo>
                <a:lnTo>
                  <a:pt x="536" y="48"/>
                </a:lnTo>
                <a:lnTo>
                  <a:pt x="536" y="48"/>
                </a:lnTo>
                <a:lnTo>
                  <a:pt x="536" y="48"/>
                </a:lnTo>
                <a:lnTo>
                  <a:pt x="536" y="48"/>
                </a:lnTo>
                <a:close/>
                <a:moveTo>
                  <a:pt x="512" y="48"/>
                </a:moveTo>
                <a:lnTo>
                  <a:pt x="512" y="48"/>
                </a:lnTo>
                <a:lnTo>
                  <a:pt x="512" y="48"/>
                </a:lnTo>
                <a:lnTo>
                  <a:pt x="512" y="42"/>
                </a:lnTo>
                <a:lnTo>
                  <a:pt x="512" y="42"/>
                </a:lnTo>
                <a:lnTo>
                  <a:pt x="518" y="42"/>
                </a:lnTo>
                <a:lnTo>
                  <a:pt x="524" y="42"/>
                </a:lnTo>
                <a:lnTo>
                  <a:pt x="524" y="42"/>
                </a:lnTo>
                <a:lnTo>
                  <a:pt x="530" y="42"/>
                </a:lnTo>
                <a:lnTo>
                  <a:pt x="530" y="48"/>
                </a:lnTo>
                <a:lnTo>
                  <a:pt x="530" y="48"/>
                </a:lnTo>
                <a:lnTo>
                  <a:pt x="524" y="48"/>
                </a:lnTo>
                <a:lnTo>
                  <a:pt x="524" y="54"/>
                </a:lnTo>
                <a:lnTo>
                  <a:pt x="524" y="54"/>
                </a:lnTo>
                <a:lnTo>
                  <a:pt x="524" y="48"/>
                </a:lnTo>
                <a:lnTo>
                  <a:pt x="518" y="48"/>
                </a:lnTo>
                <a:lnTo>
                  <a:pt x="512" y="48"/>
                </a:lnTo>
                <a:lnTo>
                  <a:pt x="512" y="48"/>
                </a:lnTo>
                <a:lnTo>
                  <a:pt x="508" y="48"/>
                </a:lnTo>
                <a:lnTo>
                  <a:pt x="512" y="48"/>
                </a:lnTo>
                <a:lnTo>
                  <a:pt x="512" y="48"/>
                </a:lnTo>
                <a:lnTo>
                  <a:pt x="512" y="48"/>
                </a:lnTo>
                <a:lnTo>
                  <a:pt x="512" y="48"/>
                </a:lnTo>
                <a:close/>
                <a:moveTo>
                  <a:pt x="1038" y="70"/>
                </a:moveTo>
                <a:lnTo>
                  <a:pt x="1038" y="70"/>
                </a:lnTo>
                <a:lnTo>
                  <a:pt x="1038" y="70"/>
                </a:lnTo>
                <a:lnTo>
                  <a:pt x="1038" y="70"/>
                </a:lnTo>
                <a:lnTo>
                  <a:pt x="1034" y="66"/>
                </a:lnTo>
                <a:lnTo>
                  <a:pt x="1038" y="66"/>
                </a:lnTo>
                <a:lnTo>
                  <a:pt x="1038" y="70"/>
                </a:lnTo>
                <a:lnTo>
                  <a:pt x="1038" y="70"/>
                </a:lnTo>
                <a:lnTo>
                  <a:pt x="1044" y="66"/>
                </a:lnTo>
                <a:lnTo>
                  <a:pt x="1050" y="66"/>
                </a:lnTo>
                <a:lnTo>
                  <a:pt x="1050" y="60"/>
                </a:lnTo>
                <a:lnTo>
                  <a:pt x="1054" y="60"/>
                </a:lnTo>
                <a:lnTo>
                  <a:pt x="1054" y="60"/>
                </a:lnTo>
                <a:lnTo>
                  <a:pt x="1060" y="60"/>
                </a:lnTo>
                <a:lnTo>
                  <a:pt x="1060" y="60"/>
                </a:lnTo>
                <a:lnTo>
                  <a:pt x="1054" y="60"/>
                </a:lnTo>
                <a:lnTo>
                  <a:pt x="1054" y="54"/>
                </a:lnTo>
                <a:lnTo>
                  <a:pt x="1060" y="54"/>
                </a:lnTo>
                <a:lnTo>
                  <a:pt x="1066" y="54"/>
                </a:lnTo>
                <a:lnTo>
                  <a:pt x="1066" y="48"/>
                </a:lnTo>
                <a:lnTo>
                  <a:pt x="1066" y="48"/>
                </a:lnTo>
                <a:lnTo>
                  <a:pt x="1066" y="54"/>
                </a:lnTo>
                <a:lnTo>
                  <a:pt x="1072" y="54"/>
                </a:lnTo>
                <a:lnTo>
                  <a:pt x="1072" y="48"/>
                </a:lnTo>
                <a:lnTo>
                  <a:pt x="1078" y="48"/>
                </a:lnTo>
                <a:lnTo>
                  <a:pt x="1078" y="48"/>
                </a:lnTo>
                <a:lnTo>
                  <a:pt x="1082" y="48"/>
                </a:lnTo>
                <a:lnTo>
                  <a:pt x="1088" y="48"/>
                </a:lnTo>
                <a:lnTo>
                  <a:pt x="1088" y="48"/>
                </a:lnTo>
                <a:lnTo>
                  <a:pt x="1092" y="48"/>
                </a:lnTo>
                <a:lnTo>
                  <a:pt x="1098" y="48"/>
                </a:lnTo>
                <a:lnTo>
                  <a:pt x="1104" y="48"/>
                </a:lnTo>
                <a:lnTo>
                  <a:pt x="1104" y="48"/>
                </a:lnTo>
                <a:lnTo>
                  <a:pt x="1108" y="54"/>
                </a:lnTo>
                <a:lnTo>
                  <a:pt x="1104" y="60"/>
                </a:lnTo>
                <a:lnTo>
                  <a:pt x="1104" y="60"/>
                </a:lnTo>
                <a:lnTo>
                  <a:pt x="1098" y="60"/>
                </a:lnTo>
                <a:lnTo>
                  <a:pt x="1104" y="60"/>
                </a:lnTo>
                <a:lnTo>
                  <a:pt x="1104" y="60"/>
                </a:lnTo>
                <a:lnTo>
                  <a:pt x="1104" y="60"/>
                </a:lnTo>
                <a:lnTo>
                  <a:pt x="1108" y="60"/>
                </a:lnTo>
                <a:lnTo>
                  <a:pt x="1108" y="60"/>
                </a:lnTo>
                <a:lnTo>
                  <a:pt x="1114" y="60"/>
                </a:lnTo>
                <a:lnTo>
                  <a:pt x="1114" y="54"/>
                </a:lnTo>
                <a:lnTo>
                  <a:pt x="1120" y="54"/>
                </a:lnTo>
                <a:lnTo>
                  <a:pt x="1120" y="54"/>
                </a:lnTo>
                <a:lnTo>
                  <a:pt x="1126" y="54"/>
                </a:lnTo>
                <a:lnTo>
                  <a:pt x="1132" y="54"/>
                </a:lnTo>
                <a:lnTo>
                  <a:pt x="1132" y="60"/>
                </a:lnTo>
                <a:lnTo>
                  <a:pt x="1136" y="60"/>
                </a:lnTo>
                <a:lnTo>
                  <a:pt x="1136" y="60"/>
                </a:lnTo>
                <a:lnTo>
                  <a:pt x="1136" y="60"/>
                </a:lnTo>
                <a:lnTo>
                  <a:pt x="1136" y="60"/>
                </a:lnTo>
                <a:lnTo>
                  <a:pt x="1136" y="66"/>
                </a:lnTo>
                <a:lnTo>
                  <a:pt x="1132" y="66"/>
                </a:lnTo>
                <a:lnTo>
                  <a:pt x="1132" y="70"/>
                </a:lnTo>
                <a:lnTo>
                  <a:pt x="1132" y="70"/>
                </a:lnTo>
                <a:lnTo>
                  <a:pt x="1136" y="70"/>
                </a:lnTo>
                <a:lnTo>
                  <a:pt x="1132" y="70"/>
                </a:lnTo>
                <a:lnTo>
                  <a:pt x="1132" y="74"/>
                </a:lnTo>
                <a:lnTo>
                  <a:pt x="1126" y="74"/>
                </a:lnTo>
                <a:lnTo>
                  <a:pt x="1126" y="70"/>
                </a:lnTo>
                <a:lnTo>
                  <a:pt x="1120" y="70"/>
                </a:lnTo>
                <a:lnTo>
                  <a:pt x="1120" y="74"/>
                </a:lnTo>
                <a:lnTo>
                  <a:pt x="1126" y="74"/>
                </a:lnTo>
                <a:lnTo>
                  <a:pt x="1132" y="74"/>
                </a:lnTo>
                <a:lnTo>
                  <a:pt x="1132" y="80"/>
                </a:lnTo>
                <a:lnTo>
                  <a:pt x="1136" y="80"/>
                </a:lnTo>
                <a:lnTo>
                  <a:pt x="1136" y="86"/>
                </a:lnTo>
                <a:lnTo>
                  <a:pt x="1132" y="86"/>
                </a:lnTo>
                <a:lnTo>
                  <a:pt x="1126" y="86"/>
                </a:lnTo>
                <a:lnTo>
                  <a:pt x="1120" y="86"/>
                </a:lnTo>
                <a:lnTo>
                  <a:pt x="1120" y="86"/>
                </a:lnTo>
                <a:lnTo>
                  <a:pt x="1114" y="86"/>
                </a:lnTo>
                <a:lnTo>
                  <a:pt x="1114" y="92"/>
                </a:lnTo>
                <a:lnTo>
                  <a:pt x="1108" y="86"/>
                </a:lnTo>
                <a:lnTo>
                  <a:pt x="1108" y="86"/>
                </a:lnTo>
                <a:lnTo>
                  <a:pt x="1104" y="86"/>
                </a:lnTo>
                <a:lnTo>
                  <a:pt x="1104" y="86"/>
                </a:lnTo>
                <a:lnTo>
                  <a:pt x="1098" y="86"/>
                </a:lnTo>
                <a:lnTo>
                  <a:pt x="1092" y="86"/>
                </a:lnTo>
                <a:lnTo>
                  <a:pt x="1092" y="86"/>
                </a:lnTo>
                <a:lnTo>
                  <a:pt x="1088" y="86"/>
                </a:lnTo>
                <a:lnTo>
                  <a:pt x="1088" y="86"/>
                </a:lnTo>
                <a:lnTo>
                  <a:pt x="1082" y="86"/>
                </a:lnTo>
                <a:lnTo>
                  <a:pt x="1088" y="86"/>
                </a:lnTo>
                <a:lnTo>
                  <a:pt x="1082" y="86"/>
                </a:lnTo>
                <a:lnTo>
                  <a:pt x="1078" y="86"/>
                </a:lnTo>
                <a:lnTo>
                  <a:pt x="1078" y="86"/>
                </a:lnTo>
                <a:lnTo>
                  <a:pt x="1078" y="80"/>
                </a:lnTo>
                <a:lnTo>
                  <a:pt x="1072" y="80"/>
                </a:lnTo>
                <a:lnTo>
                  <a:pt x="1066" y="80"/>
                </a:lnTo>
                <a:lnTo>
                  <a:pt x="1066" y="80"/>
                </a:lnTo>
                <a:lnTo>
                  <a:pt x="1060" y="80"/>
                </a:lnTo>
                <a:lnTo>
                  <a:pt x="1060" y="74"/>
                </a:lnTo>
                <a:lnTo>
                  <a:pt x="1054" y="74"/>
                </a:lnTo>
                <a:lnTo>
                  <a:pt x="1054" y="70"/>
                </a:lnTo>
                <a:lnTo>
                  <a:pt x="1054" y="70"/>
                </a:lnTo>
                <a:lnTo>
                  <a:pt x="1054" y="70"/>
                </a:lnTo>
                <a:lnTo>
                  <a:pt x="1050" y="70"/>
                </a:lnTo>
                <a:lnTo>
                  <a:pt x="1054" y="70"/>
                </a:lnTo>
                <a:lnTo>
                  <a:pt x="1050" y="70"/>
                </a:lnTo>
                <a:lnTo>
                  <a:pt x="1050" y="66"/>
                </a:lnTo>
                <a:lnTo>
                  <a:pt x="1044" y="70"/>
                </a:lnTo>
                <a:lnTo>
                  <a:pt x="1038" y="70"/>
                </a:lnTo>
                <a:lnTo>
                  <a:pt x="1038" y="70"/>
                </a:lnTo>
                <a:lnTo>
                  <a:pt x="1038" y="70"/>
                </a:lnTo>
                <a:lnTo>
                  <a:pt x="1038" y="70"/>
                </a:lnTo>
                <a:close/>
                <a:moveTo>
                  <a:pt x="1012" y="54"/>
                </a:moveTo>
                <a:lnTo>
                  <a:pt x="1006" y="54"/>
                </a:lnTo>
                <a:lnTo>
                  <a:pt x="1012" y="54"/>
                </a:lnTo>
                <a:lnTo>
                  <a:pt x="1018" y="54"/>
                </a:lnTo>
                <a:lnTo>
                  <a:pt x="1018" y="54"/>
                </a:lnTo>
                <a:lnTo>
                  <a:pt x="1022" y="54"/>
                </a:lnTo>
                <a:lnTo>
                  <a:pt x="1028" y="54"/>
                </a:lnTo>
                <a:lnTo>
                  <a:pt x="1028" y="54"/>
                </a:lnTo>
                <a:lnTo>
                  <a:pt x="1034" y="54"/>
                </a:lnTo>
                <a:lnTo>
                  <a:pt x="1038" y="54"/>
                </a:lnTo>
                <a:lnTo>
                  <a:pt x="1038" y="54"/>
                </a:lnTo>
                <a:lnTo>
                  <a:pt x="1044" y="54"/>
                </a:lnTo>
                <a:lnTo>
                  <a:pt x="1050" y="60"/>
                </a:lnTo>
                <a:lnTo>
                  <a:pt x="1044" y="60"/>
                </a:lnTo>
                <a:lnTo>
                  <a:pt x="1044" y="60"/>
                </a:lnTo>
                <a:lnTo>
                  <a:pt x="1038" y="60"/>
                </a:lnTo>
                <a:lnTo>
                  <a:pt x="1038" y="60"/>
                </a:lnTo>
                <a:lnTo>
                  <a:pt x="1034" y="60"/>
                </a:lnTo>
                <a:lnTo>
                  <a:pt x="1034" y="66"/>
                </a:lnTo>
                <a:lnTo>
                  <a:pt x="1028" y="66"/>
                </a:lnTo>
                <a:lnTo>
                  <a:pt x="1028" y="66"/>
                </a:lnTo>
                <a:lnTo>
                  <a:pt x="1022" y="66"/>
                </a:lnTo>
                <a:lnTo>
                  <a:pt x="1022" y="60"/>
                </a:lnTo>
                <a:lnTo>
                  <a:pt x="1028" y="60"/>
                </a:lnTo>
                <a:lnTo>
                  <a:pt x="1022" y="60"/>
                </a:lnTo>
                <a:lnTo>
                  <a:pt x="1018" y="60"/>
                </a:lnTo>
                <a:lnTo>
                  <a:pt x="1012" y="60"/>
                </a:lnTo>
                <a:lnTo>
                  <a:pt x="1012" y="54"/>
                </a:lnTo>
                <a:lnTo>
                  <a:pt x="1012" y="54"/>
                </a:lnTo>
                <a:lnTo>
                  <a:pt x="1012" y="54"/>
                </a:lnTo>
                <a:lnTo>
                  <a:pt x="1012" y="54"/>
                </a:lnTo>
                <a:close/>
                <a:moveTo>
                  <a:pt x="1136" y="66"/>
                </a:moveTo>
                <a:lnTo>
                  <a:pt x="1136" y="60"/>
                </a:lnTo>
                <a:lnTo>
                  <a:pt x="1136" y="60"/>
                </a:lnTo>
                <a:lnTo>
                  <a:pt x="1142" y="66"/>
                </a:lnTo>
                <a:lnTo>
                  <a:pt x="1136" y="66"/>
                </a:lnTo>
                <a:lnTo>
                  <a:pt x="1136" y="66"/>
                </a:lnTo>
                <a:lnTo>
                  <a:pt x="1136" y="66"/>
                </a:lnTo>
                <a:lnTo>
                  <a:pt x="1136" y="66"/>
                </a:lnTo>
                <a:lnTo>
                  <a:pt x="1136" y="66"/>
                </a:lnTo>
                <a:close/>
                <a:moveTo>
                  <a:pt x="806" y="70"/>
                </a:moveTo>
                <a:lnTo>
                  <a:pt x="800" y="70"/>
                </a:lnTo>
                <a:lnTo>
                  <a:pt x="800" y="66"/>
                </a:lnTo>
                <a:lnTo>
                  <a:pt x="800" y="66"/>
                </a:lnTo>
                <a:lnTo>
                  <a:pt x="806" y="66"/>
                </a:lnTo>
                <a:lnTo>
                  <a:pt x="812" y="66"/>
                </a:lnTo>
                <a:lnTo>
                  <a:pt x="812" y="66"/>
                </a:lnTo>
                <a:lnTo>
                  <a:pt x="812" y="70"/>
                </a:lnTo>
                <a:lnTo>
                  <a:pt x="818" y="70"/>
                </a:lnTo>
                <a:lnTo>
                  <a:pt x="822" y="70"/>
                </a:lnTo>
                <a:lnTo>
                  <a:pt x="818" y="70"/>
                </a:lnTo>
                <a:lnTo>
                  <a:pt x="812" y="70"/>
                </a:lnTo>
                <a:lnTo>
                  <a:pt x="812" y="70"/>
                </a:lnTo>
                <a:lnTo>
                  <a:pt x="806" y="70"/>
                </a:lnTo>
                <a:lnTo>
                  <a:pt x="806" y="70"/>
                </a:lnTo>
                <a:lnTo>
                  <a:pt x="806" y="70"/>
                </a:lnTo>
                <a:lnTo>
                  <a:pt x="806" y="70"/>
                </a:lnTo>
                <a:close/>
                <a:moveTo>
                  <a:pt x="1018" y="70"/>
                </a:moveTo>
                <a:lnTo>
                  <a:pt x="1022" y="70"/>
                </a:lnTo>
                <a:lnTo>
                  <a:pt x="1028" y="70"/>
                </a:lnTo>
                <a:lnTo>
                  <a:pt x="1028" y="70"/>
                </a:lnTo>
                <a:lnTo>
                  <a:pt x="1028" y="70"/>
                </a:lnTo>
                <a:lnTo>
                  <a:pt x="1028" y="70"/>
                </a:lnTo>
                <a:lnTo>
                  <a:pt x="1022" y="70"/>
                </a:lnTo>
                <a:lnTo>
                  <a:pt x="1018" y="70"/>
                </a:lnTo>
                <a:lnTo>
                  <a:pt x="1018" y="70"/>
                </a:lnTo>
                <a:lnTo>
                  <a:pt x="1018" y="70"/>
                </a:lnTo>
                <a:lnTo>
                  <a:pt x="1018" y="70"/>
                </a:lnTo>
                <a:close/>
                <a:moveTo>
                  <a:pt x="1028" y="70"/>
                </a:moveTo>
                <a:lnTo>
                  <a:pt x="1034" y="70"/>
                </a:lnTo>
                <a:lnTo>
                  <a:pt x="1038" y="70"/>
                </a:lnTo>
                <a:lnTo>
                  <a:pt x="1038" y="70"/>
                </a:lnTo>
                <a:lnTo>
                  <a:pt x="1034" y="70"/>
                </a:lnTo>
                <a:lnTo>
                  <a:pt x="1028" y="70"/>
                </a:lnTo>
                <a:lnTo>
                  <a:pt x="1028" y="70"/>
                </a:lnTo>
                <a:lnTo>
                  <a:pt x="1028" y="70"/>
                </a:lnTo>
                <a:lnTo>
                  <a:pt x="1028" y="70"/>
                </a:lnTo>
                <a:close/>
                <a:moveTo>
                  <a:pt x="1206" y="96"/>
                </a:moveTo>
                <a:lnTo>
                  <a:pt x="1206" y="96"/>
                </a:lnTo>
                <a:lnTo>
                  <a:pt x="1206" y="102"/>
                </a:lnTo>
                <a:lnTo>
                  <a:pt x="1200" y="102"/>
                </a:lnTo>
                <a:lnTo>
                  <a:pt x="1196" y="102"/>
                </a:lnTo>
                <a:lnTo>
                  <a:pt x="1196" y="102"/>
                </a:lnTo>
                <a:lnTo>
                  <a:pt x="1190" y="102"/>
                </a:lnTo>
                <a:lnTo>
                  <a:pt x="1186" y="102"/>
                </a:lnTo>
                <a:lnTo>
                  <a:pt x="1186" y="108"/>
                </a:lnTo>
                <a:lnTo>
                  <a:pt x="1180" y="108"/>
                </a:lnTo>
                <a:lnTo>
                  <a:pt x="1174" y="108"/>
                </a:lnTo>
                <a:lnTo>
                  <a:pt x="1168" y="108"/>
                </a:lnTo>
                <a:lnTo>
                  <a:pt x="1168" y="108"/>
                </a:lnTo>
                <a:lnTo>
                  <a:pt x="1162" y="108"/>
                </a:lnTo>
                <a:lnTo>
                  <a:pt x="1158" y="108"/>
                </a:lnTo>
                <a:lnTo>
                  <a:pt x="1158" y="108"/>
                </a:lnTo>
                <a:lnTo>
                  <a:pt x="1152" y="108"/>
                </a:lnTo>
                <a:lnTo>
                  <a:pt x="1146" y="108"/>
                </a:lnTo>
                <a:lnTo>
                  <a:pt x="1146" y="108"/>
                </a:lnTo>
                <a:lnTo>
                  <a:pt x="1146" y="108"/>
                </a:lnTo>
                <a:lnTo>
                  <a:pt x="1142" y="108"/>
                </a:lnTo>
                <a:lnTo>
                  <a:pt x="1136" y="114"/>
                </a:lnTo>
                <a:lnTo>
                  <a:pt x="1136" y="114"/>
                </a:lnTo>
                <a:lnTo>
                  <a:pt x="1132" y="114"/>
                </a:lnTo>
                <a:lnTo>
                  <a:pt x="1126" y="114"/>
                </a:lnTo>
                <a:lnTo>
                  <a:pt x="1126" y="108"/>
                </a:lnTo>
                <a:lnTo>
                  <a:pt x="1132" y="108"/>
                </a:lnTo>
                <a:lnTo>
                  <a:pt x="1136" y="102"/>
                </a:lnTo>
                <a:lnTo>
                  <a:pt x="1136" y="102"/>
                </a:lnTo>
                <a:lnTo>
                  <a:pt x="1136" y="96"/>
                </a:lnTo>
                <a:lnTo>
                  <a:pt x="1136" y="92"/>
                </a:lnTo>
                <a:lnTo>
                  <a:pt x="1142" y="92"/>
                </a:lnTo>
                <a:lnTo>
                  <a:pt x="1146" y="86"/>
                </a:lnTo>
                <a:lnTo>
                  <a:pt x="1146" y="92"/>
                </a:lnTo>
                <a:lnTo>
                  <a:pt x="1152" y="92"/>
                </a:lnTo>
                <a:lnTo>
                  <a:pt x="1146" y="86"/>
                </a:lnTo>
                <a:lnTo>
                  <a:pt x="1146" y="86"/>
                </a:lnTo>
                <a:lnTo>
                  <a:pt x="1146" y="86"/>
                </a:lnTo>
                <a:lnTo>
                  <a:pt x="1152" y="86"/>
                </a:lnTo>
                <a:lnTo>
                  <a:pt x="1158" y="86"/>
                </a:lnTo>
                <a:lnTo>
                  <a:pt x="1158" y="86"/>
                </a:lnTo>
                <a:lnTo>
                  <a:pt x="1158" y="86"/>
                </a:lnTo>
                <a:lnTo>
                  <a:pt x="1152" y="86"/>
                </a:lnTo>
                <a:lnTo>
                  <a:pt x="1152" y="80"/>
                </a:lnTo>
                <a:lnTo>
                  <a:pt x="1146" y="80"/>
                </a:lnTo>
                <a:lnTo>
                  <a:pt x="1152" y="74"/>
                </a:lnTo>
                <a:lnTo>
                  <a:pt x="1158" y="74"/>
                </a:lnTo>
                <a:lnTo>
                  <a:pt x="1158" y="70"/>
                </a:lnTo>
                <a:lnTo>
                  <a:pt x="1158" y="70"/>
                </a:lnTo>
                <a:lnTo>
                  <a:pt x="1162" y="70"/>
                </a:lnTo>
                <a:lnTo>
                  <a:pt x="1162" y="74"/>
                </a:lnTo>
                <a:lnTo>
                  <a:pt x="1168" y="74"/>
                </a:lnTo>
                <a:lnTo>
                  <a:pt x="1168" y="70"/>
                </a:lnTo>
                <a:lnTo>
                  <a:pt x="1168" y="70"/>
                </a:lnTo>
                <a:lnTo>
                  <a:pt x="1168" y="70"/>
                </a:lnTo>
                <a:lnTo>
                  <a:pt x="1168" y="70"/>
                </a:lnTo>
                <a:lnTo>
                  <a:pt x="1174" y="70"/>
                </a:lnTo>
                <a:lnTo>
                  <a:pt x="1180" y="70"/>
                </a:lnTo>
                <a:lnTo>
                  <a:pt x="1180" y="74"/>
                </a:lnTo>
                <a:lnTo>
                  <a:pt x="1174" y="74"/>
                </a:lnTo>
                <a:lnTo>
                  <a:pt x="1174" y="80"/>
                </a:lnTo>
                <a:lnTo>
                  <a:pt x="1168" y="86"/>
                </a:lnTo>
                <a:lnTo>
                  <a:pt x="1168" y="86"/>
                </a:lnTo>
                <a:lnTo>
                  <a:pt x="1174" y="86"/>
                </a:lnTo>
                <a:lnTo>
                  <a:pt x="1174" y="86"/>
                </a:lnTo>
                <a:lnTo>
                  <a:pt x="1180" y="80"/>
                </a:lnTo>
                <a:lnTo>
                  <a:pt x="1186" y="80"/>
                </a:lnTo>
                <a:lnTo>
                  <a:pt x="1186" y="80"/>
                </a:lnTo>
                <a:lnTo>
                  <a:pt x="1190" y="80"/>
                </a:lnTo>
                <a:lnTo>
                  <a:pt x="1196" y="80"/>
                </a:lnTo>
                <a:lnTo>
                  <a:pt x="1196" y="86"/>
                </a:lnTo>
                <a:lnTo>
                  <a:pt x="1196" y="86"/>
                </a:lnTo>
                <a:lnTo>
                  <a:pt x="1200" y="86"/>
                </a:lnTo>
                <a:lnTo>
                  <a:pt x="1200" y="86"/>
                </a:lnTo>
                <a:lnTo>
                  <a:pt x="1200" y="92"/>
                </a:lnTo>
                <a:lnTo>
                  <a:pt x="1200" y="86"/>
                </a:lnTo>
                <a:lnTo>
                  <a:pt x="1206" y="86"/>
                </a:lnTo>
                <a:lnTo>
                  <a:pt x="1200" y="86"/>
                </a:lnTo>
                <a:lnTo>
                  <a:pt x="1206" y="86"/>
                </a:lnTo>
                <a:lnTo>
                  <a:pt x="1206" y="86"/>
                </a:lnTo>
                <a:lnTo>
                  <a:pt x="1206" y="92"/>
                </a:lnTo>
                <a:lnTo>
                  <a:pt x="1212" y="96"/>
                </a:lnTo>
                <a:lnTo>
                  <a:pt x="1212" y="96"/>
                </a:lnTo>
                <a:lnTo>
                  <a:pt x="1206" y="96"/>
                </a:lnTo>
                <a:lnTo>
                  <a:pt x="1206" y="96"/>
                </a:lnTo>
                <a:lnTo>
                  <a:pt x="1206" y="96"/>
                </a:lnTo>
                <a:lnTo>
                  <a:pt x="1206" y="96"/>
                </a:lnTo>
                <a:close/>
                <a:moveTo>
                  <a:pt x="1222" y="108"/>
                </a:moveTo>
                <a:lnTo>
                  <a:pt x="1218" y="108"/>
                </a:lnTo>
                <a:lnTo>
                  <a:pt x="1218" y="102"/>
                </a:lnTo>
                <a:lnTo>
                  <a:pt x="1222" y="102"/>
                </a:lnTo>
                <a:lnTo>
                  <a:pt x="1228" y="102"/>
                </a:lnTo>
                <a:lnTo>
                  <a:pt x="1234" y="102"/>
                </a:lnTo>
                <a:lnTo>
                  <a:pt x="1228" y="102"/>
                </a:lnTo>
                <a:lnTo>
                  <a:pt x="1228" y="108"/>
                </a:lnTo>
                <a:lnTo>
                  <a:pt x="1222" y="108"/>
                </a:lnTo>
                <a:lnTo>
                  <a:pt x="1222" y="108"/>
                </a:lnTo>
                <a:lnTo>
                  <a:pt x="1222" y="108"/>
                </a:lnTo>
                <a:lnTo>
                  <a:pt x="1222" y="108"/>
                </a:lnTo>
                <a:close/>
                <a:moveTo>
                  <a:pt x="1050" y="108"/>
                </a:moveTo>
                <a:lnTo>
                  <a:pt x="1044" y="108"/>
                </a:lnTo>
                <a:lnTo>
                  <a:pt x="1050" y="108"/>
                </a:lnTo>
                <a:lnTo>
                  <a:pt x="1050" y="108"/>
                </a:lnTo>
                <a:lnTo>
                  <a:pt x="1050" y="108"/>
                </a:lnTo>
                <a:lnTo>
                  <a:pt x="1050" y="108"/>
                </a:lnTo>
                <a:close/>
                <a:moveTo>
                  <a:pt x="1246" y="108"/>
                </a:moveTo>
                <a:lnTo>
                  <a:pt x="1240" y="108"/>
                </a:lnTo>
                <a:lnTo>
                  <a:pt x="1234" y="108"/>
                </a:lnTo>
                <a:lnTo>
                  <a:pt x="1234" y="108"/>
                </a:lnTo>
                <a:lnTo>
                  <a:pt x="1228" y="108"/>
                </a:lnTo>
                <a:lnTo>
                  <a:pt x="1228" y="108"/>
                </a:lnTo>
                <a:lnTo>
                  <a:pt x="1234" y="108"/>
                </a:lnTo>
                <a:lnTo>
                  <a:pt x="1234" y="108"/>
                </a:lnTo>
                <a:lnTo>
                  <a:pt x="1240" y="108"/>
                </a:lnTo>
                <a:lnTo>
                  <a:pt x="1246" y="108"/>
                </a:lnTo>
                <a:lnTo>
                  <a:pt x="1246" y="108"/>
                </a:lnTo>
                <a:lnTo>
                  <a:pt x="1246" y="108"/>
                </a:lnTo>
                <a:lnTo>
                  <a:pt x="1246" y="108"/>
                </a:lnTo>
                <a:lnTo>
                  <a:pt x="1246" y="108"/>
                </a:lnTo>
                <a:lnTo>
                  <a:pt x="1246" y="108"/>
                </a:lnTo>
                <a:lnTo>
                  <a:pt x="1246" y="108"/>
                </a:lnTo>
                <a:close/>
                <a:moveTo>
                  <a:pt x="1022" y="120"/>
                </a:moveTo>
                <a:lnTo>
                  <a:pt x="1018" y="120"/>
                </a:lnTo>
                <a:lnTo>
                  <a:pt x="1022" y="120"/>
                </a:lnTo>
                <a:lnTo>
                  <a:pt x="1022" y="120"/>
                </a:lnTo>
                <a:lnTo>
                  <a:pt x="1022" y="120"/>
                </a:lnTo>
                <a:lnTo>
                  <a:pt x="1022" y="120"/>
                </a:lnTo>
                <a:close/>
                <a:moveTo>
                  <a:pt x="880" y="124"/>
                </a:moveTo>
                <a:lnTo>
                  <a:pt x="886" y="124"/>
                </a:lnTo>
                <a:lnTo>
                  <a:pt x="886" y="128"/>
                </a:lnTo>
                <a:lnTo>
                  <a:pt x="880" y="124"/>
                </a:lnTo>
                <a:lnTo>
                  <a:pt x="880" y="124"/>
                </a:lnTo>
                <a:lnTo>
                  <a:pt x="880" y="124"/>
                </a:lnTo>
                <a:lnTo>
                  <a:pt x="880" y="124"/>
                </a:lnTo>
                <a:close/>
                <a:moveTo>
                  <a:pt x="1228" y="128"/>
                </a:moveTo>
                <a:lnTo>
                  <a:pt x="1234" y="124"/>
                </a:lnTo>
                <a:lnTo>
                  <a:pt x="1234" y="128"/>
                </a:lnTo>
                <a:lnTo>
                  <a:pt x="1234" y="128"/>
                </a:lnTo>
                <a:lnTo>
                  <a:pt x="1228" y="128"/>
                </a:lnTo>
                <a:lnTo>
                  <a:pt x="1228" y="128"/>
                </a:lnTo>
                <a:lnTo>
                  <a:pt x="1228" y="128"/>
                </a:lnTo>
                <a:lnTo>
                  <a:pt x="1228" y="128"/>
                </a:lnTo>
                <a:close/>
                <a:moveTo>
                  <a:pt x="1240" y="128"/>
                </a:moveTo>
                <a:lnTo>
                  <a:pt x="1240" y="128"/>
                </a:lnTo>
                <a:lnTo>
                  <a:pt x="1246" y="128"/>
                </a:lnTo>
                <a:lnTo>
                  <a:pt x="1246" y="128"/>
                </a:lnTo>
                <a:lnTo>
                  <a:pt x="1246" y="128"/>
                </a:lnTo>
                <a:lnTo>
                  <a:pt x="1246" y="128"/>
                </a:lnTo>
                <a:lnTo>
                  <a:pt x="1240" y="128"/>
                </a:lnTo>
                <a:lnTo>
                  <a:pt x="1240" y="128"/>
                </a:lnTo>
                <a:lnTo>
                  <a:pt x="1240" y="128"/>
                </a:lnTo>
                <a:lnTo>
                  <a:pt x="1240" y="128"/>
                </a:lnTo>
                <a:close/>
                <a:moveTo>
                  <a:pt x="980" y="134"/>
                </a:moveTo>
                <a:lnTo>
                  <a:pt x="980" y="128"/>
                </a:lnTo>
                <a:lnTo>
                  <a:pt x="984" y="128"/>
                </a:lnTo>
                <a:lnTo>
                  <a:pt x="990" y="128"/>
                </a:lnTo>
                <a:lnTo>
                  <a:pt x="990" y="134"/>
                </a:lnTo>
                <a:lnTo>
                  <a:pt x="984" y="134"/>
                </a:lnTo>
                <a:lnTo>
                  <a:pt x="980" y="128"/>
                </a:lnTo>
                <a:lnTo>
                  <a:pt x="980" y="134"/>
                </a:lnTo>
                <a:lnTo>
                  <a:pt x="980" y="134"/>
                </a:lnTo>
                <a:lnTo>
                  <a:pt x="980" y="134"/>
                </a:lnTo>
                <a:lnTo>
                  <a:pt x="980" y="134"/>
                </a:lnTo>
                <a:close/>
                <a:moveTo>
                  <a:pt x="1088" y="128"/>
                </a:moveTo>
                <a:lnTo>
                  <a:pt x="1088" y="134"/>
                </a:lnTo>
                <a:lnTo>
                  <a:pt x="1088" y="134"/>
                </a:lnTo>
                <a:lnTo>
                  <a:pt x="1088" y="134"/>
                </a:lnTo>
                <a:lnTo>
                  <a:pt x="1082" y="140"/>
                </a:lnTo>
                <a:lnTo>
                  <a:pt x="1078" y="140"/>
                </a:lnTo>
                <a:lnTo>
                  <a:pt x="1078" y="140"/>
                </a:lnTo>
                <a:lnTo>
                  <a:pt x="1078" y="140"/>
                </a:lnTo>
                <a:lnTo>
                  <a:pt x="1078" y="140"/>
                </a:lnTo>
                <a:lnTo>
                  <a:pt x="1072" y="140"/>
                </a:lnTo>
                <a:lnTo>
                  <a:pt x="1066" y="140"/>
                </a:lnTo>
                <a:lnTo>
                  <a:pt x="1072" y="140"/>
                </a:lnTo>
                <a:lnTo>
                  <a:pt x="1078" y="134"/>
                </a:lnTo>
                <a:lnTo>
                  <a:pt x="1082" y="134"/>
                </a:lnTo>
                <a:lnTo>
                  <a:pt x="1088" y="134"/>
                </a:lnTo>
                <a:lnTo>
                  <a:pt x="1088" y="128"/>
                </a:lnTo>
                <a:lnTo>
                  <a:pt x="1088" y="128"/>
                </a:lnTo>
                <a:lnTo>
                  <a:pt x="1088" y="128"/>
                </a:lnTo>
                <a:lnTo>
                  <a:pt x="1088" y="128"/>
                </a:lnTo>
                <a:close/>
                <a:moveTo>
                  <a:pt x="980" y="134"/>
                </a:moveTo>
                <a:lnTo>
                  <a:pt x="980" y="134"/>
                </a:lnTo>
                <a:lnTo>
                  <a:pt x="980" y="134"/>
                </a:lnTo>
                <a:lnTo>
                  <a:pt x="974" y="134"/>
                </a:lnTo>
                <a:lnTo>
                  <a:pt x="980" y="134"/>
                </a:lnTo>
                <a:lnTo>
                  <a:pt x="980" y="140"/>
                </a:lnTo>
                <a:lnTo>
                  <a:pt x="974" y="140"/>
                </a:lnTo>
                <a:lnTo>
                  <a:pt x="974" y="134"/>
                </a:lnTo>
                <a:lnTo>
                  <a:pt x="980" y="134"/>
                </a:lnTo>
                <a:lnTo>
                  <a:pt x="980" y="134"/>
                </a:lnTo>
                <a:lnTo>
                  <a:pt x="980" y="134"/>
                </a:lnTo>
                <a:lnTo>
                  <a:pt x="980" y="134"/>
                </a:lnTo>
                <a:close/>
                <a:moveTo>
                  <a:pt x="1938" y="134"/>
                </a:moveTo>
                <a:lnTo>
                  <a:pt x="1938" y="134"/>
                </a:lnTo>
                <a:lnTo>
                  <a:pt x="1938" y="134"/>
                </a:lnTo>
                <a:lnTo>
                  <a:pt x="1938" y="134"/>
                </a:lnTo>
                <a:lnTo>
                  <a:pt x="1938" y="134"/>
                </a:lnTo>
                <a:lnTo>
                  <a:pt x="1938" y="134"/>
                </a:lnTo>
                <a:close/>
                <a:moveTo>
                  <a:pt x="584" y="168"/>
                </a:moveTo>
                <a:lnTo>
                  <a:pt x="584" y="168"/>
                </a:lnTo>
                <a:lnTo>
                  <a:pt x="584" y="162"/>
                </a:lnTo>
                <a:lnTo>
                  <a:pt x="584" y="162"/>
                </a:lnTo>
                <a:lnTo>
                  <a:pt x="584" y="156"/>
                </a:lnTo>
                <a:lnTo>
                  <a:pt x="590" y="156"/>
                </a:lnTo>
                <a:lnTo>
                  <a:pt x="596" y="156"/>
                </a:lnTo>
                <a:lnTo>
                  <a:pt x="600" y="156"/>
                </a:lnTo>
                <a:lnTo>
                  <a:pt x="600" y="162"/>
                </a:lnTo>
                <a:lnTo>
                  <a:pt x="600" y="162"/>
                </a:lnTo>
                <a:lnTo>
                  <a:pt x="600" y="156"/>
                </a:lnTo>
                <a:lnTo>
                  <a:pt x="604" y="162"/>
                </a:lnTo>
                <a:lnTo>
                  <a:pt x="610" y="162"/>
                </a:lnTo>
                <a:lnTo>
                  <a:pt x="610" y="156"/>
                </a:lnTo>
                <a:lnTo>
                  <a:pt x="610" y="162"/>
                </a:lnTo>
                <a:lnTo>
                  <a:pt x="616" y="162"/>
                </a:lnTo>
                <a:lnTo>
                  <a:pt x="616" y="156"/>
                </a:lnTo>
                <a:lnTo>
                  <a:pt x="622" y="156"/>
                </a:lnTo>
                <a:lnTo>
                  <a:pt x="622" y="156"/>
                </a:lnTo>
                <a:lnTo>
                  <a:pt x="626" y="156"/>
                </a:lnTo>
                <a:lnTo>
                  <a:pt x="632" y="156"/>
                </a:lnTo>
                <a:lnTo>
                  <a:pt x="632" y="152"/>
                </a:lnTo>
                <a:lnTo>
                  <a:pt x="638" y="152"/>
                </a:lnTo>
                <a:lnTo>
                  <a:pt x="644" y="152"/>
                </a:lnTo>
                <a:lnTo>
                  <a:pt x="644" y="152"/>
                </a:lnTo>
                <a:lnTo>
                  <a:pt x="644" y="152"/>
                </a:lnTo>
                <a:lnTo>
                  <a:pt x="650" y="152"/>
                </a:lnTo>
                <a:lnTo>
                  <a:pt x="654" y="152"/>
                </a:lnTo>
                <a:lnTo>
                  <a:pt x="658" y="152"/>
                </a:lnTo>
                <a:lnTo>
                  <a:pt x="654" y="152"/>
                </a:lnTo>
                <a:lnTo>
                  <a:pt x="654" y="146"/>
                </a:lnTo>
                <a:lnTo>
                  <a:pt x="658" y="146"/>
                </a:lnTo>
                <a:lnTo>
                  <a:pt x="658" y="140"/>
                </a:lnTo>
                <a:lnTo>
                  <a:pt x="664" y="140"/>
                </a:lnTo>
                <a:lnTo>
                  <a:pt x="670" y="140"/>
                </a:lnTo>
                <a:lnTo>
                  <a:pt x="670" y="140"/>
                </a:lnTo>
                <a:lnTo>
                  <a:pt x="676" y="140"/>
                </a:lnTo>
                <a:lnTo>
                  <a:pt x="680" y="140"/>
                </a:lnTo>
                <a:lnTo>
                  <a:pt x="680" y="140"/>
                </a:lnTo>
                <a:lnTo>
                  <a:pt x="686" y="140"/>
                </a:lnTo>
                <a:lnTo>
                  <a:pt x="692" y="140"/>
                </a:lnTo>
                <a:lnTo>
                  <a:pt x="692" y="140"/>
                </a:lnTo>
                <a:lnTo>
                  <a:pt x="698" y="146"/>
                </a:lnTo>
                <a:lnTo>
                  <a:pt x="692" y="146"/>
                </a:lnTo>
                <a:lnTo>
                  <a:pt x="692" y="152"/>
                </a:lnTo>
                <a:lnTo>
                  <a:pt x="692" y="156"/>
                </a:lnTo>
                <a:lnTo>
                  <a:pt x="686" y="156"/>
                </a:lnTo>
                <a:lnTo>
                  <a:pt x="680" y="156"/>
                </a:lnTo>
                <a:lnTo>
                  <a:pt x="680" y="162"/>
                </a:lnTo>
                <a:lnTo>
                  <a:pt x="676" y="162"/>
                </a:lnTo>
                <a:lnTo>
                  <a:pt x="670" y="162"/>
                </a:lnTo>
                <a:lnTo>
                  <a:pt x="670" y="168"/>
                </a:lnTo>
                <a:lnTo>
                  <a:pt x="670" y="168"/>
                </a:lnTo>
                <a:lnTo>
                  <a:pt x="664" y="168"/>
                </a:lnTo>
                <a:lnTo>
                  <a:pt x="658" y="168"/>
                </a:lnTo>
                <a:lnTo>
                  <a:pt x="658" y="168"/>
                </a:lnTo>
                <a:lnTo>
                  <a:pt x="654" y="168"/>
                </a:lnTo>
                <a:lnTo>
                  <a:pt x="650" y="168"/>
                </a:lnTo>
                <a:lnTo>
                  <a:pt x="644" y="168"/>
                </a:lnTo>
                <a:lnTo>
                  <a:pt x="644" y="174"/>
                </a:lnTo>
                <a:lnTo>
                  <a:pt x="638" y="174"/>
                </a:lnTo>
                <a:lnTo>
                  <a:pt x="632" y="174"/>
                </a:lnTo>
                <a:lnTo>
                  <a:pt x="632" y="174"/>
                </a:lnTo>
                <a:lnTo>
                  <a:pt x="626" y="174"/>
                </a:lnTo>
                <a:lnTo>
                  <a:pt x="622" y="180"/>
                </a:lnTo>
                <a:lnTo>
                  <a:pt x="622" y="180"/>
                </a:lnTo>
                <a:lnTo>
                  <a:pt x="616" y="180"/>
                </a:lnTo>
                <a:lnTo>
                  <a:pt x="610" y="180"/>
                </a:lnTo>
                <a:lnTo>
                  <a:pt x="610" y="180"/>
                </a:lnTo>
                <a:lnTo>
                  <a:pt x="610" y="180"/>
                </a:lnTo>
                <a:lnTo>
                  <a:pt x="604" y="180"/>
                </a:lnTo>
                <a:lnTo>
                  <a:pt x="600" y="180"/>
                </a:lnTo>
                <a:lnTo>
                  <a:pt x="600" y="182"/>
                </a:lnTo>
                <a:lnTo>
                  <a:pt x="600" y="180"/>
                </a:lnTo>
                <a:lnTo>
                  <a:pt x="600" y="180"/>
                </a:lnTo>
                <a:lnTo>
                  <a:pt x="600" y="182"/>
                </a:lnTo>
                <a:lnTo>
                  <a:pt x="596" y="182"/>
                </a:lnTo>
                <a:lnTo>
                  <a:pt x="596" y="188"/>
                </a:lnTo>
                <a:lnTo>
                  <a:pt x="590" y="188"/>
                </a:lnTo>
                <a:lnTo>
                  <a:pt x="590" y="182"/>
                </a:lnTo>
                <a:lnTo>
                  <a:pt x="590" y="188"/>
                </a:lnTo>
                <a:lnTo>
                  <a:pt x="584" y="188"/>
                </a:lnTo>
                <a:lnTo>
                  <a:pt x="584" y="188"/>
                </a:lnTo>
                <a:lnTo>
                  <a:pt x="584" y="188"/>
                </a:lnTo>
                <a:lnTo>
                  <a:pt x="578" y="194"/>
                </a:lnTo>
                <a:lnTo>
                  <a:pt x="578" y="188"/>
                </a:lnTo>
                <a:lnTo>
                  <a:pt x="572" y="188"/>
                </a:lnTo>
                <a:lnTo>
                  <a:pt x="572" y="194"/>
                </a:lnTo>
                <a:lnTo>
                  <a:pt x="572" y="194"/>
                </a:lnTo>
                <a:lnTo>
                  <a:pt x="568" y="194"/>
                </a:lnTo>
                <a:lnTo>
                  <a:pt x="572" y="194"/>
                </a:lnTo>
                <a:lnTo>
                  <a:pt x="572" y="194"/>
                </a:lnTo>
                <a:lnTo>
                  <a:pt x="578" y="194"/>
                </a:lnTo>
                <a:lnTo>
                  <a:pt x="578" y="200"/>
                </a:lnTo>
                <a:lnTo>
                  <a:pt x="572" y="200"/>
                </a:lnTo>
                <a:lnTo>
                  <a:pt x="572" y="200"/>
                </a:lnTo>
                <a:lnTo>
                  <a:pt x="572" y="200"/>
                </a:lnTo>
                <a:lnTo>
                  <a:pt x="572" y="200"/>
                </a:lnTo>
                <a:lnTo>
                  <a:pt x="572" y="200"/>
                </a:lnTo>
                <a:lnTo>
                  <a:pt x="568" y="200"/>
                </a:lnTo>
                <a:lnTo>
                  <a:pt x="562" y="200"/>
                </a:lnTo>
                <a:lnTo>
                  <a:pt x="562" y="200"/>
                </a:lnTo>
                <a:lnTo>
                  <a:pt x="568" y="200"/>
                </a:lnTo>
                <a:lnTo>
                  <a:pt x="568" y="206"/>
                </a:lnTo>
                <a:lnTo>
                  <a:pt x="562" y="206"/>
                </a:lnTo>
                <a:lnTo>
                  <a:pt x="562" y="200"/>
                </a:lnTo>
                <a:lnTo>
                  <a:pt x="562" y="200"/>
                </a:lnTo>
                <a:lnTo>
                  <a:pt x="562" y="206"/>
                </a:lnTo>
                <a:lnTo>
                  <a:pt x="556" y="206"/>
                </a:lnTo>
                <a:lnTo>
                  <a:pt x="556" y="210"/>
                </a:lnTo>
                <a:lnTo>
                  <a:pt x="550" y="210"/>
                </a:lnTo>
                <a:lnTo>
                  <a:pt x="550" y="206"/>
                </a:lnTo>
                <a:lnTo>
                  <a:pt x="550" y="206"/>
                </a:lnTo>
                <a:lnTo>
                  <a:pt x="546" y="206"/>
                </a:lnTo>
                <a:lnTo>
                  <a:pt x="550" y="206"/>
                </a:lnTo>
                <a:lnTo>
                  <a:pt x="550" y="210"/>
                </a:lnTo>
                <a:lnTo>
                  <a:pt x="550" y="216"/>
                </a:lnTo>
                <a:lnTo>
                  <a:pt x="550" y="216"/>
                </a:lnTo>
                <a:lnTo>
                  <a:pt x="546" y="216"/>
                </a:lnTo>
                <a:lnTo>
                  <a:pt x="546" y="216"/>
                </a:lnTo>
                <a:lnTo>
                  <a:pt x="550" y="216"/>
                </a:lnTo>
                <a:lnTo>
                  <a:pt x="546" y="216"/>
                </a:lnTo>
                <a:lnTo>
                  <a:pt x="546" y="222"/>
                </a:lnTo>
                <a:lnTo>
                  <a:pt x="540" y="222"/>
                </a:lnTo>
                <a:lnTo>
                  <a:pt x="536" y="222"/>
                </a:lnTo>
                <a:lnTo>
                  <a:pt x="536" y="216"/>
                </a:lnTo>
                <a:lnTo>
                  <a:pt x="536" y="216"/>
                </a:lnTo>
                <a:lnTo>
                  <a:pt x="530" y="216"/>
                </a:lnTo>
                <a:lnTo>
                  <a:pt x="536" y="216"/>
                </a:lnTo>
                <a:lnTo>
                  <a:pt x="536" y="222"/>
                </a:lnTo>
                <a:lnTo>
                  <a:pt x="536" y="222"/>
                </a:lnTo>
                <a:lnTo>
                  <a:pt x="540" y="222"/>
                </a:lnTo>
                <a:lnTo>
                  <a:pt x="540" y="228"/>
                </a:lnTo>
                <a:lnTo>
                  <a:pt x="536" y="228"/>
                </a:lnTo>
                <a:lnTo>
                  <a:pt x="536" y="228"/>
                </a:lnTo>
                <a:lnTo>
                  <a:pt x="530" y="228"/>
                </a:lnTo>
                <a:lnTo>
                  <a:pt x="524" y="228"/>
                </a:lnTo>
                <a:lnTo>
                  <a:pt x="524" y="228"/>
                </a:lnTo>
                <a:lnTo>
                  <a:pt x="524" y="228"/>
                </a:lnTo>
                <a:lnTo>
                  <a:pt x="530" y="228"/>
                </a:lnTo>
                <a:lnTo>
                  <a:pt x="536" y="228"/>
                </a:lnTo>
                <a:lnTo>
                  <a:pt x="536" y="228"/>
                </a:lnTo>
                <a:lnTo>
                  <a:pt x="536" y="228"/>
                </a:lnTo>
                <a:lnTo>
                  <a:pt x="536" y="234"/>
                </a:lnTo>
                <a:lnTo>
                  <a:pt x="536" y="234"/>
                </a:lnTo>
                <a:lnTo>
                  <a:pt x="530" y="234"/>
                </a:lnTo>
                <a:lnTo>
                  <a:pt x="524" y="234"/>
                </a:lnTo>
                <a:lnTo>
                  <a:pt x="524" y="228"/>
                </a:lnTo>
                <a:lnTo>
                  <a:pt x="524" y="228"/>
                </a:lnTo>
                <a:lnTo>
                  <a:pt x="524" y="234"/>
                </a:lnTo>
                <a:lnTo>
                  <a:pt x="524" y="234"/>
                </a:lnTo>
                <a:lnTo>
                  <a:pt x="530" y="234"/>
                </a:lnTo>
                <a:lnTo>
                  <a:pt x="530" y="238"/>
                </a:lnTo>
                <a:lnTo>
                  <a:pt x="524" y="238"/>
                </a:lnTo>
                <a:lnTo>
                  <a:pt x="524" y="238"/>
                </a:lnTo>
                <a:lnTo>
                  <a:pt x="524" y="238"/>
                </a:lnTo>
                <a:lnTo>
                  <a:pt x="524" y="238"/>
                </a:lnTo>
                <a:lnTo>
                  <a:pt x="518" y="238"/>
                </a:lnTo>
                <a:lnTo>
                  <a:pt x="512" y="238"/>
                </a:lnTo>
                <a:lnTo>
                  <a:pt x="512" y="238"/>
                </a:lnTo>
                <a:lnTo>
                  <a:pt x="512" y="238"/>
                </a:lnTo>
                <a:lnTo>
                  <a:pt x="512" y="238"/>
                </a:lnTo>
                <a:lnTo>
                  <a:pt x="508" y="238"/>
                </a:lnTo>
                <a:lnTo>
                  <a:pt x="502" y="238"/>
                </a:lnTo>
                <a:lnTo>
                  <a:pt x="502" y="238"/>
                </a:lnTo>
                <a:lnTo>
                  <a:pt x="502" y="238"/>
                </a:lnTo>
                <a:lnTo>
                  <a:pt x="496" y="238"/>
                </a:lnTo>
                <a:lnTo>
                  <a:pt x="492" y="238"/>
                </a:lnTo>
                <a:lnTo>
                  <a:pt x="492" y="238"/>
                </a:lnTo>
                <a:lnTo>
                  <a:pt x="486" y="238"/>
                </a:lnTo>
                <a:lnTo>
                  <a:pt x="492" y="238"/>
                </a:lnTo>
                <a:lnTo>
                  <a:pt x="492" y="234"/>
                </a:lnTo>
                <a:lnTo>
                  <a:pt x="492" y="234"/>
                </a:lnTo>
                <a:lnTo>
                  <a:pt x="496" y="234"/>
                </a:lnTo>
                <a:lnTo>
                  <a:pt x="496" y="228"/>
                </a:lnTo>
                <a:lnTo>
                  <a:pt x="502" y="228"/>
                </a:lnTo>
                <a:lnTo>
                  <a:pt x="496" y="228"/>
                </a:lnTo>
                <a:lnTo>
                  <a:pt x="492" y="228"/>
                </a:lnTo>
                <a:lnTo>
                  <a:pt x="492" y="234"/>
                </a:lnTo>
                <a:lnTo>
                  <a:pt x="486" y="234"/>
                </a:lnTo>
                <a:lnTo>
                  <a:pt x="486" y="228"/>
                </a:lnTo>
                <a:lnTo>
                  <a:pt x="482" y="228"/>
                </a:lnTo>
                <a:lnTo>
                  <a:pt x="482" y="228"/>
                </a:lnTo>
                <a:lnTo>
                  <a:pt x="482" y="228"/>
                </a:lnTo>
                <a:lnTo>
                  <a:pt x="486" y="228"/>
                </a:lnTo>
                <a:lnTo>
                  <a:pt x="486" y="228"/>
                </a:lnTo>
                <a:lnTo>
                  <a:pt x="492" y="228"/>
                </a:lnTo>
                <a:lnTo>
                  <a:pt x="492" y="222"/>
                </a:lnTo>
                <a:lnTo>
                  <a:pt x="492" y="222"/>
                </a:lnTo>
                <a:lnTo>
                  <a:pt x="496" y="222"/>
                </a:lnTo>
                <a:lnTo>
                  <a:pt x="492" y="222"/>
                </a:lnTo>
                <a:lnTo>
                  <a:pt x="496" y="216"/>
                </a:lnTo>
                <a:lnTo>
                  <a:pt x="502" y="216"/>
                </a:lnTo>
                <a:lnTo>
                  <a:pt x="502" y="216"/>
                </a:lnTo>
                <a:lnTo>
                  <a:pt x="508" y="216"/>
                </a:lnTo>
                <a:lnTo>
                  <a:pt x="512" y="216"/>
                </a:lnTo>
                <a:lnTo>
                  <a:pt x="508" y="216"/>
                </a:lnTo>
                <a:lnTo>
                  <a:pt x="508" y="216"/>
                </a:lnTo>
                <a:lnTo>
                  <a:pt x="502" y="216"/>
                </a:lnTo>
                <a:lnTo>
                  <a:pt x="502" y="216"/>
                </a:lnTo>
                <a:lnTo>
                  <a:pt x="502" y="216"/>
                </a:lnTo>
                <a:lnTo>
                  <a:pt x="508" y="216"/>
                </a:lnTo>
                <a:lnTo>
                  <a:pt x="512" y="216"/>
                </a:lnTo>
                <a:lnTo>
                  <a:pt x="508" y="216"/>
                </a:lnTo>
                <a:lnTo>
                  <a:pt x="502" y="210"/>
                </a:lnTo>
                <a:lnTo>
                  <a:pt x="512" y="210"/>
                </a:lnTo>
                <a:lnTo>
                  <a:pt x="512" y="210"/>
                </a:lnTo>
                <a:lnTo>
                  <a:pt x="518" y="206"/>
                </a:lnTo>
                <a:lnTo>
                  <a:pt x="512" y="206"/>
                </a:lnTo>
                <a:lnTo>
                  <a:pt x="512" y="206"/>
                </a:lnTo>
                <a:lnTo>
                  <a:pt x="508" y="206"/>
                </a:lnTo>
                <a:lnTo>
                  <a:pt x="508" y="200"/>
                </a:lnTo>
                <a:lnTo>
                  <a:pt x="512" y="200"/>
                </a:lnTo>
                <a:lnTo>
                  <a:pt x="512" y="200"/>
                </a:lnTo>
                <a:lnTo>
                  <a:pt x="518" y="200"/>
                </a:lnTo>
                <a:lnTo>
                  <a:pt x="524" y="200"/>
                </a:lnTo>
                <a:lnTo>
                  <a:pt x="524" y="200"/>
                </a:lnTo>
                <a:lnTo>
                  <a:pt x="524" y="200"/>
                </a:lnTo>
                <a:lnTo>
                  <a:pt x="518" y="200"/>
                </a:lnTo>
                <a:lnTo>
                  <a:pt x="512" y="200"/>
                </a:lnTo>
                <a:lnTo>
                  <a:pt x="512" y="200"/>
                </a:lnTo>
                <a:lnTo>
                  <a:pt x="518" y="194"/>
                </a:lnTo>
                <a:lnTo>
                  <a:pt x="524" y="194"/>
                </a:lnTo>
                <a:lnTo>
                  <a:pt x="518" y="194"/>
                </a:lnTo>
                <a:lnTo>
                  <a:pt x="518" y="188"/>
                </a:lnTo>
                <a:lnTo>
                  <a:pt x="512" y="194"/>
                </a:lnTo>
                <a:lnTo>
                  <a:pt x="512" y="194"/>
                </a:lnTo>
                <a:lnTo>
                  <a:pt x="512" y="188"/>
                </a:lnTo>
                <a:lnTo>
                  <a:pt x="508" y="188"/>
                </a:lnTo>
                <a:lnTo>
                  <a:pt x="512" y="188"/>
                </a:lnTo>
                <a:lnTo>
                  <a:pt x="512" y="188"/>
                </a:lnTo>
                <a:lnTo>
                  <a:pt x="512" y="188"/>
                </a:lnTo>
                <a:lnTo>
                  <a:pt x="512" y="188"/>
                </a:lnTo>
                <a:lnTo>
                  <a:pt x="518" y="188"/>
                </a:lnTo>
                <a:lnTo>
                  <a:pt x="518" y="188"/>
                </a:lnTo>
                <a:lnTo>
                  <a:pt x="524" y="188"/>
                </a:lnTo>
                <a:lnTo>
                  <a:pt x="524" y="188"/>
                </a:lnTo>
                <a:lnTo>
                  <a:pt x="524" y="188"/>
                </a:lnTo>
                <a:lnTo>
                  <a:pt x="524" y="188"/>
                </a:lnTo>
                <a:lnTo>
                  <a:pt x="524" y="182"/>
                </a:lnTo>
                <a:lnTo>
                  <a:pt x="524" y="182"/>
                </a:lnTo>
                <a:lnTo>
                  <a:pt x="530" y="182"/>
                </a:lnTo>
                <a:lnTo>
                  <a:pt x="536" y="182"/>
                </a:lnTo>
                <a:lnTo>
                  <a:pt x="536" y="182"/>
                </a:lnTo>
                <a:lnTo>
                  <a:pt x="536" y="180"/>
                </a:lnTo>
                <a:lnTo>
                  <a:pt x="536" y="180"/>
                </a:lnTo>
                <a:lnTo>
                  <a:pt x="536" y="180"/>
                </a:lnTo>
                <a:lnTo>
                  <a:pt x="540" y="180"/>
                </a:lnTo>
                <a:lnTo>
                  <a:pt x="546" y="180"/>
                </a:lnTo>
                <a:lnTo>
                  <a:pt x="546" y="180"/>
                </a:lnTo>
                <a:lnTo>
                  <a:pt x="540" y="180"/>
                </a:lnTo>
                <a:lnTo>
                  <a:pt x="546" y="180"/>
                </a:lnTo>
                <a:lnTo>
                  <a:pt x="550" y="174"/>
                </a:lnTo>
                <a:lnTo>
                  <a:pt x="550" y="174"/>
                </a:lnTo>
                <a:lnTo>
                  <a:pt x="550" y="168"/>
                </a:lnTo>
                <a:lnTo>
                  <a:pt x="556" y="168"/>
                </a:lnTo>
                <a:lnTo>
                  <a:pt x="562" y="168"/>
                </a:lnTo>
                <a:lnTo>
                  <a:pt x="562" y="168"/>
                </a:lnTo>
                <a:lnTo>
                  <a:pt x="568" y="168"/>
                </a:lnTo>
                <a:lnTo>
                  <a:pt x="572" y="168"/>
                </a:lnTo>
                <a:lnTo>
                  <a:pt x="572" y="168"/>
                </a:lnTo>
                <a:lnTo>
                  <a:pt x="572" y="168"/>
                </a:lnTo>
                <a:lnTo>
                  <a:pt x="572" y="168"/>
                </a:lnTo>
                <a:lnTo>
                  <a:pt x="572" y="168"/>
                </a:lnTo>
                <a:lnTo>
                  <a:pt x="572" y="162"/>
                </a:lnTo>
                <a:lnTo>
                  <a:pt x="578" y="162"/>
                </a:lnTo>
                <a:lnTo>
                  <a:pt x="584" y="162"/>
                </a:lnTo>
                <a:lnTo>
                  <a:pt x="584" y="168"/>
                </a:lnTo>
                <a:lnTo>
                  <a:pt x="578" y="168"/>
                </a:lnTo>
                <a:lnTo>
                  <a:pt x="572" y="168"/>
                </a:lnTo>
                <a:lnTo>
                  <a:pt x="578" y="168"/>
                </a:lnTo>
                <a:lnTo>
                  <a:pt x="584" y="168"/>
                </a:lnTo>
                <a:lnTo>
                  <a:pt x="584" y="168"/>
                </a:lnTo>
                <a:lnTo>
                  <a:pt x="584" y="168"/>
                </a:lnTo>
                <a:lnTo>
                  <a:pt x="584" y="168"/>
                </a:lnTo>
                <a:close/>
                <a:moveTo>
                  <a:pt x="1088" y="140"/>
                </a:moveTo>
                <a:lnTo>
                  <a:pt x="1082" y="140"/>
                </a:lnTo>
                <a:lnTo>
                  <a:pt x="1078" y="140"/>
                </a:lnTo>
                <a:lnTo>
                  <a:pt x="1078" y="140"/>
                </a:lnTo>
                <a:lnTo>
                  <a:pt x="1082" y="140"/>
                </a:lnTo>
                <a:lnTo>
                  <a:pt x="1088" y="140"/>
                </a:lnTo>
                <a:lnTo>
                  <a:pt x="1088" y="140"/>
                </a:lnTo>
                <a:lnTo>
                  <a:pt x="1088" y="140"/>
                </a:lnTo>
                <a:lnTo>
                  <a:pt x="1088" y="140"/>
                </a:lnTo>
                <a:close/>
                <a:moveTo>
                  <a:pt x="1104" y="146"/>
                </a:moveTo>
                <a:lnTo>
                  <a:pt x="1104" y="140"/>
                </a:lnTo>
                <a:lnTo>
                  <a:pt x="1108" y="140"/>
                </a:lnTo>
                <a:lnTo>
                  <a:pt x="1108" y="146"/>
                </a:lnTo>
                <a:lnTo>
                  <a:pt x="1104" y="146"/>
                </a:lnTo>
                <a:lnTo>
                  <a:pt x="1104" y="146"/>
                </a:lnTo>
                <a:lnTo>
                  <a:pt x="1104" y="146"/>
                </a:lnTo>
                <a:lnTo>
                  <a:pt x="1104" y="146"/>
                </a:lnTo>
                <a:close/>
                <a:moveTo>
                  <a:pt x="1104" y="146"/>
                </a:moveTo>
                <a:lnTo>
                  <a:pt x="1098" y="146"/>
                </a:lnTo>
                <a:lnTo>
                  <a:pt x="1104" y="146"/>
                </a:lnTo>
                <a:lnTo>
                  <a:pt x="1104" y="146"/>
                </a:lnTo>
                <a:lnTo>
                  <a:pt x="1104" y="146"/>
                </a:lnTo>
                <a:lnTo>
                  <a:pt x="1104" y="146"/>
                </a:lnTo>
                <a:close/>
                <a:moveTo>
                  <a:pt x="1818" y="152"/>
                </a:moveTo>
                <a:lnTo>
                  <a:pt x="1818" y="146"/>
                </a:lnTo>
                <a:lnTo>
                  <a:pt x="1824" y="146"/>
                </a:lnTo>
                <a:lnTo>
                  <a:pt x="1830" y="146"/>
                </a:lnTo>
                <a:lnTo>
                  <a:pt x="1830" y="146"/>
                </a:lnTo>
                <a:lnTo>
                  <a:pt x="1836" y="146"/>
                </a:lnTo>
                <a:lnTo>
                  <a:pt x="1830" y="146"/>
                </a:lnTo>
                <a:lnTo>
                  <a:pt x="1830" y="152"/>
                </a:lnTo>
                <a:lnTo>
                  <a:pt x="1830" y="146"/>
                </a:lnTo>
                <a:lnTo>
                  <a:pt x="1830" y="146"/>
                </a:lnTo>
                <a:lnTo>
                  <a:pt x="1824" y="146"/>
                </a:lnTo>
                <a:lnTo>
                  <a:pt x="1824" y="152"/>
                </a:lnTo>
                <a:lnTo>
                  <a:pt x="1818" y="152"/>
                </a:lnTo>
                <a:lnTo>
                  <a:pt x="1818" y="152"/>
                </a:lnTo>
                <a:lnTo>
                  <a:pt x="1818" y="152"/>
                </a:lnTo>
                <a:lnTo>
                  <a:pt x="1818" y="152"/>
                </a:lnTo>
                <a:close/>
                <a:moveTo>
                  <a:pt x="1104" y="152"/>
                </a:moveTo>
                <a:lnTo>
                  <a:pt x="1098" y="152"/>
                </a:lnTo>
                <a:lnTo>
                  <a:pt x="1098" y="146"/>
                </a:lnTo>
                <a:lnTo>
                  <a:pt x="1104" y="146"/>
                </a:lnTo>
                <a:lnTo>
                  <a:pt x="1104" y="152"/>
                </a:lnTo>
                <a:lnTo>
                  <a:pt x="1104" y="152"/>
                </a:lnTo>
                <a:lnTo>
                  <a:pt x="1104" y="152"/>
                </a:lnTo>
                <a:lnTo>
                  <a:pt x="1104" y="152"/>
                </a:lnTo>
                <a:close/>
                <a:moveTo>
                  <a:pt x="1066" y="146"/>
                </a:moveTo>
                <a:lnTo>
                  <a:pt x="1072" y="152"/>
                </a:lnTo>
                <a:lnTo>
                  <a:pt x="1066" y="152"/>
                </a:lnTo>
                <a:lnTo>
                  <a:pt x="1066" y="152"/>
                </a:lnTo>
                <a:lnTo>
                  <a:pt x="1066" y="146"/>
                </a:lnTo>
                <a:lnTo>
                  <a:pt x="1066" y="146"/>
                </a:lnTo>
                <a:lnTo>
                  <a:pt x="1066" y="146"/>
                </a:lnTo>
                <a:lnTo>
                  <a:pt x="1066" y="146"/>
                </a:lnTo>
                <a:lnTo>
                  <a:pt x="1066" y="146"/>
                </a:lnTo>
                <a:close/>
                <a:moveTo>
                  <a:pt x="1088" y="146"/>
                </a:moveTo>
                <a:lnTo>
                  <a:pt x="1088" y="152"/>
                </a:lnTo>
                <a:lnTo>
                  <a:pt x="1082" y="152"/>
                </a:lnTo>
                <a:lnTo>
                  <a:pt x="1078" y="152"/>
                </a:lnTo>
                <a:lnTo>
                  <a:pt x="1078" y="146"/>
                </a:lnTo>
                <a:lnTo>
                  <a:pt x="1082" y="146"/>
                </a:lnTo>
                <a:lnTo>
                  <a:pt x="1088" y="146"/>
                </a:lnTo>
                <a:lnTo>
                  <a:pt x="1088" y="146"/>
                </a:lnTo>
                <a:lnTo>
                  <a:pt x="1088" y="146"/>
                </a:lnTo>
                <a:lnTo>
                  <a:pt x="1088" y="146"/>
                </a:lnTo>
                <a:close/>
                <a:moveTo>
                  <a:pt x="1054" y="152"/>
                </a:moveTo>
                <a:lnTo>
                  <a:pt x="1054" y="152"/>
                </a:lnTo>
                <a:lnTo>
                  <a:pt x="1054" y="152"/>
                </a:lnTo>
                <a:lnTo>
                  <a:pt x="1050" y="152"/>
                </a:lnTo>
                <a:lnTo>
                  <a:pt x="1054" y="152"/>
                </a:lnTo>
                <a:lnTo>
                  <a:pt x="1054" y="152"/>
                </a:lnTo>
                <a:lnTo>
                  <a:pt x="1054" y="152"/>
                </a:lnTo>
                <a:lnTo>
                  <a:pt x="1054" y="152"/>
                </a:lnTo>
                <a:close/>
                <a:moveTo>
                  <a:pt x="1320" y="156"/>
                </a:moveTo>
                <a:lnTo>
                  <a:pt x="1320" y="152"/>
                </a:lnTo>
                <a:lnTo>
                  <a:pt x="1326" y="152"/>
                </a:lnTo>
                <a:lnTo>
                  <a:pt x="1326" y="156"/>
                </a:lnTo>
                <a:lnTo>
                  <a:pt x="1326" y="156"/>
                </a:lnTo>
                <a:lnTo>
                  <a:pt x="1326" y="156"/>
                </a:lnTo>
                <a:lnTo>
                  <a:pt x="1320" y="156"/>
                </a:lnTo>
                <a:lnTo>
                  <a:pt x="1320" y="156"/>
                </a:lnTo>
                <a:lnTo>
                  <a:pt x="1320" y="156"/>
                </a:lnTo>
                <a:lnTo>
                  <a:pt x="1320" y="156"/>
                </a:lnTo>
                <a:close/>
                <a:moveTo>
                  <a:pt x="1088" y="162"/>
                </a:moveTo>
                <a:lnTo>
                  <a:pt x="1088" y="156"/>
                </a:lnTo>
                <a:lnTo>
                  <a:pt x="1092" y="156"/>
                </a:lnTo>
                <a:lnTo>
                  <a:pt x="1088" y="156"/>
                </a:lnTo>
                <a:lnTo>
                  <a:pt x="1088" y="162"/>
                </a:lnTo>
                <a:lnTo>
                  <a:pt x="1092" y="162"/>
                </a:lnTo>
                <a:lnTo>
                  <a:pt x="1092" y="156"/>
                </a:lnTo>
                <a:lnTo>
                  <a:pt x="1092" y="162"/>
                </a:lnTo>
                <a:lnTo>
                  <a:pt x="1088" y="162"/>
                </a:lnTo>
                <a:lnTo>
                  <a:pt x="1088" y="162"/>
                </a:lnTo>
                <a:lnTo>
                  <a:pt x="1088" y="162"/>
                </a:lnTo>
                <a:lnTo>
                  <a:pt x="1088" y="162"/>
                </a:lnTo>
                <a:close/>
                <a:moveTo>
                  <a:pt x="1088" y="168"/>
                </a:moveTo>
                <a:lnTo>
                  <a:pt x="1082" y="162"/>
                </a:lnTo>
                <a:lnTo>
                  <a:pt x="1078" y="162"/>
                </a:lnTo>
                <a:lnTo>
                  <a:pt x="1078" y="162"/>
                </a:lnTo>
                <a:lnTo>
                  <a:pt x="1072" y="162"/>
                </a:lnTo>
                <a:lnTo>
                  <a:pt x="1072" y="156"/>
                </a:lnTo>
                <a:lnTo>
                  <a:pt x="1078" y="162"/>
                </a:lnTo>
                <a:lnTo>
                  <a:pt x="1078" y="156"/>
                </a:lnTo>
                <a:lnTo>
                  <a:pt x="1078" y="156"/>
                </a:lnTo>
                <a:lnTo>
                  <a:pt x="1082" y="156"/>
                </a:lnTo>
                <a:lnTo>
                  <a:pt x="1088" y="156"/>
                </a:lnTo>
                <a:lnTo>
                  <a:pt x="1088" y="156"/>
                </a:lnTo>
                <a:lnTo>
                  <a:pt x="1088" y="162"/>
                </a:lnTo>
                <a:lnTo>
                  <a:pt x="1088" y="162"/>
                </a:lnTo>
                <a:lnTo>
                  <a:pt x="1088" y="156"/>
                </a:lnTo>
                <a:lnTo>
                  <a:pt x="1082" y="162"/>
                </a:lnTo>
                <a:lnTo>
                  <a:pt x="1088" y="162"/>
                </a:lnTo>
                <a:lnTo>
                  <a:pt x="1088" y="168"/>
                </a:lnTo>
                <a:lnTo>
                  <a:pt x="1088" y="168"/>
                </a:lnTo>
                <a:lnTo>
                  <a:pt x="1088" y="168"/>
                </a:lnTo>
                <a:lnTo>
                  <a:pt x="1088" y="168"/>
                </a:lnTo>
                <a:close/>
                <a:moveTo>
                  <a:pt x="1066" y="162"/>
                </a:moveTo>
                <a:lnTo>
                  <a:pt x="1066" y="156"/>
                </a:lnTo>
                <a:lnTo>
                  <a:pt x="1066" y="156"/>
                </a:lnTo>
                <a:lnTo>
                  <a:pt x="1066" y="162"/>
                </a:lnTo>
                <a:lnTo>
                  <a:pt x="1060" y="162"/>
                </a:lnTo>
                <a:lnTo>
                  <a:pt x="1054" y="162"/>
                </a:lnTo>
                <a:lnTo>
                  <a:pt x="1060" y="162"/>
                </a:lnTo>
                <a:lnTo>
                  <a:pt x="1066" y="162"/>
                </a:lnTo>
                <a:lnTo>
                  <a:pt x="1066" y="162"/>
                </a:lnTo>
                <a:lnTo>
                  <a:pt x="1066" y="162"/>
                </a:lnTo>
                <a:lnTo>
                  <a:pt x="1066" y="162"/>
                </a:lnTo>
                <a:close/>
                <a:moveTo>
                  <a:pt x="1736" y="200"/>
                </a:moveTo>
                <a:lnTo>
                  <a:pt x="1732" y="200"/>
                </a:lnTo>
                <a:lnTo>
                  <a:pt x="1732" y="200"/>
                </a:lnTo>
                <a:lnTo>
                  <a:pt x="1732" y="194"/>
                </a:lnTo>
                <a:lnTo>
                  <a:pt x="1732" y="194"/>
                </a:lnTo>
                <a:lnTo>
                  <a:pt x="1732" y="194"/>
                </a:lnTo>
                <a:lnTo>
                  <a:pt x="1728" y="194"/>
                </a:lnTo>
                <a:lnTo>
                  <a:pt x="1722" y="194"/>
                </a:lnTo>
                <a:lnTo>
                  <a:pt x="1722" y="194"/>
                </a:lnTo>
                <a:lnTo>
                  <a:pt x="1716" y="194"/>
                </a:lnTo>
                <a:lnTo>
                  <a:pt x="1710" y="200"/>
                </a:lnTo>
                <a:lnTo>
                  <a:pt x="1710" y="200"/>
                </a:lnTo>
                <a:lnTo>
                  <a:pt x="1704" y="200"/>
                </a:lnTo>
                <a:lnTo>
                  <a:pt x="1700" y="194"/>
                </a:lnTo>
                <a:lnTo>
                  <a:pt x="1700" y="194"/>
                </a:lnTo>
                <a:lnTo>
                  <a:pt x="1694" y="194"/>
                </a:lnTo>
                <a:lnTo>
                  <a:pt x="1694" y="200"/>
                </a:lnTo>
                <a:lnTo>
                  <a:pt x="1700" y="200"/>
                </a:lnTo>
                <a:lnTo>
                  <a:pt x="1694" y="200"/>
                </a:lnTo>
                <a:lnTo>
                  <a:pt x="1694" y="200"/>
                </a:lnTo>
                <a:lnTo>
                  <a:pt x="1688" y="200"/>
                </a:lnTo>
                <a:lnTo>
                  <a:pt x="1688" y="200"/>
                </a:lnTo>
                <a:lnTo>
                  <a:pt x="1682" y="200"/>
                </a:lnTo>
                <a:lnTo>
                  <a:pt x="1678" y="200"/>
                </a:lnTo>
                <a:lnTo>
                  <a:pt x="1678" y="200"/>
                </a:lnTo>
                <a:lnTo>
                  <a:pt x="1672" y="200"/>
                </a:lnTo>
                <a:lnTo>
                  <a:pt x="1672" y="200"/>
                </a:lnTo>
                <a:lnTo>
                  <a:pt x="1672" y="194"/>
                </a:lnTo>
                <a:lnTo>
                  <a:pt x="1668" y="194"/>
                </a:lnTo>
                <a:lnTo>
                  <a:pt x="1668" y="188"/>
                </a:lnTo>
                <a:lnTo>
                  <a:pt x="1662" y="188"/>
                </a:lnTo>
                <a:lnTo>
                  <a:pt x="1662" y="188"/>
                </a:lnTo>
                <a:lnTo>
                  <a:pt x="1662" y="188"/>
                </a:lnTo>
                <a:lnTo>
                  <a:pt x="1656" y="182"/>
                </a:lnTo>
                <a:lnTo>
                  <a:pt x="1662" y="182"/>
                </a:lnTo>
                <a:lnTo>
                  <a:pt x="1662" y="182"/>
                </a:lnTo>
                <a:lnTo>
                  <a:pt x="1668" y="182"/>
                </a:lnTo>
                <a:lnTo>
                  <a:pt x="1662" y="182"/>
                </a:lnTo>
                <a:lnTo>
                  <a:pt x="1662" y="182"/>
                </a:lnTo>
                <a:lnTo>
                  <a:pt x="1662" y="180"/>
                </a:lnTo>
                <a:lnTo>
                  <a:pt x="1662" y="180"/>
                </a:lnTo>
                <a:lnTo>
                  <a:pt x="1662" y="180"/>
                </a:lnTo>
                <a:lnTo>
                  <a:pt x="1662" y="180"/>
                </a:lnTo>
                <a:lnTo>
                  <a:pt x="1662" y="180"/>
                </a:lnTo>
                <a:lnTo>
                  <a:pt x="1662" y="180"/>
                </a:lnTo>
                <a:lnTo>
                  <a:pt x="1662" y="180"/>
                </a:lnTo>
                <a:lnTo>
                  <a:pt x="1662" y="180"/>
                </a:lnTo>
                <a:lnTo>
                  <a:pt x="1662" y="174"/>
                </a:lnTo>
                <a:lnTo>
                  <a:pt x="1662" y="174"/>
                </a:lnTo>
                <a:lnTo>
                  <a:pt x="1668" y="174"/>
                </a:lnTo>
                <a:lnTo>
                  <a:pt x="1672" y="174"/>
                </a:lnTo>
                <a:lnTo>
                  <a:pt x="1668" y="174"/>
                </a:lnTo>
                <a:lnTo>
                  <a:pt x="1668" y="168"/>
                </a:lnTo>
                <a:lnTo>
                  <a:pt x="1662" y="168"/>
                </a:lnTo>
                <a:lnTo>
                  <a:pt x="1668" y="168"/>
                </a:lnTo>
                <a:lnTo>
                  <a:pt x="1672" y="168"/>
                </a:lnTo>
                <a:lnTo>
                  <a:pt x="1672" y="168"/>
                </a:lnTo>
                <a:lnTo>
                  <a:pt x="1672" y="162"/>
                </a:lnTo>
                <a:lnTo>
                  <a:pt x="1678" y="162"/>
                </a:lnTo>
                <a:lnTo>
                  <a:pt x="1678" y="168"/>
                </a:lnTo>
                <a:lnTo>
                  <a:pt x="1678" y="162"/>
                </a:lnTo>
                <a:lnTo>
                  <a:pt x="1682" y="162"/>
                </a:lnTo>
                <a:lnTo>
                  <a:pt x="1688" y="162"/>
                </a:lnTo>
                <a:lnTo>
                  <a:pt x="1688" y="162"/>
                </a:lnTo>
                <a:lnTo>
                  <a:pt x="1688" y="168"/>
                </a:lnTo>
                <a:lnTo>
                  <a:pt x="1694" y="168"/>
                </a:lnTo>
                <a:lnTo>
                  <a:pt x="1700" y="168"/>
                </a:lnTo>
                <a:lnTo>
                  <a:pt x="1700" y="168"/>
                </a:lnTo>
                <a:lnTo>
                  <a:pt x="1700" y="168"/>
                </a:lnTo>
                <a:lnTo>
                  <a:pt x="1700" y="174"/>
                </a:lnTo>
                <a:lnTo>
                  <a:pt x="1704" y="174"/>
                </a:lnTo>
                <a:lnTo>
                  <a:pt x="1710" y="174"/>
                </a:lnTo>
                <a:lnTo>
                  <a:pt x="1710" y="180"/>
                </a:lnTo>
                <a:lnTo>
                  <a:pt x="1710" y="180"/>
                </a:lnTo>
                <a:lnTo>
                  <a:pt x="1716" y="180"/>
                </a:lnTo>
                <a:lnTo>
                  <a:pt x="1716" y="174"/>
                </a:lnTo>
                <a:lnTo>
                  <a:pt x="1716" y="168"/>
                </a:lnTo>
                <a:lnTo>
                  <a:pt x="1716" y="168"/>
                </a:lnTo>
                <a:lnTo>
                  <a:pt x="1722" y="168"/>
                </a:lnTo>
                <a:lnTo>
                  <a:pt x="1722" y="168"/>
                </a:lnTo>
                <a:lnTo>
                  <a:pt x="1722" y="162"/>
                </a:lnTo>
                <a:lnTo>
                  <a:pt x="1722" y="162"/>
                </a:lnTo>
                <a:lnTo>
                  <a:pt x="1722" y="162"/>
                </a:lnTo>
                <a:lnTo>
                  <a:pt x="1728" y="168"/>
                </a:lnTo>
                <a:lnTo>
                  <a:pt x="1732" y="168"/>
                </a:lnTo>
                <a:lnTo>
                  <a:pt x="1732" y="168"/>
                </a:lnTo>
                <a:lnTo>
                  <a:pt x="1736" y="168"/>
                </a:lnTo>
                <a:lnTo>
                  <a:pt x="1736" y="174"/>
                </a:lnTo>
                <a:lnTo>
                  <a:pt x="1742" y="174"/>
                </a:lnTo>
                <a:lnTo>
                  <a:pt x="1748" y="174"/>
                </a:lnTo>
                <a:lnTo>
                  <a:pt x="1748" y="174"/>
                </a:lnTo>
                <a:lnTo>
                  <a:pt x="1754" y="168"/>
                </a:lnTo>
                <a:lnTo>
                  <a:pt x="1758" y="174"/>
                </a:lnTo>
                <a:lnTo>
                  <a:pt x="1758" y="174"/>
                </a:lnTo>
                <a:lnTo>
                  <a:pt x="1764" y="180"/>
                </a:lnTo>
                <a:lnTo>
                  <a:pt x="1770" y="180"/>
                </a:lnTo>
                <a:lnTo>
                  <a:pt x="1770" y="180"/>
                </a:lnTo>
                <a:lnTo>
                  <a:pt x="1776" y="180"/>
                </a:lnTo>
                <a:lnTo>
                  <a:pt x="1776" y="180"/>
                </a:lnTo>
                <a:lnTo>
                  <a:pt x="1782" y="180"/>
                </a:lnTo>
                <a:lnTo>
                  <a:pt x="1776" y="180"/>
                </a:lnTo>
                <a:lnTo>
                  <a:pt x="1770" y="180"/>
                </a:lnTo>
                <a:lnTo>
                  <a:pt x="1770" y="180"/>
                </a:lnTo>
                <a:lnTo>
                  <a:pt x="1770" y="182"/>
                </a:lnTo>
                <a:lnTo>
                  <a:pt x="1770" y="188"/>
                </a:lnTo>
                <a:lnTo>
                  <a:pt x="1770" y="188"/>
                </a:lnTo>
                <a:lnTo>
                  <a:pt x="1770" y="188"/>
                </a:lnTo>
                <a:lnTo>
                  <a:pt x="1770" y="188"/>
                </a:lnTo>
                <a:lnTo>
                  <a:pt x="1764" y="188"/>
                </a:lnTo>
                <a:lnTo>
                  <a:pt x="1758" y="188"/>
                </a:lnTo>
                <a:lnTo>
                  <a:pt x="1758" y="194"/>
                </a:lnTo>
                <a:lnTo>
                  <a:pt x="1758" y="194"/>
                </a:lnTo>
                <a:lnTo>
                  <a:pt x="1758" y="188"/>
                </a:lnTo>
                <a:lnTo>
                  <a:pt x="1754" y="188"/>
                </a:lnTo>
                <a:lnTo>
                  <a:pt x="1748" y="188"/>
                </a:lnTo>
                <a:lnTo>
                  <a:pt x="1748" y="188"/>
                </a:lnTo>
                <a:lnTo>
                  <a:pt x="1742" y="188"/>
                </a:lnTo>
                <a:lnTo>
                  <a:pt x="1742" y="188"/>
                </a:lnTo>
                <a:lnTo>
                  <a:pt x="1736" y="188"/>
                </a:lnTo>
                <a:lnTo>
                  <a:pt x="1736" y="182"/>
                </a:lnTo>
                <a:lnTo>
                  <a:pt x="1736" y="180"/>
                </a:lnTo>
                <a:lnTo>
                  <a:pt x="1742" y="180"/>
                </a:lnTo>
                <a:lnTo>
                  <a:pt x="1748" y="180"/>
                </a:lnTo>
                <a:lnTo>
                  <a:pt x="1742" y="180"/>
                </a:lnTo>
                <a:lnTo>
                  <a:pt x="1742" y="174"/>
                </a:lnTo>
                <a:lnTo>
                  <a:pt x="1736" y="174"/>
                </a:lnTo>
                <a:lnTo>
                  <a:pt x="1736" y="180"/>
                </a:lnTo>
                <a:lnTo>
                  <a:pt x="1732" y="180"/>
                </a:lnTo>
                <a:lnTo>
                  <a:pt x="1732" y="180"/>
                </a:lnTo>
                <a:lnTo>
                  <a:pt x="1732" y="180"/>
                </a:lnTo>
                <a:lnTo>
                  <a:pt x="1732" y="182"/>
                </a:lnTo>
                <a:lnTo>
                  <a:pt x="1732" y="182"/>
                </a:lnTo>
                <a:lnTo>
                  <a:pt x="1732" y="188"/>
                </a:lnTo>
                <a:lnTo>
                  <a:pt x="1736" y="188"/>
                </a:lnTo>
                <a:lnTo>
                  <a:pt x="1742" y="188"/>
                </a:lnTo>
                <a:lnTo>
                  <a:pt x="1748" y="188"/>
                </a:lnTo>
                <a:lnTo>
                  <a:pt x="1748" y="194"/>
                </a:lnTo>
                <a:lnTo>
                  <a:pt x="1754" y="194"/>
                </a:lnTo>
                <a:lnTo>
                  <a:pt x="1748" y="200"/>
                </a:lnTo>
                <a:lnTo>
                  <a:pt x="1748" y="194"/>
                </a:lnTo>
                <a:lnTo>
                  <a:pt x="1748" y="194"/>
                </a:lnTo>
                <a:lnTo>
                  <a:pt x="1748" y="200"/>
                </a:lnTo>
                <a:lnTo>
                  <a:pt x="1742" y="200"/>
                </a:lnTo>
                <a:lnTo>
                  <a:pt x="1742" y="194"/>
                </a:lnTo>
                <a:lnTo>
                  <a:pt x="1736" y="194"/>
                </a:lnTo>
                <a:lnTo>
                  <a:pt x="1736" y="200"/>
                </a:lnTo>
                <a:lnTo>
                  <a:pt x="1742" y="200"/>
                </a:lnTo>
                <a:lnTo>
                  <a:pt x="1736" y="200"/>
                </a:lnTo>
                <a:lnTo>
                  <a:pt x="1736" y="200"/>
                </a:lnTo>
                <a:lnTo>
                  <a:pt x="1736" y="200"/>
                </a:lnTo>
                <a:lnTo>
                  <a:pt x="1736" y="200"/>
                </a:lnTo>
                <a:close/>
                <a:moveTo>
                  <a:pt x="1878" y="168"/>
                </a:moveTo>
                <a:lnTo>
                  <a:pt x="1878" y="162"/>
                </a:lnTo>
                <a:lnTo>
                  <a:pt x="1884" y="162"/>
                </a:lnTo>
                <a:lnTo>
                  <a:pt x="1884" y="168"/>
                </a:lnTo>
                <a:lnTo>
                  <a:pt x="1878" y="168"/>
                </a:lnTo>
                <a:lnTo>
                  <a:pt x="1878" y="168"/>
                </a:lnTo>
                <a:lnTo>
                  <a:pt x="1878" y="168"/>
                </a:lnTo>
                <a:lnTo>
                  <a:pt x="1878" y="168"/>
                </a:lnTo>
                <a:close/>
                <a:moveTo>
                  <a:pt x="1716" y="168"/>
                </a:moveTo>
                <a:lnTo>
                  <a:pt x="1716" y="162"/>
                </a:lnTo>
                <a:lnTo>
                  <a:pt x="1716" y="168"/>
                </a:lnTo>
                <a:lnTo>
                  <a:pt x="1716" y="168"/>
                </a:lnTo>
                <a:lnTo>
                  <a:pt x="1716" y="168"/>
                </a:lnTo>
                <a:lnTo>
                  <a:pt x="1716" y="168"/>
                </a:lnTo>
                <a:close/>
                <a:moveTo>
                  <a:pt x="1098" y="168"/>
                </a:moveTo>
                <a:lnTo>
                  <a:pt x="1092" y="168"/>
                </a:lnTo>
                <a:lnTo>
                  <a:pt x="1092" y="168"/>
                </a:lnTo>
                <a:lnTo>
                  <a:pt x="1088" y="168"/>
                </a:lnTo>
                <a:lnTo>
                  <a:pt x="1088" y="168"/>
                </a:lnTo>
                <a:lnTo>
                  <a:pt x="1098" y="168"/>
                </a:lnTo>
                <a:lnTo>
                  <a:pt x="1098" y="168"/>
                </a:lnTo>
                <a:lnTo>
                  <a:pt x="1098" y="168"/>
                </a:lnTo>
                <a:lnTo>
                  <a:pt x="1098" y="168"/>
                </a:lnTo>
                <a:close/>
                <a:moveTo>
                  <a:pt x="898" y="168"/>
                </a:moveTo>
                <a:lnTo>
                  <a:pt x="892" y="168"/>
                </a:lnTo>
                <a:lnTo>
                  <a:pt x="886" y="168"/>
                </a:lnTo>
                <a:lnTo>
                  <a:pt x="880" y="168"/>
                </a:lnTo>
                <a:lnTo>
                  <a:pt x="886" y="168"/>
                </a:lnTo>
                <a:lnTo>
                  <a:pt x="886" y="168"/>
                </a:lnTo>
                <a:lnTo>
                  <a:pt x="892" y="168"/>
                </a:lnTo>
                <a:lnTo>
                  <a:pt x="892" y="168"/>
                </a:lnTo>
                <a:lnTo>
                  <a:pt x="898" y="168"/>
                </a:lnTo>
                <a:lnTo>
                  <a:pt x="898" y="168"/>
                </a:lnTo>
                <a:lnTo>
                  <a:pt x="898" y="168"/>
                </a:lnTo>
                <a:lnTo>
                  <a:pt x="898" y="168"/>
                </a:lnTo>
                <a:lnTo>
                  <a:pt x="898" y="168"/>
                </a:lnTo>
                <a:lnTo>
                  <a:pt x="898" y="168"/>
                </a:lnTo>
                <a:close/>
                <a:moveTo>
                  <a:pt x="876" y="168"/>
                </a:moveTo>
                <a:lnTo>
                  <a:pt x="880" y="168"/>
                </a:lnTo>
                <a:lnTo>
                  <a:pt x="880" y="168"/>
                </a:lnTo>
                <a:lnTo>
                  <a:pt x="880" y="168"/>
                </a:lnTo>
                <a:lnTo>
                  <a:pt x="876" y="168"/>
                </a:lnTo>
                <a:lnTo>
                  <a:pt x="872" y="168"/>
                </a:lnTo>
                <a:lnTo>
                  <a:pt x="876" y="168"/>
                </a:lnTo>
                <a:lnTo>
                  <a:pt x="876" y="168"/>
                </a:lnTo>
                <a:lnTo>
                  <a:pt x="876" y="168"/>
                </a:lnTo>
                <a:lnTo>
                  <a:pt x="876" y="168"/>
                </a:lnTo>
                <a:close/>
                <a:moveTo>
                  <a:pt x="1640" y="182"/>
                </a:moveTo>
                <a:lnTo>
                  <a:pt x="1640" y="180"/>
                </a:lnTo>
                <a:lnTo>
                  <a:pt x="1640" y="180"/>
                </a:lnTo>
                <a:lnTo>
                  <a:pt x="1640" y="180"/>
                </a:lnTo>
                <a:lnTo>
                  <a:pt x="1640" y="180"/>
                </a:lnTo>
                <a:lnTo>
                  <a:pt x="1640" y="174"/>
                </a:lnTo>
                <a:lnTo>
                  <a:pt x="1640" y="168"/>
                </a:lnTo>
                <a:lnTo>
                  <a:pt x="1640" y="174"/>
                </a:lnTo>
                <a:lnTo>
                  <a:pt x="1644" y="180"/>
                </a:lnTo>
                <a:lnTo>
                  <a:pt x="1650" y="180"/>
                </a:lnTo>
                <a:lnTo>
                  <a:pt x="1644" y="180"/>
                </a:lnTo>
                <a:lnTo>
                  <a:pt x="1644" y="182"/>
                </a:lnTo>
                <a:lnTo>
                  <a:pt x="1640" y="182"/>
                </a:lnTo>
                <a:lnTo>
                  <a:pt x="1640" y="182"/>
                </a:lnTo>
                <a:lnTo>
                  <a:pt x="1640" y="182"/>
                </a:lnTo>
                <a:lnTo>
                  <a:pt x="1640" y="182"/>
                </a:lnTo>
                <a:lnTo>
                  <a:pt x="1640" y="182"/>
                </a:lnTo>
                <a:close/>
                <a:moveTo>
                  <a:pt x="1790" y="180"/>
                </a:moveTo>
                <a:lnTo>
                  <a:pt x="1790" y="180"/>
                </a:lnTo>
                <a:lnTo>
                  <a:pt x="1796" y="180"/>
                </a:lnTo>
                <a:lnTo>
                  <a:pt x="1790" y="182"/>
                </a:lnTo>
                <a:lnTo>
                  <a:pt x="1796" y="182"/>
                </a:lnTo>
                <a:lnTo>
                  <a:pt x="1802" y="182"/>
                </a:lnTo>
                <a:lnTo>
                  <a:pt x="1802" y="182"/>
                </a:lnTo>
                <a:lnTo>
                  <a:pt x="1802" y="182"/>
                </a:lnTo>
                <a:lnTo>
                  <a:pt x="1802" y="182"/>
                </a:lnTo>
                <a:lnTo>
                  <a:pt x="1808" y="182"/>
                </a:lnTo>
                <a:lnTo>
                  <a:pt x="1808" y="180"/>
                </a:lnTo>
                <a:lnTo>
                  <a:pt x="1808" y="182"/>
                </a:lnTo>
                <a:lnTo>
                  <a:pt x="1814" y="182"/>
                </a:lnTo>
                <a:lnTo>
                  <a:pt x="1814" y="182"/>
                </a:lnTo>
                <a:lnTo>
                  <a:pt x="1818" y="182"/>
                </a:lnTo>
                <a:lnTo>
                  <a:pt x="1824" y="182"/>
                </a:lnTo>
                <a:lnTo>
                  <a:pt x="1818" y="182"/>
                </a:lnTo>
                <a:lnTo>
                  <a:pt x="1818" y="188"/>
                </a:lnTo>
                <a:lnTo>
                  <a:pt x="1824" y="188"/>
                </a:lnTo>
                <a:lnTo>
                  <a:pt x="1830" y="188"/>
                </a:lnTo>
                <a:lnTo>
                  <a:pt x="1830" y="188"/>
                </a:lnTo>
                <a:lnTo>
                  <a:pt x="1836" y="188"/>
                </a:lnTo>
                <a:lnTo>
                  <a:pt x="1842" y="188"/>
                </a:lnTo>
                <a:lnTo>
                  <a:pt x="1842" y="188"/>
                </a:lnTo>
                <a:lnTo>
                  <a:pt x="1844" y="188"/>
                </a:lnTo>
                <a:lnTo>
                  <a:pt x="1850" y="188"/>
                </a:lnTo>
                <a:lnTo>
                  <a:pt x="1850" y="188"/>
                </a:lnTo>
                <a:lnTo>
                  <a:pt x="1856" y="188"/>
                </a:lnTo>
                <a:lnTo>
                  <a:pt x="1850" y="188"/>
                </a:lnTo>
                <a:lnTo>
                  <a:pt x="1850" y="194"/>
                </a:lnTo>
                <a:lnTo>
                  <a:pt x="1850" y="200"/>
                </a:lnTo>
                <a:lnTo>
                  <a:pt x="1850" y="200"/>
                </a:lnTo>
                <a:lnTo>
                  <a:pt x="1844" y="200"/>
                </a:lnTo>
                <a:lnTo>
                  <a:pt x="1842" y="200"/>
                </a:lnTo>
                <a:lnTo>
                  <a:pt x="1842" y="200"/>
                </a:lnTo>
                <a:lnTo>
                  <a:pt x="1836" y="200"/>
                </a:lnTo>
                <a:lnTo>
                  <a:pt x="1830" y="200"/>
                </a:lnTo>
                <a:lnTo>
                  <a:pt x="1830" y="200"/>
                </a:lnTo>
                <a:lnTo>
                  <a:pt x="1824" y="200"/>
                </a:lnTo>
                <a:lnTo>
                  <a:pt x="1818" y="200"/>
                </a:lnTo>
                <a:lnTo>
                  <a:pt x="1814" y="200"/>
                </a:lnTo>
                <a:lnTo>
                  <a:pt x="1814" y="200"/>
                </a:lnTo>
                <a:lnTo>
                  <a:pt x="1814" y="194"/>
                </a:lnTo>
                <a:lnTo>
                  <a:pt x="1808" y="194"/>
                </a:lnTo>
                <a:lnTo>
                  <a:pt x="1802" y="194"/>
                </a:lnTo>
                <a:lnTo>
                  <a:pt x="1802" y="194"/>
                </a:lnTo>
                <a:lnTo>
                  <a:pt x="1802" y="188"/>
                </a:lnTo>
                <a:lnTo>
                  <a:pt x="1796" y="188"/>
                </a:lnTo>
                <a:lnTo>
                  <a:pt x="1790" y="188"/>
                </a:lnTo>
                <a:lnTo>
                  <a:pt x="1790" y="188"/>
                </a:lnTo>
                <a:lnTo>
                  <a:pt x="1790" y="188"/>
                </a:lnTo>
                <a:lnTo>
                  <a:pt x="1786" y="188"/>
                </a:lnTo>
                <a:lnTo>
                  <a:pt x="1790" y="188"/>
                </a:lnTo>
                <a:lnTo>
                  <a:pt x="1790" y="182"/>
                </a:lnTo>
                <a:lnTo>
                  <a:pt x="1790" y="180"/>
                </a:lnTo>
                <a:lnTo>
                  <a:pt x="1790" y="180"/>
                </a:lnTo>
                <a:lnTo>
                  <a:pt x="1790" y="180"/>
                </a:lnTo>
                <a:lnTo>
                  <a:pt x="1790" y="180"/>
                </a:lnTo>
                <a:lnTo>
                  <a:pt x="1790" y="180"/>
                </a:lnTo>
                <a:close/>
                <a:moveTo>
                  <a:pt x="880" y="180"/>
                </a:moveTo>
                <a:lnTo>
                  <a:pt x="880" y="180"/>
                </a:lnTo>
                <a:lnTo>
                  <a:pt x="880" y="182"/>
                </a:lnTo>
                <a:lnTo>
                  <a:pt x="880" y="182"/>
                </a:lnTo>
                <a:lnTo>
                  <a:pt x="880" y="182"/>
                </a:lnTo>
                <a:lnTo>
                  <a:pt x="880" y="188"/>
                </a:lnTo>
                <a:lnTo>
                  <a:pt x="880" y="182"/>
                </a:lnTo>
                <a:lnTo>
                  <a:pt x="876" y="182"/>
                </a:lnTo>
                <a:lnTo>
                  <a:pt x="876" y="188"/>
                </a:lnTo>
                <a:lnTo>
                  <a:pt x="872" y="182"/>
                </a:lnTo>
                <a:lnTo>
                  <a:pt x="876" y="182"/>
                </a:lnTo>
                <a:lnTo>
                  <a:pt x="876" y="180"/>
                </a:lnTo>
                <a:lnTo>
                  <a:pt x="876" y="182"/>
                </a:lnTo>
                <a:lnTo>
                  <a:pt x="880" y="182"/>
                </a:lnTo>
                <a:lnTo>
                  <a:pt x="880" y="180"/>
                </a:lnTo>
                <a:lnTo>
                  <a:pt x="880" y="180"/>
                </a:lnTo>
                <a:lnTo>
                  <a:pt x="880" y="180"/>
                </a:lnTo>
                <a:lnTo>
                  <a:pt x="880" y="180"/>
                </a:lnTo>
                <a:lnTo>
                  <a:pt x="880" y="180"/>
                </a:lnTo>
                <a:close/>
                <a:moveTo>
                  <a:pt x="952" y="194"/>
                </a:moveTo>
                <a:lnTo>
                  <a:pt x="958" y="194"/>
                </a:lnTo>
                <a:lnTo>
                  <a:pt x="952" y="194"/>
                </a:lnTo>
                <a:lnTo>
                  <a:pt x="952" y="200"/>
                </a:lnTo>
                <a:lnTo>
                  <a:pt x="952" y="194"/>
                </a:lnTo>
                <a:lnTo>
                  <a:pt x="946" y="194"/>
                </a:lnTo>
                <a:lnTo>
                  <a:pt x="946" y="200"/>
                </a:lnTo>
                <a:lnTo>
                  <a:pt x="952" y="200"/>
                </a:lnTo>
                <a:lnTo>
                  <a:pt x="946" y="200"/>
                </a:lnTo>
                <a:lnTo>
                  <a:pt x="946" y="200"/>
                </a:lnTo>
                <a:lnTo>
                  <a:pt x="940" y="200"/>
                </a:lnTo>
                <a:lnTo>
                  <a:pt x="940" y="194"/>
                </a:lnTo>
                <a:lnTo>
                  <a:pt x="946" y="194"/>
                </a:lnTo>
                <a:lnTo>
                  <a:pt x="946" y="200"/>
                </a:lnTo>
                <a:lnTo>
                  <a:pt x="946" y="194"/>
                </a:lnTo>
                <a:lnTo>
                  <a:pt x="946" y="194"/>
                </a:lnTo>
                <a:lnTo>
                  <a:pt x="946" y="194"/>
                </a:lnTo>
                <a:lnTo>
                  <a:pt x="952" y="194"/>
                </a:lnTo>
                <a:lnTo>
                  <a:pt x="952" y="194"/>
                </a:lnTo>
                <a:lnTo>
                  <a:pt x="952" y="194"/>
                </a:lnTo>
                <a:lnTo>
                  <a:pt x="952" y="194"/>
                </a:lnTo>
                <a:close/>
                <a:moveTo>
                  <a:pt x="930" y="200"/>
                </a:moveTo>
                <a:lnTo>
                  <a:pt x="930" y="200"/>
                </a:lnTo>
                <a:lnTo>
                  <a:pt x="930" y="200"/>
                </a:lnTo>
                <a:lnTo>
                  <a:pt x="930" y="200"/>
                </a:lnTo>
                <a:lnTo>
                  <a:pt x="926" y="200"/>
                </a:lnTo>
                <a:lnTo>
                  <a:pt x="926" y="200"/>
                </a:lnTo>
                <a:lnTo>
                  <a:pt x="930" y="200"/>
                </a:lnTo>
                <a:lnTo>
                  <a:pt x="930" y="200"/>
                </a:lnTo>
                <a:lnTo>
                  <a:pt x="930" y="200"/>
                </a:lnTo>
                <a:lnTo>
                  <a:pt x="930" y="200"/>
                </a:lnTo>
                <a:close/>
                <a:moveTo>
                  <a:pt x="838" y="206"/>
                </a:moveTo>
                <a:lnTo>
                  <a:pt x="844" y="206"/>
                </a:lnTo>
                <a:lnTo>
                  <a:pt x="844" y="200"/>
                </a:lnTo>
                <a:lnTo>
                  <a:pt x="844" y="206"/>
                </a:lnTo>
                <a:lnTo>
                  <a:pt x="850" y="206"/>
                </a:lnTo>
                <a:lnTo>
                  <a:pt x="844" y="206"/>
                </a:lnTo>
                <a:lnTo>
                  <a:pt x="838" y="206"/>
                </a:lnTo>
                <a:lnTo>
                  <a:pt x="838" y="206"/>
                </a:lnTo>
                <a:lnTo>
                  <a:pt x="838" y="206"/>
                </a:lnTo>
                <a:lnTo>
                  <a:pt x="838" y="206"/>
                </a:lnTo>
                <a:close/>
                <a:moveTo>
                  <a:pt x="930" y="206"/>
                </a:moveTo>
                <a:lnTo>
                  <a:pt x="930" y="210"/>
                </a:lnTo>
                <a:lnTo>
                  <a:pt x="926" y="210"/>
                </a:lnTo>
                <a:lnTo>
                  <a:pt x="926" y="206"/>
                </a:lnTo>
                <a:lnTo>
                  <a:pt x="930" y="206"/>
                </a:lnTo>
                <a:lnTo>
                  <a:pt x="930" y="206"/>
                </a:lnTo>
                <a:lnTo>
                  <a:pt x="930" y="206"/>
                </a:lnTo>
                <a:lnTo>
                  <a:pt x="930" y="206"/>
                </a:lnTo>
                <a:lnTo>
                  <a:pt x="930" y="206"/>
                </a:lnTo>
                <a:close/>
                <a:moveTo>
                  <a:pt x="1314" y="216"/>
                </a:moveTo>
                <a:lnTo>
                  <a:pt x="1314" y="216"/>
                </a:lnTo>
                <a:lnTo>
                  <a:pt x="1308" y="216"/>
                </a:lnTo>
                <a:lnTo>
                  <a:pt x="1304" y="216"/>
                </a:lnTo>
                <a:lnTo>
                  <a:pt x="1304" y="216"/>
                </a:lnTo>
                <a:lnTo>
                  <a:pt x="1304" y="216"/>
                </a:lnTo>
                <a:lnTo>
                  <a:pt x="1300" y="216"/>
                </a:lnTo>
                <a:lnTo>
                  <a:pt x="1300" y="210"/>
                </a:lnTo>
                <a:lnTo>
                  <a:pt x="1304" y="210"/>
                </a:lnTo>
                <a:lnTo>
                  <a:pt x="1304" y="210"/>
                </a:lnTo>
                <a:lnTo>
                  <a:pt x="1304" y="206"/>
                </a:lnTo>
                <a:lnTo>
                  <a:pt x="1308" y="206"/>
                </a:lnTo>
                <a:lnTo>
                  <a:pt x="1314" y="206"/>
                </a:lnTo>
                <a:lnTo>
                  <a:pt x="1320" y="206"/>
                </a:lnTo>
                <a:lnTo>
                  <a:pt x="1326" y="206"/>
                </a:lnTo>
                <a:lnTo>
                  <a:pt x="1326" y="210"/>
                </a:lnTo>
                <a:lnTo>
                  <a:pt x="1326" y="216"/>
                </a:lnTo>
                <a:lnTo>
                  <a:pt x="1320" y="216"/>
                </a:lnTo>
                <a:lnTo>
                  <a:pt x="1320" y="216"/>
                </a:lnTo>
                <a:lnTo>
                  <a:pt x="1314" y="216"/>
                </a:lnTo>
                <a:lnTo>
                  <a:pt x="1314" y="216"/>
                </a:lnTo>
                <a:lnTo>
                  <a:pt x="1314" y="216"/>
                </a:lnTo>
                <a:lnTo>
                  <a:pt x="1314" y="216"/>
                </a:lnTo>
                <a:close/>
                <a:moveTo>
                  <a:pt x="920" y="206"/>
                </a:moveTo>
                <a:lnTo>
                  <a:pt x="920" y="206"/>
                </a:lnTo>
                <a:lnTo>
                  <a:pt x="920" y="210"/>
                </a:lnTo>
                <a:lnTo>
                  <a:pt x="920" y="210"/>
                </a:lnTo>
                <a:lnTo>
                  <a:pt x="920" y="210"/>
                </a:lnTo>
                <a:lnTo>
                  <a:pt x="920" y="210"/>
                </a:lnTo>
                <a:lnTo>
                  <a:pt x="914" y="210"/>
                </a:lnTo>
                <a:lnTo>
                  <a:pt x="920" y="210"/>
                </a:lnTo>
                <a:lnTo>
                  <a:pt x="920" y="206"/>
                </a:lnTo>
                <a:lnTo>
                  <a:pt x="920" y="206"/>
                </a:lnTo>
                <a:lnTo>
                  <a:pt x="920" y="206"/>
                </a:lnTo>
                <a:lnTo>
                  <a:pt x="920" y="206"/>
                </a:lnTo>
                <a:close/>
                <a:moveTo>
                  <a:pt x="1362" y="216"/>
                </a:moveTo>
                <a:lnTo>
                  <a:pt x="1362" y="210"/>
                </a:lnTo>
                <a:lnTo>
                  <a:pt x="1362" y="210"/>
                </a:lnTo>
                <a:lnTo>
                  <a:pt x="1362" y="216"/>
                </a:lnTo>
                <a:lnTo>
                  <a:pt x="1362" y="216"/>
                </a:lnTo>
                <a:lnTo>
                  <a:pt x="1362" y="216"/>
                </a:lnTo>
                <a:lnTo>
                  <a:pt x="1362" y="216"/>
                </a:lnTo>
                <a:lnTo>
                  <a:pt x="1362" y="216"/>
                </a:lnTo>
                <a:close/>
                <a:moveTo>
                  <a:pt x="1710" y="228"/>
                </a:moveTo>
                <a:lnTo>
                  <a:pt x="1710" y="222"/>
                </a:lnTo>
                <a:lnTo>
                  <a:pt x="1704" y="222"/>
                </a:lnTo>
                <a:lnTo>
                  <a:pt x="1704" y="216"/>
                </a:lnTo>
                <a:lnTo>
                  <a:pt x="1704" y="216"/>
                </a:lnTo>
                <a:lnTo>
                  <a:pt x="1710" y="216"/>
                </a:lnTo>
                <a:lnTo>
                  <a:pt x="1710" y="216"/>
                </a:lnTo>
                <a:lnTo>
                  <a:pt x="1716" y="216"/>
                </a:lnTo>
                <a:lnTo>
                  <a:pt x="1722" y="216"/>
                </a:lnTo>
                <a:lnTo>
                  <a:pt x="1716" y="216"/>
                </a:lnTo>
                <a:lnTo>
                  <a:pt x="1716" y="222"/>
                </a:lnTo>
                <a:lnTo>
                  <a:pt x="1710" y="222"/>
                </a:lnTo>
                <a:lnTo>
                  <a:pt x="1710" y="222"/>
                </a:lnTo>
                <a:lnTo>
                  <a:pt x="1710" y="228"/>
                </a:lnTo>
                <a:lnTo>
                  <a:pt x="1710" y="228"/>
                </a:lnTo>
                <a:lnTo>
                  <a:pt x="1710" y="228"/>
                </a:lnTo>
                <a:lnTo>
                  <a:pt x="1710" y="228"/>
                </a:lnTo>
                <a:close/>
                <a:moveTo>
                  <a:pt x="1640" y="216"/>
                </a:moveTo>
                <a:lnTo>
                  <a:pt x="1640" y="216"/>
                </a:lnTo>
                <a:lnTo>
                  <a:pt x="1644" y="216"/>
                </a:lnTo>
                <a:lnTo>
                  <a:pt x="1650" y="222"/>
                </a:lnTo>
                <a:lnTo>
                  <a:pt x="1650" y="228"/>
                </a:lnTo>
                <a:lnTo>
                  <a:pt x="1644" y="228"/>
                </a:lnTo>
                <a:lnTo>
                  <a:pt x="1644" y="222"/>
                </a:lnTo>
                <a:lnTo>
                  <a:pt x="1640" y="222"/>
                </a:lnTo>
                <a:lnTo>
                  <a:pt x="1640" y="216"/>
                </a:lnTo>
                <a:lnTo>
                  <a:pt x="1640" y="216"/>
                </a:lnTo>
                <a:lnTo>
                  <a:pt x="1640" y="216"/>
                </a:lnTo>
                <a:lnTo>
                  <a:pt x="1640" y="216"/>
                </a:lnTo>
                <a:lnTo>
                  <a:pt x="1640" y="216"/>
                </a:lnTo>
                <a:lnTo>
                  <a:pt x="1640" y="216"/>
                </a:lnTo>
                <a:close/>
                <a:moveTo>
                  <a:pt x="886" y="216"/>
                </a:moveTo>
                <a:lnTo>
                  <a:pt x="892" y="216"/>
                </a:lnTo>
                <a:lnTo>
                  <a:pt x="892" y="222"/>
                </a:lnTo>
                <a:lnTo>
                  <a:pt x="886" y="222"/>
                </a:lnTo>
                <a:lnTo>
                  <a:pt x="886" y="216"/>
                </a:lnTo>
                <a:lnTo>
                  <a:pt x="880" y="216"/>
                </a:lnTo>
                <a:lnTo>
                  <a:pt x="886" y="216"/>
                </a:lnTo>
                <a:lnTo>
                  <a:pt x="886" y="216"/>
                </a:lnTo>
                <a:lnTo>
                  <a:pt x="886" y="216"/>
                </a:lnTo>
                <a:lnTo>
                  <a:pt x="886" y="216"/>
                </a:lnTo>
                <a:close/>
                <a:moveTo>
                  <a:pt x="892" y="216"/>
                </a:moveTo>
                <a:lnTo>
                  <a:pt x="898" y="216"/>
                </a:lnTo>
                <a:lnTo>
                  <a:pt x="898" y="216"/>
                </a:lnTo>
                <a:lnTo>
                  <a:pt x="904" y="216"/>
                </a:lnTo>
                <a:lnTo>
                  <a:pt x="898" y="216"/>
                </a:lnTo>
                <a:lnTo>
                  <a:pt x="898" y="222"/>
                </a:lnTo>
                <a:lnTo>
                  <a:pt x="904" y="222"/>
                </a:lnTo>
                <a:lnTo>
                  <a:pt x="898" y="222"/>
                </a:lnTo>
                <a:lnTo>
                  <a:pt x="898" y="216"/>
                </a:lnTo>
                <a:lnTo>
                  <a:pt x="898" y="216"/>
                </a:lnTo>
                <a:lnTo>
                  <a:pt x="892" y="216"/>
                </a:lnTo>
                <a:lnTo>
                  <a:pt x="892" y="216"/>
                </a:lnTo>
                <a:lnTo>
                  <a:pt x="892" y="216"/>
                </a:lnTo>
                <a:lnTo>
                  <a:pt x="892" y="216"/>
                </a:lnTo>
                <a:close/>
                <a:moveTo>
                  <a:pt x="908" y="222"/>
                </a:moveTo>
                <a:lnTo>
                  <a:pt x="914" y="222"/>
                </a:lnTo>
                <a:lnTo>
                  <a:pt x="908" y="222"/>
                </a:lnTo>
                <a:lnTo>
                  <a:pt x="908" y="222"/>
                </a:lnTo>
                <a:lnTo>
                  <a:pt x="908" y="222"/>
                </a:lnTo>
                <a:lnTo>
                  <a:pt x="908" y="222"/>
                </a:lnTo>
                <a:lnTo>
                  <a:pt x="908" y="222"/>
                </a:lnTo>
                <a:lnTo>
                  <a:pt x="908" y="222"/>
                </a:lnTo>
                <a:close/>
                <a:moveTo>
                  <a:pt x="1482" y="228"/>
                </a:moveTo>
                <a:lnTo>
                  <a:pt x="1482" y="222"/>
                </a:lnTo>
                <a:lnTo>
                  <a:pt x="1482" y="222"/>
                </a:lnTo>
                <a:lnTo>
                  <a:pt x="1482" y="222"/>
                </a:lnTo>
                <a:lnTo>
                  <a:pt x="1482" y="228"/>
                </a:lnTo>
                <a:lnTo>
                  <a:pt x="1482" y="228"/>
                </a:lnTo>
                <a:lnTo>
                  <a:pt x="1482" y="228"/>
                </a:lnTo>
                <a:lnTo>
                  <a:pt x="1482" y="228"/>
                </a:lnTo>
                <a:lnTo>
                  <a:pt x="1482" y="228"/>
                </a:lnTo>
                <a:lnTo>
                  <a:pt x="1482" y="228"/>
                </a:lnTo>
                <a:close/>
                <a:moveTo>
                  <a:pt x="1722" y="228"/>
                </a:moveTo>
                <a:lnTo>
                  <a:pt x="1722" y="228"/>
                </a:lnTo>
                <a:lnTo>
                  <a:pt x="1728" y="228"/>
                </a:lnTo>
                <a:lnTo>
                  <a:pt x="1732" y="228"/>
                </a:lnTo>
                <a:lnTo>
                  <a:pt x="1732" y="228"/>
                </a:lnTo>
                <a:lnTo>
                  <a:pt x="1736" y="228"/>
                </a:lnTo>
                <a:lnTo>
                  <a:pt x="1742" y="228"/>
                </a:lnTo>
                <a:lnTo>
                  <a:pt x="1748" y="228"/>
                </a:lnTo>
                <a:lnTo>
                  <a:pt x="1748" y="234"/>
                </a:lnTo>
                <a:lnTo>
                  <a:pt x="1748" y="234"/>
                </a:lnTo>
                <a:lnTo>
                  <a:pt x="1748" y="238"/>
                </a:lnTo>
                <a:lnTo>
                  <a:pt x="1754" y="238"/>
                </a:lnTo>
                <a:lnTo>
                  <a:pt x="1748" y="238"/>
                </a:lnTo>
                <a:lnTo>
                  <a:pt x="1748" y="238"/>
                </a:lnTo>
                <a:lnTo>
                  <a:pt x="1754" y="238"/>
                </a:lnTo>
                <a:lnTo>
                  <a:pt x="1748" y="242"/>
                </a:lnTo>
                <a:lnTo>
                  <a:pt x="1748" y="242"/>
                </a:lnTo>
                <a:lnTo>
                  <a:pt x="1742" y="238"/>
                </a:lnTo>
                <a:lnTo>
                  <a:pt x="1736" y="238"/>
                </a:lnTo>
                <a:lnTo>
                  <a:pt x="1732" y="238"/>
                </a:lnTo>
                <a:lnTo>
                  <a:pt x="1732" y="238"/>
                </a:lnTo>
                <a:lnTo>
                  <a:pt x="1728" y="238"/>
                </a:lnTo>
                <a:lnTo>
                  <a:pt x="1722" y="238"/>
                </a:lnTo>
                <a:lnTo>
                  <a:pt x="1722" y="238"/>
                </a:lnTo>
                <a:lnTo>
                  <a:pt x="1716" y="238"/>
                </a:lnTo>
                <a:lnTo>
                  <a:pt x="1710" y="238"/>
                </a:lnTo>
                <a:lnTo>
                  <a:pt x="1710" y="238"/>
                </a:lnTo>
                <a:lnTo>
                  <a:pt x="1704" y="238"/>
                </a:lnTo>
                <a:lnTo>
                  <a:pt x="1700" y="238"/>
                </a:lnTo>
                <a:lnTo>
                  <a:pt x="1700" y="238"/>
                </a:lnTo>
                <a:lnTo>
                  <a:pt x="1700" y="238"/>
                </a:lnTo>
                <a:lnTo>
                  <a:pt x="1704" y="238"/>
                </a:lnTo>
                <a:lnTo>
                  <a:pt x="1710" y="238"/>
                </a:lnTo>
                <a:lnTo>
                  <a:pt x="1710" y="234"/>
                </a:lnTo>
                <a:lnTo>
                  <a:pt x="1710" y="234"/>
                </a:lnTo>
                <a:lnTo>
                  <a:pt x="1710" y="228"/>
                </a:lnTo>
                <a:lnTo>
                  <a:pt x="1716" y="228"/>
                </a:lnTo>
                <a:lnTo>
                  <a:pt x="1722" y="228"/>
                </a:lnTo>
                <a:lnTo>
                  <a:pt x="1722" y="228"/>
                </a:lnTo>
                <a:lnTo>
                  <a:pt x="1722" y="228"/>
                </a:lnTo>
                <a:lnTo>
                  <a:pt x="1722" y="228"/>
                </a:lnTo>
                <a:close/>
                <a:moveTo>
                  <a:pt x="1500" y="234"/>
                </a:moveTo>
                <a:lnTo>
                  <a:pt x="1504" y="234"/>
                </a:lnTo>
                <a:lnTo>
                  <a:pt x="1500" y="234"/>
                </a:lnTo>
                <a:lnTo>
                  <a:pt x="1500" y="234"/>
                </a:lnTo>
                <a:lnTo>
                  <a:pt x="1500" y="234"/>
                </a:lnTo>
                <a:lnTo>
                  <a:pt x="1500" y="234"/>
                </a:lnTo>
                <a:close/>
                <a:moveTo>
                  <a:pt x="860" y="238"/>
                </a:moveTo>
                <a:lnTo>
                  <a:pt x="854" y="234"/>
                </a:lnTo>
                <a:lnTo>
                  <a:pt x="860" y="234"/>
                </a:lnTo>
                <a:lnTo>
                  <a:pt x="860" y="238"/>
                </a:lnTo>
                <a:lnTo>
                  <a:pt x="860" y="238"/>
                </a:lnTo>
                <a:lnTo>
                  <a:pt x="860" y="238"/>
                </a:lnTo>
                <a:lnTo>
                  <a:pt x="860" y="238"/>
                </a:lnTo>
                <a:close/>
                <a:moveTo>
                  <a:pt x="1520" y="234"/>
                </a:moveTo>
                <a:lnTo>
                  <a:pt x="1526" y="234"/>
                </a:lnTo>
                <a:lnTo>
                  <a:pt x="1530" y="234"/>
                </a:lnTo>
                <a:lnTo>
                  <a:pt x="1530" y="238"/>
                </a:lnTo>
                <a:lnTo>
                  <a:pt x="1530" y="238"/>
                </a:lnTo>
                <a:lnTo>
                  <a:pt x="1526" y="234"/>
                </a:lnTo>
                <a:lnTo>
                  <a:pt x="1520" y="234"/>
                </a:lnTo>
                <a:lnTo>
                  <a:pt x="1520" y="234"/>
                </a:lnTo>
                <a:lnTo>
                  <a:pt x="1520" y="234"/>
                </a:lnTo>
                <a:lnTo>
                  <a:pt x="1520" y="234"/>
                </a:lnTo>
                <a:close/>
                <a:moveTo>
                  <a:pt x="710" y="248"/>
                </a:moveTo>
                <a:lnTo>
                  <a:pt x="710" y="242"/>
                </a:lnTo>
                <a:lnTo>
                  <a:pt x="712" y="242"/>
                </a:lnTo>
                <a:lnTo>
                  <a:pt x="712" y="238"/>
                </a:lnTo>
                <a:lnTo>
                  <a:pt x="712" y="238"/>
                </a:lnTo>
                <a:lnTo>
                  <a:pt x="710" y="238"/>
                </a:lnTo>
                <a:lnTo>
                  <a:pt x="712" y="238"/>
                </a:lnTo>
                <a:lnTo>
                  <a:pt x="718" y="238"/>
                </a:lnTo>
                <a:lnTo>
                  <a:pt x="718" y="238"/>
                </a:lnTo>
                <a:lnTo>
                  <a:pt x="724" y="234"/>
                </a:lnTo>
                <a:lnTo>
                  <a:pt x="730" y="238"/>
                </a:lnTo>
                <a:lnTo>
                  <a:pt x="724" y="238"/>
                </a:lnTo>
                <a:lnTo>
                  <a:pt x="730" y="238"/>
                </a:lnTo>
                <a:lnTo>
                  <a:pt x="730" y="238"/>
                </a:lnTo>
                <a:lnTo>
                  <a:pt x="736" y="238"/>
                </a:lnTo>
                <a:lnTo>
                  <a:pt x="736" y="242"/>
                </a:lnTo>
                <a:lnTo>
                  <a:pt x="730" y="242"/>
                </a:lnTo>
                <a:lnTo>
                  <a:pt x="730" y="242"/>
                </a:lnTo>
                <a:lnTo>
                  <a:pt x="724" y="242"/>
                </a:lnTo>
                <a:lnTo>
                  <a:pt x="718" y="242"/>
                </a:lnTo>
                <a:lnTo>
                  <a:pt x="718" y="248"/>
                </a:lnTo>
                <a:lnTo>
                  <a:pt x="718" y="248"/>
                </a:lnTo>
                <a:lnTo>
                  <a:pt x="712" y="248"/>
                </a:lnTo>
                <a:lnTo>
                  <a:pt x="712" y="242"/>
                </a:lnTo>
                <a:lnTo>
                  <a:pt x="712" y="248"/>
                </a:lnTo>
                <a:lnTo>
                  <a:pt x="710" y="248"/>
                </a:lnTo>
                <a:lnTo>
                  <a:pt x="710" y="248"/>
                </a:lnTo>
                <a:lnTo>
                  <a:pt x="710" y="248"/>
                </a:lnTo>
                <a:lnTo>
                  <a:pt x="710" y="248"/>
                </a:lnTo>
                <a:close/>
                <a:moveTo>
                  <a:pt x="476" y="292"/>
                </a:moveTo>
                <a:lnTo>
                  <a:pt x="482" y="288"/>
                </a:lnTo>
                <a:lnTo>
                  <a:pt x="486" y="288"/>
                </a:lnTo>
                <a:lnTo>
                  <a:pt x="482" y="288"/>
                </a:lnTo>
                <a:lnTo>
                  <a:pt x="476" y="288"/>
                </a:lnTo>
                <a:lnTo>
                  <a:pt x="476" y="292"/>
                </a:lnTo>
                <a:lnTo>
                  <a:pt x="476" y="288"/>
                </a:lnTo>
                <a:lnTo>
                  <a:pt x="476" y="288"/>
                </a:lnTo>
                <a:lnTo>
                  <a:pt x="476" y="288"/>
                </a:lnTo>
                <a:lnTo>
                  <a:pt x="476" y="288"/>
                </a:lnTo>
                <a:lnTo>
                  <a:pt x="470" y="288"/>
                </a:lnTo>
                <a:lnTo>
                  <a:pt x="464" y="288"/>
                </a:lnTo>
                <a:lnTo>
                  <a:pt x="464" y="288"/>
                </a:lnTo>
                <a:lnTo>
                  <a:pt x="464" y="288"/>
                </a:lnTo>
                <a:lnTo>
                  <a:pt x="464" y="288"/>
                </a:lnTo>
                <a:lnTo>
                  <a:pt x="458" y="288"/>
                </a:lnTo>
                <a:lnTo>
                  <a:pt x="458" y="288"/>
                </a:lnTo>
                <a:lnTo>
                  <a:pt x="458" y="288"/>
                </a:lnTo>
                <a:lnTo>
                  <a:pt x="454" y="288"/>
                </a:lnTo>
                <a:lnTo>
                  <a:pt x="454" y="288"/>
                </a:lnTo>
                <a:lnTo>
                  <a:pt x="448" y="282"/>
                </a:lnTo>
                <a:lnTo>
                  <a:pt x="448" y="276"/>
                </a:lnTo>
                <a:lnTo>
                  <a:pt x="448" y="276"/>
                </a:lnTo>
                <a:lnTo>
                  <a:pt x="454" y="276"/>
                </a:lnTo>
                <a:lnTo>
                  <a:pt x="454" y="270"/>
                </a:lnTo>
                <a:lnTo>
                  <a:pt x="454" y="270"/>
                </a:lnTo>
                <a:lnTo>
                  <a:pt x="458" y="270"/>
                </a:lnTo>
                <a:lnTo>
                  <a:pt x="458" y="276"/>
                </a:lnTo>
                <a:lnTo>
                  <a:pt x="464" y="276"/>
                </a:lnTo>
                <a:lnTo>
                  <a:pt x="464" y="270"/>
                </a:lnTo>
                <a:lnTo>
                  <a:pt x="464" y="266"/>
                </a:lnTo>
                <a:lnTo>
                  <a:pt x="464" y="266"/>
                </a:lnTo>
                <a:lnTo>
                  <a:pt x="464" y="260"/>
                </a:lnTo>
                <a:lnTo>
                  <a:pt x="470" y="260"/>
                </a:lnTo>
                <a:lnTo>
                  <a:pt x="470" y="260"/>
                </a:lnTo>
                <a:lnTo>
                  <a:pt x="464" y="260"/>
                </a:lnTo>
                <a:lnTo>
                  <a:pt x="470" y="254"/>
                </a:lnTo>
                <a:lnTo>
                  <a:pt x="470" y="260"/>
                </a:lnTo>
                <a:lnTo>
                  <a:pt x="476" y="260"/>
                </a:lnTo>
                <a:lnTo>
                  <a:pt x="470" y="254"/>
                </a:lnTo>
                <a:lnTo>
                  <a:pt x="464" y="254"/>
                </a:lnTo>
                <a:lnTo>
                  <a:pt x="464" y="254"/>
                </a:lnTo>
                <a:lnTo>
                  <a:pt x="464" y="248"/>
                </a:lnTo>
                <a:lnTo>
                  <a:pt x="470" y="248"/>
                </a:lnTo>
                <a:lnTo>
                  <a:pt x="476" y="248"/>
                </a:lnTo>
                <a:lnTo>
                  <a:pt x="476" y="248"/>
                </a:lnTo>
                <a:lnTo>
                  <a:pt x="476" y="248"/>
                </a:lnTo>
                <a:lnTo>
                  <a:pt x="476" y="248"/>
                </a:lnTo>
                <a:lnTo>
                  <a:pt x="476" y="248"/>
                </a:lnTo>
                <a:lnTo>
                  <a:pt x="476" y="248"/>
                </a:lnTo>
                <a:lnTo>
                  <a:pt x="476" y="242"/>
                </a:lnTo>
                <a:lnTo>
                  <a:pt x="476" y="238"/>
                </a:lnTo>
                <a:lnTo>
                  <a:pt x="482" y="238"/>
                </a:lnTo>
                <a:lnTo>
                  <a:pt x="486" y="238"/>
                </a:lnTo>
                <a:lnTo>
                  <a:pt x="492" y="238"/>
                </a:lnTo>
                <a:lnTo>
                  <a:pt x="492" y="238"/>
                </a:lnTo>
                <a:lnTo>
                  <a:pt x="492" y="238"/>
                </a:lnTo>
                <a:lnTo>
                  <a:pt x="496" y="238"/>
                </a:lnTo>
                <a:lnTo>
                  <a:pt x="502" y="238"/>
                </a:lnTo>
                <a:lnTo>
                  <a:pt x="502" y="238"/>
                </a:lnTo>
                <a:lnTo>
                  <a:pt x="508" y="238"/>
                </a:lnTo>
                <a:lnTo>
                  <a:pt x="512" y="238"/>
                </a:lnTo>
                <a:lnTo>
                  <a:pt x="512" y="238"/>
                </a:lnTo>
                <a:lnTo>
                  <a:pt x="518" y="238"/>
                </a:lnTo>
                <a:lnTo>
                  <a:pt x="518" y="242"/>
                </a:lnTo>
                <a:lnTo>
                  <a:pt x="524" y="242"/>
                </a:lnTo>
                <a:lnTo>
                  <a:pt x="518" y="242"/>
                </a:lnTo>
                <a:lnTo>
                  <a:pt x="512" y="242"/>
                </a:lnTo>
                <a:lnTo>
                  <a:pt x="512" y="248"/>
                </a:lnTo>
                <a:lnTo>
                  <a:pt x="512" y="248"/>
                </a:lnTo>
                <a:lnTo>
                  <a:pt x="518" y="248"/>
                </a:lnTo>
                <a:lnTo>
                  <a:pt x="512" y="248"/>
                </a:lnTo>
                <a:lnTo>
                  <a:pt x="512" y="248"/>
                </a:lnTo>
                <a:lnTo>
                  <a:pt x="508" y="248"/>
                </a:lnTo>
                <a:lnTo>
                  <a:pt x="512" y="248"/>
                </a:lnTo>
                <a:lnTo>
                  <a:pt x="512" y="248"/>
                </a:lnTo>
                <a:lnTo>
                  <a:pt x="512" y="248"/>
                </a:lnTo>
                <a:lnTo>
                  <a:pt x="512" y="254"/>
                </a:lnTo>
                <a:lnTo>
                  <a:pt x="512" y="254"/>
                </a:lnTo>
                <a:lnTo>
                  <a:pt x="512" y="248"/>
                </a:lnTo>
                <a:lnTo>
                  <a:pt x="512" y="254"/>
                </a:lnTo>
                <a:lnTo>
                  <a:pt x="508" y="254"/>
                </a:lnTo>
                <a:lnTo>
                  <a:pt x="508" y="248"/>
                </a:lnTo>
                <a:lnTo>
                  <a:pt x="502" y="254"/>
                </a:lnTo>
                <a:lnTo>
                  <a:pt x="508" y="254"/>
                </a:lnTo>
                <a:lnTo>
                  <a:pt x="512" y="254"/>
                </a:lnTo>
                <a:lnTo>
                  <a:pt x="508" y="260"/>
                </a:lnTo>
                <a:lnTo>
                  <a:pt x="502" y="260"/>
                </a:lnTo>
                <a:lnTo>
                  <a:pt x="508" y="260"/>
                </a:lnTo>
                <a:lnTo>
                  <a:pt x="508" y="260"/>
                </a:lnTo>
                <a:lnTo>
                  <a:pt x="502" y="260"/>
                </a:lnTo>
                <a:lnTo>
                  <a:pt x="502" y="260"/>
                </a:lnTo>
                <a:lnTo>
                  <a:pt x="502" y="260"/>
                </a:lnTo>
                <a:lnTo>
                  <a:pt x="508" y="260"/>
                </a:lnTo>
                <a:lnTo>
                  <a:pt x="502" y="266"/>
                </a:lnTo>
                <a:lnTo>
                  <a:pt x="508" y="266"/>
                </a:lnTo>
                <a:lnTo>
                  <a:pt x="508" y="270"/>
                </a:lnTo>
                <a:lnTo>
                  <a:pt x="502" y="270"/>
                </a:lnTo>
                <a:lnTo>
                  <a:pt x="502" y="276"/>
                </a:lnTo>
                <a:lnTo>
                  <a:pt x="502" y="276"/>
                </a:lnTo>
                <a:lnTo>
                  <a:pt x="508" y="276"/>
                </a:lnTo>
                <a:lnTo>
                  <a:pt x="508" y="282"/>
                </a:lnTo>
                <a:lnTo>
                  <a:pt x="508" y="288"/>
                </a:lnTo>
                <a:lnTo>
                  <a:pt x="512" y="288"/>
                </a:lnTo>
                <a:lnTo>
                  <a:pt x="512" y="288"/>
                </a:lnTo>
                <a:lnTo>
                  <a:pt x="512" y="292"/>
                </a:lnTo>
                <a:lnTo>
                  <a:pt x="512" y="296"/>
                </a:lnTo>
                <a:lnTo>
                  <a:pt x="518" y="296"/>
                </a:lnTo>
                <a:lnTo>
                  <a:pt x="524" y="296"/>
                </a:lnTo>
                <a:lnTo>
                  <a:pt x="524" y="302"/>
                </a:lnTo>
                <a:lnTo>
                  <a:pt x="530" y="302"/>
                </a:lnTo>
                <a:lnTo>
                  <a:pt x="536" y="302"/>
                </a:lnTo>
                <a:lnTo>
                  <a:pt x="536" y="308"/>
                </a:lnTo>
                <a:lnTo>
                  <a:pt x="536" y="308"/>
                </a:lnTo>
                <a:lnTo>
                  <a:pt x="536" y="308"/>
                </a:lnTo>
                <a:lnTo>
                  <a:pt x="530" y="308"/>
                </a:lnTo>
                <a:lnTo>
                  <a:pt x="530" y="308"/>
                </a:lnTo>
                <a:lnTo>
                  <a:pt x="524" y="308"/>
                </a:lnTo>
                <a:lnTo>
                  <a:pt x="524" y="308"/>
                </a:lnTo>
                <a:lnTo>
                  <a:pt x="524" y="308"/>
                </a:lnTo>
                <a:lnTo>
                  <a:pt x="530" y="308"/>
                </a:lnTo>
                <a:lnTo>
                  <a:pt x="536" y="308"/>
                </a:lnTo>
                <a:lnTo>
                  <a:pt x="530" y="308"/>
                </a:lnTo>
                <a:lnTo>
                  <a:pt x="524" y="308"/>
                </a:lnTo>
                <a:lnTo>
                  <a:pt x="524" y="308"/>
                </a:lnTo>
                <a:lnTo>
                  <a:pt x="518" y="308"/>
                </a:lnTo>
                <a:lnTo>
                  <a:pt x="524" y="308"/>
                </a:lnTo>
                <a:lnTo>
                  <a:pt x="518" y="308"/>
                </a:lnTo>
                <a:lnTo>
                  <a:pt x="512" y="308"/>
                </a:lnTo>
                <a:lnTo>
                  <a:pt x="518" y="308"/>
                </a:lnTo>
                <a:lnTo>
                  <a:pt x="518" y="308"/>
                </a:lnTo>
                <a:lnTo>
                  <a:pt x="524" y="308"/>
                </a:lnTo>
                <a:lnTo>
                  <a:pt x="518" y="308"/>
                </a:lnTo>
                <a:lnTo>
                  <a:pt x="524" y="308"/>
                </a:lnTo>
                <a:lnTo>
                  <a:pt x="518" y="308"/>
                </a:lnTo>
                <a:lnTo>
                  <a:pt x="512" y="308"/>
                </a:lnTo>
                <a:lnTo>
                  <a:pt x="512" y="308"/>
                </a:lnTo>
                <a:lnTo>
                  <a:pt x="512" y="308"/>
                </a:lnTo>
                <a:lnTo>
                  <a:pt x="512" y="308"/>
                </a:lnTo>
                <a:lnTo>
                  <a:pt x="512" y="308"/>
                </a:lnTo>
                <a:lnTo>
                  <a:pt x="512" y="308"/>
                </a:lnTo>
                <a:lnTo>
                  <a:pt x="512" y="308"/>
                </a:lnTo>
                <a:lnTo>
                  <a:pt x="508" y="308"/>
                </a:lnTo>
                <a:lnTo>
                  <a:pt x="512" y="308"/>
                </a:lnTo>
                <a:lnTo>
                  <a:pt x="512" y="308"/>
                </a:lnTo>
                <a:lnTo>
                  <a:pt x="508" y="308"/>
                </a:lnTo>
                <a:lnTo>
                  <a:pt x="502" y="308"/>
                </a:lnTo>
                <a:lnTo>
                  <a:pt x="502" y="308"/>
                </a:lnTo>
                <a:lnTo>
                  <a:pt x="502" y="308"/>
                </a:lnTo>
                <a:lnTo>
                  <a:pt x="496" y="308"/>
                </a:lnTo>
                <a:lnTo>
                  <a:pt x="492" y="308"/>
                </a:lnTo>
                <a:lnTo>
                  <a:pt x="496" y="308"/>
                </a:lnTo>
                <a:lnTo>
                  <a:pt x="492" y="308"/>
                </a:lnTo>
                <a:lnTo>
                  <a:pt x="492" y="308"/>
                </a:lnTo>
                <a:lnTo>
                  <a:pt x="486" y="308"/>
                </a:lnTo>
                <a:lnTo>
                  <a:pt x="482" y="302"/>
                </a:lnTo>
                <a:lnTo>
                  <a:pt x="482" y="308"/>
                </a:lnTo>
                <a:lnTo>
                  <a:pt x="482" y="302"/>
                </a:lnTo>
                <a:lnTo>
                  <a:pt x="476" y="302"/>
                </a:lnTo>
                <a:lnTo>
                  <a:pt x="482" y="302"/>
                </a:lnTo>
                <a:lnTo>
                  <a:pt x="482" y="296"/>
                </a:lnTo>
                <a:lnTo>
                  <a:pt x="476" y="296"/>
                </a:lnTo>
                <a:lnTo>
                  <a:pt x="476" y="296"/>
                </a:lnTo>
                <a:lnTo>
                  <a:pt x="482" y="296"/>
                </a:lnTo>
                <a:lnTo>
                  <a:pt x="486" y="296"/>
                </a:lnTo>
                <a:lnTo>
                  <a:pt x="492" y="296"/>
                </a:lnTo>
                <a:lnTo>
                  <a:pt x="486" y="296"/>
                </a:lnTo>
                <a:lnTo>
                  <a:pt x="482" y="296"/>
                </a:lnTo>
                <a:lnTo>
                  <a:pt x="476" y="296"/>
                </a:lnTo>
                <a:lnTo>
                  <a:pt x="476" y="292"/>
                </a:lnTo>
                <a:lnTo>
                  <a:pt x="476" y="292"/>
                </a:lnTo>
                <a:lnTo>
                  <a:pt x="476" y="292"/>
                </a:lnTo>
                <a:lnTo>
                  <a:pt x="476" y="292"/>
                </a:lnTo>
                <a:close/>
                <a:moveTo>
                  <a:pt x="1418" y="248"/>
                </a:moveTo>
                <a:lnTo>
                  <a:pt x="1412" y="242"/>
                </a:lnTo>
                <a:lnTo>
                  <a:pt x="1418" y="242"/>
                </a:lnTo>
                <a:lnTo>
                  <a:pt x="1422" y="242"/>
                </a:lnTo>
                <a:lnTo>
                  <a:pt x="1422" y="248"/>
                </a:lnTo>
                <a:lnTo>
                  <a:pt x="1418" y="248"/>
                </a:lnTo>
                <a:lnTo>
                  <a:pt x="1418" y="248"/>
                </a:lnTo>
                <a:lnTo>
                  <a:pt x="1418" y="248"/>
                </a:lnTo>
                <a:lnTo>
                  <a:pt x="1418" y="248"/>
                </a:lnTo>
                <a:close/>
                <a:moveTo>
                  <a:pt x="838" y="248"/>
                </a:moveTo>
                <a:lnTo>
                  <a:pt x="838" y="248"/>
                </a:lnTo>
                <a:lnTo>
                  <a:pt x="838" y="248"/>
                </a:lnTo>
                <a:lnTo>
                  <a:pt x="838" y="242"/>
                </a:lnTo>
                <a:lnTo>
                  <a:pt x="844" y="242"/>
                </a:lnTo>
                <a:lnTo>
                  <a:pt x="844" y="248"/>
                </a:lnTo>
                <a:lnTo>
                  <a:pt x="850" y="248"/>
                </a:lnTo>
                <a:lnTo>
                  <a:pt x="850" y="254"/>
                </a:lnTo>
                <a:lnTo>
                  <a:pt x="844" y="254"/>
                </a:lnTo>
                <a:lnTo>
                  <a:pt x="838" y="254"/>
                </a:lnTo>
                <a:lnTo>
                  <a:pt x="838" y="254"/>
                </a:lnTo>
                <a:lnTo>
                  <a:pt x="832" y="248"/>
                </a:lnTo>
                <a:lnTo>
                  <a:pt x="838" y="248"/>
                </a:lnTo>
                <a:lnTo>
                  <a:pt x="838" y="248"/>
                </a:lnTo>
                <a:lnTo>
                  <a:pt x="838" y="248"/>
                </a:lnTo>
                <a:lnTo>
                  <a:pt x="838" y="248"/>
                </a:lnTo>
                <a:close/>
                <a:moveTo>
                  <a:pt x="812" y="266"/>
                </a:moveTo>
                <a:lnTo>
                  <a:pt x="812" y="260"/>
                </a:lnTo>
                <a:lnTo>
                  <a:pt x="812" y="260"/>
                </a:lnTo>
                <a:lnTo>
                  <a:pt x="812" y="260"/>
                </a:lnTo>
                <a:lnTo>
                  <a:pt x="818" y="260"/>
                </a:lnTo>
                <a:lnTo>
                  <a:pt x="822" y="260"/>
                </a:lnTo>
                <a:lnTo>
                  <a:pt x="822" y="260"/>
                </a:lnTo>
                <a:lnTo>
                  <a:pt x="826" y="260"/>
                </a:lnTo>
                <a:lnTo>
                  <a:pt x="826" y="260"/>
                </a:lnTo>
                <a:lnTo>
                  <a:pt x="822" y="260"/>
                </a:lnTo>
                <a:lnTo>
                  <a:pt x="822" y="266"/>
                </a:lnTo>
                <a:lnTo>
                  <a:pt x="822" y="266"/>
                </a:lnTo>
                <a:lnTo>
                  <a:pt x="818" y="266"/>
                </a:lnTo>
                <a:lnTo>
                  <a:pt x="812" y="266"/>
                </a:lnTo>
                <a:lnTo>
                  <a:pt x="812" y="266"/>
                </a:lnTo>
                <a:lnTo>
                  <a:pt x="812" y="266"/>
                </a:lnTo>
                <a:lnTo>
                  <a:pt x="812" y="266"/>
                </a:lnTo>
                <a:lnTo>
                  <a:pt x="812" y="266"/>
                </a:lnTo>
                <a:close/>
                <a:moveTo>
                  <a:pt x="1678" y="288"/>
                </a:moveTo>
                <a:lnTo>
                  <a:pt x="1678" y="282"/>
                </a:lnTo>
                <a:lnTo>
                  <a:pt x="1682" y="282"/>
                </a:lnTo>
                <a:lnTo>
                  <a:pt x="1682" y="288"/>
                </a:lnTo>
                <a:lnTo>
                  <a:pt x="1678" y="288"/>
                </a:lnTo>
                <a:lnTo>
                  <a:pt x="1678" y="288"/>
                </a:lnTo>
                <a:lnTo>
                  <a:pt x="1678" y="288"/>
                </a:lnTo>
                <a:lnTo>
                  <a:pt x="1678" y="288"/>
                </a:lnTo>
                <a:close/>
                <a:moveTo>
                  <a:pt x="1672" y="288"/>
                </a:moveTo>
                <a:lnTo>
                  <a:pt x="1672" y="288"/>
                </a:lnTo>
                <a:lnTo>
                  <a:pt x="1668" y="288"/>
                </a:lnTo>
                <a:lnTo>
                  <a:pt x="1662" y="288"/>
                </a:lnTo>
                <a:lnTo>
                  <a:pt x="1662" y="288"/>
                </a:lnTo>
                <a:lnTo>
                  <a:pt x="1662" y="288"/>
                </a:lnTo>
                <a:lnTo>
                  <a:pt x="1662" y="288"/>
                </a:lnTo>
                <a:lnTo>
                  <a:pt x="1668" y="288"/>
                </a:lnTo>
                <a:lnTo>
                  <a:pt x="1672" y="288"/>
                </a:lnTo>
                <a:lnTo>
                  <a:pt x="1672" y="288"/>
                </a:lnTo>
                <a:lnTo>
                  <a:pt x="1672" y="288"/>
                </a:lnTo>
                <a:lnTo>
                  <a:pt x="1672" y="288"/>
                </a:lnTo>
                <a:lnTo>
                  <a:pt x="1672" y="288"/>
                </a:lnTo>
                <a:close/>
                <a:moveTo>
                  <a:pt x="470" y="296"/>
                </a:moveTo>
                <a:lnTo>
                  <a:pt x="464" y="296"/>
                </a:lnTo>
                <a:lnTo>
                  <a:pt x="464" y="292"/>
                </a:lnTo>
                <a:lnTo>
                  <a:pt x="464" y="292"/>
                </a:lnTo>
                <a:lnTo>
                  <a:pt x="458" y="292"/>
                </a:lnTo>
                <a:lnTo>
                  <a:pt x="464" y="292"/>
                </a:lnTo>
                <a:lnTo>
                  <a:pt x="464" y="288"/>
                </a:lnTo>
                <a:lnTo>
                  <a:pt x="464" y="288"/>
                </a:lnTo>
                <a:lnTo>
                  <a:pt x="470" y="288"/>
                </a:lnTo>
                <a:lnTo>
                  <a:pt x="470" y="292"/>
                </a:lnTo>
                <a:lnTo>
                  <a:pt x="464" y="292"/>
                </a:lnTo>
                <a:lnTo>
                  <a:pt x="464" y="288"/>
                </a:lnTo>
                <a:lnTo>
                  <a:pt x="464" y="292"/>
                </a:lnTo>
                <a:lnTo>
                  <a:pt x="470" y="292"/>
                </a:lnTo>
                <a:lnTo>
                  <a:pt x="476" y="292"/>
                </a:lnTo>
                <a:lnTo>
                  <a:pt x="470" y="292"/>
                </a:lnTo>
                <a:lnTo>
                  <a:pt x="476" y="292"/>
                </a:lnTo>
                <a:lnTo>
                  <a:pt x="476" y="296"/>
                </a:lnTo>
                <a:lnTo>
                  <a:pt x="476" y="296"/>
                </a:lnTo>
                <a:lnTo>
                  <a:pt x="470" y="296"/>
                </a:lnTo>
                <a:lnTo>
                  <a:pt x="470" y="296"/>
                </a:lnTo>
                <a:lnTo>
                  <a:pt x="476" y="296"/>
                </a:lnTo>
                <a:lnTo>
                  <a:pt x="470" y="296"/>
                </a:lnTo>
                <a:lnTo>
                  <a:pt x="470" y="296"/>
                </a:lnTo>
                <a:lnTo>
                  <a:pt x="470" y="296"/>
                </a:lnTo>
                <a:lnTo>
                  <a:pt x="470" y="296"/>
                </a:lnTo>
                <a:close/>
                <a:moveTo>
                  <a:pt x="2008" y="308"/>
                </a:moveTo>
                <a:lnTo>
                  <a:pt x="2008" y="308"/>
                </a:lnTo>
                <a:lnTo>
                  <a:pt x="2008" y="302"/>
                </a:lnTo>
                <a:lnTo>
                  <a:pt x="2008" y="302"/>
                </a:lnTo>
                <a:lnTo>
                  <a:pt x="2008" y="308"/>
                </a:lnTo>
                <a:lnTo>
                  <a:pt x="2008" y="308"/>
                </a:lnTo>
                <a:lnTo>
                  <a:pt x="2008" y="308"/>
                </a:lnTo>
                <a:lnTo>
                  <a:pt x="2008" y="308"/>
                </a:lnTo>
                <a:close/>
                <a:moveTo>
                  <a:pt x="568" y="336"/>
                </a:moveTo>
                <a:lnTo>
                  <a:pt x="562" y="336"/>
                </a:lnTo>
                <a:lnTo>
                  <a:pt x="562" y="330"/>
                </a:lnTo>
                <a:lnTo>
                  <a:pt x="562" y="330"/>
                </a:lnTo>
                <a:lnTo>
                  <a:pt x="556" y="330"/>
                </a:lnTo>
                <a:lnTo>
                  <a:pt x="556" y="324"/>
                </a:lnTo>
                <a:lnTo>
                  <a:pt x="556" y="330"/>
                </a:lnTo>
                <a:lnTo>
                  <a:pt x="550" y="324"/>
                </a:lnTo>
                <a:lnTo>
                  <a:pt x="550" y="324"/>
                </a:lnTo>
                <a:lnTo>
                  <a:pt x="550" y="320"/>
                </a:lnTo>
                <a:lnTo>
                  <a:pt x="550" y="320"/>
                </a:lnTo>
                <a:lnTo>
                  <a:pt x="550" y="320"/>
                </a:lnTo>
                <a:lnTo>
                  <a:pt x="550" y="314"/>
                </a:lnTo>
                <a:lnTo>
                  <a:pt x="556" y="314"/>
                </a:lnTo>
                <a:lnTo>
                  <a:pt x="562" y="314"/>
                </a:lnTo>
                <a:lnTo>
                  <a:pt x="562" y="320"/>
                </a:lnTo>
                <a:lnTo>
                  <a:pt x="562" y="320"/>
                </a:lnTo>
                <a:lnTo>
                  <a:pt x="562" y="320"/>
                </a:lnTo>
                <a:lnTo>
                  <a:pt x="568" y="320"/>
                </a:lnTo>
                <a:lnTo>
                  <a:pt x="572" y="324"/>
                </a:lnTo>
                <a:lnTo>
                  <a:pt x="572" y="324"/>
                </a:lnTo>
                <a:lnTo>
                  <a:pt x="578" y="330"/>
                </a:lnTo>
                <a:lnTo>
                  <a:pt x="572" y="336"/>
                </a:lnTo>
                <a:lnTo>
                  <a:pt x="572" y="336"/>
                </a:lnTo>
                <a:lnTo>
                  <a:pt x="568" y="336"/>
                </a:lnTo>
                <a:lnTo>
                  <a:pt x="568" y="336"/>
                </a:lnTo>
                <a:lnTo>
                  <a:pt x="568" y="336"/>
                </a:lnTo>
                <a:lnTo>
                  <a:pt x="568" y="336"/>
                </a:lnTo>
                <a:close/>
                <a:moveTo>
                  <a:pt x="2116" y="336"/>
                </a:moveTo>
                <a:lnTo>
                  <a:pt x="2116" y="336"/>
                </a:lnTo>
                <a:lnTo>
                  <a:pt x="2116" y="336"/>
                </a:lnTo>
                <a:lnTo>
                  <a:pt x="2112" y="336"/>
                </a:lnTo>
                <a:lnTo>
                  <a:pt x="2106" y="336"/>
                </a:lnTo>
                <a:lnTo>
                  <a:pt x="2100" y="336"/>
                </a:lnTo>
                <a:lnTo>
                  <a:pt x="2100" y="336"/>
                </a:lnTo>
                <a:lnTo>
                  <a:pt x="2096" y="330"/>
                </a:lnTo>
                <a:lnTo>
                  <a:pt x="2096" y="324"/>
                </a:lnTo>
                <a:lnTo>
                  <a:pt x="2100" y="324"/>
                </a:lnTo>
                <a:lnTo>
                  <a:pt x="2100" y="324"/>
                </a:lnTo>
                <a:lnTo>
                  <a:pt x="2106" y="324"/>
                </a:lnTo>
                <a:lnTo>
                  <a:pt x="2112" y="324"/>
                </a:lnTo>
                <a:lnTo>
                  <a:pt x="2112" y="330"/>
                </a:lnTo>
                <a:lnTo>
                  <a:pt x="2116" y="330"/>
                </a:lnTo>
                <a:lnTo>
                  <a:pt x="2116" y="330"/>
                </a:lnTo>
                <a:lnTo>
                  <a:pt x="2116" y="336"/>
                </a:lnTo>
                <a:lnTo>
                  <a:pt x="2116" y="336"/>
                </a:lnTo>
                <a:lnTo>
                  <a:pt x="2116" y="336"/>
                </a:lnTo>
                <a:lnTo>
                  <a:pt x="2116" y="336"/>
                </a:lnTo>
                <a:close/>
                <a:moveTo>
                  <a:pt x="2008" y="336"/>
                </a:moveTo>
                <a:lnTo>
                  <a:pt x="2008" y="336"/>
                </a:lnTo>
                <a:lnTo>
                  <a:pt x="2008" y="336"/>
                </a:lnTo>
                <a:lnTo>
                  <a:pt x="2008" y="336"/>
                </a:lnTo>
                <a:lnTo>
                  <a:pt x="2008" y="336"/>
                </a:lnTo>
                <a:lnTo>
                  <a:pt x="2008" y="336"/>
                </a:lnTo>
                <a:lnTo>
                  <a:pt x="2008" y="336"/>
                </a:lnTo>
                <a:lnTo>
                  <a:pt x="2008" y="336"/>
                </a:lnTo>
                <a:close/>
                <a:moveTo>
                  <a:pt x="2004" y="342"/>
                </a:moveTo>
                <a:lnTo>
                  <a:pt x="2008" y="342"/>
                </a:lnTo>
                <a:lnTo>
                  <a:pt x="2008" y="336"/>
                </a:lnTo>
                <a:lnTo>
                  <a:pt x="2004" y="336"/>
                </a:lnTo>
                <a:lnTo>
                  <a:pt x="2008" y="336"/>
                </a:lnTo>
                <a:lnTo>
                  <a:pt x="2008" y="336"/>
                </a:lnTo>
                <a:lnTo>
                  <a:pt x="2008" y="342"/>
                </a:lnTo>
                <a:lnTo>
                  <a:pt x="2004" y="342"/>
                </a:lnTo>
                <a:lnTo>
                  <a:pt x="2004" y="342"/>
                </a:lnTo>
                <a:lnTo>
                  <a:pt x="2004" y="342"/>
                </a:lnTo>
                <a:lnTo>
                  <a:pt x="2004" y="342"/>
                </a:lnTo>
                <a:close/>
                <a:moveTo>
                  <a:pt x="670" y="336"/>
                </a:moveTo>
                <a:lnTo>
                  <a:pt x="670" y="336"/>
                </a:lnTo>
                <a:lnTo>
                  <a:pt x="676" y="336"/>
                </a:lnTo>
                <a:lnTo>
                  <a:pt x="670" y="342"/>
                </a:lnTo>
                <a:lnTo>
                  <a:pt x="670" y="342"/>
                </a:lnTo>
                <a:lnTo>
                  <a:pt x="670" y="336"/>
                </a:lnTo>
                <a:lnTo>
                  <a:pt x="670" y="336"/>
                </a:lnTo>
                <a:lnTo>
                  <a:pt x="670" y="336"/>
                </a:lnTo>
                <a:lnTo>
                  <a:pt x="670" y="336"/>
                </a:lnTo>
                <a:close/>
                <a:moveTo>
                  <a:pt x="2008" y="350"/>
                </a:moveTo>
                <a:lnTo>
                  <a:pt x="2004" y="350"/>
                </a:lnTo>
                <a:lnTo>
                  <a:pt x="2004" y="348"/>
                </a:lnTo>
                <a:lnTo>
                  <a:pt x="1998" y="348"/>
                </a:lnTo>
                <a:lnTo>
                  <a:pt x="1998" y="348"/>
                </a:lnTo>
                <a:lnTo>
                  <a:pt x="2004" y="348"/>
                </a:lnTo>
                <a:lnTo>
                  <a:pt x="2004" y="342"/>
                </a:lnTo>
                <a:lnTo>
                  <a:pt x="1998" y="342"/>
                </a:lnTo>
                <a:lnTo>
                  <a:pt x="2004" y="336"/>
                </a:lnTo>
                <a:lnTo>
                  <a:pt x="2004" y="342"/>
                </a:lnTo>
                <a:lnTo>
                  <a:pt x="2004" y="348"/>
                </a:lnTo>
                <a:lnTo>
                  <a:pt x="2004" y="348"/>
                </a:lnTo>
                <a:lnTo>
                  <a:pt x="2008" y="348"/>
                </a:lnTo>
                <a:lnTo>
                  <a:pt x="2008" y="350"/>
                </a:lnTo>
                <a:lnTo>
                  <a:pt x="2008" y="350"/>
                </a:lnTo>
                <a:lnTo>
                  <a:pt x="2008" y="350"/>
                </a:lnTo>
                <a:lnTo>
                  <a:pt x="2008" y="350"/>
                </a:lnTo>
                <a:close/>
                <a:moveTo>
                  <a:pt x="404" y="348"/>
                </a:moveTo>
                <a:lnTo>
                  <a:pt x="404" y="348"/>
                </a:lnTo>
                <a:lnTo>
                  <a:pt x="410" y="348"/>
                </a:lnTo>
                <a:lnTo>
                  <a:pt x="410" y="342"/>
                </a:lnTo>
                <a:lnTo>
                  <a:pt x="410" y="342"/>
                </a:lnTo>
                <a:lnTo>
                  <a:pt x="410" y="336"/>
                </a:lnTo>
                <a:lnTo>
                  <a:pt x="416" y="336"/>
                </a:lnTo>
                <a:lnTo>
                  <a:pt x="422" y="336"/>
                </a:lnTo>
                <a:lnTo>
                  <a:pt x="422" y="342"/>
                </a:lnTo>
                <a:lnTo>
                  <a:pt x="426" y="342"/>
                </a:lnTo>
                <a:lnTo>
                  <a:pt x="432" y="348"/>
                </a:lnTo>
                <a:lnTo>
                  <a:pt x="432" y="348"/>
                </a:lnTo>
                <a:lnTo>
                  <a:pt x="432" y="350"/>
                </a:lnTo>
                <a:lnTo>
                  <a:pt x="432" y="348"/>
                </a:lnTo>
                <a:lnTo>
                  <a:pt x="432" y="348"/>
                </a:lnTo>
                <a:lnTo>
                  <a:pt x="432" y="348"/>
                </a:lnTo>
                <a:lnTo>
                  <a:pt x="426" y="350"/>
                </a:lnTo>
                <a:lnTo>
                  <a:pt x="426" y="356"/>
                </a:lnTo>
                <a:lnTo>
                  <a:pt x="422" y="356"/>
                </a:lnTo>
                <a:lnTo>
                  <a:pt x="422" y="356"/>
                </a:lnTo>
                <a:lnTo>
                  <a:pt x="416" y="356"/>
                </a:lnTo>
                <a:lnTo>
                  <a:pt x="410" y="356"/>
                </a:lnTo>
                <a:lnTo>
                  <a:pt x="410" y="356"/>
                </a:lnTo>
                <a:lnTo>
                  <a:pt x="404" y="350"/>
                </a:lnTo>
                <a:lnTo>
                  <a:pt x="404" y="348"/>
                </a:lnTo>
                <a:lnTo>
                  <a:pt x="404" y="348"/>
                </a:lnTo>
                <a:lnTo>
                  <a:pt x="404" y="348"/>
                </a:lnTo>
                <a:lnTo>
                  <a:pt x="404" y="348"/>
                </a:lnTo>
                <a:close/>
                <a:moveTo>
                  <a:pt x="204" y="342"/>
                </a:moveTo>
                <a:lnTo>
                  <a:pt x="210" y="342"/>
                </a:lnTo>
                <a:lnTo>
                  <a:pt x="204" y="342"/>
                </a:lnTo>
                <a:lnTo>
                  <a:pt x="204" y="342"/>
                </a:lnTo>
                <a:lnTo>
                  <a:pt x="204" y="342"/>
                </a:lnTo>
                <a:lnTo>
                  <a:pt x="204" y="342"/>
                </a:lnTo>
                <a:lnTo>
                  <a:pt x="204" y="342"/>
                </a:lnTo>
                <a:lnTo>
                  <a:pt x="204" y="342"/>
                </a:lnTo>
                <a:close/>
                <a:moveTo>
                  <a:pt x="654" y="348"/>
                </a:moveTo>
                <a:lnTo>
                  <a:pt x="658" y="348"/>
                </a:lnTo>
                <a:lnTo>
                  <a:pt x="658" y="348"/>
                </a:lnTo>
                <a:lnTo>
                  <a:pt x="658" y="350"/>
                </a:lnTo>
                <a:lnTo>
                  <a:pt x="664" y="350"/>
                </a:lnTo>
                <a:lnTo>
                  <a:pt x="658" y="350"/>
                </a:lnTo>
                <a:lnTo>
                  <a:pt x="658" y="348"/>
                </a:lnTo>
                <a:lnTo>
                  <a:pt x="654" y="348"/>
                </a:lnTo>
                <a:lnTo>
                  <a:pt x="654" y="348"/>
                </a:lnTo>
                <a:lnTo>
                  <a:pt x="654" y="348"/>
                </a:lnTo>
                <a:lnTo>
                  <a:pt x="654" y="348"/>
                </a:lnTo>
                <a:close/>
                <a:moveTo>
                  <a:pt x="530" y="356"/>
                </a:moveTo>
                <a:lnTo>
                  <a:pt x="536" y="356"/>
                </a:lnTo>
                <a:lnTo>
                  <a:pt x="536" y="356"/>
                </a:lnTo>
                <a:lnTo>
                  <a:pt x="540" y="356"/>
                </a:lnTo>
                <a:lnTo>
                  <a:pt x="536" y="356"/>
                </a:lnTo>
                <a:lnTo>
                  <a:pt x="536" y="356"/>
                </a:lnTo>
                <a:lnTo>
                  <a:pt x="536" y="356"/>
                </a:lnTo>
                <a:lnTo>
                  <a:pt x="530" y="356"/>
                </a:lnTo>
                <a:lnTo>
                  <a:pt x="530" y="356"/>
                </a:lnTo>
                <a:lnTo>
                  <a:pt x="530" y="356"/>
                </a:lnTo>
                <a:lnTo>
                  <a:pt x="530" y="356"/>
                </a:lnTo>
                <a:lnTo>
                  <a:pt x="530" y="356"/>
                </a:lnTo>
                <a:close/>
                <a:moveTo>
                  <a:pt x="442" y="368"/>
                </a:moveTo>
                <a:lnTo>
                  <a:pt x="442" y="362"/>
                </a:lnTo>
                <a:lnTo>
                  <a:pt x="442" y="362"/>
                </a:lnTo>
                <a:lnTo>
                  <a:pt x="448" y="362"/>
                </a:lnTo>
                <a:lnTo>
                  <a:pt x="442" y="362"/>
                </a:lnTo>
                <a:lnTo>
                  <a:pt x="442" y="368"/>
                </a:lnTo>
                <a:lnTo>
                  <a:pt x="442" y="368"/>
                </a:lnTo>
                <a:lnTo>
                  <a:pt x="442" y="368"/>
                </a:lnTo>
                <a:lnTo>
                  <a:pt x="442" y="368"/>
                </a:lnTo>
                <a:lnTo>
                  <a:pt x="442" y="368"/>
                </a:lnTo>
                <a:close/>
                <a:moveTo>
                  <a:pt x="324" y="406"/>
                </a:moveTo>
                <a:lnTo>
                  <a:pt x="324" y="406"/>
                </a:lnTo>
                <a:lnTo>
                  <a:pt x="324" y="406"/>
                </a:lnTo>
                <a:lnTo>
                  <a:pt x="324" y="406"/>
                </a:lnTo>
                <a:lnTo>
                  <a:pt x="324" y="406"/>
                </a:lnTo>
                <a:lnTo>
                  <a:pt x="324" y="406"/>
                </a:lnTo>
                <a:lnTo>
                  <a:pt x="324" y="406"/>
                </a:lnTo>
                <a:lnTo>
                  <a:pt x="324" y="406"/>
                </a:lnTo>
                <a:close/>
                <a:moveTo>
                  <a:pt x="228" y="444"/>
                </a:moveTo>
                <a:lnTo>
                  <a:pt x="228" y="450"/>
                </a:lnTo>
                <a:lnTo>
                  <a:pt x="228" y="450"/>
                </a:lnTo>
                <a:lnTo>
                  <a:pt x="228" y="444"/>
                </a:lnTo>
                <a:lnTo>
                  <a:pt x="228" y="444"/>
                </a:lnTo>
                <a:lnTo>
                  <a:pt x="228" y="444"/>
                </a:lnTo>
                <a:lnTo>
                  <a:pt x="228" y="444"/>
                </a:lnTo>
                <a:lnTo>
                  <a:pt x="228" y="444"/>
                </a:lnTo>
                <a:close/>
                <a:moveTo>
                  <a:pt x="2412" y="456"/>
                </a:moveTo>
                <a:lnTo>
                  <a:pt x="2412" y="456"/>
                </a:lnTo>
                <a:lnTo>
                  <a:pt x="2418" y="456"/>
                </a:lnTo>
                <a:lnTo>
                  <a:pt x="2418" y="456"/>
                </a:lnTo>
                <a:lnTo>
                  <a:pt x="2418" y="456"/>
                </a:lnTo>
                <a:lnTo>
                  <a:pt x="2418" y="456"/>
                </a:lnTo>
                <a:lnTo>
                  <a:pt x="2412" y="456"/>
                </a:lnTo>
                <a:lnTo>
                  <a:pt x="2412" y="456"/>
                </a:lnTo>
                <a:lnTo>
                  <a:pt x="2412" y="456"/>
                </a:lnTo>
                <a:lnTo>
                  <a:pt x="2412" y="456"/>
                </a:lnTo>
                <a:close/>
                <a:moveTo>
                  <a:pt x="2408" y="456"/>
                </a:moveTo>
                <a:lnTo>
                  <a:pt x="2412" y="456"/>
                </a:lnTo>
                <a:lnTo>
                  <a:pt x="2412" y="460"/>
                </a:lnTo>
                <a:lnTo>
                  <a:pt x="2412" y="456"/>
                </a:lnTo>
                <a:lnTo>
                  <a:pt x="2408" y="456"/>
                </a:lnTo>
                <a:lnTo>
                  <a:pt x="2408" y="456"/>
                </a:lnTo>
                <a:lnTo>
                  <a:pt x="2408" y="456"/>
                </a:lnTo>
                <a:lnTo>
                  <a:pt x="2408" y="456"/>
                </a:lnTo>
                <a:close/>
                <a:moveTo>
                  <a:pt x="2036" y="596"/>
                </a:moveTo>
                <a:lnTo>
                  <a:pt x="2036" y="596"/>
                </a:lnTo>
                <a:lnTo>
                  <a:pt x="2036" y="596"/>
                </a:lnTo>
                <a:lnTo>
                  <a:pt x="2036" y="590"/>
                </a:lnTo>
                <a:lnTo>
                  <a:pt x="2040" y="590"/>
                </a:lnTo>
                <a:lnTo>
                  <a:pt x="2040" y="584"/>
                </a:lnTo>
                <a:lnTo>
                  <a:pt x="2036" y="584"/>
                </a:lnTo>
                <a:lnTo>
                  <a:pt x="2036" y="590"/>
                </a:lnTo>
                <a:lnTo>
                  <a:pt x="2036" y="584"/>
                </a:lnTo>
                <a:lnTo>
                  <a:pt x="2040" y="584"/>
                </a:lnTo>
                <a:lnTo>
                  <a:pt x="2046" y="584"/>
                </a:lnTo>
                <a:lnTo>
                  <a:pt x="2046" y="584"/>
                </a:lnTo>
                <a:lnTo>
                  <a:pt x="2046" y="584"/>
                </a:lnTo>
                <a:lnTo>
                  <a:pt x="2052" y="584"/>
                </a:lnTo>
                <a:lnTo>
                  <a:pt x="2052" y="584"/>
                </a:lnTo>
                <a:lnTo>
                  <a:pt x="2052" y="590"/>
                </a:lnTo>
                <a:lnTo>
                  <a:pt x="2046" y="590"/>
                </a:lnTo>
                <a:lnTo>
                  <a:pt x="2046" y="590"/>
                </a:lnTo>
                <a:lnTo>
                  <a:pt x="2046" y="596"/>
                </a:lnTo>
                <a:lnTo>
                  <a:pt x="2040" y="596"/>
                </a:lnTo>
                <a:lnTo>
                  <a:pt x="2036" y="596"/>
                </a:lnTo>
                <a:lnTo>
                  <a:pt x="2036" y="602"/>
                </a:lnTo>
                <a:lnTo>
                  <a:pt x="2036" y="596"/>
                </a:lnTo>
                <a:lnTo>
                  <a:pt x="2036" y="596"/>
                </a:lnTo>
                <a:lnTo>
                  <a:pt x="2036" y="596"/>
                </a:lnTo>
                <a:lnTo>
                  <a:pt x="2036" y="596"/>
                </a:lnTo>
                <a:close/>
                <a:moveTo>
                  <a:pt x="2072" y="666"/>
                </a:moveTo>
                <a:lnTo>
                  <a:pt x="2072" y="672"/>
                </a:lnTo>
                <a:lnTo>
                  <a:pt x="2072" y="676"/>
                </a:lnTo>
                <a:lnTo>
                  <a:pt x="2078" y="682"/>
                </a:lnTo>
                <a:lnTo>
                  <a:pt x="2078" y="682"/>
                </a:lnTo>
                <a:lnTo>
                  <a:pt x="2078" y="682"/>
                </a:lnTo>
                <a:lnTo>
                  <a:pt x="2072" y="682"/>
                </a:lnTo>
                <a:lnTo>
                  <a:pt x="2072" y="676"/>
                </a:lnTo>
                <a:lnTo>
                  <a:pt x="2068" y="676"/>
                </a:lnTo>
                <a:lnTo>
                  <a:pt x="2068" y="672"/>
                </a:lnTo>
                <a:lnTo>
                  <a:pt x="2068" y="672"/>
                </a:lnTo>
                <a:lnTo>
                  <a:pt x="2068" y="666"/>
                </a:lnTo>
                <a:lnTo>
                  <a:pt x="2068" y="666"/>
                </a:lnTo>
                <a:lnTo>
                  <a:pt x="2072" y="666"/>
                </a:lnTo>
                <a:lnTo>
                  <a:pt x="2072" y="666"/>
                </a:lnTo>
                <a:lnTo>
                  <a:pt x="2072" y="666"/>
                </a:lnTo>
                <a:lnTo>
                  <a:pt x="2072" y="666"/>
                </a:lnTo>
                <a:close/>
                <a:moveTo>
                  <a:pt x="1662" y="682"/>
                </a:moveTo>
                <a:lnTo>
                  <a:pt x="1662" y="682"/>
                </a:lnTo>
                <a:lnTo>
                  <a:pt x="1662" y="676"/>
                </a:lnTo>
                <a:lnTo>
                  <a:pt x="1668" y="676"/>
                </a:lnTo>
                <a:lnTo>
                  <a:pt x="1668" y="672"/>
                </a:lnTo>
                <a:lnTo>
                  <a:pt x="1672" y="672"/>
                </a:lnTo>
                <a:lnTo>
                  <a:pt x="1672" y="676"/>
                </a:lnTo>
                <a:lnTo>
                  <a:pt x="1672" y="676"/>
                </a:lnTo>
                <a:lnTo>
                  <a:pt x="1672" y="682"/>
                </a:lnTo>
                <a:lnTo>
                  <a:pt x="1672" y="682"/>
                </a:lnTo>
                <a:lnTo>
                  <a:pt x="1668" y="682"/>
                </a:lnTo>
                <a:lnTo>
                  <a:pt x="1668" y="682"/>
                </a:lnTo>
                <a:lnTo>
                  <a:pt x="1662" y="682"/>
                </a:lnTo>
                <a:lnTo>
                  <a:pt x="1662" y="682"/>
                </a:lnTo>
                <a:lnTo>
                  <a:pt x="1662" y="682"/>
                </a:lnTo>
                <a:lnTo>
                  <a:pt x="1662" y="682"/>
                </a:lnTo>
                <a:lnTo>
                  <a:pt x="1662" y="682"/>
                </a:lnTo>
                <a:close/>
                <a:moveTo>
                  <a:pt x="2090" y="682"/>
                </a:moveTo>
                <a:lnTo>
                  <a:pt x="2096" y="682"/>
                </a:lnTo>
                <a:lnTo>
                  <a:pt x="2096" y="682"/>
                </a:lnTo>
                <a:lnTo>
                  <a:pt x="2100" y="688"/>
                </a:lnTo>
                <a:lnTo>
                  <a:pt x="2096" y="688"/>
                </a:lnTo>
                <a:lnTo>
                  <a:pt x="2096" y="682"/>
                </a:lnTo>
                <a:lnTo>
                  <a:pt x="2096" y="682"/>
                </a:lnTo>
                <a:lnTo>
                  <a:pt x="2090" y="682"/>
                </a:lnTo>
                <a:lnTo>
                  <a:pt x="2090" y="682"/>
                </a:lnTo>
                <a:lnTo>
                  <a:pt x="2090" y="682"/>
                </a:lnTo>
                <a:lnTo>
                  <a:pt x="2090" y="682"/>
                </a:lnTo>
                <a:close/>
                <a:moveTo>
                  <a:pt x="1748" y="866"/>
                </a:moveTo>
                <a:lnTo>
                  <a:pt x="1748" y="860"/>
                </a:lnTo>
                <a:lnTo>
                  <a:pt x="1748" y="860"/>
                </a:lnTo>
                <a:lnTo>
                  <a:pt x="1748" y="856"/>
                </a:lnTo>
                <a:lnTo>
                  <a:pt x="1748" y="850"/>
                </a:lnTo>
                <a:lnTo>
                  <a:pt x="1748" y="856"/>
                </a:lnTo>
                <a:lnTo>
                  <a:pt x="1748" y="850"/>
                </a:lnTo>
                <a:lnTo>
                  <a:pt x="1742" y="850"/>
                </a:lnTo>
                <a:lnTo>
                  <a:pt x="1736" y="850"/>
                </a:lnTo>
                <a:lnTo>
                  <a:pt x="1732" y="856"/>
                </a:lnTo>
                <a:lnTo>
                  <a:pt x="1732" y="860"/>
                </a:lnTo>
                <a:lnTo>
                  <a:pt x="1732" y="860"/>
                </a:lnTo>
                <a:lnTo>
                  <a:pt x="1732" y="866"/>
                </a:lnTo>
                <a:lnTo>
                  <a:pt x="1732" y="866"/>
                </a:lnTo>
                <a:lnTo>
                  <a:pt x="1732" y="860"/>
                </a:lnTo>
                <a:lnTo>
                  <a:pt x="1728" y="860"/>
                </a:lnTo>
                <a:lnTo>
                  <a:pt x="1728" y="856"/>
                </a:lnTo>
                <a:lnTo>
                  <a:pt x="1728" y="850"/>
                </a:lnTo>
                <a:lnTo>
                  <a:pt x="1732" y="850"/>
                </a:lnTo>
                <a:lnTo>
                  <a:pt x="1732" y="844"/>
                </a:lnTo>
                <a:lnTo>
                  <a:pt x="1732" y="838"/>
                </a:lnTo>
                <a:lnTo>
                  <a:pt x="1732" y="838"/>
                </a:lnTo>
                <a:lnTo>
                  <a:pt x="1732" y="834"/>
                </a:lnTo>
                <a:lnTo>
                  <a:pt x="1732" y="830"/>
                </a:lnTo>
                <a:lnTo>
                  <a:pt x="1732" y="824"/>
                </a:lnTo>
                <a:lnTo>
                  <a:pt x="1732" y="824"/>
                </a:lnTo>
                <a:lnTo>
                  <a:pt x="1732" y="824"/>
                </a:lnTo>
                <a:lnTo>
                  <a:pt x="1732" y="824"/>
                </a:lnTo>
                <a:lnTo>
                  <a:pt x="1732" y="818"/>
                </a:lnTo>
                <a:lnTo>
                  <a:pt x="1732" y="812"/>
                </a:lnTo>
                <a:lnTo>
                  <a:pt x="1732" y="812"/>
                </a:lnTo>
                <a:lnTo>
                  <a:pt x="1728" y="812"/>
                </a:lnTo>
                <a:lnTo>
                  <a:pt x="1728" y="806"/>
                </a:lnTo>
                <a:lnTo>
                  <a:pt x="1732" y="806"/>
                </a:lnTo>
                <a:lnTo>
                  <a:pt x="1732" y="802"/>
                </a:lnTo>
                <a:lnTo>
                  <a:pt x="1732" y="802"/>
                </a:lnTo>
                <a:lnTo>
                  <a:pt x="1732" y="796"/>
                </a:lnTo>
                <a:lnTo>
                  <a:pt x="1732" y="790"/>
                </a:lnTo>
                <a:lnTo>
                  <a:pt x="1732" y="790"/>
                </a:lnTo>
                <a:lnTo>
                  <a:pt x="1732" y="784"/>
                </a:lnTo>
                <a:lnTo>
                  <a:pt x="1732" y="780"/>
                </a:lnTo>
                <a:lnTo>
                  <a:pt x="1732" y="774"/>
                </a:lnTo>
                <a:lnTo>
                  <a:pt x="1732" y="774"/>
                </a:lnTo>
                <a:lnTo>
                  <a:pt x="1732" y="770"/>
                </a:lnTo>
                <a:lnTo>
                  <a:pt x="1732" y="764"/>
                </a:lnTo>
                <a:lnTo>
                  <a:pt x="1732" y="764"/>
                </a:lnTo>
                <a:lnTo>
                  <a:pt x="1732" y="764"/>
                </a:lnTo>
                <a:lnTo>
                  <a:pt x="1732" y="758"/>
                </a:lnTo>
                <a:lnTo>
                  <a:pt x="1732" y="752"/>
                </a:lnTo>
                <a:lnTo>
                  <a:pt x="1732" y="752"/>
                </a:lnTo>
                <a:lnTo>
                  <a:pt x="1728" y="746"/>
                </a:lnTo>
                <a:lnTo>
                  <a:pt x="1728" y="742"/>
                </a:lnTo>
                <a:lnTo>
                  <a:pt x="1728" y="742"/>
                </a:lnTo>
                <a:lnTo>
                  <a:pt x="1728" y="736"/>
                </a:lnTo>
                <a:lnTo>
                  <a:pt x="1728" y="730"/>
                </a:lnTo>
                <a:lnTo>
                  <a:pt x="1728" y="726"/>
                </a:lnTo>
                <a:lnTo>
                  <a:pt x="1728" y="726"/>
                </a:lnTo>
                <a:lnTo>
                  <a:pt x="1728" y="720"/>
                </a:lnTo>
                <a:lnTo>
                  <a:pt x="1732" y="720"/>
                </a:lnTo>
                <a:lnTo>
                  <a:pt x="1732" y="716"/>
                </a:lnTo>
                <a:lnTo>
                  <a:pt x="1728" y="716"/>
                </a:lnTo>
                <a:lnTo>
                  <a:pt x="1728" y="716"/>
                </a:lnTo>
                <a:lnTo>
                  <a:pt x="1732" y="710"/>
                </a:lnTo>
                <a:lnTo>
                  <a:pt x="1732" y="710"/>
                </a:lnTo>
                <a:lnTo>
                  <a:pt x="1732" y="716"/>
                </a:lnTo>
                <a:lnTo>
                  <a:pt x="1736" y="716"/>
                </a:lnTo>
                <a:lnTo>
                  <a:pt x="1736" y="710"/>
                </a:lnTo>
                <a:lnTo>
                  <a:pt x="1736" y="704"/>
                </a:lnTo>
                <a:lnTo>
                  <a:pt x="1742" y="704"/>
                </a:lnTo>
                <a:lnTo>
                  <a:pt x="1742" y="704"/>
                </a:lnTo>
                <a:lnTo>
                  <a:pt x="1736" y="704"/>
                </a:lnTo>
                <a:lnTo>
                  <a:pt x="1736" y="704"/>
                </a:lnTo>
                <a:lnTo>
                  <a:pt x="1742" y="704"/>
                </a:lnTo>
                <a:lnTo>
                  <a:pt x="1742" y="698"/>
                </a:lnTo>
                <a:lnTo>
                  <a:pt x="1736" y="698"/>
                </a:lnTo>
                <a:lnTo>
                  <a:pt x="1736" y="692"/>
                </a:lnTo>
                <a:lnTo>
                  <a:pt x="1732" y="692"/>
                </a:lnTo>
                <a:lnTo>
                  <a:pt x="1736" y="692"/>
                </a:lnTo>
                <a:lnTo>
                  <a:pt x="1736" y="692"/>
                </a:lnTo>
                <a:lnTo>
                  <a:pt x="1736" y="692"/>
                </a:lnTo>
                <a:lnTo>
                  <a:pt x="1742" y="692"/>
                </a:lnTo>
                <a:lnTo>
                  <a:pt x="1742" y="692"/>
                </a:lnTo>
                <a:lnTo>
                  <a:pt x="1748" y="692"/>
                </a:lnTo>
                <a:lnTo>
                  <a:pt x="1748" y="698"/>
                </a:lnTo>
                <a:lnTo>
                  <a:pt x="1742" y="698"/>
                </a:lnTo>
                <a:lnTo>
                  <a:pt x="1742" y="704"/>
                </a:lnTo>
                <a:lnTo>
                  <a:pt x="1742" y="704"/>
                </a:lnTo>
                <a:lnTo>
                  <a:pt x="1748" y="704"/>
                </a:lnTo>
                <a:lnTo>
                  <a:pt x="1748" y="710"/>
                </a:lnTo>
                <a:lnTo>
                  <a:pt x="1748" y="716"/>
                </a:lnTo>
                <a:lnTo>
                  <a:pt x="1748" y="710"/>
                </a:lnTo>
                <a:lnTo>
                  <a:pt x="1748" y="716"/>
                </a:lnTo>
                <a:lnTo>
                  <a:pt x="1748" y="716"/>
                </a:lnTo>
                <a:lnTo>
                  <a:pt x="1748" y="716"/>
                </a:lnTo>
                <a:lnTo>
                  <a:pt x="1748" y="720"/>
                </a:lnTo>
                <a:lnTo>
                  <a:pt x="1748" y="726"/>
                </a:lnTo>
                <a:lnTo>
                  <a:pt x="1748" y="726"/>
                </a:lnTo>
                <a:lnTo>
                  <a:pt x="1748" y="730"/>
                </a:lnTo>
                <a:lnTo>
                  <a:pt x="1748" y="736"/>
                </a:lnTo>
                <a:lnTo>
                  <a:pt x="1748" y="730"/>
                </a:lnTo>
                <a:lnTo>
                  <a:pt x="1748" y="730"/>
                </a:lnTo>
                <a:lnTo>
                  <a:pt x="1748" y="726"/>
                </a:lnTo>
                <a:lnTo>
                  <a:pt x="1748" y="730"/>
                </a:lnTo>
                <a:lnTo>
                  <a:pt x="1748" y="736"/>
                </a:lnTo>
                <a:lnTo>
                  <a:pt x="1748" y="742"/>
                </a:lnTo>
                <a:lnTo>
                  <a:pt x="1748" y="742"/>
                </a:lnTo>
                <a:lnTo>
                  <a:pt x="1748" y="742"/>
                </a:lnTo>
                <a:lnTo>
                  <a:pt x="1748" y="746"/>
                </a:lnTo>
                <a:lnTo>
                  <a:pt x="1748" y="752"/>
                </a:lnTo>
                <a:lnTo>
                  <a:pt x="1748" y="752"/>
                </a:lnTo>
                <a:lnTo>
                  <a:pt x="1748" y="758"/>
                </a:lnTo>
                <a:lnTo>
                  <a:pt x="1754" y="752"/>
                </a:lnTo>
                <a:lnTo>
                  <a:pt x="1754" y="758"/>
                </a:lnTo>
                <a:lnTo>
                  <a:pt x="1754" y="764"/>
                </a:lnTo>
                <a:lnTo>
                  <a:pt x="1754" y="764"/>
                </a:lnTo>
                <a:lnTo>
                  <a:pt x="1754" y="770"/>
                </a:lnTo>
                <a:lnTo>
                  <a:pt x="1754" y="774"/>
                </a:lnTo>
                <a:lnTo>
                  <a:pt x="1758" y="774"/>
                </a:lnTo>
                <a:lnTo>
                  <a:pt x="1758" y="780"/>
                </a:lnTo>
                <a:lnTo>
                  <a:pt x="1758" y="784"/>
                </a:lnTo>
                <a:lnTo>
                  <a:pt x="1758" y="790"/>
                </a:lnTo>
                <a:lnTo>
                  <a:pt x="1758" y="796"/>
                </a:lnTo>
                <a:lnTo>
                  <a:pt x="1764" y="802"/>
                </a:lnTo>
                <a:lnTo>
                  <a:pt x="1764" y="802"/>
                </a:lnTo>
                <a:lnTo>
                  <a:pt x="1770" y="806"/>
                </a:lnTo>
                <a:lnTo>
                  <a:pt x="1770" y="812"/>
                </a:lnTo>
                <a:lnTo>
                  <a:pt x="1770" y="806"/>
                </a:lnTo>
                <a:lnTo>
                  <a:pt x="1764" y="802"/>
                </a:lnTo>
                <a:lnTo>
                  <a:pt x="1758" y="802"/>
                </a:lnTo>
                <a:lnTo>
                  <a:pt x="1758" y="802"/>
                </a:lnTo>
                <a:lnTo>
                  <a:pt x="1758" y="802"/>
                </a:lnTo>
                <a:lnTo>
                  <a:pt x="1754" y="802"/>
                </a:lnTo>
                <a:lnTo>
                  <a:pt x="1748" y="796"/>
                </a:lnTo>
                <a:lnTo>
                  <a:pt x="1748" y="802"/>
                </a:lnTo>
                <a:lnTo>
                  <a:pt x="1754" y="796"/>
                </a:lnTo>
                <a:lnTo>
                  <a:pt x="1754" y="802"/>
                </a:lnTo>
                <a:lnTo>
                  <a:pt x="1748" y="802"/>
                </a:lnTo>
                <a:lnTo>
                  <a:pt x="1748" y="802"/>
                </a:lnTo>
                <a:lnTo>
                  <a:pt x="1748" y="802"/>
                </a:lnTo>
                <a:lnTo>
                  <a:pt x="1748" y="806"/>
                </a:lnTo>
                <a:lnTo>
                  <a:pt x="1742" y="806"/>
                </a:lnTo>
                <a:lnTo>
                  <a:pt x="1742" y="812"/>
                </a:lnTo>
                <a:lnTo>
                  <a:pt x="1742" y="812"/>
                </a:lnTo>
                <a:lnTo>
                  <a:pt x="1736" y="818"/>
                </a:lnTo>
                <a:lnTo>
                  <a:pt x="1736" y="824"/>
                </a:lnTo>
                <a:lnTo>
                  <a:pt x="1736" y="824"/>
                </a:lnTo>
                <a:lnTo>
                  <a:pt x="1736" y="830"/>
                </a:lnTo>
                <a:lnTo>
                  <a:pt x="1736" y="834"/>
                </a:lnTo>
                <a:lnTo>
                  <a:pt x="1742" y="838"/>
                </a:lnTo>
                <a:lnTo>
                  <a:pt x="1748" y="838"/>
                </a:lnTo>
                <a:lnTo>
                  <a:pt x="1748" y="850"/>
                </a:lnTo>
                <a:lnTo>
                  <a:pt x="1748" y="850"/>
                </a:lnTo>
                <a:lnTo>
                  <a:pt x="1748" y="850"/>
                </a:lnTo>
                <a:lnTo>
                  <a:pt x="1748" y="850"/>
                </a:lnTo>
                <a:lnTo>
                  <a:pt x="1754" y="850"/>
                </a:lnTo>
                <a:lnTo>
                  <a:pt x="1754" y="850"/>
                </a:lnTo>
                <a:lnTo>
                  <a:pt x="1754" y="856"/>
                </a:lnTo>
                <a:lnTo>
                  <a:pt x="1754" y="860"/>
                </a:lnTo>
                <a:lnTo>
                  <a:pt x="1754" y="860"/>
                </a:lnTo>
                <a:lnTo>
                  <a:pt x="1748" y="860"/>
                </a:lnTo>
                <a:lnTo>
                  <a:pt x="1748" y="866"/>
                </a:lnTo>
                <a:lnTo>
                  <a:pt x="1748" y="866"/>
                </a:lnTo>
                <a:lnTo>
                  <a:pt x="1748" y="866"/>
                </a:lnTo>
                <a:lnTo>
                  <a:pt x="1748" y="866"/>
                </a:lnTo>
                <a:close/>
                <a:moveTo>
                  <a:pt x="1922" y="764"/>
                </a:moveTo>
                <a:lnTo>
                  <a:pt x="1922" y="764"/>
                </a:lnTo>
                <a:lnTo>
                  <a:pt x="1922" y="764"/>
                </a:lnTo>
                <a:lnTo>
                  <a:pt x="1922" y="764"/>
                </a:lnTo>
                <a:lnTo>
                  <a:pt x="1922" y="764"/>
                </a:lnTo>
                <a:lnTo>
                  <a:pt x="1922" y="764"/>
                </a:lnTo>
                <a:lnTo>
                  <a:pt x="1922" y="764"/>
                </a:lnTo>
                <a:lnTo>
                  <a:pt x="1922" y="764"/>
                </a:lnTo>
                <a:close/>
                <a:moveTo>
                  <a:pt x="1938" y="770"/>
                </a:moveTo>
                <a:lnTo>
                  <a:pt x="1932" y="770"/>
                </a:lnTo>
                <a:lnTo>
                  <a:pt x="1932" y="764"/>
                </a:lnTo>
                <a:lnTo>
                  <a:pt x="1938" y="764"/>
                </a:lnTo>
                <a:lnTo>
                  <a:pt x="1938" y="770"/>
                </a:lnTo>
                <a:lnTo>
                  <a:pt x="1938" y="770"/>
                </a:lnTo>
                <a:lnTo>
                  <a:pt x="1938" y="770"/>
                </a:lnTo>
                <a:lnTo>
                  <a:pt x="1938" y="770"/>
                </a:lnTo>
                <a:close/>
                <a:moveTo>
                  <a:pt x="1916" y="780"/>
                </a:moveTo>
                <a:lnTo>
                  <a:pt x="1916" y="774"/>
                </a:lnTo>
                <a:lnTo>
                  <a:pt x="1922" y="774"/>
                </a:lnTo>
                <a:lnTo>
                  <a:pt x="1922" y="774"/>
                </a:lnTo>
                <a:lnTo>
                  <a:pt x="1922" y="774"/>
                </a:lnTo>
                <a:lnTo>
                  <a:pt x="1922" y="770"/>
                </a:lnTo>
                <a:lnTo>
                  <a:pt x="1928" y="770"/>
                </a:lnTo>
                <a:lnTo>
                  <a:pt x="1928" y="764"/>
                </a:lnTo>
                <a:lnTo>
                  <a:pt x="1928" y="770"/>
                </a:lnTo>
                <a:lnTo>
                  <a:pt x="1932" y="774"/>
                </a:lnTo>
                <a:lnTo>
                  <a:pt x="1928" y="774"/>
                </a:lnTo>
                <a:lnTo>
                  <a:pt x="1922" y="780"/>
                </a:lnTo>
                <a:lnTo>
                  <a:pt x="1922" y="780"/>
                </a:lnTo>
                <a:lnTo>
                  <a:pt x="1916" y="780"/>
                </a:lnTo>
                <a:lnTo>
                  <a:pt x="1916" y="780"/>
                </a:lnTo>
                <a:lnTo>
                  <a:pt x="1916" y="780"/>
                </a:lnTo>
                <a:lnTo>
                  <a:pt x="1916" y="780"/>
                </a:lnTo>
                <a:close/>
                <a:moveTo>
                  <a:pt x="1910" y="802"/>
                </a:moveTo>
                <a:lnTo>
                  <a:pt x="1910" y="796"/>
                </a:lnTo>
                <a:lnTo>
                  <a:pt x="1910" y="790"/>
                </a:lnTo>
                <a:lnTo>
                  <a:pt x="1910" y="790"/>
                </a:lnTo>
                <a:lnTo>
                  <a:pt x="1910" y="796"/>
                </a:lnTo>
                <a:lnTo>
                  <a:pt x="1910" y="796"/>
                </a:lnTo>
                <a:lnTo>
                  <a:pt x="1910" y="802"/>
                </a:lnTo>
                <a:lnTo>
                  <a:pt x="1910" y="802"/>
                </a:lnTo>
                <a:lnTo>
                  <a:pt x="1910" y="802"/>
                </a:lnTo>
                <a:lnTo>
                  <a:pt x="1910" y="802"/>
                </a:lnTo>
                <a:lnTo>
                  <a:pt x="1910" y="802"/>
                </a:lnTo>
                <a:close/>
                <a:moveTo>
                  <a:pt x="1904" y="802"/>
                </a:moveTo>
                <a:lnTo>
                  <a:pt x="1910" y="802"/>
                </a:lnTo>
                <a:lnTo>
                  <a:pt x="1910" y="802"/>
                </a:lnTo>
                <a:lnTo>
                  <a:pt x="1904" y="802"/>
                </a:lnTo>
                <a:lnTo>
                  <a:pt x="1904" y="802"/>
                </a:lnTo>
                <a:lnTo>
                  <a:pt x="1904" y="802"/>
                </a:lnTo>
                <a:lnTo>
                  <a:pt x="1904" y="802"/>
                </a:lnTo>
                <a:lnTo>
                  <a:pt x="1904" y="802"/>
                </a:lnTo>
                <a:close/>
                <a:moveTo>
                  <a:pt x="1898" y="812"/>
                </a:moveTo>
                <a:lnTo>
                  <a:pt x="1898" y="806"/>
                </a:lnTo>
                <a:lnTo>
                  <a:pt x="1898" y="806"/>
                </a:lnTo>
                <a:lnTo>
                  <a:pt x="1898" y="812"/>
                </a:lnTo>
                <a:lnTo>
                  <a:pt x="1898" y="812"/>
                </a:lnTo>
                <a:lnTo>
                  <a:pt x="1898" y="812"/>
                </a:lnTo>
                <a:lnTo>
                  <a:pt x="1898" y="812"/>
                </a:lnTo>
                <a:lnTo>
                  <a:pt x="1898" y="812"/>
                </a:lnTo>
                <a:close/>
                <a:moveTo>
                  <a:pt x="1878" y="844"/>
                </a:moveTo>
                <a:lnTo>
                  <a:pt x="1878" y="838"/>
                </a:lnTo>
                <a:lnTo>
                  <a:pt x="1878" y="844"/>
                </a:lnTo>
                <a:lnTo>
                  <a:pt x="1872" y="844"/>
                </a:lnTo>
                <a:lnTo>
                  <a:pt x="1872" y="850"/>
                </a:lnTo>
                <a:lnTo>
                  <a:pt x="1868" y="850"/>
                </a:lnTo>
                <a:lnTo>
                  <a:pt x="1868" y="850"/>
                </a:lnTo>
                <a:lnTo>
                  <a:pt x="1868" y="850"/>
                </a:lnTo>
                <a:lnTo>
                  <a:pt x="1872" y="844"/>
                </a:lnTo>
                <a:lnTo>
                  <a:pt x="1878" y="838"/>
                </a:lnTo>
                <a:lnTo>
                  <a:pt x="1878" y="844"/>
                </a:lnTo>
                <a:lnTo>
                  <a:pt x="1878" y="844"/>
                </a:lnTo>
                <a:lnTo>
                  <a:pt x="1878" y="844"/>
                </a:lnTo>
                <a:lnTo>
                  <a:pt x="1878" y="844"/>
                </a:lnTo>
                <a:close/>
                <a:moveTo>
                  <a:pt x="1836" y="872"/>
                </a:moveTo>
                <a:lnTo>
                  <a:pt x="1842" y="872"/>
                </a:lnTo>
                <a:lnTo>
                  <a:pt x="1842" y="866"/>
                </a:lnTo>
                <a:lnTo>
                  <a:pt x="1842" y="866"/>
                </a:lnTo>
                <a:lnTo>
                  <a:pt x="1842" y="860"/>
                </a:lnTo>
                <a:lnTo>
                  <a:pt x="1844" y="860"/>
                </a:lnTo>
                <a:lnTo>
                  <a:pt x="1850" y="860"/>
                </a:lnTo>
                <a:lnTo>
                  <a:pt x="1844" y="860"/>
                </a:lnTo>
                <a:lnTo>
                  <a:pt x="1844" y="866"/>
                </a:lnTo>
                <a:lnTo>
                  <a:pt x="1842" y="872"/>
                </a:lnTo>
                <a:lnTo>
                  <a:pt x="1842" y="872"/>
                </a:lnTo>
                <a:lnTo>
                  <a:pt x="1842" y="872"/>
                </a:lnTo>
                <a:lnTo>
                  <a:pt x="1836" y="872"/>
                </a:lnTo>
                <a:lnTo>
                  <a:pt x="1836" y="872"/>
                </a:lnTo>
                <a:lnTo>
                  <a:pt x="1836" y="872"/>
                </a:lnTo>
                <a:lnTo>
                  <a:pt x="1836" y="872"/>
                </a:lnTo>
                <a:close/>
                <a:moveTo>
                  <a:pt x="1796" y="898"/>
                </a:moveTo>
                <a:lnTo>
                  <a:pt x="1802" y="892"/>
                </a:lnTo>
                <a:lnTo>
                  <a:pt x="1802" y="888"/>
                </a:lnTo>
                <a:lnTo>
                  <a:pt x="1802" y="888"/>
                </a:lnTo>
                <a:lnTo>
                  <a:pt x="1802" y="884"/>
                </a:lnTo>
                <a:lnTo>
                  <a:pt x="1808" y="884"/>
                </a:lnTo>
                <a:lnTo>
                  <a:pt x="1808" y="884"/>
                </a:lnTo>
                <a:lnTo>
                  <a:pt x="1814" y="884"/>
                </a:lnTo>
                <a:lnTo>
                  <a:pt x="1814" y="878"/>
                </a:lnTo>
                <a:lnTo>
                  <a:pt x="1814" y="878"/>
                </a:lnTo>
                <a:lnTo>
                  <a:pt x="1814" y="884"/>
                </a:lnTo>
                <a:lnTo>
                  <a:pt x="1818" y="884"/>
                </a:lnTo>
                <a:lnTo>
                  <a:pt x="1818" y="878"/>
                </a:lnTo>
                <a:lnTo>
                  <a:pt x="1824" y="878"/>
                </a:lnTo>
                <a:lnTo>
                  <a:pt x="1824" y="872"/>
                </a:lnTo>
                <a:lnTo>
                  <a:pt x="1830" y="872"/>
                </a:lnTo>
                <a:lnTo>
                  <a:pt x="1830" y="878"/>
                </a:lnTo>
                <a:lnTo>
                  <a:pt x="1824" y="878"/>
                </a:lnTo>
                <a:lnTo>
                  <a:pt x="1824" y="884"/>
                </a:lnTo>
                <a:lnTo>
                  <a:pt x="1818" y="884"/>
                </a:lnTo>
                <a:lnTo>
                  <a:pt x="1814" y="884"/>
                </a:lnTo>
                <a:lnTo>
                  <a:pt x="1814" y="884"/>
                </a:lnTo>
                <a:lnTo>
                  <a:pt x="1814" y="884"/>
                </a:lnTo>
                <a:lnTo>
                  <a:pt x="1808" y="884"/>
                </a:lnTo>
                <a:lnTo>
                  <a:pt x="1808" y="888"/>
                </a:lnTo>
                <a:lnTo>
                  <a:pt x="1802" y="892"/>
                </a:lnTo>
                <a:lnTo>
                  <a:pt x="1802" y="898"/>
                </a:lnTo>
                <a:lnTo>
                  <a:pt x="1802" y="898"/>
                </a:lnTo>
                <a:lnTo>
                  <a:pt x="1796" y="898"/>
                </a:lnTo>
                <a:lnTo>
                  <a:pt x="1796" y="898"/>
                </a:lnTo>
                <a:lnTo>
                  <a:pt x="1796" y="898"/>
                </a:lnTo>
                <a:lnTo>
                  <a:pt x="1796" y="898"/>
                </a:lnTo>
                <a:close/>
                <a:moveTo>
                  <a:pt x="1790" y="898"/>
                </a:moveTo>
                <a:lnTo>
                  <a:pt x="1790" y="898"/>
                </a:lnTo>
                <a:lnTo>
                  <a:pt x="1790" y="898"/>
                </a:lnTo>
                <a:lnTo>
                  <a:pt x="1790" y="898"/>
                </a:lnTo>
                <a:lnTo>
                  <a:pt x="1786" y="898"/>
                </a:lnTo>
                <a:lnTo>
                  <a:pt x="1786" y="904"/>
                </a:lnTo>
                <a:lnTo>
                  <a:pt x="1782" y="904"/>
                </a:lnTo>
                <a:lnTo>
                  <a:pt x="1782" y="910"/>
                </a:lnTo>
                <a:lnTo>
                  <a:pt x="1782" y="910"/>
                </a:lnTo>
                <a:lnTo>
                  <a:pt x="1782" y="910"/>
                </a:lnTo>
                <a:lnTo>
                  <a:pt x="1782" y="910"/>
                </a:lnTo>
                <a:lnTo>
                  <a:pt x="1782" y="910"/>
                </a:lnTo>
                <a:lnTo>
                  <a:pt x="1782" y="904"/>
                </a:lnTo>
                <a:lnTo>
                  <a:pt x="1786" y="898"/>
                </a:lnTo>
                <a:lnTo>
                  <a:pt x="1786" y="898"/>
                </a:lnTo>
                <a:lnTo>
                  <a:pt x="1790" y="898"/>
                </a:lnTo>
                <a:lnTo>
                  <a:pt x="1790" y="898"/>
                </a:lnTo>
                <a:lnTo>
                  <a:pt x="1790" y="898"/>
                </a:lnTo>
                <a:lnTo>
                  <a:pt x="1790" y="898"/>
                </a:lnTo>
                <a:close/>
                <a:moveTo>
                  <a:pt x="1796" y="910"/>
                </a:moveTo>
                <a:lnTo>
                  <a:pt x="1796" y="910"/>
                </a:lnTo>
                <a:lnTo>
                  <a:pt x="1790" y="910"/>
                </a:lnTo>
                <a:lnTo>
                  <a:pt x="1790" y="910"/>
                </a:lnTo>
                <a:lnTo>
                  <a:pt x="1796" y="910"/>
                </a:lnTo>
                <a:lnTo>
                  <a:pt x="1796" y="910"/>
                </a:lnTo>
                <a:lnTo>
                  <a:pt x="1796" y="910"/>
                </a:lnTo>
                <a:lnTo>
                  <a:pt x="1796" y="910"/>
                </a:lnTo>
                <a:close/>
              </a:path>
            </a:pathLst>
          </a:custGeom>
          <a:solidFill>
            <a:srgbClr val="A0DCFF"/>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7" name="Freeform 14"/>
          <p:cNvSpPr>
            <a:spLocks/>
          </p:cNvSpPr>
          <p:nvPr/>
        </p:nvSpPr>
        <p:spPr bwMode="auto">
          <a:xfrm>
            <a:off x="4652962" y="3459955"/>
            <a:ext cx="214313" cy="176213"/>
          </a:xfrm>
          <a:custGeom>
            <a:avLst/>
            <a:gdLst>
              <a:gd name="T0" fmla="*/ 126 w 180"/>
              <a:gd name="T1" fmla="*/ 30 h 148"/>
              <a:gd name="T2" fmla="*/ 112 w 180"/>
              <a:gd name="T3" fmla="*/ 44 h 148"/>
              <a:gd name="T4" fmla="*/ 106 w 180"/>
              <a:gd name="T5" fmla="*/ 38 h 148"/>
              <a:gd name="T6" fmla="*/ 100 w 180"/>
              <a:gd name="T7" fmla="*/ 36 h 148"/>
              <a:gd name="T8" fmla="*/ 96 w 180"/>
              <a:gd name="T9" fmla="*/ 34 h 148"/>
              <a:gd name="T10" fmla="*/ 80 w 180"/>
              <a:gd name="T11" fmla="*/ 52 h 148"/>
              <a:gd name="T12" fmla="*/ 74 w 180"/>
              <a:gd name="T13" fmla="*/ 50 h 148"/>
              <a:gd name="T14" fmla="*/ 56 w 180"/>
              <a:gd name="T15" fmla="*/ 46 h 148"/>
              <a:gd name="T16" fmla="*/ 40 w 180"/>
              <a:gd name="T17" fmla="*/ 40 h 148"/>
              <a:gd name="T18" fmla="*/ 34 w 180"/>
              <a:gd name="T19" fmla="*/ 28 h 148"/>
              <a:gd name="T20" fmla="*/ 34 w 180"/>
              <a:gd name="T21" fmla="*/ 30 h 148"/>
              <a:gd name="T22" fmla="*/ 28 w 180"/>
              <a:gd name="T23" fmla="*/ 30 h 148"/>
              <a:gd name="T24" fmla="*/ 26 w 180"/>
              <a:gd name="T25" fmla="*/ 32 h 148"/>
              <a:gd name="T26" fmla="*/ 16 w 180"/>
              <a:gd name="T27" fmla="*/ 42 h 148"/>
              <a:gd name="T28" fmla="*/ 10 w 180"/>
              <a:gd name="T29" fmla="*/ 42 h 148"/>
              <a:gd name="T30" fmla="*/ 8 w 180"/>
              <a:gd name="T31" fmla="*/ 48 h 148"/>
              <a:gd name="T32" fmla="*/ 2 w 180"/>
              <a:gd name="T33" fmla="*/ 38 h 148"/>
              <a:gd name="T34" fmla="*/ 0 w 180"/>
              <a:gd name="T35" fmla="*/ 54 h 148"/>
              <a:gd name="T36" fmla="*/ 10 w 180"/>
              <a:gd name="T37" fmla="*/ 58 h 148"/>
              <a:gd name="T38" fmla="*/ 12 w 180"/>
              <a:gd name="T39" fmla="*/ 62 h 148"/>
              <a:gd name="T40" fmla="*/ 24 w 180"/>
              <a:gd name="T41" fmla="*/ 68 h 148"/>
              <a:gd name="T42" fmla="*/ 26 w 180"/>
              <a:gd name="T43" fmla="*/ 76 h 148"/>
              <a:gd name="T44" fmla="*/ 42 w 180"/>
              <a:gd name="T45" fmla="*/ 90 h 148"/>
              <a:gd name="T46" fmla="*/ 56 w 180"/>
              <a:gd name="T47" fmla="*/ 110 h 148"/>
              <a:gd name="T48" fmla="*/ 68 w 180"/>
              <a:gd name="T49" fmla="*/ 130 h 148"/>
              <a:gd name="T50" fmla="*/ 76 w 180"/>
              <a:gd name="T51" fmla="*/ 130 h 148"/>
              <a:gd name="T52" fmla="*/ 90 w 180"/>
              <a:gd name="T53" fmla="*/ 130 h 148"/>
              <a:gd name="T54" fmla="*/ 108 w 180"/>
              <a:gd name="T55" fmla="*/ 146 h 148"/>
              <a:gd name="T56" fmla="*/ 110 w 180"/>
              <a:gd name="T57" fmla="*/ 144 h 148"/>
              <a:gd name="T58" fmla="*/ 122 w 180"/>
              <a:gd name="T59" fmla="*/ 144 h 148"/>
              <a:gd name="T60" fmla="*/ 136 w 180"/>
              <a:gd name="T61" fmla="*/ 142 h 148"/>
              <a:gd name="T62" fmla="*/ 152 w 180"/>
              <a:gd name="T63" fmla="*/ 138 h 148"/>
              <a:gd name="T64" fmla="*/ 180 w 180"/>
              <a:gd name="T65" fmla="*/ 130 h 148"/>
              <a:gd name="T66" fmla="*/ 168 w 180"/>
              <a:gd name="T67" fmla="*/ 112 h 148"/>
              <a:gd name="T68" fmla="*/ 162 w 180"/>
              <a:gd name="T69" fmla="*/ 94 h 148"/>
              <a:gd name="T70" fmla="*/ 150 w 180"/>
              <a:gd name="T71" fmla="*/ 78 h 148"/>
              <a:gd name="T72" fmla="*/ 138 w 180"/>
              <a:gd name="T73" fmla="*/ 70 h 148"/>
              <a:gd name="T74" fmla="*/ 140 w 180"/>
              <a:gd name="T75" fmla="*/ 62 h 148"/>
              <a:gd name="T76" fmla="*/ 154 w 180"/>
              <a:gd name="T77" fmla="*/ 58 h 148"/>
              <a:gd name="T78" fmla="*/ 156 w 180"/>
              <a:gd name="T79" fmla="*/ 26 h 148"/>
              <a:gd name="T80" fmla="*/ 156 w 180"/>
              <a:gd name="T81" fmla="*/ 26 h 148"/>
              <a:gd name="T82" fmla="*/ 154 w 180"/>
              <a:gd name="T83" fmla="*/ 28 h 148"/>
              <a:gd name="T84" fmla="*/ 152 w 180"/>
              <a:gd name="T85" fmla="*/ 28 h 148"/>
              <a:gd name="T86" fmla="*/ 152 w 180"/>
              <a:gd name="T87" fmla="*/ 32 h 148"/>
              <a:gd name="T88" fmla="*/ 148 w 180"/>
              <a:gd name="T89" fmla="*/ 28 h 148"/>
              <a:gd name="T90" fmla="*/ 142 w 180"/>
              <a:gd name="T91" fmla="*/ 24 h 148"/>
              <a:gd name="T92" fmla="*/ 142 w 180"/>
              <a:gd name="T93" fmla="*/ 0 h 148"/>
              <a:gd name="T94" fmla="*/ 136 w 180"/>
              <a:gd name="T95" fmla="*/ 6 h 148"/>
              <a:gd name="T96" fmla="*/ 134 w 180"/>
              <a:gd name="T97" fmla="*/ 14 h 148"/>
              <a:gd name="T98" fmla="*/ 132 w 180"/>
              <a:gd name="T99" fmla="*/ 20 h 148"/>
              <a:gd name="T100" fmla="*/ 130 w 180"/>
              <a:gd name="T101" fmla="*/ 22 h 148"/>
              <a:gd name="T102" fmla="*/ 126 w 180"/>
              <a:gd name="T103" fmla="*/ 3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0" h="148">
                <a:moveTo>
                  <a:pt x="126" y="30"/>
                </a:moveTo>
                <a:lnTo>
                  <a:pt x="126" y="30"/>
                </a:lnTo>
                <a:lnTo>
                  <a:pt x="120" y="38"/>
                </a:lnTo>
                <a:lnTo>
                  <a:pt x="112" y="44"/>
                </a:lnTo>
                <a:lnTo>
                  <a:pt x="106" y="38"/>
                </a:lnTo>
                <a:lnTo>
                  <a:pt x="106" y="38"/>
                </a:lnTo>
                <a:lnTo>
                  <a:pt x="104" y="38"/>
                </a:lnTo>
                <a:lnTo>
                  <a:pt x="100" y="36"/>
                </a:lnTo>
                <a:lnTo>
                  <a:pt x="98" y="34"/>
                </a:lnTo>
                <a:lnTo>
                  <a:pt x="96" y="34"/>
                </a:lnTo>
                <a:lnTo>
                  <a:pt x="92" y="44"/>
                </a:lnTo>
                <a:lnTo>
                  <a:pt x="80" y="52"/>
                </a:lnTo>
                <a:lnTo>
                  <a:pt x="80" y="52"/>
                </a:lnTo>
                <a:lnTo>
                  <a:pt x="74" y="50"/>
                </a:lnTo>
                <a:lnTo>
                  <a:pt x="70" y="50"/>
                </a:lnTo>
                <a:lnTo>
                  <a:pt x="56" y="46"/>
                </a:lnTo>
                <a:lnTo>
                  <a:pt x="50" y="48"/>
                </a:lnTo>
                <a:lnTo>
                  <a:pt x="40" y="40"/>
                </a:lnTo>
                <a:lnTo>
                  <a:pt x="40" y="40"/>
                </a:lnTo>
                <a:lnTo>
                  <a:pt x="34" y="28"/>
                </a:lnTo>
                <a:lnTo>
                  <a:pt x="34" y="28"/>
                </a:lnTo>
                <a:lnTo>
                  <a:pt x="34" y="30"/>
                </a:lnTo>
                <a:lnTo>
                  <a:pt x="30" y="30"/>
                </a:lnTo>
                <a:lnTo>
                  <a:pt x="28" y="30"/>
                </a:lnTo>
                <a:lnTo>
                  <a:pt x="26" y="32"/>
                </a:lnTo>
                <a:lnTo>
                  <a:pt x="26" y="32"/>
                </a:lnTo>
                <a:lnTo>
                  <a:pt x="24" y="40"/>
                </a:lnTo>
                <a:lnTo>
                  <a:pt x="16" y="42"/>
                </a:lnTo>
                <a:lnTo>
                  <a:pt x="10" y="42"/>
                </a:lnTo>
                <a:lnTo>
                  <a:pt x="10" y="42"/>
                </a:lnTo>
                <a:lnTo>
                  <a:pt x="8" y="48"/>
                </a:lnTo>
                <a:lnTo>
                  <a:pt x="8" y="48"/>
                </a:lnTo>
                <a:lnTo>
                  <a:pt x="2" y="38"/>
                </a:lnTo>
                <a:lnTo>
                  <a:pt x="2" y="38"/>
                </a:lnTo>
                <a:lnTo>
                  <a:pt x="0" y="54"/>
                </a:lnTo>
                <a:lnTo>
                  <a:pt x="0" y="54"/>
                </a:lnTo>
                <a:lnTo>
                  <a:pt x="2" y="56"/>
                </a:lnTo>
                <a:lnTo>
                  <a:pt x="10" y="58"/>
                </a:lnTo>
                <a:lnTo>
                  <a:pt x="10" y="58"/>
                </a:lnTo>
                <a:lnTo>
                  <a:pt x="12" y="62"/>
                </a:lnTo>
                <a:lnTo>
                  <a:pt x="20" y="64"/>
                </a:lnTo>
                <a:lnTo>
                  <a:pt x="24" y="68"/>
                </a:lnTo>
                <a:lnTo>
                  <a:pt x="24" y="68"/>
                </a:lnTo>
                <a:lnTo>
                  <a:pt x="26" y="76"/>
                </a:lnTo>
                <a:lnTo>
                  <a:pt x="42" y="90"/>
                </a:lnTo>
                <a:lnTo>
                  <a:pt x="42" y="90"/>
                </a:lnTo>
                <a:lnTo>
                  <a:pt x="46" y="104"/>
                </a:lnTo>
                <a:lnTo>
                  <a:pt x="56" y="110"/>
                </a:lnTo>
                <a:lnTo>
                  <a:pt x="60" y="118"/>
                </a:lnTo>
                <a:lnTo>
                  <a:pt x="68" y="130"/>
                </a:lnTo>
                <a:lnTo>
                  <a:pt x="72" y="134"/>
                </a:lnTo>
                <a:lnTo>
                  <a:pt x="76" y="130"/>
                </a:lnTo>
                <a:lnTo>
                  <a:pt x="86" y="132"/>
                </a:lnTo>
                <a:lnTo>
                  <a:pt x="90" y="130"/>
                </a:lnTo>
                <a:lnTo>
                  <a:pt x="108" y="146"/>
                </a:lnTo>
                <a:lnTo>
                  <a:pt x="108" y="146"/>
                </a:lnTo>
                <a:lnTo>
                  <a:pt x="108" y="146"/>
                </a:lnTo>
                <a:lnTo>
                  <a:pt x="110" y="144"/>
                </a:lnTo>
                <a:lnTo>
                  <a:pt x="122" y="144"/>
                </a:lnTo>
                <a:lnTo>
                  <a:pt x="122" y="144"/>
                </a:lnTo>
                <a:lnTo>
                  <a:pt x="124" y="148"/>
                </a:lnTo>
                <a:lnTo>
                  <a:pt x="136" y="142"/>
                </a:lnTo>
                <a:lnTo>
                  <a:pt x="144" y="142"/>
                </a:lnTo>
                <a:lnTo>
                  <a:pt x="152" y="138"/>
                </a:lnTo>
                <a:lnTo>
                  <a:pt x="160" y="130"/>
                </a:lnTo>
                <a:lnTo>
                  <a:pt x="180" y="130"/>
                </a:lnTo>
                <a:lnTo>
                  <a:pt x="180" y="116"/>
                </a:lnTo>
                <a:lnTo>
                  <a:pt x="168" y="112"/>
                </a:lnTo>
                <a:lnTo>
                  <a:pt x="168" y="112"/>
                </a:lnTo>
                <a:lnTo>
                  <a:pt x="162" y="94"/>
                </a:lnTo>
                <a:lnTo>
                  <a:pt x="156" y="86"/>
                </a:lnTo>
                <a:lnTo>
                  <a:pt x="150" y="78"/>
                </a:lnTo>
                <a:lnTo>
                  <a:pt x="138" y="70"/>
                </a:lnTo>
                <a:lnTo>
                  <a:pt x="138" y="70"/>
                </a:lnTo>
                <a:lnTo>
                  <a:pt x="140" y="68"/>
                </a:lnTo>
                <a:lnTo>
                  <a:pt x="140" y="62"/>
                </a:lnTo>
                <a:lnTo>
                  <a:pt x="150" y="62"/>
                </a:lnTo>
                <a:lnTo>
                  <a:pt x="154" y="58"/>
                </a:lnTo>
                <a:lnTo>
                  <a:pt x="154" y="58"/>
                </a:lnTo>
                <a:lnTo>
                  <a:pt x="156" y="26"/>
                </a:lnTo>
                <a:lnTo>
                  <a:pt x="156" y="26"/>
                </a:lnTo>
                <a:lnTo>
                  <a:pt x="156" y="26"/>
                </a:lnTo>
                <a:lnTo>
                  <a:pt x="156" y="26"/>
                </a:lnTo>
                <a:lnTo>
                  <a:pt x="154" y="28"/>
                </a:lnTo>
                <a:lnTo>
                  <a:pt x="152" y="28"/>
                </a:lnTo>
                <a:lnTo>
                  <a:pt x="152" y="28"/>
                </a:lnTo>
                <a:lnTo>
                  <a:pt x="152" y="32"/>
                </a:lnTo>
                <a:lnTo>
                  <a:pt x="152" y="32"/>
                </a:lnTo>
                <a:lnTo>
                  <a:pt x="150" y="30"/>
                </a:lnTo>
                <a:lnTo>
                  <a:pt x="148" y="28"/>
                </a:lnTo>
                <a:lnTo>
                  <a:pt x="144" y="26"/>
                </a:lnTo>
                <a:lnTo>
                  <a:pt x="142" y="24"/>
                </a:lnTo>
                <a:lnTo>
                  <a:pt x="142" y="24"/>
                </a:lnTo>
                <a:lnTo>
                  <a:pt x="142" y="0"/>
                </a:lnTo>
                <a:lnTo>
                  <a:pt x="136" y="6"/>
                </a:lnTo>
                <a:lnTo>
                  <a:pt x="136" y="6"/>
                </a:lnTo>
                <a:lnTo>
                  <a:pt x="134" y="10"/>
                </a:lnTo>
                <a:lnTo>
                  <a:pt x="134" y="14"/>
                </a:lnTo>
                <a:lnTo>
                  <a:pt x="134" y="14"/>
                </a:lnTo>
                <a:lnTo>
                  <a:pt x="132" y="20"/>
                </a:lnTo>
                <a:lnTo>
                  <a:pt x="132" y="20"/>
                </a:lnTo>
                <a:lnTo>
                  <a:pt x="130" y="22"/>
                </a:lnTo>
                <a:lnTo>
                  <a:pt x="126" y="30"/>
                </a:lnTo>
                <a:lnTo>
                  <a:pt x="126" y="30"/>
                </a:lnTo>
                <a:lnTo>
                  <a:pt x="126" y="30"/>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8" name="Freeform 15"/>
          <p:cNvSpPr>
            <a:spLocks/>
          </p:cNvSpPr>
          <p:nvPr/>
        </p:nvSpPr>
        <p:spPr bwMode="auto">
          <a:xfrm>
            <a:off x="4626769" y="3217068"/>
            <a:ext cx="283369" cy="304800"/>
          </a:xfrm>
          <a:custGeom>
            <a:avLst/>
            <a:gdLst>
              <a:gd name="T0" fmla="*/ 30 w 238"/>
              <a:gd name="T1" fmla="*/ 102 h 256"/>
              <a:gd name="T2" fmla="*/ 16 w 238"/>
              <a:gd name="T3" fmla="*/ 138 h 256"/>
              <a:gd name="T4" fmla="*/ 6 w 238"/>
              <a:gd name="T5" fmla="*/ 158 h 256"/>
              <a:gd name="T6" fmla="*/ 2 w 238"/>
              <a:gd name="T7" fmla="*/ 178 h 256"/>
              <a:gd name="T8" fmla="*/ 6 w 238"/>
              <a:gd name="T9" fmla="*/ 188 h 256"/>
              <a:gd name="T10" fmla="*/ 14 w 238"/>
              <a:gd name="T11" fmla="*/ 218 h 256"/>
              <a:gd name="T12" fmla="*/ 22 w 238"/>
              <a:gd name="T13" fmla="*/ 238 h 256"/>
              <a:gd name="T14" fmla="*/ 24 w 238"/>
              <a:gd name="T15" fmla="*/ 244 h 256"/>
              <a:gd name="T16" fmla="*/ 28 w 238"/>
              <a:gd name="T17" fmla="*/ 250 h 256"/>
              <a:gd name="T18" fmla="*/ 30 w 238"/>
              <a:gd name="T19" fmla="*/ 250 h 256"/>
              <a:gd name="T20" fmla="*/ 36 w 238"/>
              <a:gd name="T21" fmla="*/ 246 h 256"/>
              <a:gd name="T22" fmla="*/ 46 w 238"/>
              <a:gd name="T23" fmla="*/ 244 h 256"/>
              <a:gd name="T24" fmla="*/ 48 w 238"/>
              <a:gd name="T25" fmla="*/ 238 h 256"/>
              <a:gd name="T26" fmla="*/ 58 w 238"/>
              <a:gd name="T27" fmla="*/ 238 h 256"/>
              <a:gd name="T28" fmla="*/ 62 w 238"/>
              <a:gd name="T29" fmla="*/ 246 h 256"/>
              <a:gd name="T30" fmla="*/ 74 w 238"/>
              <a:gd name="T31" fmla="*/ 250 h 256"/>
              <a:gd name="T32" fmla="*/ 90 w 238"/>
              <a:gd name="T33" fmla="*/ 254 h 256"/>
              <a:gd name="T34" fmla="*/ 100 w 238"/>
              <a:gd name="T35" fmla="*/ 256 h 256"/>
              <a:gd name="T36" fmla="*/ 112 w 238"/>
              <a:gd name="T37" fmla="*/ 250 h 256"/>
              <a:gd name="T38" fmla="*/ 118 w 238"/>
              <a:gd name="T39" fmla="*/ 238 h 256"/>
              <a:gd name="T40" fmla="*/ 128 w 238"/>
              <a:gd name="T41" fmla="*/ 244 h 256"/>
              <a:gd name="T42" fmla="*/ 130 w 238"/>
              <a:gd name="T43" fmla="*/ 246 h 256"/>
              <a:gd name="T44" fmla="*/ 142 w 238"/>
              <a:gd name="T45" fmla="*/ 244 h 256"/>
              <a:gd name="T46" fmla="*/ 150 w 238"/>
              <a:gd name="T47" fmla="*/ 230 h 256"/>
              <a:gd name="T48" fmla="*/ 156 w 238"/>
              <a:gd name="T49" fmla="*/ 224 h 256"/>
              <a:gd name="T50" fmla="*/ 156 w 238"/>
              <a:gd name="T51" fmla="*/ 218 h 256"/>
              <a:gd name="T52" fmla="*/ 158 w 238"/>
              <a:gd name="T53" fmla="*/ 210 h 256"/>
              <a:gd name="T54" fmla="*/ 164 w 238"/>
              <a:gd name="T55" fmla="*/ 216 h 256"/>
              <a:gd name="T56" fmla="*/ 166 w 238"/>
              <a:gd name="T57" fmla="*/ 232 h 256"/>
              <a:gd name="T58" fmla="*/ 174 w 238"/>
              <a:gd name="T59" fmla="*/ 236 h 256"/>
              <a:gd name="T60" fmla="*/ 176 w 238"/>
              <a:gd name="T61" fmla="*/ 234 h 256"/>
              <a:gd name="T62" fmla="*/ 178 w 238"/>
              <a:gd name="T63" fmla="*/ 230 h 256"/>
              <a:gd name="T64" fmla="*/ 186 w 238"/>
              <a:gd name="T65" fmla="*/ 220 h 256"/>
              <a:gd name="T66" fmla="*/ 206 w 238"/>
              <a:gd name="T67" fmla="*/ 186 h 256"/>
              <a:gd name="T68" fmla="*/ 210 w 238"/>
              <a:gd name="T69" fmla="*/ 162 h 256"/>
              <a:gd name="T70" fmla="*/ 222 w 238"/>
              <a:gd name="T71" fmla="*/ 110 h 256"/>
              <a:gd name="T72" fmla="*/ 236 w 238"/>
              <a:gd name="T73" fmla="*/ 102 h 256"/>
              <a:gd name="T74" fmla="*/ 238 w 238"/>
              <a:gd name="T75" fmla="*/ 92 h 256"/>
              <a:gd name="T76" fmla="*/ 232 w 238"/>
              <a:gd name="T77" fmla="*/ 84 h 256"/>
              <a:gd name="T78" fmla="*/ 222 w 238"/>
              <a:gd name="T79" fmla="*/ 78 h 256"/>
              <a:gd name="T80" fmla="*/ 220 w 238"/>
              <a:gd name="T81" fmla="*/ 38 h 256"/>
              <a:gd name="T82" fmla="*/ 214 w 238"/>
              <a:gd name="T83" fmla="*/ 22 h 256"/>
              <a:gd name="T84" fmla="*/ 196 w 238"/>
              <a:gd name="T85" fmla="*/ 0 h 256"/>
              <a:gd name="T86" fmla="*/ 184 w 238"/>
              <a:gd name="T87" fmla="*/ 14 h 256"/>
              <a:gd name="T88" fmla="*/ 174 w 238"/>
              <a:gd name="T89" fmla="*/ 24 h 256"/>
              <a:gd name="T90" fmla="*/ 150 w 238"/>
              <a:gd name="T91" fmla="*/ 22 h 256"/>
              <a:gd name="T92" fmla="*/ 138 w 238"/>
              <a:gd name="T93" fmla="*/ 16 h 256"/>
              <a:gd name="T94" fmla="*/ 136 w 238"/>
              <a:gd name="T95" fmla="*/ 22 h 256"/>
              <a:gd name="T96" fmla="*/ 100 w 238"/>
              <a:gd name="T97" fmla="*/ 22 h 256"/>
              <a:gd name="T98" fmla="*/ 66 w 238"/>
              <a:gd name="T99" fmla="*/ 22 h 256"/>
              <a:gd name="T100" fmla="*/ 44 w 238"/>
              <a:gd name="T101" fmla="*/ 38 h 256"/>
              <a:gd name="T102" fmla="*/ 30 w 238"/>
              <a:gd name="T103" fmla="*/ 6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8" h="256">
                <a:moveTo>
                  <a:pt x="30" y="66"/>
                </a:moveTo>
                <a:lnTo>
                  <a:pt x="30" y="84"/>
                </a:lnTo>
                <a:lnTo>
                  <a:pt x="30" y="102"/>
                </a:lnTo>
                <a:lnTo>
                  <a:pt x="30" y="118"/>
                </a:lnTo>
                <a:lnTo>
                  <a:pt x="30" y="134"/>
                </a:lnTo>
                <a:lnTo>
                  <a:pt x="16" y="138"/>
                </a:lnTo>
                <a:lnTo>
                  <a:pt x="16" y="138"/>
                </a:lnTo>
                <a:lnTo>
                  <a:pt x="12" y="146"/>
                </a:lnTo>
                <a:lnTo>
                  <a:pt x="6" y="158"/>
                </a:lnTo>
                <a:lnTo>
                  <a:pt x="6" y="168"/>
                </a:lnTo>
                <a:lnTo>
                  <a:pt x="2" y="170"/>
                </a:lnTo>
                <a:lnTo>
                  <a:pt x="2" y="178"/>
                </a:lnTo>
                <a:lnTo>
                  <a:pt x="0" y="184"/>
                </a:lnTo>
                <a:lnTo>
                  <a:pt x="0" y="190"/>
                </a:lnTo>
                <a:lnTo>
                  <a:pt x="6" y="188"/>
                </a:lnTo>
                <a:lnTo>
                  <a:pt x="6" y="188"/>
                </a:lnTo>
                <a:lnTo>
                  <a:pt x="6" y="198"/>
                </a:lnTo>
                <a:lnTo>
                  <a:pt x="14" y="218"/>
                </a:lnTo>
                <a:lnTo>
                  <a:pt x="14" y="218"/>
                </a:lnTo>
                <a:lnTo>
                  <a:pt x="12" y="220"/>
                </a:lnTo>
                <a:lnTo>
                  <a:pt x="22" y="238"/>
                </a:lnTo>
                <a:lnTo>
                  <a:pt x="22" y="238"/>
                </a:lnTo>
                <a:lnTo>
                  <a:pt x="24" y="244"/>
                </a:lnTo>
                <a:lnTo>
                  <a:pt x="24" y="244"/>
                </a:lnTo>
                <a:lnTo>
                  <a:pt x="24" y="246"/>
                </a:lnTo>
                <a:lnTo>
                  <a:pt x="26" y="248"/>
                </a:lnTo>
                <a:lnTo>
                  <a:pt x="28" y="250"/>
                </a:lnTo>
                <a:lnTo>
                  <a:pt x="28" y="252"/>
                </a:lnTo>
                <a:lnTo>
                  <a:pt x="28" y="252"/>
                </a:lnTo>
                <a:lnTo>
                  <a:pt x="30" y="250"/>
                </a:lnTo>
                <a:lnTo>
                  <a:pt x="32" y="248"/>
                </a:lnTo>
                <a:lnTo>
                  <a:pt x="32" y="248"/>
                </a:lnTo>
                <a:lnTo>
                  <a:pt x="36" y="246"/>
                </a:lnTo>
                <a:lnTo>
                  <a:pt x="38" y="246"/>
                </a:lnTo>
                <a:lnTo>
                  <a:pt x="40" y="246"/>
                </a:lnTo>
                <a:lnTo>
                  <a:pt x="46" y="244"/>
                </a:lnTo>
                <a:lnTo>
                  <a:pt x="46" y="244"/>
                </a:lnTo>
                <a:lnTo>
                  <a:pt x="48" y="240"/>
                </a:lnTo>
                <a:lnTo>
                  <a:pt x="48" y="238"/>
                </a:lnTo>
                <a:lnTo>
                  <a:pt x="56" y="234"/>
                </a:lnTo>
                <a:lnTo>
                  <a:pt x="56" y="234"/>
                </a:lnTo>
                <a:lnTo>
                  <a:pt x="58" y="238"/>
                </a:lnTo>
                <a:lnTo>
                  <a:pt x="60" y="240"/>
                </a:lnTo>
                <a:lnTo>
                  <a:pt x="62" y="246"/>
                </a:lnTo>
                <a:lnTo>
                  <a:pt x="62" y="246"/>
                </a:lnTo>
                <a:lnTo>
                  <a:pt x="70" y="250"/>
                </a:lnTo>
                <a:lnTo>
                  <a:pt x="70" y="250"/>
                </a:lnTo>
                <a:lnTo>
                  <a:pt x="74" y="250"/>
                </a:lnTo>
                <a:lnTo>
                  <a:pt x="76" y="250"/>
                </a:lnTo>
                <a:lnTo>
                  <a:pt x="90" y="254"/>
                </a:lnTo>
                <a:lnTo>
                  <a:pt x="90" y="254"/>
                </a:lnTo>
                <a:lnTo>
                  <a:pt x="94" y="256"/>
                </a:lnTo>
                <a:lnTo>
                  <a:pt x="100" y="256"/>
                </a:lnTo>
                <a:lnTo>
                  <a:pt x="100" y="256"/>
                </a:lnTo>
                <a:lnTo>
                  <a:pt x="106" y="254"/>
                </a:lnTo>
                <a:lnTo>
                  <a:pt x="112" y="250"/>
                </a:lnTo>
                <a:lnTo>
                  <a:pt x="112" y="250"/>
                </a:lnTo>
                <a:lnTo>
                  <a:pt x="116" y="244"/>
                </a:lnTo>
                <a:lnTo>
                  <a:pt x="118" y="238"/>
                </a:lnTo>
                <a:lnTo>
                  <a:pt x="118" y="238"/>
                </a:lnTo>
                <a:lnTo>
                  <a:pt x="122" y="240"/>
                </a:lnTo>
                <a:lnTo>
                  <a:pt x="124" y="240"/>
                </a:lnTo>
                <a:lnTo>
                  <a:pt x="128" y="244"/>
                </a:lnTo>
                <a:lnTo>
                  <a:pt x="128" y="244"/>
                </a:lnTo>
                <a:lnTo>
                  <a:pt x="128" y="244"/>
                </a:lnTo>
                <a:lnTo>
                  <a:pt x="130" y="246"/>
                </a:lnTo>
                <a:lnTo>
                  <a:pt x="132" y="250"/>
                </a:lnTo>
                <a:lnTo>
                  <a:pt x="138" y="246"/>
                </a:lnTo>
                <a:lnTo>
                  <a:pt x="142" y="244"/>
                </a:lnTo>
                <a:lnTo>
                  <a:pt x="146" y="238"/>
                </a:lnTo>
                <a:lnTo>
                  <a:pt x="150" y="230"/>
                </a:lnTo>
                <a:lnTo>
                  <a:pt x="150" y="230"/>
                </a:lnTo>
                <a:lnTo>
                  <a:pt x="152" y="226"/>
                </a:lnTo>
                <a:lnTo>
                  <a:pt x="156" y="224"/>
                </a:lnTo>
                <a:lnTo>
                  <a:pt x="156" y="224"/>
                </a:lnTo>
                <a:lnTo>
                  <a:pt x="156" y="220"/>
                </a:lnTo>
                <a:lnTo>
                  <a:pt x="156" y="220"/>
                </a:lnTo>
                <a:lnTo>
                  <a:pt x="156" y="218"/>
                </a:lnTo>
                <a:lnTo>
                  <a:pt x="156" y="214"/>
                </a:lnTo>
                <a:lnTo>
                  <a:pt x="156" y="214"/>
                </a:lnTo>
                <a:lnTo>
                  <a:pt x="158" y="210"/>
                </a:lnTo>
                <a:lnTo>
                  <a:pt x="164" y="204"/>
                </a:lnTo>
                <a:lnTo>
                  <a:pt x="164" y="204"/>
                </a:lnTo>
                <a:lnTo>
                  <a:pt x="164" y="216"/>
                </a:lnTo>
                <a:lnTo>
                  <a:pt x="164" y="228"/>
                </a:lnTo>
                <a:lnTo>
                  <a:pt x="164" y="228"/>
                </a:lnTo>
                <a:lnTo>
                  <a:pt x="166" y="232"/>
                </a:lnTo>
                <a:lnTo>
                  <a:pt x="170" y="234"/>
                </a:lnTo>
                <a:lnTo>
                  <a:pt x="174" y="236"/>
                </a:lnTo>
                <a:lnTo>
                  <a:pt x="174" y="236"/>
                </a:lnTo>
                <a:lnTo>
                  <a:pt x="176" y="232"/>
                </a:lnTo>
                <a:lnTo>
                  <a:pt x="176" y="234"/>
                </a:lnTo>
                <a:lnTo>
                  <a:pt x="176" y="234"/>
                </a:lnTo>
                <a:lnTo>
                  <a:pt x="178" y="230"/>
                </a:lnTo>
                <a:lnTo>
                  <a:pt x="178" y="230"/>
                </a:lnTo>
                <a:lnTo>
                  <a:pt x="178" y="230"/>
                </a:lnTo>
                <a:lnTo>
                  <a:pt x="182" y="224"/>
                </a:lnTo>
                <a:lnTo>
                  <a:pt x="186" y="220"/>
                </a:lnTo>
                <a:lnTo>
                  <a:pt x="186" y="220"/>
                </a:lnTo>
                <a:lnTo>
                  <a:pt x="190" y="208"/>
                </a:lnTo>
                <a:lnTo>
                  <a:pt x="198" y="194"/>
                </a:lnTo>
                <a:lnTo>
                  <a:pt x="206" y="186"/>
                </a:lnTo>
                <a:lnTo>
                  <a:pt x="210" y="168"/>
                </a:lnTo>
                <a:lnTo>
                  <a:pt x="210" y="162"/>
                </a:lnTo>
                <a:lnTo>
                  <a:pt x="210" y="162"/>
                </a:lnTo>
                <a:lnTo>
                  <a:pt x="210" y="152"/>
                </a:lnTo>
                <a:lnTo>
                  <a:pt x="218" y="110"/>
                </a:lnTo>
                <a:lnTo>
                  <a:pt x="222" y="110"/>
                </a:lnTo>
                <a:lnTo>
                  <a:pt x="222" y="110"/>
                </a:lnTo>
                <a:lnTo>
                  <a:pt x="226" y="108"/>
                </a:lnTo>
                <a:lnTo>
                  <a:pt x="236" y="102"/>
                </a:lnTo>
                <a:lnTo>
                  <a:pt x="236" y="102"/>
                </a:lnTo>
                <a:lnTo>
                  <a:pt x="238" y="92"/>
                </a:lnTo>
                <a:lnTo>
                  <a:pt x="238" y="92"/>
                </a:lnTo>
                <a:lnTo>
                  <a:pt x="238" y="90"/>
                </a:lnTo>
                <a:lnTo>
                  <a:pt x="234" y="90"/>
                </a:lnTo>
                <a:lnTo>
                  <a:pt x="232" y="84"/>
                </a:lnTo>
                <a:lnTo>
                  <a:pt x="226" y="82"/>
                </a:lnTo>
                <a:lnTo>
                  <a:pt x="226" y="82"/>
                </a:lnTo>
                <a:lnTo>
                  <a:pt x="222" y="78"/>
                </a:lnTo>
                <a:lnTo>
                  <a:pt x="222" y="78"/>
                </a:lnTo>
                <a:lnTo>
                  <a:pt x="220" y="62"/>
                </a:lnTo>
                <a:lnTo>
                  <a:pt x="220" y="38"/>
                </a:lnTo>
                <a:lnTo>
                  <a:pt x="216" y="30"/>
                </a:lnTo>
                <a:lnTo>
                  <a:pt x="216" y="30"/>
                </a:lnTo>
                <a:lnTo>
                  <a:pt x="214" y="22"/>
                </a:lnTo>
                <a:lnTo>
                  <a:pt x="208" y="10"/>
                </a:lnTo>
                <a:lnTo>
                  <a:pt x="200" y="6"/>
                </a:lnTo>
                <a:lnTo>
                  <a:pt x="196" y="0"/>
                </a:lnTo>
                <a:lnTo>
                  <a:pt x="190" y="6"/>
                </a:lnTo>
                <a:lnTo>
                  <a:pt x="186" y="4"/>
                </a:lnTo>
                <a:lnTo>
                  <a:pt x="184" y="14"/>
                </a:lnTo>
                <a:lnTo>
                  <a:pt x="176" y="16"/>
                </a:lnTo>
                <a:lnTo>
                  <a:pt x="176" y="16"/>
                </a:lnTo>
                <a:lnTo>
                  <a:pt x="174" y="24"/>
                </a:lnTo>
                <a:lnTo>
                  <a:pt x="168" y="24"/>
                </a:lnTo>
                <a:lnTo>
                  <a:pt x="162" y="22"/>
                </a:lnTo>
                <a:lnTo>
                  <a:pt x="150" y="22"/>
                </a:lnTo>
                <a:lnTo>
                  <a:pt x="138" y="22"/>
                </a:lnTo>
                <a:lnTo>
                  <a:pt x="138" y="22"/>
                </a:lnTo>
                <a:lnTo>
                  <a:pt x="138" y="16"/>
                </a:lnTo>
                <a:lnTo>
                  <a:pt x="136" y="16"/>
                </a:lnTo>
                <a:lnTo>
                  <a:pt x="136" y="16"/>
                </a:lnTo>
                <a:lnTo>
                  <a:pt x="136" y="22"/>
                </a:lnTo>
                <a:lnTo>
                  <a:pt x="124" y="22"/>
                </a:lnTo>
                <a:lnTo>
                  <a:pt x="112" y="22"/>
                </a:lnTo>
                <a:lnTo>
                  <a:pt x="100" y="22"/>
                </a:lnTo>
                <a:lnTo>
                  <a:pt x="90" y="22"/>
                </a:lnTo>
                <a:lnTo>
                  <a:pt x="78" y="22"/>
                </a:lnTo>
                <a:lnTo>
                  <a:pt x="66" y="22"/>
                </a:lnTo>
                <a:lnTo>
                  <a:pt x="56" y="22"/>
                </a:lnTo>
                <a:lnTo>
                  <a:pt x="44" y="22"/>
                </a:lnTo>
                <a:lnTo>
                  <a:pt x="44" y="38"/>
                </a:lnTo>
                <a:lnTo>
                  <a:pt x="44" y="58"/>
                </a:lnTo>
                <a:lnTo>
                  <a:pt x="30" y="58"/>
                </a:lnTo>
                <a:lnTo>
                  <a:pt x="30" y="66"/>
                </a:lnTo>
                <a:lnTo>
                  <a:pt x="30" y="66"/>
                </a:lnTo>
                <a:lnTo>
                  <a:pt x="30" y="66"/>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9" name="Freeform 16"/>
          <p:cNvSpPr>
            <a:spLocks/>
          </p:cNvSpPr>
          <p:nvPr/>
        </p:nvSpPr>
        <p:spPr bwMode="auto">
          <a:xfrm>
            <a:off x="5276850" y="2883693"/>
            <a:ext cx="240506" cy="204788"/>
          </a:xfrm>
          <a:custGeom>
            <a:avLst/>
            <a:gdLst>
              <a:gd name="T0" fmla="*/ 20 w 202"/>
              <a:gd name="T1" fmla="*/ 60 h 172"/>
              <a:gd name="T2" fmla="*/ 30 w 202"/>
              <a:gd name="T3" fmla="*/ 64 h 172"/>
              <a:gd name="T4" fmla="*/ 34 w 202"/>
              <a:gd name="T5" fmla="*/ 56 h 172"/>
              <a:gd name="T6" fmla="*/ 38 w 202"/>
              <a:gd name="T7" fmla="*/ 52 h 172"/>
              <a:gd name="T8" fmla="*/ 50 w 202"/>
              <a:gd name="T9" fmla="*/ 44 h 172"/>
              <a:gd name="T10" fmla="*/ 56 w 202"/>
              <a:gd name="T11" fmla="*/ 38 h 172"/>
              <a:gd name="T12" fmla="*/ 60 w 202"/>
              <a:gd name="T13" fmla="*/ 26 h 172"/>
              <a:gd name="T14" fmla="*/ 72 w 202"/>
              <a:gd name="T15" fmla="*/ 22 h 172"/>
              <a:gd name="T16" fmla="*/ 80 w 202"/>
              <a:gd name="T17" fmla="*/ 22 h 172"/>
              <a:gd name="T18" fmla="*/ 94 w 202"/>
              <a:gd name="T19" fmla="*/ 22 h 172"/>
              <a:gd name="T20" fmla="*/ 102 w 202"/>
              <a:gd name="T21" fmla="*/ 26 h 172"/>
              <a:gd name="T22" fmla="*/ 112 w 202"/>
              <a:gd name="T23" fmla="*/ 26 h 172"/>
              <a:gd name="T24" fmla="*/ 124 w 202"/>
              <a:gd name="T25" fmla="*/ 26 h 172"/>
              <a:gd name="T26" fmla="*/ 136 w 202"/>
              <a:gd name="T27" fmla="*/ 18 h 172"/>
              <a:gd name="T28" fmla="*/ 136 w 202"/>
              <a:gd name="T29" fmla="*/ 10 h 172"/>
              <a:gd name="T30" fmla="*/ 146 w 202"/>
              <a:gd name="T31" fmla="*/ 0 h 172"/>
              <a:gd name="T32" fmla="*/ 150 w 202"/>
              <a:gd name="T33" fmla="*/ 10 h 172"/>
              <a:gd name="T34" fmla="*/ 154 w 202"/>
              <a:gd name="T35" fmla="*/ 14 h 172"/>
              <a:gd name="T36" fmla="*/ 154 w 202"/>
              <a:gd name="T37" fmla="*/ 30 h 172"/>
              <a:gd name="T38" fmla="*/ 166 w 202"/>
              <a:gd name="T39" fmla="*/ 30 h 172"/>
              <a:gd name="T40" fmla="*/ 176 w 202"/>
              <a:gd name="T41" fmla="*/ 26 h 172"/>
              <a:gd name="T42" fmla="*/ 184 w 202"/>
              <a:gd name="T43" fmla="*/ 22 h 172"/>
              <a:gd name="T44" fmla="*/ 188 w 202"/>
              <a:gd name="T45" fmla="*/ 26 h 172"/>
              <a:gd name="T46" fmla="*/ 202 w 202"/>
              <a:gd name="T47" fmla="*/ 22 h 172"/>
              <a:gd name="T48" fmla="*/ 196 w 202"/>
              <a:gd name="T49" fmla="*/ 26 h 172"/>
              <a:gd name="T50" fmla="*/ 188 w 202"/>
              <a:gd name="T51" fmla="*/ 30 h 172"/>
              <a:gd name="T52" fmla="*/ 172 w 202"/>
              <a:gd name="T53" fmla="*/ 34 h 172"/>
              <a:gd name="T54" fmla="*/ 162 w 202"/>
              <a:gd name="T55" fmla="*/ 38 h 172"/>
              <a:gd name="T56" fmla="*/ 150 w 202"/>
              <a:gd name="T57" fmla="*/ 48 h 172"/>
              <a:gd name="T58" fmla="*/ 154 w 202"/>
              <a:gd name="T59" fmla="*/ 56 h 172"/>
              <a:gd name="T60" fmla="*/ 154 w 202"/>
              <a:gd name="T61" fmla="*/ 66 h 172"/>
              <a:gd name="T62" fmla="*/ 146 w 202"/>
              <a:gd name="T63" fmla="*/ 74 h 172"/>
              <a:gd name="T64" fmla="*/ 150 w 202"/>
              <a:gd name="T65" fmla="*/ 86 h 172"/>
              <a:gd name="T66" fmla="*/ 136 w 202"/>
              <a:gd name="T67" fmla="*/ 86 h 172"/>
              <a:gd name="T68" fmla="*/ 136 w 202"/>
              <a:gd name="T69" fmla="*/ 94 h 172"/>
              <a:gd name="T70" fmla="*/ 136 w 202"/>
              <a:gd name="T71" fmla="*/ 100 h 172"/>
              <a:gd name="T72" fmla="*/ 124 w 202"/>
              <a:gd name="T73" fmla="*/ 108 h 172"/>
              <a:gd name="T74" fmla="*/ 124 w 202"/>
              <a:gd name="T75" fmla="*/ 116 h 172"/>
              <a:gd name="T76" fmla="*/ 120 w 202"/>
              <a:gd name="T77" fmla="*/ 126 h 172"/>
              <a:gd name="T78" fmla="*/ 112 w 202"/>
              <a:gd name="T79" fmla="*/ 126 h 172"/>
              <a:gd name="T80" fmla="*/ 98 w 202"/>
              <a:gd name="T81" fmla="*/ 130 h 172"/>
              <a:gd name="T82" fmla="*/ 94 w 202"/>
              <a:gd name="T83" fmla="*/ 138 h 172"/>
              <a:gd name="T84" fmla="*/ 86 w 202"/>
              <a:gd name="T85" fmla="*/ 138 h 172"/>
              <a:gd name="T86" fmla="*/ 84 w 202"/>
              <a:gd name="T87" fmla="*/ 152 h 172"/>
              <a:gd name="T88" fmla="*/ 84 w 202"/>
              <a:gd name="T89" fmla="*/ 160 h 172"/>
              <a:gd name="T90" fmla="*/ 68 w 202"/>
              <a:gd name="T91" fmla="*/ 168 h 172"/>
              <a:gd name="T92" fmla="*/ 54 w 202"/>
              <a:gd name="T93" fmla="*/ 168 h 172"/>
              <a:gd name="T94" fmla="*/ 38 w 202"/>
              <a:gd name="T95" fmla="*/ 168 h 172"/>
              <a:gd name="T96" fmla="*/ 16 w 202"/>
              <a:gd name="T97" fmla="*/ 168 h 172"/>
              <a:gd name="T98" fmla="*/ 8 w 202"/>
              <a:gd name="T99" fmla="*/ 160 h 172"/>
              <a:gd name="T100" fmla="*/ 20 w 202"/>
              <a:gd name="T101" fmla="*/ 142 h 172"/>
              <a:gd name="T102" fmla="*/ 12 w 202"/>
              <a:gd name="T103" fmla="*/ 134 h 172"/>
              <a:gd name="T104" fmla="*/ 4 w 202"/>
              <a:gd name="T105" fmla="*/ 122 h 172"/>
              <a:gd name="T106" fmla="*/ 0 w 202"/>
              <a:gd name="T107" fmla="*/ 108 h 172"/>
              <a:gd name="T108" fmla="*/ 4 w 202"/>
              <a:gd name="T109" fmla="*/ 96 h 172"/>
              <a:gd name="T110" fmla="*/ 0 w 202"/>
              <a:gd name="T111" fmla="*/ 86 h 172"/>
              <a:gd name="T112" fmla="*/ 0 w 202"/>
              <a:gd name="T113" fmla="*/ 74 h 172"/>
              <a:gd name="T114" fmla="*/ 8 w 202"/>
              <a:gd name="T115" fmla="*/ 64 h 172"/>
              <a:gd name="T116" fmla="*/ 12 w 202"/>
              <a:gd name="T117" fmla="*/ 56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2" h="172">
                <a:moveTo>
                  <a:pt x="12" y="56"/>
                </a:moveTo>
                <a:lnTo>
                  <a:pt x="12" y="60"/>
                </a:lnTo>
                <a:lnTo>
                  <a:pt x="16" y="60"/>
                </a:lnTo>
                <a:lnTo>
                  <a:pt x="20" y="60"/>
                </a:lnTo>
                <a:lnTo>
                  <a:pt x="24" y="60"/>
                </a:lnTo>
                <a:lnTo>
                  <a:pt x="24" y="64"/>
                </a:lnTo>
                <a:lnTo>
                  <a:pt x="28" y="64"/>
                </a:lnTo>
                <a:lnTo>
                  <a:pt x="30" y="64"/>
                </a:lnTo>
                <a:lnTo>
                  <a:pt x="30" y="60"/>
                </a:lnTo>
                <a:lnTo>
                  <a:pt x="34" y="60"/>
                </a:lnTo>
                <a:lnTo>
                  <a:pt x="38" y="56"/>
                </a:lnTo>
                <a:lnTo>
                  <a:pt x="34" y="56"/>
                </a:lnTo>
                <a:lnTo>
                  <a:pt x="38" y="56"/>
                </a:lnTo>
                <a:lnTo>
                  <a:pt x="38" y="52"/>
                </a:lnTo>
                <a:lnTo>
                  <a:pt x="34" y="52"/>
                </a:lnTo>
                <a:lnTo>
                  <a:pt x="38" y="52"/>
                </a:lnTo>
                <a:lnTo>
                  <a:pt x="42" y="48"/>
                </a:lnTo>
                <a:lnTo>
                  <a:pt x="46" y="48"/>
                </a:lnTo>
                <a:lnTo>
                  <a:pt x="50" y="48"/>
                </a:lnTo>
                <a:lnTo>
                  <a:pt x="50" y="44"/>
                </a:lnTo>
                <a:lnTo>
                  <a:pt x="54" y="44"/>
                </a:lnTo>
                <a:lnTo>
                  <a:pt x="56" y="44"/>
                </a:lnTo>
                <a:lnTo>
                  <a:pt x="56" y="40"/>
                </a:lnTo>
                <a:lnTo>
                  <a:pt x="56" y="38"/>
                </a:lnTo>
                <a:lnTo>
                  <a:pt x="56" y="34"/>
                </a:lnTo>
                <a:lnTo>
                  <a:pt x="60" y="34"/>
                </a:lnTo>
                <a:lnTo>
                  <a:pt x="60" y="30"/>
                </a:lnTo>
                <a:lnTo>
                  <a:pt x="60" y="26"/>
                </a:lnTo>
                <a:lnTo>
                  <a:pt x="64" y="26"/>
                </a:lnTo>
                <a:lnTo>
                  <a:pt x="68" y="26"/>
                </a:lnTo>
                <a:lnTo>
                  <a:pt x="72" y="26"/>
                </a:lnTo>
                <a:lnTo>
                  <a:pt x="72" y="22"/>
                </a:lnTo>
                <a:lnTo>
                  <a:pt x="72" y="18"/>
                </a:lnTo>
                <a:lnTo>
                  <a:pt x="76" y="18"/>
                </a:lnTo>
                <a:lnTo>
                  <a:pt x="76" y="22"/>
                </a:lnTo>
                <a:lnTo>
                  <a:pt x="80" y="22"/>
                </a:lnTo>
                <a:lnTo>
                  <a:pt x="84" y="22"/>
                </a:lnTo>
                <a:lnTo>
                  <a:pt x="86" y="22"/>
                </a:lnTo>
                <a:lnTo>
                  <a:pt x="90" y="22"/>
                </a:lnTo>
                <a:lnTo>
                  <a:pt x="94" y="22"/>
                </a:lnTo>
                <a:lnTo>
                  <a:pt x="94" y="26"/>
                </a:lnTo>
                <a:lnTo>
                  <a:pt x="98" y="26"/>
                </a:lnTo>
                <a:lnTo>
                  <a:pt x="98" y="22"/>
                </a:lnTo>
                <a:lnTo>
                  <a:pt x="102" y="26"/>
                </a:lnTo>
                <a:lnTo>
                  <a:pt x="106" y="30"/>
                </a:lnTo>
                <a:lnTo>
                  <a:pt x="110" y="30"/>
                </a:lnTo>
                <a:lnTo>
                  <a:pt x="110" y="26"/>
                </a:lnTo>
                <a:lnTo>
                  <a:pt x="112" y="26"/>
                </a:lnTo>
                <a:lnTo>
                  <a:pt x="116" y="22"/>
                </a:lnTo>
                <a:lnTo>
                  <a:pt x="120" y="22"/>
                </a:lnTo>
                <a:lnTo>
                  <a:pt x="120" y="26"/>
                </a:lnTo>
                <a:lnTo>
                  <a:pt x="124" y="26"/>
                </a:lnTo>
                <a:lnTo>
                  <a:pt x="124" y="22"/>
                </a:lnTo>
                <a:lnTo>
                  <a:pt x="128" y="18"/>
                </a:lnTo>
                <a:lnTo>
                  <a:pt x="132" y="18"/>
                </a:lnTo>
                <a:lnTo>
                  <a:pt x="136" y="18"/>
                </a:lnTo>
                <a:lnTo>
                  <a:pt x="140" y="18"/>
                </a:lnTo>
                <a:lnTo>
                  <a:pt x="140" y="14"/>
                </a:lnTo>
                <a:lnTo>
                  <a:pt x="136" y="14"/>
                </a:lnTo>
                <a:lnTo>
                  <a:pt x="136" y="10"/>
                </a:lnTo>
                <a:lnTo>
                  <a:pt x="140" y="10"/>
                </a:lnTo>
                <a:lnTo>
                  <a:pt x="142" y="8"/>
                </a:lnTo>
                <a:lnTo>
                  <a:pt x="142" y="4"/>
                </a:lnTo>
                <a:lnTo>
                  <a:pt x="146" y="0"/>
                </a:lnTo>
                <a:lnTo>
                  <a:pt x="150" y="4"/>
                </a:lnTo>
                <a:lnTo>
                  <a:pt x="154" y="4"/>
                </a:lnTo>
                <a:lnTo>
                  <a:pt x="154" y="8"/>
                </a:lnTo>
                <a:lnTo>
                  <a:pt x="150" y="10"/>
                </a:lnTo>
                <a:lnTo>
                  <a:pt x="154" y="10"/>
                </a:lnTo>
                <a:lnTo>
                  <a:pt x="158" y="10"/>
                </a:lnTo>
                <a:lnTo>
                  <a:pt x="158" y="14"/>
                </a:lnTo>
                <a:lnTo>
                  <a:pt x="154" y="14"/>
                </a:lnTo>
                <a:lnTo>
                  <a:pt x="154" y="18"/>
                </a:lnTo>
                <a:lnTo>
                  <a:pt x="154" y="22"/>
                </a:lnTo>
                <a:lnTo>
                  <a:pt x="154" y="26"/>
                </a:lnTo>
                <a:lnTo>
                  <a:pt x="154" y="30"/>
                </a:lnTo>
                <a:lnTo>
                  <a:pt x="158" y="34"/>
                </a:lnTo>
                <a:lnTo>
                  <a:pt x="158" y="38"/>
                </a:lnTo>
                <a:lnTo>
                  <a:pt x="162" y="34"/>
                </a:lnTo>
                <a:lnTo>
                  <a:pt x="166" y="30"/>
                </a:lnTo>
                <a:lnTo>
                  <a:pt x="168" y="30"/>
                </a:lnTo>
                <a:lnTo>
                  <a:pt x="172" y="30"/>
                </a:lnTo>
                <a:lnTo>
                  <a:pt x="172" y="26"/>
                </a:lnTo>
                <a:lnTo>
                  <a:pt x="176" y="26"/>
                </a:lnTo>
                <a:lnTo>
                  <a:pt x="176" y="22"/>
                </a:lnTo>
                <a:lnTo>
                  <a:pt x="180" y="22"/>
                </a:lnTo>
                <a:lnTo>
                  <a:pt x="184" y="18"/>
                </a:lnTo>
                <a:lnTo>
                  <a:pt x="184" y="22"/>
                </a:lnTo>
                <a:lnTo>
                  <a:pt x="188" y="22"/>
                </a:lnTo>
                <a:lnTo>
                  <a:pt x="184" y="22"/>
                </a:lnTo>
                <a:lnTo>
                  <a:pt x="184" y="26"/>
                </a:lnTo>
                <a:lnTo>
                  <a:pt x="188" y="26"/>
                </a:lnTo>
                <a:lnTo>
                  <a:pt x="192" y="22"/>
                </a:lnTo>
                <a:lnTo>
                  <a:pt x="196" y="22"/>
                </a:lnTo>
                <a:lnTo>
                  <a:pt x="198" y="22"/>
                </a:lnTo>
                <a:lnTo>
                  <a:pt x="202" y="22"/>
                </a:lnTo>
                <a:lnTo>
                  <a:pt x="202" y="26"/>
                </a:lnTo>
                <a:lnTo>
                  <a:pt x="202" y="22"/>
                </a:lnTo>
                <a:lnTo>
                  <a:pt x="198" y="26"/>
                </a:lnTo>
                <a:lnTo>
                  <a:pt x="196" y="26"/>
                </a:lnTo>
                <a:lnTo>
                  <a:pt x="198" y="30"/>
                </a:lnTo>
                <a:lnTo>
                  <a:pt x="196" y="30"/>
                </a:lnTo>
                <a:lnTo>
                  <a:pt x="192" y="34"/>
                </a:lnTo>
                <a:lnTo>
                  <a:pt x="188" y="30"/>
                </a:lnTo>
                <a:lnTo>
                  <a:pt x="184" y="30"/>
                </a:lnTo>
                <a:lnTo>
                  <a:pt x="180" y="30"/>
                </a:lnTo>
                <a:lnTo>
                  <a:pt x="176" y="34"/>
                </a:lnTo>
                <a:lnTo>
                  <a:pt x="172" y="34"/>
                </a:lnTo>
                <a:lnTo>
                  <a:pt x="168" y="34"/>
                </a:lnTo>
                <a:lnTo>
                  <a:pt x="166" y="34"/>
                </a:lnTo>
                <a:lnTo>
                  <a:pt x="166" y="38"/>
                </a:lnTo>
                <a:lnTo>
                  <a:pt x="162" y="38"/>
                </a:lnTo>
                <a:lnTo>
                  <a:pt x="158" y="40"/>
                </a:lnTo>
                <a:lnTo>
                  <a:pt x="154" y="44"/>
                </a:lnTo>
                <a:lnTo>
                  <a:pt x="150" y="44"/>
                </a:lnTo>
                <a:lnTo>
                  <a:pt x="150" y="48"/>
                </a:lnTo>
                <a:lnTo>
                  <a:pt x="154" y="48"/>
                </a:lnTo>
                <a:lnTo>
                  <a:pt x="154" y="52"/>
                </a:lnTo>
                <a:lnTo>
                  <a:pt x="158" y="52"/>
                </a:lnTo>
                <a:lnTo>
                  <a:pt x="154" y="56"/>
                </a:lnTo>
                <a:lnTo>
                  <a:pt x="158" y="56"/>
                </a:lnTo>
                <a:lnTo>
                  <a:pt x="158" y="60"/>
                </a:lnTo>
                <a:lnTo>
                  <a:pt x="158" y="64"/>
                </a:lnTo>
                <a:lnTo>
                  <a:pt x="154" y="66"/>
                </a:lnTo>
                <a:lnTo>
                  <a:pt x="154" y="70"/>
                </a:lnTo>
                <a:lnTo>
                  <a:pt x="150" y="70"/>
                </a:lnTo>
                <a:lnTo>
                  <a:pt x="150" y="74"/>
                </a:lnTo>
                <a:lnTo>
                  <a:pt x="146" y="74"/>
                </a:lnTo>
                <a:lnTo>
                  <a:pt x="146" y="78"/>
                </a:lnTo>
                <a:lnTo>
                  <a:pt x="150" y="78"/>
                </a:lnTo>
                <a:lnTo>
                  <a:pt x="150" y="82"/>
                </a:lnTo>
                <a:lnTo>
                  <a:pt x="150" y="86"/>
                </a:lnTo>
                <a:lnTo>
                  <a:pt x="146" y="86"/>
                </a:lnTo>
                <a:lnTo>
                  <a:pt x="142" y="86"/>
                </a:lnTo>
                <a:lnTo>
                  <a:pt x="140" y="86"/>
                </a:lnTo>
                <a:lnTo>
                  <a:pt x="136" y="86"/>
                </a:lnTo>
                <a:lnTo>
                  <a:pt x="132" y="86"/>
                </a:lnTo>
                <a:lnTo>
                  <a:pt x="132" y="90"/>
                </a:lnTo>
                <a:lnTo>
                  <a:pt x="136" y="90"/>
                </a:lnTo>
                <a:lnTo>
                  <a:pt x="136" y="94"/>
                </a:lnTo>
                <a:lnTo>
                  <a:pt x="136" y="96"/>
                </a:lnTo>
                <a:lnTo>
                  <a:pt x="140" y="96"/>
                </a:lnTo>
                <a:lnTo>
                  <a:pt x="140" y="100"/>
                </a:lnTo>
                <a:lnTo>
                  <a:pt x="136" y="100"/>
                </a:lnTo>
                <a:lnTo>
                  <a:pt x="132" y="104"/>
                </a:lnTo>
                <a:lnTo>
                  <a:pt x="128" y="104"/>
                </a:lnTo>
                <a:lnTo>
                  <a:pt x="128" y="108"/>
                </a:lnTo>
                <a:lnTo>
                  <a:pt x="124" y="108"/>
                </a:lnTo>
                <a:lnTo>
                  <a:pt x="128" y="108"/>
                </a:lnTo>
                <a:lnTo>
                  <a:pt x="128" y="112"/>
                </a:lnTo>
                <a:lnTo>
                  <a:pt x="124" y="112"/>
                </a:lnTo>
                <a:lnTo>
                  <a:pt x="124" y="116"/>
                </a:lnTo>
                <a:lnTo>
                  <a:pt x="124" y="120"/>
                </a:lnTo>
                <a:lnTo>
                  <a:pt x="124" y="122"/>
                </a:lnTo>
                <a:lnTo>
                  <a:pt x="124" y="126"/>
                </a:lnTo>
                <a:lnTo>
                  <a:pt x="120" y="126"/>
                </a:lnTo>
                <a:lnTo>
                  <a:pt x="120" y="130"/>
                </a:lnTo>
                <a:lnTo>
                  <a:pt x="116" y="130"/>
                </a:lnTo>
                <a:lnTo>
                  <a:pt x="116" y="126"/>
                </a:lnTo>
                <a:lnTo>
                  <a:pt x="112" y="126"/>
                </a:lnTo>
                <a:lnTo>
                  <a:pt x="110" y="126"/>
                </a:lnTo>
                <a:lnTo>
                  <a:pt x="106" y="130"/>
                </a:lnTo>
                <a:lnTo>
                  <a:pt x="102" y="130"/>
                </a:lnTo>
                <a:lnTo>
                  <a:pt x="98" y="130"/>
                </a:lnTo>
                <a:lnTo>
                  <a:pt x="102" y="134"/>
                </a:lnTo>
                <a:lnTo>
                  <a:pt x="102" y="138"/>
                </a:lnTo>
                <a:lnTo>
                  <a:pt x="98" y="138"/>
                </a:lnTo>
                <a:lnTo>
                  <a:pt x="94" y="138"/>
                </a:lnTo>
                <a:lnTo>
                  <a:pt x="90" y="138"/>
                </a:lnTo>
                <a:lnTo>
                  <a:pt x="90" y="134"/>
                </a:lnTo>
                <a:lnTo>
                  <a:pt x="90" y="138"/>
                </a:lnTo>
                <a:lnTo>
                  <a:pt x="86" y="138"/>
                </a:lnTo>
                <a:lnTo>
                  <a:pt x="86" y="142"/>
                </a:lnTo>
                <a:lnTo>
                  <a:pt x="84" y="142"/>
                </a:lnTo>
                <a:lnTo>
                  <a:pt x="84" y="150"/>
                </a:lnTo>
                <a:lnTo>
                  <a:pt x="84" y="152"/>
                </a:lnTo>
                <a:lnTo>
                  <a:pt x="84" y="156"/>
                </a:lnTo>
                <a:lnTo>
                  <a:pt x="80" y="156"/>
                </a:lnTo>
                <a:lnTo>
                  <a:pt x="80" y="160"/>
                </a:lnTo>
                <a:lnTo>
                  <a:pt x="84" y="160"/>
                </a:lnTo>
                <a:lnTo>
                  <a:pt x="80" y="164"/>
                </a:lnTo>
                <a:lnTo>
                  <a:pt x="76" y="164"/>
                </a:lnTo>
                <a:lnTo>
                  <a:pt x="72" y="164"/>
                </a:lnTo>
                <a:lnTo>
                  <a:pt x="68" y="168"/>
                </a:lnTo>
                <a:lnTo>
                  <a:pt x="64" y="168"/>
                </a:lnTo>
                <a:lnTo>
                  <a:pt x="60" y="168"/>
                </a:lnTo>
                <a:lnTo>
                  <a:pt x="56" y="168"/>
                </a:lnTo>
                <a:lnTo>
                  <a:pt x="54" y="168"/>
                </a:lnTo>
                <a:lnTo>
                  <a:pt x="50" y="172"/>
                </a:lnTo>
                <a:lnTo>
                  <a:pt x="46" y="168"/>
                </a:lnTo>
                <a:lnTo>
                  <a:pt x="42" y="168"/>
                </a:lnTo>
                <a:lnTo>
                  <a:pt x="38" y="168"/>
                </a:lnTo>
                <a:lnTo>
                  <a:pt x="28" y="172"/>
                </a:lnTo>
                <a:lnTo>
                  <a:pt x="24" y="168"/>
                </a:lnTo>
                <a:lnTo>
                  <a:pt x="20" y="168"/>
                </a:lnTo>
                <a:lnTo>
                  <a:pt x="16" y="168"/>
                </a:lnTo>
                <a:lnTo>
                  <a:pt x="8" y="164"/>
                </a:lnTo>
                <a:lnTo>
                  <a:pt x="4" y="164"/>
                </a:lnTo>
                <a:lnTo>
                  <a:pt x="4" y="160"/>
                </a:lnTo>
                <a:lnTo>
                  <a:pt x="8" y="160"/>
                </a:lnTo>
                <a:lnTo>
                  <a:pt x="8" y="156"/>
                </a:lnTo>
                <a:lnTo>
                  <a:pt x="12" y="152"/>
                </a:lnTo>
                <a:lnTo>
                  <a:pt x="16" y="146"/>
                </a:lnTo>
                <a:lnTo>
                  <a:pt x="20" y="142"/>
                </a:lnTo>
                <a:lnTo>
                  <a:pt x="20" y="138"/>
                </a:lnTo>
                <a:lnTo>
                  <a:pt x="16" y="138"/>
                </a:lnTo>
                <a:lnTo>
                  <a:pt x="16" y="134"/>
                </a:lnTo>
                <a:lnTo>
                  <a:pt x="12" y="134"/>
                </a:lnTo>
                <a:lnTo>
                  <a:pt x="8" y="134"/>
                </a:lnTo>
                <a:lnTo>
                  <a:pt x="4" y="130"/>
                </a:lnTo>
                <a:lnTo>
                  <a:pt x="4" y="126"/>
                </a:lnTo>
                <a:lnTo>
                  <a:pt x="4" y="122"/>
                </a:lnTo>
                <a:lnTo>
                  <a:pt x="4" y="120"/>
                </a:lnTo>
                <a:lnTo>
                  <a:pt x="4" y="116"/>
                </a:lnTo>
                <a:lnTo>
                  <a:pt x="0" y="112"/>
                </a:lnTo>
                <a:lnTo>
                  <a:pt x="0" y="108"/>
                </a:lnTo>
                <a:lnTo>
                  <a:pt x="0" y="104"/>
                </a:lnTo>
                <a:lnTo>
                  <a:pt x="0" y="100"/>
                </a:lnTo>
                <a:lnTo>
                  <a:pt x="0" y="96"/>
                </a:lnTo>
                <a:lnTo>
                  <a:pt x="4" y="96"/>
                </a:lnTo>
                <a:lnTo>
                  <a:pt x="4" y="94"/>
                </a:lnTo>
                <a:lnTo>
                  <a:pt x="0" y="94"/>
                </a:lnTo>
                <a:lnTo>
                  <a:pt x="0" y="90"/>
                </a:lnTo>
                <a:lnTo>
                  <a:pt x="0" y="86"/>
                </a:lnTo>
                <a:lnTo>
                  <a:pt x="0" y="82"/>
                </a:lnTo>
                <a:lnTo>
                  <a:pt x="0" y="78"/>
                </a:lnTo>
                <a:lnTo>
                  <a:pt x="4" y="78"/>
                </a:lnTo>
                <a:lnTo>
                  <a:pt x="0" y="74"/>
                </a:lnTo>
                <a:lnTo>
                  <a:pt x="4" y="74"/>
                </a:lnTo>
                <a:lnTo>
                  <a:pt x="8" y="70"/>
                </a:lnTo>
                <a:lnTo>
                  <a:pt x="8" y="66"/>
                </a:lnTo>
                <a:lnTo>
                  <a:pt x="8" y="64"/>
                </a:lnTo>
                <a:lnTo>
                  <a:pt x="8" y="60"/>
                </a:lnTo>
                <a:lnTo>
                  <a:pt x="12" y="56"/>
                </a:lnTo>
                <a:lnTo>
                  <a:pt x="12" y="56"/>
                </a:lnTo>
                <a:lnTo>
                  <a:pt x="12" y="56"/>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0" name="Freeform 17"/>
          <p:cNvSpPr>
            <a:spLocks noEditPoints="1"/>
          </p:cNvSpPr>
          <p:nvPr/>
        </p:nvSpPr>
        <p:spPr bwMode="auto">
          <a:xfrm>
            <a:off x="4991099" y="2821780"/>
            <a:ext cx="52388" cy="52388"/>
          </a:xfrm>
          <a:custGeom>
            <a:avLst/>
            <a:gdLst>
              <a:gd name="T0" fmla="*/ 40 w 44"/>
              <a:gd name="T1" fmla="*/ 44 h 44"/>
              <a:gd name="T2" fmla="*/ 36 w 44"/>
              <a:gd name="T3" fmla="*/ 44 h 44"/>
              <a:gd name="T4" fmla="*/ 36 w 44"/>
              <a:gd name="T5" fmla="*/ 44 h 44"/>
              <a:gd name="T6" fmla="*/ 36 w 44"/>
              <a:gd name="T7" fmla="*/ 36 h 44"/>
              <a:gd name="T8" fmla="*/ 32 w 44"/>
              <a:gd name="T9" fmla="*/ 32 h 44"/>
              <a:gd name="T10" fmla="*/ 28 w 44"/>
              <a:gd name="T11" fmla="*/ 32 h 44"/>
              <a:gd name="T12" fmla="*/ 28 w 44"/>
              <a:gd name="T13" fmla="*/ 32 h 44"/>
              <a:gd name="T14" fmla="*/ 22 w 44"/>
              <a:gd name="T15" fmla="*/ 30 h 44"/>
              <a:gd name="T16" fmla="*/ 18 w 44"/>
              <a:gd name="T17" fmla="*/ 30 h 44"/>
              <a:gd name="T18" fmla="*/ 18 w 44"/>
              <a:gd name="T19" fmla="*/ 30 h 44"/>
              <a:gd name="T20" fmla="*/ 14 w 44"/>
              <a:gd name="T21" fmla="*/ 26 h 44"/>
              <a:gd name="T22" fmla="*/ 10 w 44"/>
              <a:gd name="T23" fmla="*/ 22 h 44"/>
              <a:gd name="T24" fmla="*/ 6 w 44"/>
              <a:gd name="T25" fmla="*/ 22 h 44"/>
              <a:gd name="T26" fmla="*/ 2 w 44"/>
              <a:gd name="T27" fmla="*/ 22 h 44"/>
              <a:gd name="T28" fmla="*/ 0 w 44"/>
              <a:gd name="T29" fmla="*/ 14 h 44"/>
              <a:gd name="T30" fmla="*/ 2 w 44"/>
              <a:gd name="T31" fmla="*/ 10 h 44"/>
              <a:gd name="T32" fmla="*/ 0 w 44"/>
              <a:gd name="T33" fmla="*/ 4 h 44"/>
              <a:gd name="T34" fmla="*/ 0 w 44"/>
              <a:gd name="T35" fmla="*/ 4 h 44"/>
              <a:gd name="T36" fmla="*/ 2 w 44"/>
              <a:gd name="T37" fmla="*/ 4 h 44"/>
              <a:gd name="T38" fmla="*/ 2 w 44"/>
              <a:gd name="T39" fmla="*/ 0 h 44"/>
              <a:gd name="T40" fmla="*/ 6 w 44"/>
              <a:gd name="T41" fmla="*/ 0 h 44"/>
              <a:gd name="T42" fmla="*/ 10 w 44"/>
              <a:gd name="T43" fmla="*/ 0 h 44"/>
              <a:gd name="T44" fmla="*/ 18 w 44"/>
              <a:gd name="T45" fmla="*/ 0 h 44"/>
              <a:gd name="T46" fmla="*/ 22 w 44"/>
              <a:gd name="T47" fmla="*/ 0 h 44"/>
              <a:gd name="T48" fmla="*/ 24 w 44"/>
              <a:gd name="T49" fmla="*/ 0 h 44"/>
              <a:gd name="T50" fmla="*/ 22 w 44"/>
              <a:gd name="T51" fmla="*/ 4 h 44"/>
              <a:gd name="T52" fmla="*/ 22 w 44"/>
              <a:gd name="T53" fmla="*/ 4 h 44"/>
              <a:gd name="T54" fmla="*/ 28 w 44"/>
              <a:gd name="T55" fmla="*/ 8 h 44"/>
              <a:gd name="T56" fmla="*/ 24 w 44"/>
              <a:gd name="T57" fmla="*/ 10 h 44"/>
              <a:gd name="T58" fmla="*/ 28 w 44"/>
              <a:gd name="T59" fmla="*/ 14 h 44"/>
              <a:gd name="T60" fmla="*/ 32 w 44"/>
              <a:gd name="T61" fmla="*/ 18 h 44"/>
              <a:gd name="T62" fmla="*/ 32 w 44"/>
              <a:gd name="T63" fmla="*/ 22 h 44"/>
              <a:gd name="T64" fmla="*/ 32 w 44"/>
              <a:gd name="T65" fmla="*/ 22 h 44"/>
              <a:gd name="T66" fmla="*/ 28 w 44"/>
              <a:gd name="T67" fmla="*/ 22 h 44"/>
              <a:gd name="T68" fmla="*/ 32 w 44"/>
              <a:gd name="T69" fmla="*/ 26 h 44"/>
              <a:gd name="T70" fmla="*/ 32 w 44"/>
              <a:gd name="T71" fmla="*/ 26 h 44"/>
              <a:gd name="T72" fmla="*/ 32 w 44"/>
              <a:gd name="T73" fmla="*/ 30 h 44"/>
              <a:gd name="T74" fmla="*/ 36 w 44"/>
              <a:gd name="T75" fmla="*/ 30 h 44"/>
              <a:gd name="T76" fmla="*/ 36 w 44"/>
              <a:gd name="T77" fmla="*/ 32 h 44"/>
              <a:gd name="T78" fmla="*/ 40 w 44"/>
              <a:gd name="T79" fmla="*/ 30 h 44"/>
              <a:gd name="T80" fmla="*/ 40 w 44"/>
              <a:gd name="T81" fmla="*/ 32 h 44"/>
              <a:gd name="T82" fmla="*/ 40 w 44"/>
              <a:gd name="T83" fmla="*/ 36 h 44"/>
              <a:gd name="T84" fmla="*/ 44 w 44"/>
              <a:gd name="T85" fmla="*/ 36 h 44"/>
              <a:gd name="T86" fmla="*/ 40 w 44"/>
              <a:gd name="T87" fmla="*/ 40 h 44"/>
              <a:gd name="T88" fmla="*/ 40 w 44"/>
              <a:gd name="T89" fmla="*/ 40 h 44"/>
              <a:gd name="T90" fmla="*/ 40 w 44"/>
              <a:gd name="T91" fmla="*/ 44 h 44"/>
              <a:gd name="T92" fmla="*/ 44 w 44"/>
              <a:gd name="T93" fmla="*/ 44 h 44"/>
              <a:gd name="T94" fmla="*/ 22 w 44"/>
              <a:gd name="T95" fmla="*/ 4 h 44"/>
              <a:gd name="T96" fmla="*/ 22 w 44"/>
              <a:gd name="T97" fmla="*/ 4 h 44"/>
              <a:gd name="T98" fmla="*/ 24 w 44"/>
              <a:gd name="T99" fmla="*/ 4 h 44"/>
              <a:gd name="T100" fmla="*/ 24 w 44"/>
              <a:gd name="T101" fmla="*/ 4 h 44"/>
              <a:gd name="T102" fmla="*/ 28 w 44"/>
              <a:gd name="T103" fmla="*/ 10 h 44"/>
              <a:gd name="T104" fmla="*/ 28 w 44"/>
              <a:gd name="T105" fmla="*/ 1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4" h="44">
                <a:moveTo>
                  <a:pt x="44" y="44"/>
                </a:moveTo>
                <a:lnTo>
                  <a:pt x="44" y="44"/>
                </a:lnTo>
                <a:lnTo>
                  <a:pt x="40" y="44"/>
                </a:lnTo>
                <a:lnTo>
                  <a:pt x="40" y="44"/>
                </a:lnTo>
                <a:lnTo>
                  <a:pt x="40" y="44"/>
                </a:lnTo>
                <a:lnTo>
                  <a:pt x="40" y="44"/>
                </a:lnTo>
                <a:lnTo>
                  <a:pt x="40" y="44"/>
                </a:lnTo>
                <a:lnTo>
                  <a:pt x="36" y="44"/>
                </a:lnTo>
                <a:lnTo>
                  <a:pt x="36" y="44"/>
                </a:lnTo>
                <a:lnTo>
                  <a:pt x="36" y="44"/>
                </a:lnTo>
                <a:lnTo>
                  <a:pt x="36" y="44"/>
                </a:lnTo>
                <a:lnTo>
                  <a:pt x="36" y="44"/>
                </a:lnTo>
                <a:lnTo>
                  <a:pt x="32" y="40"/>
                </a:lnTo>
                <a:lnTo>
                  <a:pt x="32" y="40"/>
                </a:lnTo>
                <a:lnTo>
                  <a:pt x="36" y="36"/>
                </a:lnTo>
                <a:lnTo>
                  <a:pt x="36" y="36"/>
                </a:lnTo>
                <a:lnTo>
                  <a:pt x="36" y="36"/>
                </a:lnTo>
                <a:lnTo>
                  <a:pt x="32" y="36"/>
                </a:lnTo>
                <a:lnTo>
                  <a:pt x="32" y="32"/>
                </a:lnTo>
                <a:lnTo>
                  <a:pt x="32" y="32"/>
                </a:lnTo>
                <a:lnTo>
                  <a:pt x="32" y="32"/>
                </a:lnTo>
                <a:lnTo>
                  <a:pt x="32" y="32"/>
                </a:lnTo>
                <a:lnTo>
                  <a:pt x="28" y="32"/>
                </a:lnTo>
                <a:lnTo>
                  <a:pt x="28" y="32"/>
                </a:lnTo>
                <a:lnTo>
                  <a:pt x="28" y="32"/>
                </a:lnTo>
                <a:lnTo>
                  <a:pt x="28" y="32"/>
                </a:lnTo>
                <a:lnTo>
                  <a:pt x="28" y="32"/>
                </a:lnTo>
                <a:lnTo>
                  <a:pt x="28" y="32"/>
                </a:lnTo>
                <a:lnTo>
                  <a:pt x="24" y="32"/>
                </a:lnTo>
                <a:lnTo>
                  <a:pt x="24" y="30"/>
                </a:lnTo>
                <a:lnTo>
                  <a:pt x="22" y="30"/>
                </a:lnTo>
                <a:lnTo>
                  <a:pt x="22" y="30"/>
                </a:lnTo>
                <a:lnTo>
                  <a:pt x="22" y="30"/>
                </a:lnTo>
                <a:lnTo>
                  <a:pt x="22" y="30"/>
                </a:lnTo>
                <a:lnTo>
                  <a:pt x="22" y="30"/>
                </a:lnTo>
                <a:lnTo>
                  <a:pt x="18" y="30"/>
                </a:lnTo>
                <a:lnTo>
                  <a:pt x="18" y="30"/>
                </a:lnTo>
                <a:lnTo>
                  <a:pt x="18" y="30"/>
                </a:lnTo>
                <a:lnTo>
                  <a:pt x="18" y="30"/>
                </a:lnTo>
                <a:lnTo>
                  <a:pt x="18" y="30"/>
                </a:lnTo>
                <a:lnTo>
                  <a:pt x="18" y="30"/>
                </a:lnTo>
                <a:lnTo>
                  <a:pt x="14" y="26"/>
                </a:lnTo>
                <a:lnTo>
                  <a:pt x="14" y="26"/>
                </a:lnTo>
                <a:lnTo>
                  <a:pt x="14" y="26"/>
                </a:lnTo>
                <a:lnTo>
                  <a:pt x="14" y="26"/>
                </a:lnTo>
                <a:lnTo>
                  <a:pt x="14" y="26"/>
                </a:lnTo>
                <a:lnTo>
                  <a:pt x="10" y="22"/>
                </a:lnTo>
                <a:lnTo>
                  <a:pt x="10" y="22"/>
                </a:lnTo>
                <a:lnTo>
                  <a:pt x="10" y="22"/>
                </a:lnTo>
                <a:lnTo>
                  <a:pt x="6" y="22"/>
                </a:lnTo>
                <a:lnTo>
                  <a:pt x="6" y="22"/>
                </a:lnTo>
                <a:lnTo>
                  <a:pt x="6" y="22"/>
                </a:lnTo>
                <a:lnTo>
                  <a:pt x="6" y="22"/>
                </a:lnTo>
                <a:lnTo>
                  <a:pt x="2" y="22"/>
                </a:lnTo>
                <a:lnTo>
                  <a:pt x="2" y="22"/>
                </a:lnTo>
                <a:lnTo>
                  <a:pt x="2" y="22"/>
                </a:lnTo>
                <a:lnTo>
                  <a:pt x="2" y="22"/>
                </a:lnTo>
                <a:lnTo>
                  <a:pt x="2" y="18"/>
                </a:lnTo>
                <a:lnTo>
                  <a:pt x="0" y="18"/>
                </a:lnTo>
                <a:lnTo>
                  <a:pt x="0" y="14"/>
                </a:lnTo>
                <a:lnTo>
                  <a:pt x="0" y="14"/>
                </a:lnTo>
                <a:lnTo>
                  <a:pt x="2" y="14"/>
                </a:lnTo>
                <a:lnTo>
                  <a:pt x="2" y="10"/>
                </a:lnTo>
                <a:lnTo>
                  <a:pt x="2" y="10"/>
                </a:lnTo>
                <a:lnTo>
                  <a:pt x="2" y="10"/>
                </a:lnTo>
                <a:lnTo>
                  <a:pt x="2" y="8"/>
                </a:lnTo>
                <a:lnTo>
                  <a:pt x="2" y="8"/>
                </a:lnTo>
                <a:lnTo>
                  <a:pt x="0" y="4"/>
                </a:lnTo>
                <a:lnTo>
                  <a:pt x="0" y="4"/>
                </a:lnTo>
                <a:lnTo>
                  <a:pt x="0" y="4"/>
                </a:lnTo>
                <a:lnTo>
                  <a:pt x="0" y="4"/>
                </a:lnTo>
                <a:lnTo>
                  <a:pt x="0" y="4"/>
                </a:lnTo>
                <a:lnTo>
                  <a:pt x="0" y="4"/>
                </a:lnTo>
                <a:lnTo>
                  <a:pt x="0" y="4"/>
                </a:lnTo>
                <a:lnTo>
                  <a:pt x="0" y="4"/>
                </a:lnTo>
                <a:lnTo>
                  <a:pt x="2" y="4"/>
                </a:lnTo>
                <a:lnTo>
                  <a:pt x="2" y="4"/>
                </a:lnTo>
                <a:lnTo>
                  <a:pt x="2" y="4"/>
                </a:lnTo>
                <a:lnTo>
                  <a:pt x="2" y="4"/>
                </a:lnTo>
                <a:lnTo>
                  <a:pt x="2" y="0"/>
                </a:lnTo>
                <a:lnTo>
                  <a:pt x="2" y="0"/>
                </a:lnTo>
                <a:lnTo>
                  <a:pt x="6" y="0"/>
                </a:lnTo>
                <a:lnTo>
                  <a:pt x="6" y="0"/>
                </a:lnTo>
                <a:lnTo>
                  <a:pt x="6" y="0"/>
                </a:lnTo>
                <a:lnTo>
                  <a:pt x="10" y="0"/>
                </a:lnTo>
                <a:lnTo>
                  <a:pt x="10" y="0"/>
                </a:lnTo>
                <a:lnTo>
                  <a:pt x="10" y="0"/>
                </a:lnTo>
                <a:lnTo>
                  <a:pt x="10" y="0"/>
                </a:lnTo>
                <a:lnTo>
                  <a:pt x="14" y="0"/>
                </a:lnTo>
                <a:lnTo>
                  <a:pt x="14" y="0"/>
                </a:lnTo>
                <a:lnTo>
                  <a:pt x="14" y="0"/>
                </a:lnTo>
                <a:lnTo>
                  <a:pt x="18" y="0"/>
                </a:lnTo>
                <a:lnTo>
                  <a:pt x="18" y="0"/>
                </a:lnTo>
                <a:lnTo>
                  <a:pt x="18" y="0"/>
                </a:lnTo>
                <a:lnTo>
                  <a:pt x="18" y="0"/>
                </a:lnTo>
                <a:lnTo>
                  <a:pt x="22" y="0"/>
                </a:lnTo>
                <a:lnTo>
                  <a:pt x="22" y="0"/>
                </a:lnTo>
                <a:lnTo>
                  <a:pt x="22" y="0"/>
                </a:lnTo>
                <a:lnTo>
                  <a:pt x="22" y="0"/>
                </a:lnTo>
                <a:lnTo>
                  <a:pt x="24" y="0"/>
                </a:lnTo>
                <a:lnTo>
                  <a:pt x="24" y="0"/>
                </a:lnTo>
                <a:lnTo>
                  <a:pt x="24" y="4"/>
                </a:lnTo>
                <a:lnTo>
                  <a:pt x="24" y="4"/>
                </a:lnTo>
                <a:lnTo>
                  <a:pt x="22" y="4"/>
                </a:lnTo>
                <a:lnTo>
                  <a:pt x="22" y="4"/>
                </a:lnTo>
                <a:lnTo>
                  <a:pt x="22" y="4"/>
                </a:lnTo>
                <a:lnTo>
                  <a:pt x="22" y="4"/>
                </a:lnTo>
                <a:lnTo>
                  <a:pt x="22" y="4"/>
                </a:lnTo>
                <a:lnTo>
                  <a:pt x="24" y="4"/>
                </a:lnTo>
                <a:lnTo>
                  <a:pt x="28" y="8"/>
                </a:lnTo>
                <a:lnTo>
                  <a:pt x="28" y="8"/>
                </a:lnTo>
                <a:lnTo>
                  <a:pt x="28" y="8"/>
                </a:lnTo>
                <a:lnTo>
                  <a:pt x="28" y="8"/>
                </a:lnTo>
                <a:lnTo>
                  <a:pt x="28" y="8"/>
                </a:lnTo>
                <a:lnTo>
                  <a:pt x="28" y="10"/>
                </a:lnTo>
                <a:lnTo>
                  <a:pt x="24" y="10"/>
                </a:lnTo>
                <a:lnTo>
                  <a:pt x="24" y="10"/>
                </a:lnTo>
                <a:lnTo>
                  <a:pt x="24" y="10"/>
                </a:lnTo>
                <a:lnTo>
                  <a:pt x="24" y="10"/>
                </a:lnTo>
                <a:lnTo>
                  <a:pt x="28" y="14"/>
                </a:lnTo>
                <a:lnTo>
                  <a:pt x="28" y="14"/>
                </a:lnTo>
                <a:lnTo>
                  <a:pt x="28" y="14"/>
                </a:lnTo>
                <a:lnTo>
                  <a:pt x="32" y="18"/>
                </a:lnTo>
                <a:lnTo>
                  <a:pt x="32" y="18"/>
                </a:lnTo>
                <a:lnTo>
                  <a:pt x="32" y="18"/>
                </a:lnTo>
                <a:lnTo>
                  <a:pt x="36" y="18"/>
                </a:lnTo>
                <a:lnTo>
                  <a:pt x="32" y="22"/>
                </a:lnTo>
                <a:lnTo>
                  <a:pt x="32" y="22"/>
                </a:lnTo>
                <a:lnTo>
                  <a:pt x="32" y="22"/>
                </a:lnTo>
                <a:lnTo>
                  <a:pt x="32" y="22"/>
                </a:lnTo>
                <a:lnTo>
                  <a:pt x="32" y="22"/>
                </a:lnTo>
                <a:lnTo>
                  <a:pt x="32" y="22"/>
                </a:lnTo>
                <a:lnTo>
                  <a:pt x="28" y="22"/>
                </a:lnTo>
                <a:lnTo>
                  <a:pt x="28" y="22"/>
                </a:lnTo>
                <a:lnTo>
                  <a:pt x="28" y="22"/>
                </a:lnTo>
                <a:lnTo>
                  <a:pt x="28" y="22"/>
                </a:lnTo>
                <a:lnTo>
                  <a:pt x="28" y="22"/>
                </a:lnTo>
                <a:lnTo>
                  <a:pt x="28" y="26"/>
                </a:lnTo>
                <a:lnTo>
                  <a:pt x="28" y="26"/>
                </a:lnTo>
                <a:lnTo>
                  <a:pt x="32" y="26"/>
                </a:lnTo>
                <a:lnTo>
                  <a:pt x="32" y="26"/>
                </a:lnTo>
                <a:lnTo>
                  <a:pt x="32" y="26"/>
                </a:lnTo>
                <a:lnTo>
                  <a:pt x="32" y="26"/>
                </a:lnTo>
                <a:lnTo>
                  <a:pt x="32" y="26"/>
                </a:lnTo>
                <a:lnTo>
                  <a:pt x="32" y="26"/>
                </a:lnTo>
                <a:lnTo>
                  <a:pt x="32" y="26"/>
                </a:lnTo>
                <a:lnTo>
                  <a:pt x="32" y="26"/>
                </a:lnTo>
                <a:lnTo>
                  <a:pt x="32" y="30"/>
                </a:lnTo>
                <a:lnTo>
                  <a:pt x="32" y="30"/>
                </a:lnTo>
                <a:lnTo>
                  <a:pt x="36" y="30"/>
                </a:lnTo>
                <a:lnTo>
                  <a:pt x="36" y="30"/>
                </a:lnTo>
                <a:lnTo>
                  <a:pt x="36" y="30"/>
                </a:lnTo>
                <a:lnTo>
                  <a:pt x="36" y="30"/>
                </a:lnTo>
                <a:lnTo>
                  <a:pt x="36" y="30"/>
                </a:lnTo>
                <a:lnTo>
                  <a:pt x="36" y="30"/>
                </a:lnTo>
                <a:lnTo>
                  <a:pt x="36" y="32"/>
                </a:lnTo>
                <a:lnTo>
                  <a:pt x="36" y="32"/>
                </a:lnTo>
                <a:lnTo>
                  <a:pt x="40" y="30"/>
                </a:lnTo>
                <a:lnTo>
                  <a:pt x="40" y="30"/>
                </a:lnTo>
                <a:lnTo>
                  <a:pt x="40" y="30"/>
                </a:lnTo>
                <a:lnTo>
                  <a:pt x="44" y="32"/>
                </a:lnTo>
                <a:lnTo>
                  <a:pt x="44" y="32"/>
                </a:lnTo>
                <a:lnTo>
                  <a:pt x="44" y="32"/>
                </a:lnTo>
                <a:lnTo>
                  <a:pt x="40" y="32"/>
                </a:lnTo>
                <a:lnTo>
                  <a:pt x="40" y="32"/>
                </a:lnTo>
                <a:lnTo>
                  <a:pt x="40" y="32"/>
                </a:lnTo>
                <a:lnTo>
                  <a:pt x="40" y="36"/>
                </a:lnTo>
                <a:lnTo>
                  <a:pt x="40" y="36"/>
                </a:lnTo>
                <a:lnTo>
                  <a:pt x="44" y="36"/>
                </a:lnTo>
                <a:lnTo>
                  <a:pt x="44" y="36"/>
                </a:lnTo>
                <a:lnTo>
                  <a:pt x="44" y="36"/>
                </a:lnTo>
                <a:lnTo>
                  <a:pt x="44" y="36"/>
                </a:lnTo>
                <a:lnTo>
                  <a:pt x="44" y="40"/>
                </a:lnTo>
                <a:lnTo>
                  <a:pt x="40" y="40"/>
                </a:lnTo>
                <a:lnTo>
                  <a:pt x="40" y="36"/>
                </a:lnTo>
                <a:lnTo>
                  <a:pt x="40" y="40"/>
                </a:lnTo>
                <a:lnTo>
                  <a:pt x="40" y="40"/>
                </a:lnTo>
                <a:lnTo>
                  <a:pt x="40" y="40"/>
                </a:lnTo>
                <a:lnTo>
                  <a:pt x="40" y="40"/>
                </a:lnTo>
                <a:lnTo>
                  <a:pt x="40" y="40"/>
                </a:lnTo>
                <a:lnTo>
                  <a:pt x="44" y="40"/>
                </a:lnTo>
                <a:lnTo>
                  <a:pt x="44" y="40"/>
                </a:lnTo>
                <a:lnTo>
                  <a:pt x="44" y="40"/>
                </a:lnTo>
                <a:lnTo>
                  <a:pt x="40" y="44"/>
                </a:lnTo>
                <a:lnTo>
                  <a:pt x="40" y="44"/>
                </a:lnTo>
                <a:lnTo>
                  <a:pt x="44" y="44"/>
                </a:lnTo>
                <a:lnTo>
                  <a:pt x="44" y="44"/>
                </a:lnTo>
                <a:lnTo>
                  <a:pt x="44" y="44"/>
                </a:lnTo>
                <a:close/>
                <a:moveTo>
                  <a:pt x="22" y="4"/>
                </a:moveTo>
                <a:lnTo>
                  <a:pt x="22" y="4"/>
                </a:lnTo>
                <a:lnTo>
                  <a:pt x="22" y="4"/>
                </a:lnTo>
                <a:lnTo>
                  <a:pt x="22" y="4"/>
                </a:lnTo>
                <a:lnTo>
                  <a:pt x="22" y="4"/>
                </a:lnTo>
                <a:lnTo>
                  <a:pt x="22" y="4"/>
                </a:lnTo>
                <a:lnTo>
                  <a:pt x="22" y="4"/>
                </a:lnTo>
                <a:lnTo>
                  <a:pt x="22" y="4"/>
                </a:lnTo>
                <a:lnTo>
                  <a:pt x="22" y="4"/>
                </a:lnTo>
                <a:lnTo>
                  <a:pt x="22" y="4"/>
                </a:lnTo>
                <a:close/>
                <a:moveTo>
                  <a:pt x="24" y="4"/>
                </a:moveTo>
                <a:lnTo>
                  <a:pt x="24" y="4"/>
                </a:lnTo>
                <a:lnTo>
                  <a:pt x="24" y="4"/>
                </a:lnTo>
                <a:lnTo>
                  <a:pt x="24" y="4"/>
                </a:lnTo>
                <a:lnTo>
                  <a:pt x="24" y="4"/>
                </a:lnTo>
                <a:lnTo>
                  <a:pt x="24" y="4"/>
                </a:lnTo>
                <a:lnTo>
                  <a:pt x="24" y="4"/>
                </a:lnTo>
                <a:close/>
                <a:moveTo>
                  <a:pt x="28" y="10"/>
                </a:moveTo>
                <a:lnTo>
                  <a:pt x="28" y="10"/>
                </a:lnTo>
                <a:lnTo>
                  <a:pt x="28" y="10"/>
                </a:lnTo>
                <a:lnTo>
                  <a:pt x="28" y="10"/>
                </a:lnTo>
                <a:lnTo>
                  <a:pt x="28" y="10"/>
                </a:lnTo>
                <a:lnTo>
                  <a:pt x="28" y="10"/>
                </a:lnTo>
                <a:lnTo>
                  <a:pt x="28" y="10"/>
                </a:lnTo>
                <a:lnTo>
                  <a:pt x="28" y="10"/>
                </a:lnTo>
                <a:lnTo>
                  <a:pt x="28" y="10"/>
                </a:lnTo>
                <a:lnTo>
                  <a:pt x="28" y="10"/>
                </a:lnTo>
                <a:close/>
              </a:path>
            </a:pathLst>
          </a:custGeom>
          <a:solidFill>
            <a:srgbClr val="A0DCFF"/>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1" name="Freeform 18"/>
          <p:cNvSpPr>
            <a:spLocks noEditPoints="1"/>
          </p:cNvSpPr>
          <p:nvPr/>
        </p:nvSpPr>
        <p:spPr bwMode="auto">
          <a:xfrm>
            <a:off x="5012531" y="2786062"/>
            <a:ext cx="114300" cy="102394"/>
          </a:xfrm>
          <a:custGeom>
            <a:avLst/>
            <a:gdLst>
              <a:gd name="T0" fmla="*/ 78 w 96"/>
              <a:gd name="T1" fmla="*/ 86 h 86"/>
              <a:gd name="T2" fmla="*/ 56 w 96"/>
              <a:gd name="T3" fmla="*/ 86 h 86"/>
              <a:gd name="T4" fmla="*/ 48 w 96"/>
              <a:gd name="T5" fmla="*/ 82 h 86"/>
              <a:gd name="T6" fmla="*/ 44 w 96"/>
              <a:gd name="T7" fmla="*/ 74 h 86"/>
              <a:gd name="T8" fmla="*/ 48 w 96"/>
              <a:gd name="T9" fmla="*/ 74 h 86"/>
              <a:gd name="T10" fmla="*/ 48 w 96"/>
              <a:gd name="T11" fmla="*/ 70 h 86"/>
              <a:gd name="T12" fmla="*/ 48 w 96"/>
              <a:gd name="T13" fmla="*/ 66 h 86"/>
              <a:gd name="T14" fmla="*/ 48 w 96"/>
              <a:gd name="T15" fmla="*/ 62 h 86"/>
              <a:gd name="T16" fmla="*/ 40 w 96"/>
              <a:gd name="T17" fmla="*/ 60 h 86"/>
              <a:gd name="T18" fmla="*/ 32 w 96"/>
              <a:gd name="T19" fmla="*/ 66 h 86"/>
              <a:gd name="T20" fmla="*/ 30 w 96"/>
              <a:gd name="T21" fmla="*/ 70 h 86"/>
              <a:gd name="T22" fmla="*/ 26 w 96"/>
              <a:gd name="T23" fmla="*/ 74 h 86"/>
              <a:gd name="T24" fmla="*/ 22 w 96"/>
              <a:gd name="T25" fmla="*/ 70 h 86"/>
              <a:gd name="T26" fmla="*/ 26 w 96"/>
              <a:gd name="T27" fmla="*/ 66 h 86"/>
              <a:gd name="T28" fmla="*/ 22 w 96"/>
              <a:gd name="T29" fmla="*/ 62 h 86"/>
              <a:gd name="T30" fmla="*/ 22 w 96"/>
              <a:gd name="T31" fmla="*/ 60 h 86"/>
              <a:gd name="T32" fmla="*/ 18 w 96"/>
              <a:gd name="T33" fmla="*/ 60 h 86"/>
              <a:gd name="T34" fmla="*/ 14 w 96"/>
              <a:gd name="T35" fmla="*/ 56 h 86"/>
              <a:gd name="T36" fmla="*/ 10 w 96"/>
              <a:gd name="T37" fmla="*/ 52 h 86"/>
              <a:gd name="T38" fmla="*/ 14 w 96"/>
              <a:gd name="T39" fmla="*/ 52 h 86"/>
              <a:gd name="T40" fmla="*/ 14 w 96"/>
              <a:gd name="T41" fmla="*/ 48 h 86"/>
              <a:gd name="T42" fmla="*/ 6 w 96"/>
              <a:gd name="T43" fmla="*/ 40 h 86"/>
              <a:gd name="T44" fmla="*/ 6 w 96"/>
              <a:gd name="T45" fmla="*/ 32 h 86"/>
              <a:gd name="T46" fmla="*/ 6 w 96"/>
              <a:gd name="T47" fmla="*/ 32 h 86"/>
              <a:gd name="T48" fmla="*/ 4 w 96"/>
              <a:gd name="T49" fmla="*/ 26 h 86"/>
              <a:gd name="T50" fmla="*/ 10 w 96"/>
              <a:gd name="T51" fmla="*/ 26 h 86"/>
              <a:gd name="T52" fmla="*/ 14 w 96"/>
              <a:gd name="T53" fmla="*/ 30 h 86"/>
              <a:gd name="T54" fmla="*/ 18 w 96"/>
              <a:gd name="T55" fmla="*/ 30 h 86"/>
              <a:gd name="T56" fmla="*/ 22 w 96"/>
              <a:gd name="T57" fmla="*/ 32 h 86"/>
              <a:gd name="T58" fmla="*/ 26 w 96"/>
              <a:gd name="T59" fmla="*/ 26 h 86"/>
              <a:gd name="T60" fmla="*/ 18 w 96"/>
              <a:gd name="T61" fmla="*/ 22 h 86"/>
              <a:gd name="T62" fmla="*/ 22 w 96"/>
              <a:gd name="T63" fmla="*/ 18 h 86"/>
              <a:gd name="T64" fmla="*/ 26 w 96"/>
              <a:gd name="T65" fmla="*/ 18 h 86"/>
              <a:gd name="T66" fmla="*/ 30 w 96"/>
              <a:gd name="T67" fmla="*/ 22 h 86"/>
              <a:gd name="T68" fmla="*/ 36 w 96"/>
              <a:gd name="T69" fmla="*/ 30 h 86"/>
              <a:gd name="T70" fmla="*/ 40 w 96"/>
              <a:gd name="T71" fmla="*/ 30 h 86"/>
              <a:gd name="T72" fmla="*/ 48 w 96"/>
              <a:gd name="T73" fmla="*/ 26 h 86"/>
              <a:gd name="T74" fmla="*/ 52 w 96"/>
              <a:gd name="T75" fmla="*/ 22 h 86"/>
              <a:gd name="T76" fmla="*/ 70 w 96"/>
              <a:gd name="T77" fmla="*/ 0 h 86"/>
              <a:gd name="T78" fmla="*/ 88 w 96"/>
              <a:gd name="T79" fmla="*/ 30 h 86"/>
              <a:gd name="T80" fmla="*/ 96 w 96"/>
              <a:gd name="T81" fmla="*/ 56 h 86"/>
              <a:gd name="T82" fmla="*/ 92 w 96"/>
              <a:gd name="T83" fmla="*/ 74 h 86"/>
              <a:gd name="T84" fmla="*/ 10 w 96"/>
              <a:gd name="T85" fmla="*/ 40 h 86"/>
              <a:gd name="T86" fmla="*/ 4 w 96"/>
              <a:gd name="T87" fmla="*/ 32 h 86"/>
              <a:gd name="T88" fmla="*/ 4 w 96"/>
              <a:gd name="T89" fmla="*/ 32 h 86"/>
              <a:gd name="T90" fmla="*/ 6 w 96"/>
              <a:gd name="T91" fmla="*/ 32 h 86"/>
              <a:gd name="T92" fmla="*/ 0 w 96"/>
              <a:gd name="T93" fmla="*/ 60 h 86"/>
              <a:gd name="T94" fmla="*/ 4 w 96"/>
              <a:gd name="T95" fmla="*/ 60 h 86"/>
              <a:gd name="T96" fmla="*/ 10 w 96"/>
              <a:gd name="T97" fmla="*/ 62 h 86"/>
              <a:gd name="T98" fmla="*/ 14 w 96"/>
              <a:gd name="T99" fmla="*/ 66 h 86"/>
              <a:gd name="T100" fmla="*/ 18 w 96"/>
              <a:gd name="T101" fmla="*/ 74 h 86"/>
              <a:gd name="T102" fmla="*/ 10 w 96"/>
              <a:gd name="T103" fmla="*/ 74 h 86"/>
              <a:gd name="T104" fmla="*/ 6 w 96"/>
              <a:gd name="T105" fmla="*/ 70 h 86"/>
              <a:gd name="T106" fmla="*/ 4 w 96"/>
              <a:gd name="T107" fmla="*/ 62 h 86"/>
              <a:gd name="T108" fmla="*/ 0 w 96"/>
              <a:gd name="T109" fmla="*/ 6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6" h="86">
                <a:moveTo>
                  <a:pt x="92" y="78"/>
                </a:moveTo>
                <a:lnTo>
                  <a:pt x="88" y="82"/>
                </a:lnTo>
                <a:lnTo>
                  <a:pt x="86" y="82"/>
                </a:lnTo>
                <a:lnTo>
                  <a:pt x="82" y="82"/>
                </a:lnTo>
                <a:lnTo>
                  <a:pt x="82" y="82"/>
                </a:lnTo>
                <a:lnTo>
                  <a:pt x="78" y="86"/>
                </a:lnTo>
                <a:lnTo>
                  <a:pt x="78" y="86"/>
                </a:lnTo>
                <a:lnTo>
                  <a:pt x="74" y="86"/>
                </a:lnTo>
                <a:lnTo>
                  <a:pt x="70" y="86"/>
                </a:lnTo>
                <a:lnTo>
                  <a:pt x="58" y="82"/>
                </a:lnTo>
                <a:lnTo>
                  <a:pt x="56" y="82"/>
                </a:lnTo>
                <a:lnTo>
                  <a:pt x="56" y="82"/>
                </a:lnTo>
                <a:lnTo>
                  <a:pt x="56" y="86"/>
                </a:lnTo>
                <a:lnTo>
                  <a:pt x="56" y="86"/>
                </a:lnTo>
                <a:lnTo>
                  <a:pt x="56" y="86"/>
                </a:lnTo>
                <a:lnTo>
                  <a:pt x="52" y="86"/>
                </a:lnTo>
                <a:lnTo>
                  <a:pt x="52" y="82"/>
                </a:lnTo>
                <a:lnTo>
                  <a:pt x="52" y="82"/>
                </a:lnTo>
                <a:lnTo>
                  <a:pt x="52" y="82"/>
                </a:lnTo>
                <a:lnTo>
                  <a:pt x="52" y="82"/>
                </a:lnTo>
                <a:lnTo>
                  <a:pt x="48" y="82"/>
                </a:lnTo>
                <a:lnTo>
                  <a:pt x="48" y="78"/>
                </a:lnTo>
                <a:lnTo>
                  <a:pt x="48" y="78"/>
                </a:lnTo>
                <a:lnTo>
                  <a:pt x="48" y="78"/>
                </a:lnTo>
                <a:lnTo>
                  <a:pt x="48" y="78"/>
                </a:lnTo>
                <a:lnTo>
                  <a:pt x="48" y="78"/>
                </a:lnTo>
                <a:lnTo>
                  <a:pt x="48" y="78"/>
                </a:lnTo>
                <a:lnTo>
                  <a:pt x="44" y="74"/>
                </a:lnTo>
                <a:lnTo>
                  <a:pt x="44" y="74"/>
                </a:lnTo>
                <a:lnTo>
                  <a:pt x="44" y="74"/>
                </a:lnTo>
                <a:lnTo>
                  <a:pt x="44" y="74"/>
                </a:lnTo>
                <a:lnTo>
                  <a:pt x="48" y="74"/>
                </a:lnTo>
                <a:lnTo>
                  <a:pt x="48" y="74"/>
                </a:lnTo>
                <a:lnTo>
                  <a:pt x="48" y="74"/>
                </a:lnTo>
                <a:lnTo>
                  <a:pt x="48" y="74"/>
                </a:lnTo>
                <a:lnTo>
                  <a:pt x="48" y="74"/>
                </a:lnTo>
                <a:lnTo>
                  <a:pt x="48" y="74"/>
                </a:lnTo>
                <a:lnTo>
                  <a:pt x="48" y="70"/>
                </a:lnTo>
                <a:lnTo>
                  <a:pt x="48" y="70"/>
                </a:lnTo>
                <a:lnTo>
                  <a:pt x="48" y="70"/>
                </a:lnTo>
                <a:lnTo>
                  <a:pt x="48" y="70"/>
                </a:lnTo>
                <a:lnTo>
                  <a:pt x="48" y="70"/>
                </a:lnTo>
                <a:lnTo>
                  <a:pt x="48" y="70"/>
                </a:lnTo>
                <a:lnTo>
                  <a:pt x="48" y="66"/>
                </a:lnTo>
                <a:lnTo>
                  <a:pt x="48" y="66"/>
                </a:lnTo>
                <a:lnTo>
                  <a:pt x="48" y="66"/>
                </a:lnTo>
                <a:lnTo>
                  <a:pt x="48" y="66"/>
                </a:lnTo>
                <a:lnTo>
                  <a:pt x="48" y="66"/>
                </a:lnTo>
                <a:lnTo>
                  <a:pt x="48" y="66"/>
                </a:lnTo>
                <a:lnTo>
                  <a:pt x="52" y="66"/>
                </a:lnTo>
                <a:lnTo>
                  <a:pt x="48" y="62"/>
                </a:lnTo>
                <a:lnTo>
                  <a:pt x="48" y="62"/>
                </a:lnTo>
                <a:lnTo>
                  <a:pt x="48" y="62"/>
                </a:lnTo>
                <a:lnTo>
                  <a:pt x="48" y="62"/>
                </a:lnTo>
                <a:lnTo>
                  <a:pt x="48" y="62"/>
                </a:lnTo>
                <a:lnTo>
                  <a:pt x="48" y="62"/>
                </a:lnTo>
                <a:lnTo>
                  <a:pt x="44" y="60"/>
                </a:lnTo>
                <a:lnTo>
                  <a:pt x="44" y="60"/>
                </a:lnTo>
                <a:lnTo>
                  <a:pt x="44" y="60"/>
                </a:lnTo>
                <a:lnTo>
                  <a:pt x="44" y="60"/>
                </a:lnTo>
                <a:lnTo>
                  <a:pt x="44" y="60"/>
                </a:lnTo>
                <a:lnTo>
                  <a:pt x="40" y="60"/>
                </a:lnTo>
                <a:lnTo>
                  <a:pt x="40" y="60"/>
                </a:lnTo>
                <a:lnTo>
                  <a:pt x="40" y="60"/>
                </a:lnTo>
                <a:lnTo>
                  <a:pt x="36" y="62"/>
                </a:lnTo>
                <a:lnTo>
                  <a:pt x="36" y="62"/>
                </a:lnTo>
                <a:lnTo>
                  <a:pt x="36" y="62"/>
                </a:lnTo>
                <a:lnTo>
                  <a:pt x="36" y="62"/>
                </a:lnTo>
                <a:lnTo>
                  <a:pt x="36" y="66"/>
                </a:lnTo>
                <a:lnTo>
                  <a:pt x="32" y="66"/>
                </a:lnTo>
                <a:lnTo>
                  <a:pt x="32" y="66"/>
                </a:lnTo>
                <a:lnTo>
                  <a:pt x="32" y="66"/>
                </a:lnTo>
                <a:lnTo>
                  <a:pt x="32" y="66"/>
                </a:lnTo>
                <a:lnTo>
                  <a:pt x="32" y="66"/>
                </a:lnTo>
                <a:lnTo>
                  <a:pt x="30" y="70"/>
                </a:lnTo>
                <a:lnTo>
                  <a:pt x="30" y="70"/>
                </a:lnTo>
                <a:lnTo>
                  <a:pt x="30" y="70"/>
                </a:lnTo>
                <a:lnTo>
                  <a:pt x="30" y="70"/>
                </a:lnTo>
                <a:lnTo>
                  <a:pt x="30" y="70"/>
                </a:lnTo>
                <a:lnTo>
                  <a:pt x="26" y="70"/>
                </a:lnTo>
                <a:lnTo>
                  <a:pt x="26" y="70"/>
                </a:lnTo>
                <a:lnTo>
                  <a:pt x="26" y="74"/>
                </a:lnTo>
                <a:lnTo>
                  <a:pt x="26" y="74"/>
                </a:lnTo>
                <a:lnTo>
                  <a:pt x="26" y="74"/>
                </a:lnTo>
                <a:lnTo>
                  <a:pt x="22" y="74"/>
                </a:lnTo>
                <a:lnTo>
                  <a:pt x="22" y="74"/>
                </a:lnTo>
                <a:lnTo>
                  <a:pt x="26" y="70"/>
                </a:lnTo>
                <a:lnTo>
                  <a:pt x="26" y="70"/>
                </a:lnTo>
                <a:lnTo>
                  <a:pt x="26" y="70"/>
                </a:lnTo>
                <a:lnTo>
                  <a:pt x="22" y="70"/>
                </a:lnTo>
                <a:lnTo>
                  <a:pt x="22" y="70"/>
                </a:lnTo>
                <a:lnTo>
                  <a:pt x="22" y="70"/>
                </a:lnTo>
                <a:lnTo>
                  <a:pt x="22" y="70"/>
                </a:lnTo>
                <a:lnTo>
                  <a:pt x="22" y="70"/>
                </a:lnTo>
                <a:lnTo>
                  <a:pt x="22" y="66"/>
                </a:lnTo>
                <a:lnTo>
                  <a:pt x="22" y="70"/>
                </a:lnTo>
                <a:lnTo>
                  <a:pt x="26" y="70"/>
                </a:lnTo>
                <a:lnTo>
                  <a:pt x="26" y="66"/>
                </a:lnTo>
                <a:lnTo>
                  <a:pt x="26" y="66"/>
                </a:lnTo>
                <a:lnTo>
                  <a:pt x="26" y="66"/>
                </a:lnTo>
                <a:lnTo>
                  <a:pt x="26" y="66"/>
                </a:lnTo>
                <a:lnTo>
                  <a:pt x="22" y="66"/>
                </a:lnTo>
                <a:lnTo>
                  <a:pt x="22" y="66"/>
                </a:lnTo>
                <a:lnTo>
                  <a:pt x="22" y="62"/>
                </a:lnTo>
                <a:lnTo>
                  <a:pt x="22" y="62"/>
                </a:lnTo>
                <a:lnTo>
                  <a:pt x="22" y="62"/>
                </a:lnTo>
                <a:lnTo>
                  <a:pt x="26" y="62"/>
                </a:lnTo>
                <a:lnTo>
                  <a:pt x="26" y="62"/>
                </a:lnTo>
                <a:lnTo>
                  <a:pt x="26" y="62"/>
                </a:lnTo>
                <a:lnTo>
                  <a:pt x="22" y="60"/>
                </a:lnTo>
                <a:lnTo>
                  <a:pt x="22" y="60"/>
                </a:lnTo>
                <a:lnTo>
                  <a:pt x="22" y="60"/>
                </a:lnTo>
                <a:lnTo>
                  <a:pt x="18" y="62"/>
                </a:lnTo>
                <a:lnTo>
                  <a:pt x="18" y="62"/>
                </a:lnTo>
                <a:lnTo>
                  <a:pt x="18" y="60"/>
                </a:lnTo>
                <a:lnTo>
                  <a:pt x="18" y="60"/>
                </a:lnTo>
                <a:lnTo>
                  <a:pt x="18" y="60"/>
                </a:lnTo>
                <a:lnTo>
                  <a:pt x="18" y="60"/>
                </a:lnTo>
                <a:lnTo>
                  <a:pt x="18" y="60"/>
                </a:lnTo>
                <a:lnTo>
                  <a:pt x="18" y="60"/>
                </a:lnTo>
                <a:lnTo>
                  <a:pt x="14" y="60"/>
                </a:lnTo>
                <a:lnTo>
                  <a:pt x="14" y="60"/>
                </a:lnTo>
                <a:lnTo>
                  <a:pt x="14" y="56"/>
                </a:lnTo>
                <a:lnTo>
                  <a:pt x="14" y="56"/>
                </a:lnTo>
                <a:lnTo>
                  <a:pt x="14" y="56"/>
                </a:lnTo>
                <a:lnTo>
                  <a:pt x="14" y="56"/>
                </a:lnTo>
                <a:lnTo>
                  <a:pt x="14" y="56"/>
                </a:lnTo>
                <a:lnTo>
                  <a:pt x="14" y="56"/>
                </a:lnTo>
                <a:lnTo>
                  <a:pt x="14" y="56"/>
                </a:lnTo>
                <a:lnTo>
                  <a:pt x="14" y="56"/>
                </a:lnTo>
                <a:lnTo>
                  <a:pt x="10" y="56"/>
                </a:lnTo>
                <a:lnTo>
                  <a:pt x="10" y="56"/>
                </a:lnTo>
                <a:lnTo>
                  <a:pt x="10" y="52"/>
                </a:lnTo>
                <a:lnTo>
                  <a:pt x="10" y="52"/>
                </a:lnTo>
                <a:lnTo>
                  <a:pt x="10" y="52"/>
                </a:lnTo>
                <a:lnTo>
                  <a:pt x="10" y="52"/>
                </a:lnTo>
                <a:lnTo>
                  <a:pt x="10" y="52"/>
                </a:lnTo>
                <a:lnTo>
                  <a:pt x="14" y="52"/>
                </a:lnTo>
                <a:lnTo>
                  <a:pt x="14" y="52"/>
                </a:lnTo>
                <a:lnTo>
                  <a:pt x="14" y="52"/>
                </a:lnTo>
                <a:lnTo>
                  <a:pt x="14" y="52"/>
                </a:lnTo>
                <a:lnTo>
                  <a:pt x="14" y="52"/>
                </a:lnTo>
                <a:lnTo>
                  <a:pt x="14" y="52"/>
                </a:lnTo>
                <a:lnTo>
                  <a:pt x="18" y="48"/>
                </a:lnTo>
                <a:lnTo>
                  <a:pt x="14" y="48"/>
                </a:lnTo>
                <a:lnTo>
                  <a:pt x="14" y="48"/>
                </a:lnTo>
                <a:lnTo>
                  <a:pt x="14" y="48"/>
                </a:lnTo>
                <a:lnTo>
                  <a:pt x="10" y="44"/>
                </a:lnTo>
                <a:lnTo>
                  <a:pt x="10" y="44"/>
                </a:lnTo>
                <a:lnTo>
                  <a:pt x="10" y="44"/>
                </a:lnTo>
                <a:lnTo>
                  <a:pt x="6" y="40"/>
                </a:lnTo>
                <a:lnTo>
                  <a:pt x="6" y="40"/>
                </a:lnTo>
                <a:lnTo>
                  <a:pt x="6" y="40"/>
                </a:lnTo>
                <a:lnTo>
                  <a:pt x="6" y="40"/>
                </a:lnTo>
                <a:lnTo>
                  <a:pt x="10" y="40"/>
                </a:lnTo>
                <a:lnTo>
                  <a:pt x="10" y="36"/>
                </a:lnTo>
                <a:lnTo>
                  <a:pt x="10" y="36"/>
                </a:lnTo>
                <a:lnTo>
                  <a:pt x="10" y="36"/>
                </a:lnTo>
                <a:lnTo>
                  <a:pt x="10" y="36"/>
                </a:lnTo>
                <a:lnTo>
                  <a:pt x="10" y="36"/>
                </a:lnTo>
                <a:lnTo>
                  <a:pt x="6" y="32"/>
                </a:lnTo>
                <a:lnTo>
                  <a:pt x="4" y="32"/>
                </a:lnTo>
                <a:lnTo>
                  <a:pt x="4" y="32"/>
                </a:lnTo>
                <a:lnTo>
                  <a:pt x="4" y="32"/>
                </a:lnTo>
                <a:lnTo>
                  <a:pt x="4" y="32"/>
                </a:lnTo>
                <a:lnTo>
                  <a:pt x="4" y="32"/>
                </a:lnTo>
                <a:lnTo>
                  <a:pt x="6" y="32"/>
                </a:lnTo>
                <a:lnTo>
                  <a:pt x="6" y="32"/>
                </a:lnTo>
                <a:lnTo>
                  <a:pt x="6" y="30"/>
                </a:lnTo>
                <a:lnTo>
                  <a:pt x="6" y="30"/>
                </a:lnTo>
                <a:lnTo>
                  <a:pt x="4" y="30"/>
                </a:lnTo>
                <a:lnTo>
                  <a:pt x="4" y="30"/>
                </a:lnTo>
                <a:lnTo>
                  <a:pt x="4" y="30"/>
                </a:lnTo>
                <a:lnTo>
                  <a:pt x="4" y="30"/>
                </a:lnTo>
                <a:lnTo>
                  <a:pt x="4" y="26"/>
                </a:lnTo>
                <a:lnTo>
                  <a:pt x="4" y="26"/>
                </a:lnTo>
                <a:lnTo>
                  <a:pt x="6" y="26"/>
                </a:lnTo>
                <a:lnTo>
                  <a:pt x="6" y="26"/>
                </a:lnTo>
                <a:lnTo>
                  <a:pt x="6" y="26"/>
                </a:lnTo>
                <a:lnTo>
                  <a:pt x="6" y="26"/>
                </a:lnTo>
                <a:lnTo>
                  <a:pt x="10" y="26"/>
                </a:lnTo>
                <a:lnTo>
                  <a:pt x="10" y="26"/>
                </a:lnTo>
                <a:lnTo>
                  <a:pt x="10" y="30"/>
                </a:lnTo>
                <a:lnTo>
                  <a:pt x="10" y="30"/>
                </a:lnTo>
                <a:lnTo>
                  <a:pt x="14" y="30"/>
                </a:lnTo>
                <a:lnTo>
                  <a:pt x="14" y="30"/>
                </a:lnTo>
                <a:lnTo>
                  <a:pt x="14" y="30"/>
                </a:lnTo>
                <a:lnTo>
                  <a:pt x="14" y="30"/>
                </a:lnTo>
                <a:lnTo>
                  <a:pt x="14" y="30"/>
                </a:lnTo>
                <a:lnTo>
                  <a:pt x="14" y="30"/>
                </a:lnTo>
                <a:lnTo>
                  <a:pt x="14" y="30"/>
                </a:lnTo>
                <a:lnTo>
                  <a:pt x="18" y="30"/>
                </a:lnTo>
                <a:lnTo>
                  <a:pt x="18" y="30"/>
                </a:lnTo>
                <a:lnTo>
                  <a:pt x="18" y="30"/>
                </a:lnTo>
                <a:lnTo>
                  <a:pt x="18" y="30"/>
                </a:lnTo>
                <a:lnTo>
                  <a:pt x="18" y="30"/>
                </a:lnTo>
                <a:lnTo>
                  <a:pt x="18" y="30"/>
                </a:lnTo>
                <a:lnTo>
                  <a:pt x="22" y="30"/>
                </a:lnTo>
                <a:lnTo>
                  <a:pt x="22" y="30"/>
                </a:lnTo>
                <a:lnTo>
                  <a:pt x="22" y="32"/>
                </a:lnTo>
                <a:lnTo>
                  <a:pt x="22" y="32"/>
                </a:lnTo>
                <a:lnTo>
                  <a:pt x="22" y="32"/>
                </a:lnTo>
                <a:lnTo>
                  <a:pt x="22" y="32"/>
                </a:lnTo>
                <a:lnTo>
                  <a:pt x="26" y="32"/>
                </a:lnTo>
                <a:lnTo>
                  <a:pt x="26" y="32"/>
                </a:lnTo>
                <a:lnTo>
                  <a:pt x="26" y="30"/>
                </a:lnTo>
                <a:lnTo>
                  <a:pt x="26" y="30"/>
                </a:lnTo>
                <a:lnTo>
                  <a:pt x="26" y="30"/>
                </a:lnTo>
                <a:lnTo>
                  <a:pt x="26" y="30"/>
                </a:lnTo>
                <a:lnTo>
                  <a:pt x="26" y="26"/>
                </a:lnTo>
                <a:lnTo>
                  <a:pt x="26" y="26"/>
                </a:lnTo>
                <a:lnTo>
                  <a:pt x="26" y="26"/>
                </a:lnTo>
                <a:lnTo>
                  <a:pt x="22" y="26"/>
                </a:lnTo>
                <a:lnTo>
                  <a:pt x="22" y="26"/>
                </a:lnTo>
                <a:lnTo>
                  <a:pt x="18" y="22"/>
                </a:lnTo>
                <a:lnTo>
                  <a:pt x="18" y="22"/>
                </a:lnTo>
                <a:lnTo>
                  <a:pt x="18" y="22"/>
                </a:lnTo>
                <a:lnTo>
                  <a:pt x="18" y="22"/>
                </a:lnTo>
                <a:lnTo>
                  <a:pt x="18" y="18"/>
                </a:lnTo>
                <a:lnTo>
                  <a:pt x="18" y="18"/>
                </a:lnTo>
                <a:lnTo>
                  <a:pt x="18" y="18"/>
                </a:lnTo>
                <a:lnTo>
                  <a:pt x="22" y="18"/>
                </a:lnTo>
                <a:lnTo>
                  <a:pt x="22" y="18"/>
                </a:lnTo>
                <a:lnTo>
                  <a:pt x="22" y="18"/>
                </a:lnTo>
                <a:lnTo>
                  <a:pt x="22" y="18"/>
                </a:lnTo>
                <a:lnTo>
                  <a:pt x="22" y="18"/>
                </a:lnTo>
                <a:lnTo>
                  <a:pt x="22" y="18"/>
                </a:lnTo>
                <a:lnTo>
                  <a:pt x="22" y="18"/>
                </a:lnTo>
                <a:lnTo>
                  <a:pt x="22" y="18"/>
                </a:lnTo>
                <a:lnTo>
                  <a:pt x="26" y="18"/>
                </a:lnTo>
                <a:lnTo>
                  <a:pt x="26" y="18"/>
                </a:lnTo>
                <a:lnTo>
                  <a:pt x="26" y="18"/>
                </a:lnTo>
                <a:lnTo>
                  <a:pt x="26" y="18"/>
                </a:lnTo>
                <a:lnTo>
                  <a:pt x="30" y="18"/>
                </a:lnTo>
                <a:lnTo>
                  <a:pt x="30" y="18"/>
                </a:lnTo>
                <a:lnTo>
                  <a:pt x="30" y="18"/>
                </a:lnTo>
                <a:lnTo>
                  <a:pt x="30" y="22"/>
                </a:lnTo>
                <a:lnTo>
                  <a:pt x="30" y="22"/>
                </a:lnTo>
                <a:lnTo>
                  <a:pt x="32" y="22"/>
                </a:lnTo>
                <a:lnTo>
                  <a:pt x="32" y="22"/>
                </a:lnTo>
                <a:lnTo>
                  <a:pt x="32" y="22"/>
                </a:lnTo>
                <a:lnTo>
                  <a:pt x="32" y="26"/>
                </a:lnTo>
                <a:lnTo>
                  <a:pt x="32" y="26"/>
                </a:lnTo>
                <a:lnTo>
                  <a:pt x="32" y="30"/>
                </a:lnTo>
                <a:lnTo>
                  <a:pt x="36" y="30"/>
                </a:lnTo>
                <a:lnTo>
                  <a:pt x="40" y="30"/>
                </a:lnTo>
                <a:lnTo>
                  <a:pt x="40" y="30"/>
                </a:lnTo>
                <a:lnTo>
                  <a:pt x="40" y="30"/>
                </a:lnTo>
                <a:lnTo>
                  <a:pt x="40" y="30"/>
                </a:lnTo>
                <a:lnTo>
                  <a:pt x="40" y="30"/>
                </a:lnTo>
                <a:lnTo>
                  <a:pt x="40" y="30"/>
                </a:lnTo>
                <a:lnTo>
                  <a:pt x="40" y="30"/>
                </a:lnTo>
                <a:lnTo>
                  <a:pt x="44" y="30"/>
                </a:lnTo>
                <a:lnTo>
                  <a:pt x="44" y="30"/>
                </a:lnTo>
                <a:lnTo>
                  <a:pt x="44" y="30"/>
                </a:lnTo>
                <a:lnTo>
                  <a:pt x="44" y="30"/>
                </a:lnTo>
                <a:lnTo>
                  <a:pt x="44" y="26"/>
                </a:lnTo>
                <a:lnTo>
                  <a:pt x="44" y="26"/>
                </a:lnTo>
                <a:lnTo>
                  <a:pt x="48" y="26"/>
                </a:lnTo>
                <a:lnTo>
                  <a:pt x="48" y="26"/>
                </a:lnTo>
                <a:lnTo>
                  <a:pt x="48" y="26"/>
                </a:lnTo>
                <a:lnTo>
                  <a:pt x="48" y="26"/>
                </a:lnTo>
                <a:lnTo>
                  <a:pt x="48" y="26"/>
                </a:lnTo>
                <a:lnTo>
                  <a:pt x="52" y="22"/>
                </a:lnTo>
                <a:lnTo>
                  <a:pt x="52" y="22"/>
                </a:lnTo>
                <a:lnTo>
                  <a:pt x="52" y="22"/>
                </a:lnTo>
                <a:lnTo>
                  <a:pt x="52" y="22"/>
                </a:lnTo>
                <a:lnTo>
                  <a:pt x="52" y="18"/>
                </a:lnTo>
                <a:lnTo>
                  <a:pt x="52" y="18"/>
                </a:lnTo>
                <a:lnTo>
                  <a:pt x="56" y="14"/>
                </a:lnTo>
                <a:lnTo>
                  <a:pt x="58" y="10"/>
                </a:lnTo>
                <a:lnTo>
                  <a:pt x="62" y="6"/>
                </a:lnTo>
                <a:lnTo>
                  <a:pt x="70" y="0"/>
                </a:lnTo>
                <a:lnTo>
                  <a:pt x="74" y="6"/>
                </a:lnTo>
                <a:lnTo>
                  <a:pt x="78" y="10"/>
                </a:lnTo>
                <a:lnTo>
                  <a:pt x="82" y="14"/>
                </a:lnTo>
                <a:lnTo>
                  <a:pt x="82" y="18"/>
                </a:lnTo>
                <a:lnTo>
                  <a:pt x="86" y="22"/>
                </a:lnTo>
                <a:lnTo>
                  <a:pt x="88" y="26"/>
                </a:lnTo>
                <a:lnTo>
                  <a:pt x="88" y="30"/>
                </a:lnTo>
                <a:lnTo>
                  <a:pt x="92" y="32"/>
                </a:lnTo>
                <a:lnTo>
                  <a:pt x="96" y="36"/>
                </a:lnTo>
                <a:lnTo>
                  <a:pt x="96" y="36"/>
                </a:lnTo>
                <a:lnTo>
                  <a:pt x="96" y="40"/>
                </a:lnTo>
                <a:lnTo>
                  <a:pt x="96" y="44"/>
                </a:lnTo>
                <a:lnTo>
                  <a:pt x="96" y="48"/>
                </a:lnTo>
                <a:lnTo>
                  <a:pt x="96" y="56"/>
                </a:lnTo>
                <a:lnTo>
                  <a:pt x="96" y="60"/>
                </a:lnTo>
                <a:lnTo>
                  <a:pt x="96" y="62"/>
                </a:lnTo>
                <a:lnTo>
                  <a:pt x="96" y="62"/>
                </a:lnTo>
                <a:lnTo>
                  <a:pt x="96" y="62"/>
                </a:lnTo>
                <a:lnTo>
                  <a:pt x="96" y="66"/>
                </a:lnTo>
                <a:lnTo>
                  <a:pt x="92" y="70"/>
                </a:lnTo>
                <a:lnTo>
                  <a:pt x="92" y="74"/>
                </a:lnTo>
                <a:lnTo>
                  <a:pt x="92" y="78"/>
                </a:lnTo>
                <a:lnTo>
                  <a:pt x="92" y="78"/>
                </a:lnTo>
                <a:lnTo>
                  <a:pt x="92" y="78"/>
                </a:lnTo>
                <a:close/>
                <a:moveTo>
                  <a:pt x="10" y="40"/>
                </a:moveTo>
                <a:lnTo>
                  <a:pt x="10" y="40"/>
                </a:lnTo>
                <a:lnTo>
                  <a:pt x="10" y="40"/>
                </a:lnTo>
                <a:lnTo>
                  <a:pt x="10" y="40"/>
                </a:lnTo>
                <a:lnTo>
                  <a:pt x="10" y="40"/>
                </a:lnTo>
                <a:lnTo>
                  <a:pt x="10" y="40"/>
                </a:lnTo>
                <a:lnTo>
                  <a:pt x="10" y="40"/>
                </a:lnTo>
                <a:lnTo>
                  <a:pt x="10" y="40"/>
                </a:lnTo>
                <a:lnTo>
                  <a:pt x="10" y="40"/>
                </a:lnTo>
                <a:lnTo>
                  <a:pt x="10" y="40"/>
                </a:lnTo>
                <a:close/>
                <a:moveTo>
                  <a:pt x="4" y="32"/>
                </a:moveTo>
                <a:lnTo>
                  <a:pt x="4" y="32"/>
                </a:lnTo>
                <a:lnTo>
                  <a:pt x="4" y="32"/>
                </a:lnTo>
                <a:lnTo>
                  <a:pt x="4" y="32"/>
                </a:lnTo>
                <a:lnTo>
                  <a:pt x="4" y="32"/>
                </a:lnTo>
                <a:lnTo>
                  <a:pt x="4" y="32"/>
                </a:lnTo>
                <a:lnTo>
                  <a:pt x="4" y="32"/>
                </a:lnTo>
                <a:lnTo>
                  <a:pt x="4" y="32"/>
                </a:lnTo>
                <a:lnTo>
                  <a:pt x="4" y="32"/>
                </a:lnTo>
                <a:lnTo>
                  <a:pt x="4" y="32"/>
                </a:lnTo>
                <a:close/>
                <a:moveTo>
                  <a:pt x="6" y="32"/>
                </a:moveTo>
                <a:lnTo>
                  <a:pt x="6" y="32"/>
                </a:lnTo>
                <a:lnTo>
                  <a:pt x="6" y="32"/>
                </a:lnTo>
                <a:lnTo>
                  <a:pt x="6" y="32"/>
                </a:lnTo>
                <a:lnTo>
                  <a:pt x="6" y="32"/>
                </a:lnTo>
                <a:lnTo>
                  <a:pt x="6" y="32"/>
                </a:lnTo>
                <a:lnTo>
                  <a:pt x="6" y="32"/>
                </a:lnTo>
                <a:close/>
                <a:moveTo>
                  <a:pt x="0" y="60"/>
                </a:moveTo>
                <a:lnTo>
                  <a:pt x="0" y="60"/>
                </a:lnTo>
                <a:lnTo>
                  <a:pt x="0" y="60"/>
                </a:lnTo>
                <a:lnTo>
                  <a:pt x="0" y="60"/>
                </a:lnTo>
                <a:lnTo>
                  <a:pt x="0" y="60"/>
                </a:lnTo>
                <a:lnTo>
                  <a:pt x="0" y="60"/>
                </a:lnTo>
                <a:lnTo>
                  <a:pt x="0" y="60"/>
                </a:lnTo>
                <a:lnTo>
                  <a:pt x="0" y="60"/>
                </a:lnTo>
                <a:lnTo>
                  <a:pt x="4" y="60"/>
                </a:lnTo>
                <a:lnTo>
                  <a:pt x="4" y="60"/>
                </a:lnTo>
                <a:lnTo>
                  <a:pt x="4" y="60"/>
                </a:lnTo>
                <a:lnTo>
                  <a:pt x="4" y="60"/>
                </a:lnTo>
                <a:lnTo>
                  <a:pt x="4" y="60"/>
                </a:lnTo>
                <a:lnTo>
                  <a:pt x="6" y="60"/>
                </a:lnTo>
                <a:lnTo>
                  <a:pt x="6" y="62"/>
                </a:lnTo>
                <a:lnTo>
                  <a:pt x="10" y="62"/>
                </a:lnTo>
                <a:lnTo>
                  <a:pt x="10" y="62"/>
                </a:lnTo>
                <a:lnTo>
                  <a:pt x="10" y="62"/>
                </a:lnTo>
                <a:lnTo>
                  <a:pt x="10" y="62"/>
                </a:lnTo>
                <a:lnTo>
                  <a:pt x="10" y="62"/>
                </a:lnTo>
                <a:lnTo>
                  <a:pt x="10" y="62"/>
                </a:lnTo>
                <a:lnTo>
                  <a:pt x="14" y="62"/>
                </a:lnTo>
                <a:lnTo>
                  <a:pt x="14" y="62"/>
                </a:lnTo>
                <a:lnTo>
                  <a:pt x="14" y="62"/>
                </a:lnTo>
                <a:lnTo>
                  <a:pt x="14" y="62"/>
                </a:lnTo>
                <a:lnTo>
                  <a:pt x="14" y="66"/>
                </a:lnTo>
                <a:lnTo>
                  <a:pt x="18" y="66"/>
                </a:lnTo>
                <a:lnTo>
                  <a:pt x="18" y="66"/>
                </a:lnTo>
                <a:lnTo>
                  <a:pt x="18" y="66"/>
                </a:lnTo>
                <a:lnTo>
                  <a:pt x="14" y="70"/>
                </a:lnTo>
                <a:lnTo>
                  <a:pt x="14" y="70"/>
                </a:lnTo>
                <a:lnTo>
                  <a:pt x="18" y="74"/>
                </a:lnTo>
                <a:lnTo>
                  <a:pt x="18" y="74"/>
                </a:lnTo>
                <a:lnTo>
                  <a:pt x="18" y="74"/>
                </a:lnTo>
                <a:lnTo>
                  <a:pt x="18" y="74"/>
                </a:lnTo>
                <a:lnTo>
                  <a:pt x="14" y="74"/>
                </a:lnTo>
                <a:lnTo>
                  <a:pt x="14" y="74"/>
                </a:lnTo>
                <a:lnTo>
                  <a:pt x="10" y="74"/>
                </a:lnTo>
                <a:lnTo>
                  <a:pt x="10" y="74"/>
                </a:lnTo>
                <a:lnTo>
                  <a:pt x="10" y="74"/>
                </a:lnTo>
                <a:lnTo>
                  <a:pt x="10" y="74"/>
                </a:lnTo>
                <a:lnTo>
                  <a:pt x="6" y="74"/>
                </a:lnTo>
                <a:lnTo>
                  <a:pt x="6" y="70"/>
                </a:lnTo>
                <a:lnTo>
                  <a:pt x="6" y="70"/>
                </a:lnTo>
                <a:lnTo>
                  <a:pt x="6" y="70"/>
                </a:lnTo>
                <a:lnTo>
                  <a:pt x="6" y="70"/>
                </a:lnTo>
                <a:lnTo>
                  <a:pt x="6" y="70"/>
                </a:lnTo>
                <a:lnTo>
                  <a:pt x="6" y="70"/>
                </a:lnTo>
                <a:lnTo>
                  <a:pt x="4" y="66"/>
                </a:lnTo>
                <a:lnTo>
                  <a:pt x="4" y="66"/>
                </a:lnTo>
                <a:lnTo>
                  <a:pt x="4" y="66"/>
                </a:lnTo>
                <a:lnTo>
                  <a:pt x="4" y="66"/>
                </a:lnTo>
                <a:lnTo>
                  <a:pt x="4" y="66"/>
                </a:lnTo>
                <a:lnTo>
                  <a:pt x="4" y="62"/>
                </a:lnTo>
                <a:lnTo>
                  <a:pt x="4" y="62"/>
                </a:lnTo>
                <a:lnTo>
                  <a:pt x="4" y="62"/>
                </a:lnTo>
                <a:lnTo>
                  <a:pt x="0" y="62"/>
                </a:lnTo>
                <a:lnTo>
                  <a:pt x="0" y="62"/>
                </a:lnTo>
                <a:lnTo>
                  <a:pt x="0" y="62"/>
                </a:lnTo>
                <a:lnTo>
                  <a:pt x="0" y="60"/>
                </a:lnTo>
                <a:lnTo>
                  <a:pt x="0" y="60"/>
                </a:lnTo>
                <a:lnTo>
                  <a:pt x="0" y="60"/>
                </a:lnTo>
                <a:lnTo>
                  <a:pt x="0" y="60"/>
                </a:lnTo>
                <a:lnTo>
                  <a:pt x="0" y="60"/>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2" name="Freeform 19"/>
          <p:cNvSpPr>
            <a:spLocks noEditPoints="1"/>
          </p:cNvSpPr>
          <p:nvPr/>
        </p:nvSpPr>
        <p:spPr bwMode="auto">
          <a:xfrm>
            <a:off x="5105400" y="3155156"/>
            <a:ext cx="9525" cy="11906"/>
          </a:xfrm>
          <a:custGeom>
            <a:avLst/>
            <a:gdLst>
              <a:gd name="T0" fmla="*/ 4 w 8"/>
              <a:gd name="T1" fmla="*/ 0 h 10"/>
              <a:gd name="T2" fmla="*/ 4 w 8"/>
              <a:gd name="T3" fmla="*/ 0 h 10"/>
              <a:gd name="T4" fmla="*/ 4 w 8"/>
              <a:gd name="T5" fmla="*/ 0 h 10"/>
              <a:gd name="T6" fmla="*/ 4 w 8"/>
              <a:gd name="T7" fmla="*/ 0 h 10"/>
              <a:gd name="T8" fmla="*/ 4 w 8"/>
              <a:gd name="T9" fmla="*/ 0 h 10"/>
              <a:gd name="T10" fmla="*/ 4 w 8"/>
              <a:gd name="T11" fmla="*/ 4 h 10"/>
              <a:gd name="T12" fmla="*/ 4 w 8"/>
              <a:gd name="T13" fmla="*/ 4 h 10"/>
              <a:gd name="T14" fmla="*/ 4 w 8"/>
              <a:gd name="T15" fmla="*/ 4 h 10"/>
              <a:gd name="T16" fmla="*/ 4 w 8"/>
              <a:gd name="T17" fmla="*/ 4 h 10"/>
              <a:gd name="T18" fmla="*/ 4 w 8"/>
              <a:gd name="T19" fmla="*/ 4 h 10"/>
              <a:gd name="T20" fmla="*/ 4 w 8"/>
              <a:gd name="T21" fmla="*/ 8 h 10"/>
              <a:gd name="T22" fmla="*/ 4 w 8"/>
              <a:gd name="T23" fmla="*/ 8 h 10"/>
              <a:gd name="T24" fmla="*/ 4 w 8"/>
              <a:gd name="T25" fmla="*/ 8 h 10"/>
              <a:gd name="T26" fmla="*/ 4 w 8"/>
              <a:gd name="T27" fmla="*/ 8 h 10"/>
              <a:gd name="T28" fmla="*/ 4 w 8"/>
              <a:gd name="T29" fmla="*/ 4 h 10"/>
              <a:gd name="T30" fmla="*/ 4 w 8"/>
              <a:gd name="T31" fmla="*/ 4 h 10"/>
              <a:gd name="T32" fmla="*/ 4 w 8"/>
              <a:gd name="T33" fmla="*/ 4 h 10"/>
              <a:gd name="T34" fmla="*/ 4 w 8"/>
              <a:gd name="T35" fmla="*/ 4 h 10"/>
              <a:gd name="T36" fmla="*/ 4 w 8"/>
              <a:gd name="T37" fmla="*/ 4 h 10"/>
              <a:gd name="T38" fmla="*/ 0 w 8"/>
              <a:gd name="T39" fmla="*/ 0 h 10"/>
              <a:gd name="T40" fmla="*/ 4 w 8"/>
              <a:gd name="T41" fmla="*/ 0 h 10"/>
              <a:gd name="T42" fmla="*/ 4 w 8"/>
              <a:gd name="T43" fmla="*/ 0 h 10"/>
              <a:gd name="T44" fmla="*/ 4 w 8"/>
              <a:gd name="T45" fmla="*/ 0 h 10"/>
              <a:gd name="T46" fmla="*/ 4 w 8"/>
              <a:gd name="T47" fmla="*/ 0 h 10"/>
              <a:gd name="T48" fmla="*/ 4 w 8"/>
              <a:gd name="T49" fmla="*/ 0 h 10"/>
              <a:gd name="T50" fmla="*/ 4 w 8"/>
              <a:gd name="T51" fmla="*/ 0 h 10"/>
              <a:gd name="T52" fmla="*/ 4 w 8"/>
              <a:gd name="T53" fmla="*/ 4 h 10"/>
              <a:gd name="T54" fmla="*/ 4 w 8"/>
              <a:gd name="T55" fmla="*/ 4 h 10"/>
              <a:gd name="T56" fmla="*/ 8 w 8"/>
              <a:gd name="T57" fmla="*/ 10 h 10"/>
              <a:gd name="T58" fmla="*/ 8 w 8"/>
              <a:gd name="T59" fmla="*/ 10 h 10"/>
              <a:gd name="T60" fmla="*/ 8 w 8"/>
              <a:gd name="T61" fmla="*/ 10 h 10"/>
              <a:gd name="T62" fmla="*/ 8 w 8"/>
              <a:gd name="T63" fmla="*/ 10 h 10"/>
              <a:gd name="T64" fmla="*/ 8 w 8"/>
              <a:gd name="T65" fmla="*/ 10 h 10"/>
              <a:gd name="T66" fmla="*/ 8 w 8"/>
              <a:gd name="T67" fmla="*/ 10 h 10"/>
              <a:gd name="T68" fmla="*/ 8 w 8"/>
              <a:gd name="T69" fmla="*/ 10 h 10"/>
              <a:gd name="T70" fmla="*/ 8 w 8"/>
              <a:gd name="T71" fmla="*/ 10 h 10"/>
              <a:gd name="T72" fmla="*/ 8 w 8"/>
              <a:gd name="T73"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 h="10">
                <a:moveTo>
                  <a:pt x="4" y="0"/>
                </a:moveTo>
                <a:lnTo>
                  <a:pt x="4" y="0"/>
                </a:lnTo>
                <a:lnTo>
                  <a:pt x="4" y="0"/>
                </a:lnTo>
                <a:lnTo>
                  <a:pt x="4" y="0"/>
                </a:lnTo>
                <a:lnTo>
                  <a:pt x="4" y="0"/>
                </a:lnTo>
                <a:lnTo>
                  <a:pt x="4" y="0"/>
                </a:lnTo>
                <a:lnTo>
                  <a:pt x="4" y="0"/>
                </a:lnTo>
                <a:lnTo>
                  <a:pt x="4" y="0"/>
                </a:lnTo>
                <a:lnTo>
                  <a:pt x="4" y="0"/>
                </a:lnTo>
                <a:lnTo>
                  <a:pt x="4" y="0"/>
                </a:lnTo>
                <a:lnTo>
                  <a:pt x="4" y="0"/>
                </a:lnTo>
                <a:close/>
                <a:moveTo>
                  <a:pt x="4" y="4"/>
                </a:moveTo>
                <a:lnTo>
                  <a:pt x="4" y="4"/>
                </a:lnTo>
                <a:lnTo>
                  <a:pt x="4" y="4"/>
                </a:lnTo>
                <a:lnTo>
                  <a:pt x="4" y="4"/>
                </a:lnTo>
                <a:lnTo>
                  <a:pt x="4" y="4"/>
                </a:lnTo>
                <a:lnTo>
                  <a:pt x="4" y="4"/>
                </a:lnTo>
                <a:lnTo>
                  <a:pt x="4" y="4"/>
                </a:lnTo>
                <a:lnTo>
                  <a:pt x="4" y="4"/>
                </a:lnTo>
                <a:lnTo>
                  <a:pt x="4" y="4"/>
                </a:lnTo>
                <a:lnTo>
                  <a:pt x="4" y="8"/>
                </a:lnTo>
                <a:lnTo>
                  <a:pt x="4" y="8"/>
                </a:lnTo>
                <a:lnTo>
                  <a:pt x="4" y="8"/>
                </a:lnTo>
                <a:lnTo>
                  <a:pt x="4" y="8"/>
                </a:lnTo>
                <a:lnTo>
                  <a:pt x="4" y="8"/>
                </a:lnTo>
                <a:lnTo>
                  <a:pt x="4" y="8"/>
                </a:lnTo>
                <a:lnTo>
                  <a:pt x="4" y="8"/>
                </a:lnTo>
                <a:lnTo>
                  <a:pt x="4" y="8"/>
                </a:lnTo>
                <a:lnTo>
                  <a:pt x="0" y="4"/>
                </a:lnTo>
                <a:lnTo>
                  <a:pt x="4" y="4"/>
                </a:lnTo>
                <a:lnTo>
                  <a:pt x="4" y="4"/>
                </a:lnTo>
                <a:lnTo>
                  <a:pt x="4" y="4"/>
                </a:lnTo>
                <a:lnTo>
                  <a:pt x="4" y="4"/>
                </a:lnTo>
                <a:lnTo>
                  <a:pt x="4" y="4"/>
                </a:lnTo>
                <a:lnTo>
                  <a:pt x="4" y="4"/>
                </a:lnTo>
                <a:lnTo>
                  <a:pt x="4" y="4"/>
                </a:lnTo>
                <a:lnTo>
                  <a:pt x="4" y="4"/>
                </a:lnTo>
                <a:lnTo>
                  <a:pt x="4" y="4"/>
                </a:lnTo>
                <a:lnTo>
                  <a:pt x="0" y="0"/>
                </a:lnTo>
                <a:lnTo>
                  <a:pt x="0" y="0"/>
                </a:lnTo>
                <a:lnTo>
                  <a:pt x="0"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4"/>
                </a:lnTo>
                <a:lnTo>
                  <a:pt x="4" y="4"/>
                </a:lnTo>
                <a:lnTo>
                  <a:pt x="4" y="4"/>
                </a:lnTo>
                <a:close/>
                <a:moveTo>
                  <a:pt x="8" y="10"/>
                </a:moveTo>
                <a:lnTo>
                  <a:pt x="8" y="10"/>
                </a:lnTo>
                <a:lnTo>
                  <a:pt x="8" y="10"/>
                </a:lnTo>
                <a:lnTo>
                  <a:pt x="8" y="10"/>
                </a:lnTo>
                <a:lnTo>
                  <a:pt x="8" y="10"/>
                </a:lnTo>
                <a:lnTo>
                  <a:pt x="8" y="10"/>
                </a:lnTo>
                <a:lnTo>
                  <a:pt x="8" y="10"/>
                </a:lnTo>
                <a:lnTo>
                  <a:pt x="8" y="10"/>
                </a:lnTo>
                <a:lnTo>
                  <a:pt x="8" y="10"/>
                </a:lnTo>
                <a:lnTo>
                  <a:pt x="8" y="10"/>
                </a:lnTo>
                <a:lnTo>
                  <a:pt x="8" y="10"/>
                </a:lnTo>
                <a:lnTo>
                  <a:pt x="8" y="10"/>
                </a:lnTo>
                <a:lnTo>
                  <a:pt x="8" y="10"/>
                </a:lnTo>
                <a:lnTo>
                  <a:pt x="8" y="10"/>
                </a:lnTo>
                <a:lnTo>
                  <a:pt x="8" y="10"/>
                </a:lnTo>
                <a:lnTo>
                  <a:pt x="8" y="10"/>
                </a:lnTo>
                <a:lnTo>
                  <a:pt x="8" y="10"/>
                </a:lnTo>
                <a:lnTo>
                  <a:pt x="8" y="10"/>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3" name="Freeform 20"/>
          <p:cNvSpPr>
            <a:spLocks noEditPoints="1"/>
          </p:cNvSpPr>
          <p:nvPr/>
        </p:nvSpPr>
        <p:spPr bwMode="auto">
          <a:xfrm>
            <a:off x="5738812" y="3145631"/>
            <a:ext cx="80963" cy="126206"/>
          </a:xfrm>
          <a:custGeom>
            <a:avLst/>
            <a:gdLst>
              <a:gd name="T0" fmla="*/ 38 w 68"/>
              <a:gd name="T1" fmla="*/ 76 h 106"/>
              <a:gd name="T2" fmla="*/ 34 w 68"/>
              <a:gd name="T3" fmla="*/ 78 h 106"/>
              <a:gd name="T4" fmla="*/ 30 w 68"/>
              <a:gd name="T5" fmla="*/ 82 h 106"/>
              <a:gd name="T6" fmla="*/ 26 w 68"/>
              <a:gd name="T7" fmla="*/ 86 h 106"/>
              <a:gd name="T8" fmla="*/ 30 w 68"/>
              <a:gd name="T9" fmla="*/ 76 h 106"/>
              <a:gd name="T10" fmla="*/ 26 w 68"/>
              <a:gd name="T11" fmla="*/ 86 h 106"/>
              <a:gd name="T12" fmla="*/ 22 w 68"/>
              <a:gd name="T13" fmla="*/ 82 h 106"/>
              <a:gd name="T14" fmla="*/ 22 w 68"/>
              <a:gd name="T15" fmla="*/ 82 h 106"/>
              <a:gd name="T16" fmla="*/ 22 w 68"/>
              <a:gd name="T17" fmla="*/ 86 h 106"/>
              <a:gd name="T18" fmla="*/ 18 w 68"/>
              <a:gd name="T19" fmla="*/ 90 h 106"/>
              <a:gd name="T20" fmla="*/ 12 w 68"/>
              <a:gd name="T21" fmla="*/ 68 h 106"/>
              <a:gd name="T22" fmla="*/ 12 w 68"/>
              <a:gd name="T23" fmla="*/ 60 h 106"/>
              <a:gd name="T24" fmla="*/ 12 w 68"/>
              <a:gd name="T25" fmla="*/ 50 h 106"/>
              <a:gd name="T26" fmla="*/ 8 w 68"/>
              <a:gd name="T27" fmla="*/ 46 h 106"/>
              <a:gd name="T28" fmla="*/ 0 w 68"/>
              <a:gd name="T29" fmla="*/ 34 h 106"/>
              <a:gd name="T30" fmla="*/ 4 w 68"/>
              <a:gd name="T31" fmla="*/ 34 h 106"/>
              <a:gd name="T32" fmla="*/ 12 w 68"/>
              <a:gd name="T33" fmla="*/ 26 h 106"/>
              <a:gd name="T34" fmla="*/ 8 w 68"/>
              <a:gd name="T35" fmla="*/ 22 h 106"/>
              <a:gd name="T36" fmla="*/ 4 w 68"/>
              <a:gd name="T37" fmla="*/ 12 h 106"/>
              <a:gd name="T38" fmla="*/ 4 w 68"/>
              <a:gd name="T39" fmla="*/ 4 h 106"/>
              <a:gd name="T40" fmla="*/ 12 w 68"/>
              <a:gd name="T41" fmla="*/ 8 h 106"/>
              <a:gd name="T42" fmla="*/ 14 w 68"/>
              <a:gd name="T43" fmla="*/ 4 h 106"/>
              <a:gd name="T44" fmla="*/ 22 w 68"/>
              <a:gd name="T45" fmla="*/ 12 h 106"/>
              <a:gd name="T46" fmla="*/ 26 w 68"/>
              <a:gd name="T47" fmla="*/ 16 h 106"/>
              <a:gd name="T48" fmla="*/ 30 w 68"/>
              <a:gd name="T49" fmla="*/ 26 h 106"/>
              <a:gd name="T50" fmla="*/ 44 w 68"/>
              <a:gd name="T51" fmla="*/ 26 h 106"/>
              <a:gd name="T52" fmla="*/ 60 w 68"/>
              <a:gd name="T53" fmla="*/ 26 h 106"/>
              <a:gd name="T54" fmla="*/ 60 w 68"/>
              <a:gd name="T55" fmla="*/ 34 h 106"/>
              <a:gd name="T56" fmla="*/ 56 w 68"/>
              <a:gd name="T57" fmla="*/ 46 h 106"/>
              <a:gd name="T58" fmla="*/ 48 w 68"/>
              <a:gd name="T59" fmla="*/ 46 h 106"/>
              <a:gd name="T60" fmla="*/ 44 w 68"/>
              <a:gd name="T61" fmla="*/ 60 h 106"/>
              <a:gd name="T62" fmla="*/ 48 w 68"/>
              <a:gd name="T63" fmla="*/ 68 h 106"/>
              <a:gd name="T64" fmla="*/ 56 w 68"/>
              <a:gd name="T65" fmla="*/ 60 h 106"/>
              <a:gd name="T66" fmla="*/ 60 w 68"/>
              <a:gd name="T67" fmla="*/ 52 h 106"/>
              <a:gd name="T68" fmla="*/ 64 w 68"/>
              <a:gd name="T69" fmla="*/ 64 h 106"/>
              <a:gd name="T70" fmla="*/ 64 w 68"/>
              <a:gd name="T71" fmla="*/ 76 h 106"/>
              <a:gd name="T72" fmla="*/ 64 w 68"/>
              <a:gd name="T73" fmla="*/ 90 h 106"/>
              <a:gd name="T74" fmla="*/ 64 w 68"/>
              <a:gd name="T75" fmla="*/ 98 h 106"/>
              <a:gd name="T76" fmla="*/ 60 w 68"/>
              <a:gd name="T77" fmla="*/ 102 h 106"/>
              <a:gd name="T78" fmla="*/ 56 w 68"/>
              <a:gd name="T79" fmla="*/ 98 h 106"/>
              <a:gd name="T80" fmla="*/ 56 w 68"/>
              <a:gd name="T81" fmla="*/ 90 h 106"/>
              <a:gd name="T82" fmla="*/ 52 w 68"/>
              <a:gd name="T83" fmla="*/ 78 h 106"/>
              <a:gd name="T84" fmla="*/ 44 w 68"/>
              <a:gd name="T85" fmla="*/ 76 h 106"/>
              <a:gd name="T86" fmla="*/ 38 w 68"/>
              <a:gd name="T87" fmla="*/ 68 h 106"/>
              <a:gd name="T88" fmla="*/ 34 w 68"/>
              <a:gd name="T89" fmla="*/ 56 h 106"/>
              <a:gd name="T90" fmla="*/ 38 w 68"/>
              <a:gd name="T91" fmla="*/ 60 h 106"/>
              <a:gd name="T92" fmla="*/ 34 w 68"/>
              <a:gd name="T93" fmla="*/ 64 h 106"/>
              <a:gd name="T94" fmla="*/ 38 w 68"/>
              <a:gd name="T95" fmla="*/ 68 h 106"/>
              <a:gd name="T96" fmla="*/ 38 w 68"/>
              <a:gd name="T97" fmla="*/ 86 h 106"/>
              <a:gd name="T98" fmla="*/ 38 w 68"/>
              <a:gd name="T99" fmla="*/ 86 h 106"/>
              <a:gd name="T100" fmla="*/ 38 w 68"/>
              <a:gd name="T101" fmla="*/ 82 h 106"/>
              <a:gd name="T102" fmla="*/ 40 w 68"/>
              <a:gd name="T103" fmla="*/ 76 h 106"/>
              <a:gd name="T104" fmla="*/ 38 w 68"/>
              <a:gd name="T105" fmla="*/ 86 h 106"/>
              <a:gd name="T106" fmla="*/ 48 w 68"/>
              <a:gd name="T107" fmla="*/ 76 h 106"/>
              <a:gd name="T108" fmla="*/ 40 w 68"/>
              <a:gd name="T109" fmla="*/ 82 h 106"/>
              <a:gd name="T110" fmla="*/ 44 w 68"/>
              <a:gd name="T111" fmla="*/ 78 h 106"/>
              <a:gd name="T112" fmla="*/ 40 w 68"/>
              <a:gd name="T113" fmla="*/ 82 h 106"/>
              <a:gd name="T114" fmla="*/ 56 w 68"/>
              <a:gd name="T115" fmla="*/ 94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8" h="106">
                <a:moveTo>
                  <a:pt x="34" y="64"/>
                </a:moveTo>
                <a:lnTo>
                  <a:pt x="34" y="68"/>
                </a:lnTo>
                <a:lnTo>
                  <a:pt x="34" y="72"/>
                </a:lnTo>
                <a:lnTo>
                  <a:pt x="38" y="76"/>
                </a:lnTo>
                <a:lnTo>
                  <a:pt x="38" y="78"/>
                </a:lnTo>
                <a:lnTo>
                  <a:pt x="38" y="82"/>
                </a:lnTo>
                <a:lnTo>
                  <a:pt x="34" y="82"/>
                </a:lnTo>
                <a:lnTo>
                  <a:pt x="34" y="78"/>
                </a:lnTo>
                <a:lnTo>
                  <a:pt x="34" y="82"/>
                </a:lnTo>
                <a:lnTo>
                  <a:pt x="34" y="86"/>
                </a:lnTo>
                <a:lnTo>
                  <a:pt x="30" y="86"/>
                </a:lnTo>
                <a:lnTo>
                  <a:pt x="30" y="82"/>
                </a:lnTo>
                <a:lnTo>
                  <a:pt x="30" y="86"/>
                </a:lnTo>
                <a:lnTo>
                  <a:pt x="30" y="82"/>
                </a:lnTo>
                <a:lnTo>
                  <a:pt x="26" y="82"/>
                </a:lnTo>
                <a:lnTo>
                  <a:pt x="26" y="86"/>
                </a:lnTo>
                <a:lnTo>
                  <a:pt x="26" y="82"/>
                </a:lnTo>
                <a:lnTo>
                  <a:pt x="26" y="78"/>
                </a:lnTo>
                <a:lnTo>
                  <a:pt x="26" y="76"/>
                </a:lnTo>
                <a:lnTo>
                  <a:pt x="30" y="76"/>
                </a:lnTo>
                <a:lnTo>
                  <a:pt x="26" y="76"/>
                </a:lnTo>
                <a:lnTo>
                  <a:pt x="26" y="78"/>
                </a:lnTo>
                <a:lnTo>
                  <a:pt x="26" y="82"/>
                </a:lnTo>
                <a:lnTo>
                  <a:pt x="26" y="86"/>
                </a:lnTo>
                <a:lnTo>
                  <a:pt x="22" y="86"/>
                </a:lnTo>
                <a:lnTo>
                  <a:pt x="22" y="90"/>
                </a:lnTo>
                <a:lnTo>
                  <a:pt x="22" y="86"/>
                </a:lnTo>
                <a:lnTo>
                  <a:pt x="22" y="82"/>
                </a:lnTo>
                <a:lnTo>
                  <a:pt x="22" y="78"/>
                </a:lnTo>
                <a:lnTo>
                  <a:pt x="22" y="82"/>
                </a:lnTo>
                <a:lnTo>
                  <a:pt x="22" y="86"/>
                </a:lnTo>
                <a:lnTo>
                  <a:pt x="22" y="82"/>
                </a:lnTo>
                <a:lnTo>
                  <a:pt x="22" y="78"/>
                </a:lnTo>
                <a:lnTo>
                  <a:pt x="18" y="78"/>
                </a:lnTo>
                <a:lnTo>
                  <a:pt x="22" y="82"/>
                </a:lnTo>
                <a:lnTo>
                  <a:pt x="22" y="86"/>
                </a:lnTo>
                <a:lnTo>
                  <a:pt x="22" y="90"/>
                </a:lnTo>
                <a:lnTo>
                  <a:pt x="18" y="90"/>
                </a:lnTo>
                <a:lnTo>
                  <a:pt x="18" y="86"/>
                </a:lnTo>
                <a:lnTo>
                  <a:pt x="18" y="90"/>
                </a:lnTo>
                <a:lnTo>
                  <a:pt x="14" y="86"/>
                </a:lnTo>
                <a:lnTo>
                  <a:pt x="14" y="82"/>
                </a:lnTo>
                <a:lnTo>
                  <a:pt x="14" y="78"/>
                </a:lnTo>
                <a:lnTo>
                  <a:pt x="12" y="68"/>
                </a:lnTo>
                <a:lnTo>
                  <a:pt x="12" y="64"/>
                </a:lnTo>
                <a:lnTo>
                  <a:pt x="14" y="64"/>
                </a:lnTo>
                <a:lnTo>
                  <a:pt x="12" y="64"/>
                </a:lnTo>
                <a:lnTo>
                  <a:pt x="12" y="60"/>
                </a:lnTo>
                <a:lnTo>
                  <a:pt x="12" y="56"/>
                </a:lnTo>
                <a:lnTo>
                  <a:pt x="8" y="56"/>
                </a:lnTo>
                <a:lnTo>
                  <a:pt x="8" y="52"/>
                </a:lnTo>
                <a:lnTo>
                  <a:pt x="12" y="50"/>
                </a:lnTo>
                <a:lnTo>
                  <a:pt x="12" y="46"/>
                </a:lnTo>
                <a:lnTo>
                  <a:pt x="12" y="42"/>
                </a:lnTo>
                <a:lnTo>
                  <a:pt x="8" y="42"/>
                </a:lnTo>
                <a:lnTo>
                  <a:pt x="8" y="46"/>
                </a:lnTo>
                <a:lnTo>
                  <a:pt x="8" y="42"/>
                </a:lnTo>
                <a:lnTo>
                  <a:pt x="4" y="42"/>
                </a:lnTo>
                <a:lnTo>
                  <a:pt x="0" y="38"/>
                </a:lnTo>
                <a:lnTo>
                  <a:pt x="0" y="34"/>
                </a:lnTo>
                <a:lnTo>
                  <a:pt x="4" y="34"/>
                </a:lnTo>
                <a:lnTo>
                  <a:pt x="0" y="34"/>
                </a:lnTo>
                <a:lnTo>
                  <a:pt x="4" y="30"/>
                </a:lnTo>
                <a:lnTo>
                  <a:pt x="4" y="34"/>
                </a:lnTo>
                <a:lnTo>
                  <a:pt x="4" y="30"/>
                </a:lnTo>
                <a:lnTo>
                  <a:pt x="8" y="30"/>
                </a:lnTo>
                <a:lnTo>
                  <a:pt x="8" y="26"/>
                </a:lnTo>
                <a:lnTo>
                  <a:pt x="12" y="26"/>
                </a:lnTo>
                <a:lnTo>
                  <a:pt x="14" y="26"/>
                </a:lnTo>
                <a:lnTo>
                  <a:pt x="12" y="26"/>
                </a:lnTo>
                <a:lnTo>
                  <a:pt x="12" y="22"/>
                </a:lnTo>
                <a:lnTo>
                  <a:pt x="8" y="22"/>
                </a:lnTo>
                <a:lnTo>
                  <a:pt x="8" y="20"/>
                </a:lnTo>
                <a:lnTo>
                  <a:pt x="4" y="16"/>
                </a:lnTo>
                <a:lnTo>
                  <a:pt x="0" y="16"/>
                </a:lnTo>
                <a:lnTo>
                  <a:pt x="4" y="12"/>
                </a:lnTo>
                <a:lnTo>
                  <a:pt x="4" y="8"/>
                </a:lnTo>
                <a:lnTo>
                  <a:pt x="8" y="8"/>
                </a:lnTo>
                <a:lnTo>
                  <a:pt x="8" y="4"/>
                </a:lnTo>
                <a:lnTo>
                  <a:pt x="4" y="4"/>
                </a:lnTo>
                <a:lnTo>
                  <a:pt x="8" y="0"/>
                </a:lnTo>
                <a:lnTo>
                  <a:pt x="8" y="4"/>
                </a:lnTo>
                <a:lnTo>
                  <a:pt x="12" y="4"/>
                </a:lnTo>
                <a:lnTo>
                  <a:pt x="12" y="8"/>
                </a:lnTo>
                <a:lnTo>
                  <a:pt x="14" y="8"/>
                </a:lnTo>
                <a:lnTo>
                  <a:pt x="12" y="8"/>
                </a:lnTo>
                <a:lnTo>
                  <a:pt x="12" y="4"/>
                </a:lnTo>
                <a:lnTo>
                  <a:pt x="14" y="4"/>
                </a:lnTo>
                <a:lnTo>
                  <a:pt x="14" y="8"/>
                </a:lnTo>
                <a:lnTo>
                  <a:pt x="14" y="12"/>
                </a:lnTo>
                <a:lnTo>
                  <a:pt x="18" y="12"/>
                </a:lnTo>
                <a:lnTo>
                  <a:pt x="22" y="12"/>
                </a:lnTo>
                <a:lnTo>
                  <a:pt x="22" y="8"/>
                </a:lnTo>
                <a:lnTo>
                  <a:pt x="22" y="12"/>
                </a:lnTo>
                <a:lnTo>
                  <a:pt x="26" y="12"/>
                </a:lnTo>
                <a:lnTo>
                  <a:pt x="26" y="16"/>
                </a:lnTo>
                <a:lnTo>
                  <a:pt x="26" y="20"/>
                </a:lnTo>
                <a:lnTo>
                  <a:pt x="26" y="22"/>
                </a:lnTo>
                <a:lnTo>
                  <a:pt x="26" y="26"/>
                </a:lnTo>
                <a:lnTo>
                  <a:pt x="30" y="26"/>
                </a:lnTo>
                <a:lnTo>
                  <a:pt x="34" y="26"/>
                </a:lnTo>
                <a:lnTo>
                  <a:pt x="38" y="26"/>
                </a:lnTo>
                <a:lnTo>
                  <a:pt x="40" y="26"/>
                </a:lnTo>
                <a:lnTo>
                  <a:pt x="44" y="26"/>
                </a:lnTo>
                <a:lnTo>
                  <a:pt x="48" y="26"/>
                </a:lnTo>
                <a:lnTo>
                  <a:pt x="52" y="26"/>
                </a:lnTo>
                <a:lnTo>
                  <a:pt x="56" y="26"/>
                </a:lnTo>
                <a:lnTo>
                  <a:pt x="60" y="26"/>
                </a:lnTo>
                <a:lnTo>
                  <a:pt x="60" y="30"/>
                </a:lnTo>
                <a:lnTo>
                  <a:pt x="64" y="30"/>
                </a:lnTo>
                <a:lnTo>
                  <a:pt x="64" y="34"/>
                </a:lnTo>
                <a:lnTo>
                  <a:pt x="60" y="34"/>
                </a:lnTo>
                <a:lnTo>
                  <a:pt x="60" y="38"/>
                </a:lnTo>
                <a:lnTo>
                  <a:pt x="60" y="42"/>
                </a:lnTo>
                <a:lnTo>
                  <a:pt x="56" y="42"/>
                </a:lnTo>
                <a:lnTo>
                  <a:pt x="56" y="46"/>
                </a:lnTo>
                <a:lnTo>
                  <a:pt x="52" y="46"/>
                </a:lnTo>
                <a:lnTo>
                  <a:pt x="48" y="46"/>
                </a:lnTo>
                <a:lnTo>
                  <a:pt x="48" y="50"/>
                </a:lnTo>
                <a:lnTo>
                  <a:pt x="48" y="46"/>
                </a:lnTo>
                <a:lnTo>
                  <a:pt x="44" y="50"/>
                </a:lnTo>
                <a:lnTo>
                  <a:pt x="44" y="52"/>
                </a:lnTo>
                <a:lnTo>
                  <a:pt x="44" y="56"/>
                </a:lnTo>
                <a:lnTo>
                  <a:pt x="44" y="60"/>
                </a:lnTo>
                <a:lnTo>
                  <a:pt x="48" y="64"/>
                </a:lnTo>
                <a:lnTo>
                  <a:pt x="48" y="60"/>
                </a:lnTo>
                <a:lnTo>
                  <a:pt x="48" y="64"/>
                </a:lnTo>
                <a:lnTo>
                  <a:pt x="48" y="68"/>
                </a:lnTo>
                <a:lnTo>
                  <a:pt x="52" y="68"/>
                </a:lnTo>
                <a:lnTo>
                  <a:pt x="52" y="64"/>
                </a:lnTo>
                <a:lnTo>
                  <a:pt x="52" y="60"/>
                </a:lnTo>
                <a:lnTo>
                  <a:pt x="56" y="60"/>
                </a:lnTo>
                <a:lnTo>
                  <a:pt x="56" y="56"/>
                </a:lnTo>
                <a:lnTo>
                  <a:pt x="56" y="52"/>
                </a:lnTo>
                <a:lnTo>
                  <a:pt x="56" y="56"/>
                </a:lnTo>
                <a:lnTo>
                  <a:pt x="60" y="52"/>
                </a:lnTo>
                <a:lnTo>
                  <a:pt x="60" y="56"/>
                </a:lnTo>
                <a:lnTo>
                  <a:pt x="60" y="60"/>
                </a:lnTo>
                <a:lnTo>
                  <a:pt x="64" y="60"/>
                </a:lnTo>
                <a:lnTo>
                  <a:pt x="64" y="64"/>
                </a:lnTo>
                <a:lnTo>
                  <a:pt x="60" y="64"/>
                </a:lnTo>
                <a:lnTo>
                  <a:pt x="64" y="68"/>
                </a:lnTo>
                <a:lnTo>
                  <a:pt x="64" y="72"/>
                </a:lnTo>
                <a:lnTo>
                  <a:pt x="64" y="76"/>
                </a:lnTo>
                <a:lnTo>
                  <a:pt x="64" y="78"/>
                </a:lnTo>
                <a:lnTo>
                  <a:pt x="64" y="82"/>
                </a:lnTo>
                <a:lnTo>
                  <a:pt x="64" y="86"/>
                </a:lnTo>
                <a:lnTo>
                  <a:pt x="64" y="90"/>
                </a:lnTo>
                <a:lnTo>
                  <a:pt x="64" y="94"/>
                </a:lnTo>
                <a:lnTo>
                  <a:pt x="68" y="94"/>
                </a:lnTo>
                <a:lnTo>
                  <a:pt x="68" y="98"/>
                </a:lnTo>
                <a:lnTo>
                  <a:pt x="64" y="98"/>
                </a:lnTo>
                <a:lnTo>
                  <a:pt x="64" y="94"/>
                </a:lnTo>
                <a:lnTo>
                  <a:pt x="60" y="94"/>
                </a:lnTo>
                <a:lnTo>
                  <a:pt x="60" y="98"/>
                </a:lnTo>
                <a:lnTo>
                  <a:pt x="60" y="102"/>
                </a:lnTo>
                <a:lnTo>
                  <a:pt x="60" y="106"/>
                </a:lnTo>
                <a:lnTo>
                  <a:pt x="60" y="102"/>
                </a:lnTo>
                <a:lnTo>
                  <a:pt x="56" y="102"/>
                </a:lnTo>
                <a:lnTo>
                  <a:pt x="56" y="98"/>
                </a:lnTo>
                <a:lnTo>
                  <a:pt x="56" y="94"/>
                </a:lnTo>
                <a:lnTo>
                  <a:pt x="56" y="90"/>
                </a:lnTo>
                <a:lnTo>
                  <a:pt x="56" y="86"/>
                </a:lnTo>
                <a:lnTo>
                  <a:pt x="56" y="90"/>
                </a:lnTo>
                <a:lnTo>
                  <a:pt x="56" y="86"/>
                </a:lnTo>
                <a:lnTo>
                  <a:pt x="56" y="82"/>
                </a:lnTo>
                <a:lnTo>
                  <a:pt x="52" y="82"/>
                </a:lnTo>
                <a:lnTo>
                  <a:pt x="52" y="78"/>
                </a:lnTo>
                <a:lnTo>
                  <a:pt x="52" y="76"/>
                </a:lnTo>
                <a:lnTo>
                  <a:pt x="48" y="72"/>
                </a:lnTo>
                <a:lnTo>
                  <a:pt x="44" y="72"/>
                </a:lnTo>
                <a:lnTo>
                  <a:pt x="44" y="76"/>
                </a:lnTo>
                <a:lnTo>
                  <a:pt x="40" y="76"/>
                </a:lnTo>
                <a:lnTo>
                  <a:pt x="40" y="72"/>
                </a:lnTo>
                <a:lnTo>
                  <a:pt x="38" y="72"/>
                </a:lnTo>
                <a:lnTo>
                  <a:pt x="38" y="68"/>
                </a:lnTo>
                <a:lnTo>
                  <a:pt x="38" y="64"/>
                </a:lnTo>
                <a:lnTo>
                  <a:pt x="38" y="60"/>
                </a:lnTo>
                <a:lnTo>
                  <a:pt x="38" y="56"/>
                </a:lnTo>
                <a:lnTo>
                  <a:pt x="34" y="56"/>
                </a:lnTo>
                <a:lnTo>
                  <a:pt x="38" y="56"/>
                </a:lnTo>
                <a:lnTo>
                  <a:pt x="38" y="60"/>
                </a:lnTo>
                <a:lnTo>
                  <a:pt x="34" y="60"/>
                </a:lnTo>
                <a:lnTo>
                  <a:pt x="38" y="60"/>
                </a:lnTo>
                <a:lnTo>
                  <a:pt x="38" y="64"/>
                </a:lnTo>
                <a:lnTo>
                  <a:pt x="34" y="64"/>
                </a:lnTo>
                <a:lnTo>
                  <a:pt x="34" y="64"/>
                </a:lnTo>
                <a:lnTo>
                  <a:pt x="34" y="64"/>
                </a:lnTo>
                <a:close/>
                <a:moveTo>
                  <a:pt x="38" y="72"/>
                </a:moveTo>
                <a:lnTo>
                  <a:pt x="34" y="72"/>
                </a:lnTo>
                <a:lnTo>
                  <a:pt x="34" y="68"/>
                </a:lnTo>
                <a:lnTo>
                  <a:pt x="38" y="68"/>
                </a:lnTo>
                <a:lnTo>
                  <a:pt x="38" y="72"/>
                </a:lnTo>
                <a:lnTo>
                  <a:pt x="38" y="72"/>
                </a:lnTo>
                <a:lnTo>
                  <a:pt x="38" y="72"/>
                </a:lnTo>
                <a:close/>
                <a:moveTo>
                  <a:pt x="38" y="86"/>
                </a:moveTo>
                <a:lnTo>
                  <a:pt x="34" y="86"/>
                </a:lnTo>
                <a:lnTo>
                  <a:pt x="34" y="82"/>
                </a:lnTo>
                <a:lnTo>
                  <a:pt x="38" y="82"/>
                </a:lnTo>
                <a:lnTo>
                  <a:pt x="38" y="86"/>
                </a:lnTo>
                <a:lnTo>
                  <a:pt x="38" y="86"/>
                </a:lnTo>
                <a:lnTo>
                  <a:pt x="38" y="86"/>
                </a:lnTo>
                <a:close/>
                <a:moveTo>
                  <a:pt x="38" y="86"/>
                </a:moveTo>
                <a:lnTo>
                  <a:pt x="38" y="82"/>
                </a:lnTo>
                <a:lnTo>
                  <a:pt x="38" y="78"/>
                </a:lnTo>
                <a:lnTo>
                  <a:pt x="38" y="76"/>
                </a:lnTo>
                <a:lnTo>
                  <a:pt x="38" y="72"/>
                </a:lnTo>
                <a:lnTo>
                  <a:pt x="40" y="76"/>
                </a:lnTo>
                <a:lnTo>
                  <a:pt x="40" y="78"/>
                </a:lnTo>
                <a:lnTo>
                  <a:pt x="40" y="82"/>
                </a:lnTo>
                <a:lnTo>
                  <a:pt x="38" y="82"/>
                </a:lnTo>
                <a:lnTo>
                  <a:pt x="38" y="86"/>
                </a:lnTo>
                <a:lnTo>
                  <a:pt x="38" y="86"/>
                </a:lnTo>
                <a:lnTo>
                  <a:pt x="38" y="86"/>
                </a:lnTo>
                <a:close/>
                <a:moveTo>
                  <a:pt x="48" y="78"/>
                </a:moveTo>
                <a:lnTo>
                  <a:pt x="48" y="76"/>
                </a:lnTo>
                <a:lnTo>
                  <a:pt x="48" y="78"/>
                </a:lnTo>
                <a:lnTo>
                  <a:pt x="48" y="78"/>
                </a:lnTo>
                <a:lnTo>
                  <a:pt x="48" y="78"/>
                </a:lnTo>
                <a:close/>
                <a:moveTo>
                  <a:pt x="40" y="82"/>
                </a:moveTo>
                <a:lnTo>
                  <a:pt x="44" y="82"/>
                </a:lnTo>
                <a:lnTo>
                  <a:pt x="44" y="78"/>
                </a:lnTo>
                <a:lnTo>
                  <a:pt x="44" y="76"/>
                </a:lnTo>
                <a:lnTo>
                  <a:pt x="44" y="78"/>
                </a:lnTo>
                <a:lnTo>
                  <a:pt x="44" y="82"/>
                </a:lnTo>
                <a:lnTo>
                  <a:pt x="40" y="82"/>
                </a:lnTo>
                <a:lnTo>
                  <a:pt x="40" y="82"/>
                </a:lnTo>
                <a:lnTo>
                  <a:pt x="40" y="82"/>
                </a:lnTo>
                <a:close/>
                <a:moveTo>
                  <a:pt x="56" y="94"/>
                </a:moveTo>
                <a:lnTo>
                  <a:pt x="56" y="90"/>
                </a:lnTo>
                <a:lnTo>
                  <a:pt x="56" y="94"/>
                </a:lnTo>
                <a:lnTo>
                  <a:pt x="56" y="94"/>
                </a:lnTo>
                <a:lnTo>
                  <a:pt x="56" y="94"/>
                </a:lnTo>
                <a:close/>
              </a:path>
            </a:pathLst>
          </a:custGeom>
          <a:solidFill>
            <a:srgbClr val="A0DCFF"/>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4" name="Freeform 21"/>
          <p:cNvSpPr>
            <a:spLocks/>
          </p:cNvSpPr>
          <p:nvPr/>
        </p:nvSpPr>
        <p:spPr bwMode="auto">
          <a:xfrm>
            <a:off x="5753100" y="3109912"/>
            <a:ext cx="57150" cy="35719"/>
          </a:xfrm>
          <a:custGeom>
            <a:avLst/>
            <a:gdLst>
              <a:gd name="T0" fmla="*/ 44 w 48"/>
              <a:gd name="T1" fmla="*/ 26 h 30"/>
              <a:gd name="T2" fmla="*/ 38 w 48"/>
              <a:gd name="T3" fmla="*/ 26 h 30"/>
              <a:gd name="T4" fmla="*/ 38 w 48"/>
              <a:gd name="T5" fmla="*/ 26 h 30"/>
              <a:gd name="T6" fmla="*/ 38 w 48"/>
              <a:gd name="T7" fmla="*/ 30 h 30"/>
              <a:gd name="T8" fmla="*/ 34 w 48"/>
              <a:gd name="T9" fmla="*/ 26 h 30"/>
              <a:gd name="T10" fmla="*/ 30 w 48"/>
              <a:gd name="T11" fmla="*/ 30 h 30"/>
              <a:gd name="T12" fmla="*/ 26 w 48"/>
              <a:gd name="T13" fmla="*/ 30 h 30"/>
              <a:gd name="T14" fmla="*/ 22 w 48"/>
              <a:gd name="T15" fmla="*/ 26 h 30"/>
              <a:gd name="T16" fmla="*/ 18 w 48"/>
              <a:gd name="T17" fmla="*/ 26 h 30"/>
              <a:gd name="T18" fmla="*/ 18 w 48"/>
              <a:gd name="T19" fmla="*/ 30 h 30"/>
              <a:gd name="T20" fmla="*/ 14 w 48"/>
              <a:gd name="T21" fmla="*/ 30 h 30"/>
              <a:gd name="T22" fmla="*/ 10 w 48"/>
              <a:gd name="T23" fmla="*/ 30 h 30"/>
              <a:gd name="T24" fmla="*/ 10 w 48"/>
              <a:gd name="T25" fmla="*/ 26 h 30"/>
              <a:gd name="T26" fmla="*/ 6 w 48"/>
              <a:gd name="T27" fmla="*/ 26 h 30"/>
              <a:gd name="T28" fmla="*/ 6 w 48"/>
              <a:gd name="T29" fmla="*/ 26 h 30"/>
              <a:gd name="T30" fmla="*/ 4 w 48"/>
              <a:gd name="T31" fmla="*/ 26 h 30"/>
              <a:gd name="T32" fmla="*/ 0 w 48"/>
              <a:gd name="T33" fmla="*/ 26 h 30"/>
              <a:gd name="T34" fmla="*/ 0 w 48"/>
              <a:gd name="T35" fmla="*/ 24 h 30"/>
              <a:gd name="T36" fmla="*/ 0 w 48"/>
              <a:gd name="T37" fmla="*/ 20 h 30"/>
              <a:gd name="T38" fmla="*/ 0 w 48"/>
              <a:gd name="T39" fmla="*/ 20 h 30"/>
              <a:gd name="T40" fmla="*/ 4 w 48"/>
              <a:gd name="T41" fmla="*/ 20 h 30"/>
              <a:gd name="T42" fmla="*/ 4 w 48"/>
              <a:gd name="T43" fmla="*/ 16 h 30"/>
              <a:gd name="T44" fmla="*/ 4 w 48"/>
              <a:gd name="T45" fmla="*/ 16 h 30"/>
              <a:gd name="T46" fmla="*/ 6 w 48"/>
              <a:gd name="T47" fmla="*/ 12 h 30"/>
              <a:gd name="T48" fmla="*/ 6 w 48"/>
              <a:gd name="T49" fmla="*/ 8 h 30"/>
              <a:gd name="T50" fmla="*/ 6 w 48"/>
              <a:gd name="T51" fmla="*/ 8 h 30"/>
              <a:gd name="T52" fmla="*/ 10 w 48"/>
              <a:gd name="T53" fmla="*/ 4 h 30"/>
              <a:gd name="T54" fmla="*/ 14 w 48"/>
              <a:gd name="T55" fmla="*/ 4 h 30"/>
              <a:gd name="T56" fmla="*/ 18 w 48"/>
              <a:gd name="T57" fmla="*/ 0 h 30"/>
              <a:gd name="T58" fmla="*/ 18 w 48"/>
              <a:gd name="T59" fmla="*/ 0 h 30"/>
              <a:gd name="T60" fmla="*/ 22 w 48"/>
              <a:gd name="T61" fmla="*/ 0 h 30"/>
              <a:gd name="T62" fmla="*/ 22 w 48"/>
              <a:gd name="T63" fmla="*/ 4 h 30"/>
              <a:gd name="T64" fmla="*/ 22 w 48"/>
              <a:gd name="T65" fmla="*/ 4 h 30"/>
              <a:gd name="T66" fmla="*/ 26 w 48"/>
              <a:gd name="T67" fmla="*/ 4 h 30"/>
              <a:gd name="T68" fmla="*/ 30 w 48"/>
              <a:gd name="T69" fmla="*/ 4 h 30"/>
              <a:gd name="T70" fmla="*/ 30 w 48"/>
              <a:gd name="T71" fmla="*/ 8 h 30"/>
              <a:gd name="T72" fmla="*/ 34 w 48"/>
              <a:gd name="T73" fmla="*/ 8 h 30"/>
              <a:gd name="T74" fmla="*/ 38 w 48"/>
              <a:gd name="T75" fmla="*/ 4 h 30"/>
              <a:gd name="T76" fmla="*/ 38 w 48"/>
              <a:gd name="T77" fmla="*/ 8 h 30"/>
              <a:gd name="T78" fmla="*/ 40 w 48"/>
              <a:gd name="T79" fmla="*/ 8 h 30"/>
              <a:gd name="T80" fmla="*/ 40 w 48"/>
              <a:gd name="T81" fmla="*/ 8 h 30"/>
              <a:gd name="T82" fmla="*/ 40 w 48"/>
              <a:gd name="T83" fmla="*/ 12 h 30"/>
              <a:gd name="T84" fmla="*/ 40 w 48"/>
              <a:gd name="T85" fmla="*/ 12 h 30"/>
              <a:gd name="T86" fmla="*/ 40 w 48"/>
              <a:gd name="T87" fmla="*/ 16 h 30"/>
              <a:gd name="T88" fmla="*/ 44 w 48"/>
              <a:gd name="T89" fmla="*/ 16 h 30"/>
              <a:gd name="T90" fmla="*/ 48 w 48"/>
              <a:gd name="T91" fmla="*/ 20 h 30"/>
              <a:gd name="T92" fmla="*/ 44 w 48"/>
              <a:gd name="T93" fmla="*/ 24 h 30"/>
              <a:gd name="T94" fmla="*/ 48 w 48"/>
              <a:gd name="T95" fmla="*/ 26 h 30"/>
              <a:gd name="T96" fmla="*/ 44 w 48"/>
              <a:gd name="T97" fmla="*/ 2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8" h="30">
                <a:moveTo>
                  <a:pt x="44" y="26"/>
                </a:moveTo>
                <a:lnTo>
                  <a:pt x="44" y="26"/>
                </a:lnTo>
                <a:lnTo>
                  <a:pt x="44" y="26"/>
                </a:lnTo>
                <a:lnTo>
                  <a:pt x="44" y="26"/>
                </a:lnTo>
                <a:lnTo>
                  <a:pt x="44" y="26"/>
                </a:lnTo>
                <a:lnTo>
                  <a:pt x="40" y="26"/>
                </a:lnTo>
                <a:lnTo>
                  <a:pt x="40" y="26"/>
                </a:lnTo>
                <a:lnTo>
                  <a:pt x="38" y="26"/>
                </a:lnTo>
                <a:lnTo>
                  <a:pt x="38" y="26"/>
                </a:lnTo>
                <a:lnTo>
                  <a:pt x="38" y="26"/>
                </a:lnTo>
                <a:lnTo>
                  <a:pt x="38" y="26"/>
                </a:lnTo>
                <a:lnTo>
                  <a:pt x="38" y="26"/>
                </a:lnTo>
                <a:lnTo>
                  <a:pt x="38" y="26"/>
                </a:lnTo>
                <a:lnTo>
                  <a:pt x="38" y="26"/>
                </a:lnTo>
                <a:lnTo>
                  <a:pt x="38" y="30"/>
                </a:lnTo>
                <a:lnTo>
                  <a:pt x="38" y="30"/>
                </a:lnTo>
                <a:lnTo>
                  <a:pt x="34" y="30"/>
                </a:lnTo>
                <a:lnTo>
                  <a:pt x="34" y="26"/>
                </a:lnTo>
                <a:lnTo>
                  <a:pt x="34" y="26"/>
                </a:lnTo>
                <a:lnTo>
                  <a:pt x="34" y="26"/>
                </a:lnTo>
                <a:lnTo>
                  <a:pt x="34" y="26"/>
                </a:lnTo>
                <a:lnTo>
                  <a:pt x="30" y="30"/>
                </a:lnTo>
                <a:lnTo>
                  <a:pt x="30" y="30"/>
                </a:lnTo>
                <a:lnTo>
                  <a:pt x="30" y="30"/>
                </a:lnTo>
                <a:lnTo>
                  <a:pt x="30" y="30"/>
                </a:lnTo>
                <a:lnTo>
                  <a:pt x="26" y="30"/>
                </a:lnTo>
                <a:lnTo>
                  <a:pt x="26" y="30"/>
                </a:lnTo>
                <a:lnTo>
                  <a:pt x="26" y="30"/>
                </a:lnTo>
                <a:lnTo>
                  <a:pt x="26" y="30"/>
                </a:lnTo>
                <a:lnTo>
                  <a:pt x="26" y="26"/>
                </a:lnTo>
                <a:lnTo>
                  <a:pt x="26" y="26"/>
                </a:lnTo>
                <a:lnTo>
                  <a:pt x="22" y="26"/>
                </a:lnTo>
                <a:lnTo>
                  <a:pt x="22" y="26"/>
                </a:lnTo>
                <a:lnTo>
                  <a:pt x="22" y="26"/>
                </a:lnTo>
                <a:lnTo>
                  <a:pt x="22" y="26"/>
                </a:lnTo>
                <a:lnTo>
                  <a:pt x="18" y="26"/>
                </a:lnTo>
                <a:lnTo>
                  <a:pt x="18" y="26"/>
                </a:lnTo>
                <a:lnTo>
                  <a:pt x="18" y="26"/>
                </a:lnTo>
                <a:lnTo>
                  <a:pt x="18" y="30"/>
                </a:lnTo>
                <a:lnTo>
                  <a:pt x="18" y="30"/>
                </a:lnTo>
                <a:lnTo>
                  <a:pt x="18" y="30"/>
                </a:lnTo>
                <a:lnTo>
                  <a:pt x="18" y="30"/>
                </a:lnTo>
                <a:lnTo>
                  <a:pt x="14" y="30"/>
                </a:lnTo>
                <a:lnTo>
                  <a:pt x="14" y="30"/>
                </a:lnTo>
                <a:lnTo>
                  <a:pt x="14" y="30"/>
                </a:lnTo>
                <a:lnTo>
                  <a:pt x="14" y="30"/>
                </a:lnTo>
                <a:lnTo>
                  <a:pt x="10" y="30"/>
                </a:lnTo>
                <a:lnTo>
                  <a:pt x="10" y="30"/>
                </a:lnTo>
                <a:lnTo>
                  <a:pt x="10" y="30"/>
                </a:lnTo>
                <a:lnTo>
                  <a:pt x="10" y="30"/>
                </a:lnTo>
                <a:lnTo>
                  <a:pt x="10" y="26"/>
                </a:lnTo>
                <a:lnTo>
                  <a:pt x="10" y="26"/>
                </a:lnTo>
                <a:lnTo>
                  <a:pt x="10" y="26"/>
                </a:lnTo>
                <a:lnTo>
                  <a:pt x="10" y="26"/>
                </a:lnTo>
                <a:lnTo>
                  <a:pt x="6" y="26"/>
                </a:lnTo>
                <a:lnTo>
                  <a:pt x="6" y="26"/>
                </a:lnTo>
                <a:lnTo>
                  <a:pt x="6" y="26"/>
                </a:lnTo>
                <a:lnTo>
                  <a:pt x="6" y="26"/>
                </a:lnTo>
                <a:lnTo>
                  <a:pt x="6" y="26"/>
                </a:lnTo>
                <a:lnTo>
                  <a:pt x="6" y="26"/>
                </a:lnTo>
                <a:lnTo>
                  <a:pt x="4" y="26"/>
                </a:lnTo>
                <a:lnTo>
                  <a:pt x="4" y="26"/>
                </a:lnTo>
                <a:lnTo>
                  <a:pt x="4" y="26"/>
                </a:lnTo>
                <a:lnTo>
                  <a:pt x="4" y="26"/>
                </a:lnTo>
                <a:lnTo>
                  <a:pt x="4" y="26"/>
                </a:lnTo>
                <a:lnTo>
                  <a:pt x="4" y="26"/>
                </a:lnTo>
                <a:lnTo>
                  <a:pt x="4" y="26"/>
                </a:lnTo>
                <a:lnTo>
                  <a:pt x="0" y="26"/>
                </a:lnTo>
                <a:lnTo>
                  <a:pt x="0" y="24"/>
                </a:lnTo>
                <a:lnTo>
                  <a:pt x="0" y="24"/>
                </a:lnTo>
                <a:lnTo>
                  <a:pt x="0" y="24"/>
                </a:lnTo>
                <a:lnTo>
                  <a:pt x="0" y="24"/>
                </a:lnTo>
                <a:lnTo>
                  <a:pt x="0" y="24"/>
                </a:lnTo>
                <a:lnTo>
                  <a:pt x="0" y="24"/>
                </a:lnTo>
                <a:lnTo>
                  <a:pt x="0" y="24"/>
                </a:lnTo>
                <a:lnTo>
                  <a:pt x="0" y="20"/>
                </a:lnTo>
                <a:lnTo>
                  <a:pt x="0" y="20"/>
                </a:lnTo>
                <a:lnTo>
                  <a:pt x="0" y="20"/>
                </a:lnTo>
                <a:lnTo>
                  <a:pt x="0" y="20"/>
                </a:lnTo>
                <a:lnTo>
                  <a:pt x="0" y="20"/>
                </a:lnTo>
                <a:lnTo>
                  <a:pt x="0" y="20"/>
                </a:lnTo>
                <a:lnTo>
                  <a:pt x="0" y="20"/>
                </a:lnTo>
                <a:lnTo>
                  <a:pt x="4" y="20"/>
                </a:lnTo>
                <a:lnTo>
                  <a:pt x="4" y="20"/>
                </a:lnTo>
                <a:lnTo>
                  <a:pt x="4" y="16"/>
                </a:lnTo>
                <a:lnTo>
                  <a:pt x="4" y="16"/>
                </a:lnTo>
                <a:lnTo>
                  <a:pt x="4" y="16"/>
                </a:lnTo>
                <a:lnTo>
                  <a:pt x="4" y="16"/>
                </a:lnTo>
                <a:lnTo>
                  <a:pt x="4" y="16"/>
                </a:lnTo>
                <a:lnTo>
                  <a:pt x="4" y="16"/>
                </a:lnTo>
                <a:lnTo>
                  <a:pt x="4" y="16"/>
                </a:lnTo>
                <a:lnTo>
                  <a:pt x="4" y="16"/>
                </a:lnTo>
                <a:lnTo>
                  <a:pt x="4" y="12"/>
                </a:lnTo>
                <a:lnTo>
                  <a:pt x="4" y="12"/>
                </a:lnTo>
                <a:lnTo>
                  <a:pt x="4" y="12"/>
                </a:lnTo>
                <a:lnTo>
                  <a:pt x="6" y="12"/>
                </a:lnTo>
                <a:lnTo>
                  <a:pt x="6" y="12"/>
                </a:lnTo>
                <a:lnTo>
                  <a:pt x="6" y="12"/>
                </a:lnTo>
                <a:lnTo>
                  <a:pt x="6" y="8"/>
                </a:lnTo>
                <a:lnTo>
                  <a:pt x="6" y="8"/>
                </a:lnTo>
                <a:lnTo>
                  <a:pt x="6" y="8"/>
                </a:lnTo>
                <a:lnTo>
                  <a:pt x="6" y="8"/>
                </a:lnTo>
                <a:lnTo>
                  <a:pt x="6" y="8"/>
                </a:lnTo>
                <a:lnTo>
                  <a:pt x="6" y="8"/>
                </a:lnTo>
                <a:lnTo>
                  <a:pt x="6" y="8"/>
                </a:lnTo>
                <a:lnTo>
                  <a:pt x="10" y="4"/>
                </a:lnTo>
                <a:lnTo>
                  <a:pt x="10" y="4"/>
                </a:lnTo>
                <a:lnTo>
                  <a:pt x="10" y="4"/>
                </a:lnTo>
                <a:lnTo>
                  <a:pt x="10" y="4"/>
                </a:lnTo>
                <a:lnTo>
                  <a:pt x="10" y="4"/>
                </a:lnTo>
                <a:lnTo>
                  <a:pt x="10" y="4"/>
                </a:lnTo>
                <a:lnTo>
                  <a:pt x="14" y="4"/>
                </a:lnTo>
                <a:lnTo>
                  <a:pt x="14" y="4"/>
                </a:lnTo>
                <a:lnTo>
                  <a:pt x="14" y="0"/>
                </a:lnTo>
                <a:lnTo>
                  <a:pt x="14" y="0"/>
                </a:lnTo>
                <a:lnTo>
                  <a:pt x="18" y="0"/>
                </a:lnTo>
                <a:lnTo>
                  <a:pt x="18" y="0"/>
                </a:lnTo>
                <a:lnTo>
                  <a:pt x="18" y="0"/>
                </a:lnTo>
                <a:lnTo>
                  <a:pt x="18" y="0"/>
                </a:lnTo>
                <a:lnTo>
                  <a:pt x="18" y="0"/>
                </a:lnTo>
                <a:lnTo>
                  <a:pt x="22" y="0"/>
                </a:lnTo>
                <a:lnTo>
                  <a:pt x="22" y="0"/>
                </a:lnTo>
                <a:lnTo>
                  <a:pt x="22" y="0"/>
                </a:lnTo>
                <a:lnTo>
                  <a:pt x="22" y="0"/>
                </a:lnTo>
                <a:lnTo>
                  <a:pt x="22" y="4"/>
                </a:lnTo>
                <a:lnTo>
                  <a:pt x="22" y="4"/>
                </a:lnTo>
                <a:lnTo>
                  <a:pt x="22" y="4"/>
                </a:lnTo>
                <a:lnTo>
                  <a:pt x="22" y="4"/>
                </a:lnTo>
                <a:lnTo>
                  <a:pt x="22" y="4"/>
                </a:lnTo>
                <a:lnTo>
                  <a:pt x="22" y="4"/>
                </a:lnTo>
                <a:lnTo>
                  <a:pt x="22" y="4"/>
                </a:lnTo>
                <a:lnTo>
                  <a:pt x="22" y="4"/>
                </a:lnTo>
                <a:lnTo>
                  <a:pt x="26" y="4"/>
                </a:lnTo>
                <a:lnTo>
                  <a:pt x="26" y="4"/>
                </a:lnTo>
                <a:lnTo>
                  <a:pt x="26" y="4"/>
                </a:lnTo>
                <a:lnTo>
                  <a:pt x="26" y="4"/>
                </a:lnTo>
                <a:lnTo>
                  <a:pt x="26" y="4"/>
                </a:lnTo>
                <a:lnTo>
                  <a:pt x="30" y="4"/>
                </a:lnTo>
                <a:lnTo>
                  <a:pt x="30" y="4"/>
                </a:lnTo>
                <a:lnTo>
                  <a:pt x="30" y="4"/>
                </a:lnTo>
                <a:lnTo>
                  <a:pt x="30" y="4"/>
                </a:lnTo>
                <a:lnTo>
                  <a:pt x="30" y="8"/>
                </a:lnTo>
                <a:lnTo>
                  <a:pt x="30" y="8"/>
                </a:lnTo>
                <a:lnTo>
                  <a:pt x="30" y="8"/>
                </a:lnTo>
                <a:lnTo>
                  <a:pt x="34" y="8"/>
                </a:lnTo>
                <a:lnTo>
                  <a:pt x="34" y="8"/>
                </a:lnTo>
                <a:lnTo>
                  <a:pt x="34" y="8"/>
                </a:lnTo>
                <a:lnTo>
                  <a:pt x="34" y="8"/>
                </a:lnTo>
                <a:lnTo>
                  <a:pt x="34" y="4"/>
                </a:lnTo>
                <a:lnTo>
                  <a:pt x="34" y="4"/>
                </a:lnTo>
                <a:lnTo>
                  <a:pt x="34" y="4"/>
                </a:lnTo>
                <a:lnTo>
                  <a:pt x="38" y="4"/>
                </a:lnTo>
                <a:lnTo>
                  <a:pt x="38" y="4"/>
                </a:lnTo>
                <a:lnTo>
                  <a:pt x="38" y="8"/>
                </a:lnTo>
                <a:lnTo>
                  <a:pt x="38" y="8"/>
                </a:lnTo>
                <a:lnTo>
                  <a:pt x="38" y="8"/>
                </a:lnTo>
                <a:lnTo>
                  <a:pt x="38" y="8"/>
                </a:lnTo>
                <a:lnTo>
                  <a:pt x="38" y="8"/>
                </a:lnTo>
                <a:lnTo>
                  <a:pt x="40" y="8"/>
                </a:lnTo>
                <a:lnTo>
                  <a:pt x="40" y="8"/>
                </a:lnTo>
                <a:lnTo>
                  <a:pt x="40" y="8"/>
                </a:lnTo>
                <a:lnTo>
                  <a:pt x="40" y="8"/>
                </a:lnTo>
                <a:lnTo>
                  <a:pt x="40" y="8"/>
                </a:lnTo>
                <a:lnTo>
                  <a:pt x="40" y="8"/>
                </a:lnTo>
                <a:lnTo>
                  <a:pt x="40" y="8"/>
                </a:lnTo>
                <a:lnTo>
                  <a:pt x="40" y="12"/>
                </a:lnTo>
                <a:lnTo>
                  <a:pt x="40" y="12"/>
                </a:lnTo>
                <a:lnTo>
                  <a:pt x="40" y="12"/>
                </a:lnTo>
                <a:lnTo>
                  <a:pt x="40" y="12"/>
                </a:lnTo>
                <a:lnTo>
                  <a:pt x="40" y="12"/>
                </a:lnTo>
                <a:lnTo>
                  <a:pt x="40" y="12"/>
                </a:lnTo>
                <a:lnTo>
                  <a:pt x="40" y="12"/>
                </a:lnTo>
                <a:lnTo>
                  <a:pt x="40" y="12"/>
                </a:lnTo>
                <a:lnTo>
                  <a:pt x="40" y="12"/>
                </a:lnTo>
                <a:lnTo>
                  <a:pt x="40" y="16"/>
                </a:lnTo>
                <a:lnTo>
                  <a:pt x="40" y="16"/>
                </a:lnTo>
                <a:lnTo>
                  <a:pt x="40" y="16"/>
                </a:lnTo>
                <a:lnTo>
                  <a:pt x="40" y="16"/>
                </a:lnTo>
                <a:lnTo>
                  <a:pt x="44" y="16"/>
                </a:lnTo>
                <a:lnTo>
                  <a:pt x="44" y="16"/>
                </a:lnTo>
                <a:lnTo>
                  <a:pt x="44" y="16"/>
                </a:lnTo>
                <a:lnTo>
                  <a:pt x="44" y="20"/>
                </a:lnTo>
                <a:lnTo>
                  <a:pt x="44" y="20"/>
                </a:lnTo>
                <a:lnTo>
                  <a:pt x="48" y="20"/>
                </a:lnTo>
                <a:lnTo>
                  <a:pt x="44" y="24"/>
                </a:lnTo>
                <a:lnTo>
                  <a:pt x="44" y="24"/>
                </a:lnTo>
                <a:lnTo>
                  <a:pt x="44" y="24"/>
                </a:lnTo>
                <a:lnTo>
                  <a:pt x="44" y="24"/>
                </a:lnTo>
                <a:lnTo>
                  <a:pt x="44" y="24"/>
                </a:lnTo>
                <a:lnTo>
                  <a:pt x="44" y="24"/>
                </a:lnTo>
                <a:lnTo>
                  <a:pt x="44" y="24"/>
                </a:lnTo>
                <a:lnTo>
                  <a:pt x="48" y="26"/>
                </a:lnTo>
                <a:lnTo>
                  <a:pt x="48" y="26"/>
                </a:lnTo>
                <a:lnTo>
                  <a:pt x="48" y="26"/>
                </a:lnTo>
                <a:lnTo>
                  <a:pt x="44" y="26"/>
                </a:lnTo>
                <a:lnTo>
                  <a:pt x="44" y="26"/>
                </a:lnTo>
                <a:lnTo>
                  <a:pt x="44" y="26"/>
                </a:lnTo>
                <a:lnTo>
                  <a:pt x="44" y="26"/>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5" name="Freeform 22"/>
          <p:cNvSpPr>
            <a:spLocks noEditPoints="1"/>
          </p:cNvSpPr>
          <p:nvPr/>
        </p:nvSpPr>
        <p:spPr bwMode="auto">
          <a:xfrm>
            <a:off x="6179344" y="3593305"/>
            <a:ext cx="21431" cy="23813"/>
          </a:xfrm>
          <a:custGeom>
            <a:avLst/>
            <a:gdLst>
              <a:gd name="T0" fmla="*/ 10 w 18"/>
              <a:gd name="T1" fmla="*/ 4 h 20"/>
              <a:gd name="T2" fmla="*/ 10 w 18"/>
              <a:gd name="T3" fmla="*/ 4 h 20"/>
              <a:gd name="T4" fmla="*/ 10 w 18"/>
              <a:gd name="T5" fmla="*/ 4 h 20"/>
              <a:gd name="T6" fmla="*/ 10 w 18"/>
              <a:gd name="T7" fmla="*/ 4 h 20"/>
              <a:gd name="T8" fmla="*/ 10 w 18"/>
              <a:gd name="T9" fmla="*/ 4 h 20"/>
              <a:gd name="T10" fmla="*/ 10 w 18"/>
              <a:gd name="T11" fmla="*/ 8 h 20"/>
              <a:gd name="T12" fmla="*/ 10 w 18"/>
              <a:gd name="T13" fmla="*/ 8 h 20"/>
              <a:gd name="T14" fmla="*/ 10 w 18"/>
              <a:gd name="T15" fmla="*/ 12 h 20"/>
              <a:gd name="T16" fmla="*/ 10 w 18"/>
              <a:gd name="T17" fmla="*/ 12 h 20"/>
              <a:gd name="T18" fmla="*/ 10 w 18"/>
              <a:gd name="T19" fmla="*/ 12 h 20"/>
              <a:gd name="T20" fmla="*/ 10 w 18"/>
              <a:gd name="T21" fmla="*/ 16 h 20"/>
              <a:gd name="T22" fmla="*/ 10 w 18"/>
              <a:gd name="T23" fmla="*/ 20 h 20"/>
              <a:gd name="T24" fmla="*/ 6 w 18"/>
              <a:gd name="T25" fmla="*/ 20 h 20"/>
              <a:gd name="T26" fmla="*/ 6 w 18"/>
              <a:gd name="T27" fmla="*/ 20 h 20"/>
              <a:gd name="T28" fmla="*/ 6 w 18"/>
              <a:gd name="T29" fmla="*/ 20 h 20"/>
              <a:gd name="T30" fmla="*/ 4 w 18"/>
              <a:gd name="T31" fmla="*/ 16 h 20"/>
              <a:gd name="T32" fmla="*/ 4 w 18"/>
              <a:gd name="T33" fmla="*/ 16 h 20"/>
              <a:gd name="T34" fmla="*/ 4 w 18"/>
              <a:gd name="T35" fmla="*/ 12 h 20"/>
              <a:gd name="T36" fmla="*/ 4 w 18"/>
              <a:gd name="T37" fmla="*/ 12 h 20"/>
              <a:gd name="T38" fmla="*/ 0 w 18"/>
              <a:gd name="T39" fmla="*/ 12 h 20"/>
              <a:gd name="T40" fmla="*/ 0 w 18"/>
              <a:gd name="T41" fmla="*/ 12 h 20"/>
              <a:gd name="T42" fmla="*/ 0 w 18"/>
              <a:gd name="T43" fmla="*/ 8 h 20"/>
              <a:gd name="T44" fmla="*/ 0 w 18"/>
              <a:gd name="T45" fmla="*/ 8 h 20"/>
              <a:gd name="T46" fmla="*/ 0 w 18"/>
              <a:gd name="T47" fmla="*/ 8 h 20"/>
              <a:gd name="T48" fmla="*/ 0 w 18"/>
              <a:gd name="T49" fmla="*/ 12 h 20"/>
              <a:gd name="T50" fmla="*/ 4 w 18"/>
              <a:gd name="T51" fmla="*/ 8 h 20"/>
              <a:gd name="T52" fmla="*/ 6 w 18"/>
              <a:gd name="T53" fmla="*/ 8 h 20"/>
              <a:gd name="T54" fmla="*/ 6 w 18"/>
              <a:gd name="T55" fmla="*/ 8 h 20"/>
              <a:gd name="T56" fmla="*/ 6 w 18"/>
              <a:gd name="T57" fmla="*/ 8 h 20"/>
              <a:gd name="T58" fmla="*/ 6 w 18"/>
              <a:gd name="T59" fmla="*/ 4 h 20"/>
              <a:gd name="T60" fmla="*/ 6 w 18"/>
              <a:gd name="T61" fmla="*/ 4 h 20"/>
              <a:gd name="T62" fmla="*/ 6 w 18"/>
              <a:gd name="T63" fmla="*/ 4 h 20"/>
              <a:gd name="T64" fmla="*/ 10 w 18"/>
              <a:gd name="T65" fmla="*/ 4 h 20"/>
              <a:gd name="T66" fmla="*/ 10 w 18"/>
              <a:gd name="T67" fmla="*/ 4 h 20"/>
              <a:gd name="T68" fmla="*/ 10 w 18"/>
              <a:gd name="T69" fmla="*/ 0 h 20"/>
              <a:gd name="T70" fmla="*/ 14 w 18"/>
              <a:gd name="T71" fmla="*/ 0 h 20"/>
              <a:gd name="T72" fmla="*/ 14 w 18"/>
              <a:gd name="T73" fmla="*/ 0 h 20"/>
              <a:gd name="T74" fmla="*/ 14 w 18"/>
              <a:gd name="T75" fmla="*/ 0 h 20"/>
              <a:gd name="T76" fmla="*/ 10 w 18"/>
              <a:gd name="T77" fmla="*/ 4 h 20"/>
              <a:gd name="T78" fmla="*/ 10 w 18"/>
              <a:gd name="T79" fmla="*/ 4 h 20"/>
              <a:gd name="T80" fmla="*/ 10 w 18"/>
              <a:gd name="T81" fmla="*/ 4 h 20"/>
              <a:gd name="T82" fmla="*/ 14 w 18"/>
              <a:gd name="T83" fmla="*/ 4 h 20"/>
              <a:gd name="T84" fmla="*/ 14 w 18"/>
              <a:gd name="T85" fmla="*/ 4 h 20"/>
              <a:gd name="T86" fmla="*/ 14 w 18"/>
              <a:gd name="T87" fmla="*/ 4 h 20"/>
              <a:gd name="T88" fmla="*/ 14 w 18"/>
              <a:gd name="T89" fmla="*/ 4 h 20"/>
              <a:gd name="T90" fmla="*/ 14 w 18"/>
              <a:gd name="T91" fmla="*/ 8 h 20"/>
              <a:gd name="T92" fmla="*/ 14 w 18"/>
              <a:gd name="T93" fmla="*/ 8 h 20"/>
              <a:gd name="T94" fmla="*/ 14 w 18"/>
              <a:gd name="T95" fmla="*/ 12 h 20"/>
              <a:gd name="T96" fmla="*/ 14 w 18"/>
              <a:gd name="T97" fmla="*/ 12 h 20"/>
              <a:gd name="T98" fmla="*/ 14 w 18"/>
              <a:gd name="T99" fmla="*/ 12 h 20"/>
              <a:gd name="T100" fmla="*/ 18 w 18"/>
              <a:gd name="T101" fmla="*/ 12 h 20"/>
              <a:gd name="T102" fmla="*/ 18 w 18"/>
              <a:gd name="T103" fmla="*/ 12 h 20"/>
              <a:gd name="T104" fmla="*/ 18 w 18"/>
              <a:gd name="T105" fmla="*/ 16 h 20"/>
              <a:gd name="T106" fmla="*/ 18 w 18"/>
              <a:gd name="T107" fmla="*/ 16 h 20"/>
              <a:gd name="T108" fmla="*/ 18 w 18"/>
              <a:gd name="T109" fmla="*/ 16 h 20"/>
              <a:gd name="T110" fmla="*/ 14 w 18"/>
              <a:gd name="T111" fmla="*/ 12 h 20"/>
              <a:gd name="T112" fmla="*/ 14 w 18"/>
              <a:gd name="T113" fmla="*/ 12 h 20"/>
              <a:gd name="T114" fmla="*/ 14 w 18"/>
              <a:gd name="T115" fmla="*/ 8 h 20"/>
              <a:gd name="T116" fmla="*/ 10 w 18"/>
              <a:gd name="T117" fmla="*/ 8 h 20"/>
              <a:gd name="T118" fmla="*/ 14 w 18"/>
              <a:gd name="T119"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 h="20">
                <a:moveTo>
                  <a:pt x="10" y="4"/>
                </a:moveTo>
                <a:lnTo>
                  <a:pt x="10" y="4"/>
                </a:lnTo>
                <a:lnTo>
                  <a:pt x="10" y="4"/>
                </a:lnTo>
                <a:lnTo>
                  <a:pt x="10" y="4"/>
                </a:lnTo>
                <a:lnTo>
                  <a:pt x="10" y="4"/>
                </a:lnTo>
                <a:lnTo>
                  <a:pt x="10" y="4"/>
                </a:lnTo>
                <a:lnTo>
                  <a:pt x="10" y="4"/>
                </a:lnTo>
                <a:lnTo>
                  <a:pt x="10" y="4"/>
                </a:lnTo>
                <a:lnTo>
                  <a:pt x="10" y="4"/>
                </a:lnTo>
                <a:lnTo>
                  <a:pt x="10" y="4"/>
                </a:lnTo>
                <a:lnTo>
                  <a:pt x="10" y="8"/>
                </a:lnTo>
                <a:lnTo>
                  <a:pt x="10" y="8"/>
                </a:lnTo>
                <a:lnTo>
                  <a:pt x="10" y="8"/>
                </a:lnTo>
                <a:lnTo>
                  <a:pt x="10" y="8"/>
                </a:lnTo>
                <a:lnTo>
                  <a:pt x="10" y="8"/>
                </a:lnTo>
                <a:lnTo>
                  <a:pt x="10" y="12"/>
                </a:lnTo>
                <a:lnTo>
                  <a:pt x="10" y="12"/>
                </a:lnTo>
                <a:lnTo>
                  <a:pt x="10" y="12"/>
                </a:lnTo>
                <a:lnTo>
                  <a:pt x="10" y="12"/>
                </a:lnTo>
                <a:lnTo>
                  <a:pt x="10" y="12"/>
                </a:lnTo>
                <a:lnTo>
                  <a:pt x="10" y="12"/>
                </a:lnTo>
                <a:lnTo>
                  <a:pt x="10" y="16"/>
                </a:lnTo>
                <a:lnTo>
                  <a:pt x="10" y="20"/>
                </a:lnTo>
                <a:lnTo>
                  <a:pt x="10" y="20"/>
                </a:lnTo>
                <a:lnTo>
                  <a:pt x="6" y="20"/>
                </a:lnTo>
                <a:lnTo>
                  <a:pt x="6" y="20"/>
                </a:lnTo>
                <a:lnTo>
                  <a:pt x="6" y="20"/>
                </a:lnTo>
                <a:lnTo>
                  <a:pt x="6" y="20"/>
                </a:lnTo>
                <a:lnTo>
                  <a:pt x="6" y="20"/>
                </a:lnTo>
                <a:lnTo>
                  <a:pt x="6" y="20"/>
                </a:lnTo>
                <a:lnTo>
                  <a:pt x="6" y="20"/>
                </a:lnTo>
                <a:lnTo>
                  <a:pt x="4" y="16"/>
                </a:lnTo>
                <a:lnTo>
                  <a:pt x="4" y="16"/>
                </a:lnTo>
                <a:lnTo>
                  <a:pt x="4" y="16"/>
                </a:lnTo>
                <a:lnTo>
                  <a:pt x="4" y="16"/>
                </a:lnTo>
                <a:lnTo>
                  <a:pt x="4" y="12"/>
                </a:lnTo>
                <a:lnTo>
                  <a:pt x="4" y="12"/>
                </a:lnTo>
                <a:lnTo>
                  <a:pt x="4" y="12"/>
                </a:lnTo>
                <a:lnTo>
                  <a:pt x="4" y="12"/>
                </a:lnTo>
                <a:lnTo>
                  <a:pt x="0" y="12"/>
                </a:lnTo>
                <a:lnTo>
                  <a:pt x="0" y="12"/>
                </a:lnTo>
                <a:lnTo>
                  <a:pt x="0" y="12"/>
                </a:lnTo>
                <a:lnTo>
                  <a:pt x="0" y="12"/>
                </a:lnTo>
                <a:lnTo>
                  <a:pt x="0" y="8"/>
                </a:lnTo>
                <a:lnTo>
                  <a:pt x="0" y="8"/>
                </a:lnTo>
                <a:lnTo>
                  <a:pt x="0" y="8"/>
                </a:lnTo>
                <a:lnTo>
                  <a:pt x="0" y="8"/>
                </a:lnTo>
                <a:lnTo>
                  <a:pt x="0" y="8"/>
                </a:lnTo>
                <a:lnTo>
                  <a:pt x="0" y="8"/>
                </a:lnTo>
                <a:lnTo>
                  <a:pt x="0" y="12"/>
                </a:lnTo>
                <a:lnTo>
                  <a:pt x="4" y="8"/>
                </a:lnTo>
                <a:lnTo>
                  <a:pt x="4" y="8"/>
                </a:lnTo>
                <a:lnTo>
                  <a:pt x="6" y="8"/>
                </a:lnTo>
                <a:lnTo>
                  <a:pt x="6" y="8"/>
                </a:lnTo>
                <a:lnTo>
                  <a:pt x="6" y="8"/>
                </a:lnTo>
                <a:lnTo>
                  <a:pt x="6" y="8"/>
                </a:lnTo>
                <a:lnTo>
                  <a:pt x="6" y="8"/>
                </a:lnTo>
                <a:lnTo>
                  <a:pt x="6" y="8"/>
                </a:lnTo>
                <a:lnTo>
                  <a:pt x="6" y="8"/>
                </a:lnTo>
                <a:lnTo>
                  <a:pt x="6" y="4"/>
                </a:lnTo>
                <a:lnTo>
                  <a:pt x="6" y="4"/>
                </a:lnTo>
                <a:lnTo>
                  <a:pt x="6" y="4"/>
                </a:lnTo>
                <a:lnTo>
                  <a:pt x="6" y="4"/>
                </a:lnTo>
                <a:lnTo>
                  <a:pt x="6" y="4"/>
                </a:lnTo>
                <a:lnTo>
                  <a:pt x="6" y="4"/>
                </a:lnTo>
                <a:lnTo>
                  <a:pt x="10" y="4"/>
                </a:lnTo>
                <a:lnTo>
                  <a:pt x="10" y="4"/>
                </a:lnTo>
                <a:lnTo>
                  <a:pt x="10" y="4"/>
                </a:lnTo>
                <a:lnTo>
                  <a:pt x="10" y="0"/>
                </a:lnTo>
                <a:lnTo>
                  <a:pt x="10" y="0"/>
                </a:lnTo>
                <a:lnTo>
                  <a:pt x="14" y="0"/>
                </a:lnTo>
                <a:lnTo>
                  <a:pt x="14" y="0"/>
                </a:lnTo>
                <a:lnTo>
                  <a:pt x="14" y="0"/>
                </a:lnTo>
                <a:lnTo>
                  <a:pt x="14" y="0"/>
                </a:lnTo>
                <a:lnTo>
                  <a:pt x="14" y="0"/>
                </a:lnTo>
                <a:lnTo>
                  <a:pt x="14" y="0"/>
                </a:lnTo>
                <a:lnTo>
                  <a:pt x="14" y="4"/>
                </a:lnTo>
                <a:lnTo>
                  <a:pt x="10" y="4"/>
                </a:lnTo>
                <a:lnTo>
                  <a:pt x="10" y="4"/>
                </a:lnTo>
                <a:lnTo>
                  <a:pt x="10" y="4"/>
                </a:lnTo>
                <a:lnTo>
                  <a:pt x="10" y="4"/>
                </a:lnTo>
                <a:lnTo>
                  <a:pt x="10" y="4"/>
                </a:lnTo>
                <a:close/>
                <a:moveTo>
                  <a:pt x="14" y="4"/>
                </a:moveTo>
                <a:lnTo>
                  <a:pt x="14" y="4"/>
                </a:lnTo>
                <a:lnTo>
                  <a:pt x="14" y="8"/>
                </a:lnTo>
                <a:lnTo>
                  <a:pt x="14" y="4"/>
                </a:lnTo>
                <a:lnTo>
                  <a:pt x="14" y="4"/>
                </a:lnTo>
                <a:lnTo>
                  <a:pt x="14" y="4"/>
                </a:lnTo>
                <a:lnTo>
                  <a:pt x="14" y="4"/>
                </a:lnTo>
                <a:lnTo>
                  <a:pt x="14" y="4"/>
                </a:lnTo>
                <a:lnTo>
                  <a:pt x="14" y="4"/>
                </a:lnTo>
                <a:lnTo>
                  <a:pt x="14" y="8"/>
                </a:lnTo>
                <a:lnTo>
                  <a:pt x="14" y="8"/>
                </a:lnTo>
                <a:lnTo>
                  <a:pt x="14" y="8"/>
                </a:lnTo>
                <a:lnTo>
                  <a:pt x="14" y="8"/>
                </a:lnTo>
                <a:lnTo>
                  <a:pt x="14" y="12"/>
                </a:lnTo>
                <a:lnTo>
                  <a:pt x="14" y="12"/>
                </a:lnTo>
                <a:lnTo>
                  <a:pt x="14" y="12"/>
                </a:lnTo>
                <a:lnTo>
                  <a:pt x="14" y="12"/>
                </a:lnTo>
                <a:lnTo>
                  <a:pt x="14" y="12"/>
                </a:lnTo>
                <a:lnTo>
                  <a:pt x="14" y="12"/>
                </a:lnTo>
                <a:lnTo>
                  <a:pt x="18" y="12"/>
                </a:lnTo>
                <a:lnTo>
                  <a:pt x="18" y="12"/>
                </a:lnTo>
                <a:lnTo>
                  <a:pt x="18" y="12"/>
                </a:lnTo>
                <a:lnTo>
                  <a:pt x="18" y="16"/>
                </a:lnTo>
                <a:lnTo>
                  <a:pt x="18" y="16"/>
                </a:lnTo>
                <a:lnTo>
                  <a:pt x="18" y="16"/>
                </a:lnTo>
                <a:lnTo>
                  <a:pt x="18" y="16"/>
                </a:lnTo>
                <a:lnTo>
                  <a:pt x="18" y="16"/>
                </a:lnTo>
                <a:lnTo>
                  <a:pt x="18" y="16"/>
                </a:lnTo>
                <a:lnTo>
                  <a:pt x="14" y="12"/>
                </a:lnTo>
                <a:lnTo>
                  <a:pt x="14" y="12"/>
                </a:lnTo>
                <a:lnTo>
                  <a:pt x="14" y="12"/>
                </a:lnTo>
                <a:lnTo>
                  <a:pt x="14" y="12"/>
                </a:lnTo>
                <a:lnTo>
                  <a:pt x="14" y="8"/>
                </a:lnTo>
                <a:lnTo>
                  <a:pt x="14" y="8"/>
                </a:lnTo>
                <a:lnTo>
                  <a:pt x="10" y="8"/>
                </a:lnTo>
                <a:lnTo>
                  <a:pt x="10" y="8"/>
                </a:lnTo>
                <a:lnTo>
                  <a:pt x="14" y="4"/>
                </a:lnTo>
                <a:lnTo>
                  <a:pt x="14" y="4"/>
                </a:lnTo>
                <a:lnTo>
                  <a:pt x="14" y="4"/>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6" name="Freeform 23"/>
          <p:cNvSpPr>
            <a:spLocks/>
          </p:cNvSpPr>
          <p:nvPr/>
        </p:nvSpPr>
        <p:spPr bwMode="auto">
          <a:xfrm>
            <a:off x="5979319" y="3398044"/>
            <a:ext cx="88106" cy="88106"/>
          </a:xfrm>
          <a:custGeom>
            <a:avLst/>
            <a:gdLst>
              <a:gd name="T0" fmla="*/ 40 w 74"/>
              <a:gd name="T1" fmla="*/ 68 h 74"/>
              <a:gd name="T2" fmla="*/ 36 w 74"/>
              <a:gd name="T3" fmla="*/ 70 h 74"/>
              <a:gd name="T4" fmla="*/ 36 w 74"/>
              <a:gd name="T5" fmla="*/ 70 h 74"/>
              <a:gd name="T6" fmla="*/ 32 w 74"/>
              <a:gd name="T7" fmla="*/ 70 h 74"/>
              <a:gd name="T8" fmla="*/ 30 w 74"/>
              <a:gd name="T9" fmla="*/ 70 h 74"/>
              <a:gd name="T10" fmla="*/ 26 w 74"/>
              <a:gd name="T11" fmla="*/ 70 h 74"/>
              <a:gd name="T12" fmla="*/ 22 w 74"/>
              <a:gd name="T13" fmla="*/ 70 h 74"/>
              <a:gd name="T14" fmla="*/ 18 w 74"/>
              <a:gd name="T15" fmla="*/ 68 h 74"/>
              <a:gd name="T16" fmla="*/ 22 w 74"/>
              <a:gd name="T17" fmla="*/ 64 h 74"/>
              <a:gd name="T18" fmla="*/ 18 w 74"/>
              <a:gd name="T19" fmla="*/ 64 h 74"/>
              <a:gd name="T20" fmla="*/ 10 w 74"/>
              <a:gd name="T21" fmla="*/ 64 h 74"/>
              <a:gd name="T22" fmla="*/ 10 w 74"/>
              <a:gd name="T23" fmla="*/ 56 h 74"/>
              <a:gd name="T24" fmla="*/ 10 w 74"/>
              <a:gd name="T25" fmla="*/ 52 h 74"/>
              <a:gd name="T26" fmla="*/ 10 w 74"/>
              <a:gd name="T27" fmla="*/ 52 h 74"/>
              <a:gd name="T28" fmla="*/ 10 w 74"/>
              <a:gd name="T29" fmla="*/ 52 h 74"/>
              <a:gd name="T30" fmla="*/ 10 w 74"/>
              <a:gd name="T31" fmla="*/ 48 h 74"/>
              <a:gd name="T32" fmla="*/ 10 w 74"/>
              <a:gd name="T33" fmla="*/ 52 h 74"/>
              <a:gd name="T34" fmla="*/ 6 w 74"/>
              <a:gd name="T35" fmla="*/ 48 h 74"/>
              <a:gd name="T36" fmla="*/ 6 w 74"/>
              <a:gd name="T37" fmla="*/ 38 h 74"/>
              <a:gd name="T38" fmla="*/ 4 w 74"/>
              <a:gd name="T39" fmla="*/ 34 h 74"/>
              <a:gd name="T40" fmla="*/ 4 w 74"/>
              <a:gd name="T41" fmla="*/ 26 h 74"/>
              <a:gd name="T42" fmla="*/ 4 w 74"/>
              <a:gd name="T43" fmla="*/ 20 h 74"/>
              <a:gd name="T44" fmla="*/ 4 w 74"/>
              <a:gd name="T45" fmla="*/ 20 h 74"/>
              <a:gd name="T46" fmla="*/ 6 w 74"/>
              <a:gd name="T47" fmla="*/ 16 h 74"/>
              <a:gd name="T48" fmla="*/ 10 w 74"/>
              <a:gd name="T49" fmla="*/ 8 h 74"/>
              <a:gd name="T50" fmla="*/ 10 w 74"/>
              <a:gd name="T51" fmla="*/ 8 h 74"/>
              <a:gd name="T52" fmla="*/ 14 w 74"/>
              <a:gd name="T53" fmla="*/ 4 h 74"/>
              <a:gd name="T54" fmla="*/ 18 w 74"/>
              <a:gd name="T55" fmla="*/ 4 h 74"/>
              <a:gd name="T56" fmla="*/ 26 w 74"/>
              <a:gd name="T57" fmla="*/ 4 h 74"/>
              <a:gd name="T58" fmla="*/ 32 w 74"/>
              <a:gd name="T59" fmla="*/ 4 h 74"/>
              <a:gd name="T60" fmla="*/ 36 w 74"/>
              <a:gd name="T61" fmla="*/ 4 h 74"/>
              <a:gd name="T62" fmla="*/ 40 w 74"/>
              <a:gd name="T63" fmla="*/ 8 h 74"/>
              <a:gd name="T64" fmla="*/ 40 w 74"/>
              <a:gd name="T65" fmla="*/ 4 h 74"/>
              <a:gd name="T66" fmla="*/ 48 w 74"/>
              <a:gd name="T67" fmla="*/ 8 h 74"/>
              <a:gd name="T68" fmla="*/ 52 w 74"/>
              <a:gd name="T69" fmla="*/ 12 h 74"/>
              <a:gd name="T70" fmla="*/ 54 w 74"/>
              <a:gd name="T71" fmla="*/ 8 h 74"/>
              <a:gd name="T72" fmla="*/ 54 w 74"/>
              <a:gd name="T73" fmla="*/ 4 h 74"/>
              <a:gd name="T74" fmla="*/ 54 w 74"/>
              <a:gd name="T75" fmla="*/ 4 h 74"/>
              <a:gd name="T76" fmla="*/ 58 w 74"/>
              <a:gd name="T77" fmla="*/ 0 h 74"/>
              <a:gd name="T78" fmla="*/ 62 w 74"/>
              <a:gd name="T79" fmla="*/ 4 h 74"/>
              <a:gd name="T80" fmla="*/ 70 w 74"/>
              <a:gd name="T81" fmla="*/ 0 h 74"/>
              <a:gd name="T82" fmla="*/ 74 w 74"/>
              <a:gd name="T83" fmla="*/ 4 h 74"/>
              <a:gd name="T84" fmla="*/ 74 w 74"/>
              <a:gd name="T85" fmla="*/ 8 h 74"/>
              <a:gd name="T86" fmla="*/ 74 w 74"/>
              <a:gd name="T87" fmla="*/ 12 h 74"/>
              <a:gd name="T88" fmla="*/ 74 w 74"/>
              <a:gd name="T89" fmla="*/ 22 h 74"/>
              <a:gd name="T90" fmla="*/ 74 w 74"/>
              <a:gd name="T91" fmla="*/ 38 h 74"/>
              <a:gd name="T92" fmla="*/ 74 w 74"/>
              <a:gd name="T93" fmla="*/ 42 h 74"/>
              <a:gd name="T94" fmla="*/ 70 w 74"/>
              <a:gd name="T95" fmla="*/ 42 h 74"/>
              <a:gd name="T96" fmla="*/ 66 w 74"/>
              <a:gd name="T97" fmla="*/ 44 h 74"/>
              <a:gd name="T98" fmla="*/ 62 w 74"/>
              <a:gd name="T99" fmla="*/ 44 h 74"/>
              <a:gd name="T100" fmla="*/ 58 w 74"/>
              <a:gd name="T101" fmla="*/ 48 h 74"/>
              <a:gd name="T102" fmla="*/ 54 w 74"/>
              <a:gd name="T103" fmla="*/ 48 h 74"/>
              <a:gd name="T104" fmla="*/ 52 w 74"/>
              <a:gd name="T105" fmla="*/ 52 h 74"/>
              <a:gd name="T106" fmla="*/ 52 w 74"/>
              <a:gd name="T107" fmla="*/ 56 h 74"/>
              <a:gd name="T108" fmla="*/ 54 w 74"/>
              <a:gd name="T109" fmla="*/ 64 h 74"/>
              <a:gd name="T110" fmla="*/ 54 w 74"/>
              <a:gd name="T111" fmla="*/ 64 h 74"/>
              <a:gd name="T112" fmla="*/ 48 w 74"/>
              <a:gd name="T113" fmla="*/ 64 h 74"/>
              <a:gd name="T114" fmla="*/ 48 w 74"/>
              <a:gd name="T115" fmla="*/ 64 h 74"/>
              <a:gd name="T116" fmla="*/ 44 w 74"/>
              <a:gd name="T117" fmla="*/ 68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4" h="74">
                <a:moveTo>
                  <a:pt x="40" y="64"/>
                </a:moveTo>
                <a:lnTo>
                  <a:pt x="40" y="64"/>
                </a:lnTo>
                <a:lnTo>
                  <a:pt x="40" y="64"/>
                </a:lnTo>
                <a:lnTo>
                  <a:pt x="40" y="64"/>
                </a:lnTo>
                <a:lnTo>
                  <a:pt x="40" y="68"/>
                </a:lnTo>
                <a:lnTo>
                  <a:pt x="40" y="68"/>
                </a:lnTo>
                <a:lnTo>
                  <a:pt x="40" y="68"/>
                </a:lnTo>
                <a:lnTo>
                  <a:pt x="40" y="68"/>
                </a:lnTo>
                <a:lnTo>
                  <a:pt x="40" y="68"/>
                </a:lnTo>
                <a:lnTo>
                  <a:pt x="40" y="68"/>
                </a:lnTo>
                <a:lnTo>
                  <a:pt x="36" y="70"/>
                </a:lnTo>
                <a:lnTo>
                  <a:pt x="36" y="70"/>
                </a:lnTo>
                <a:lnTo>
                  <a:pt x="36" y="70"/>
                </a:lnTo>
                <a:lnTo>
                  <a:pt x="36" y="70"/>
                </a:lnTo>
                <a:lnTo>
                  <a:pt x="36" y="70"/>
                </a:lnTo>
                <a:lnTo>
                  <a:pt x="36" y="70"/>
                </a:lnTo>
                <a:lnTo>
                  <a:pt x="36" y="70"/>
                </a:lnTo>
                <a:lnTo>
                  <a:pt x="36" y="70"/>
                </a:lnTo>
                <a:lnTo>
                  <a:pt x="36" y="70"/>
                </a:lnTo>
                <a:lnTo>
                  <a:pt x="36" y="70"/>
                </a:lnTo>
                <a:lnTo>
                  <a:pt x="32" y="70"/>
                </a:lnTo>
                <a:lnTo>
                  <a:pt x="32" y="70"/>
                </a:lnTo>
                <a:lnTo>
                  <a:pt x="32" y="70"/>
                </a:lnTo>
                <a:lnTo>
                  <a:pt x="32" y="70"/>
                </a:lnTo>
                <a:lnTo>
                  <a:pt x="32" y="70"/>
                </a:lnTo>
                <a:lnTo>
                  <a:pt x="32" y="70"/>
                </a:lnTo>
                <a:lnTo>
                  <a:pt x="32" y="70"/>
                </a:lnTo>
                <a:lnTo>
                  <a:pt x="32" y="74"/>
                </a:lnTo>
                <a:lnTo>
                  <a:pt x="30" y="74"/>
                </a:lnTo>
                <a:lnTo>
                  <a:pt x="30" y="70"/>
                </a:lnTo>
                <a:lnTo>
                  <a:pt x="30" y="70"/>
                </a:lnTo>
                <a:lnTo>
                  <a:pt x="30" y="70"/>
                </a:lnTo>
                <a:lnTo>
                  <a:pt x="26" y="70"/>
                </a:lnTo>
                <a:lnTo>
                  <a:pt x="26" y="70"/>
                </a:lnTo>
                <a:lnTo>
                  <a:pt x="26" y="70"/>
                </a:lnTo>
                <a:lnTo>
                  <a:pt x="26" y="70"/>
                </a:lnTo>
                <a:lnTo>
                  <a:pt x="26" y="70"/>
                </a:lnTo>
                <a:lnTo>
                  <a:pt x="22" y="70"/>
                </a:lnTo>
                <a:lnTo>
                  <a:pt x="22" y="70"/>
                </a:lnTo>
                <a:lnTo>
                  <a:pt x="22" y="70"/>
                </a:lnTo>
                <a:lnTo>
                  <a:pt x="22" y="70"/>
                </a:lnTo>
                <a:lnTo>
                  <a:pt x="22" y="70"/>
                </a:lnTo>
                <a:lnTo>
                  <a:pt x="18" y="70"/>
                </a:lnTo>
                <a:lnTo>
                  <a:pt x="18" y="70"/>
                </a:lnTo>
                <a:lnTo>
                  <a:pt x="18" y="70"/>
                </a:lnTo>
                <a:lnTo>
                  <a:pt x="18" y="68"/>
                </a:lnTo>
                <a:lnTo>
                  <a:pt x="18" y="68"/>
                </a:lnTo>
                <a:lnTo>
                  <a:pt x="18" y="68"/>
                </a:lnTo>
                <a:lnTo>
                  <a:pt x="18" y="68"/>
                </a:lnTo>
                <a:lnTo>
                  <a:pt x="18" y="68"/>
                </a:lnTo>
                <a:lnTo>
                  <a:pt x="22" y="68"/>
                </a:lnTo>
                <a:lnTo>
                  <a:pt x="22" y="68"/>
                </a:lnTo>
                <a:lnTo>
                  <a:pt x="22" y="68"/>
                </a:lnTo>
                <a:lnTo>
                  <a:pt x="22" y="64"/>
                </a:lnTo>
                <a:lnTo>
                  <a:pt x="22" y="64"/>
                </a:lnTo>
                <a:lnTo>
                  <a:pt x="18" y="64"/>
                </a:lnTo>
                <a:lnTo>
                  <a:pt x="18" y="60"/>
                </a:lnTo>
                <a:lnTo>
                  <a:pt x="18" y="60"/>
                </a:lnTo>
                <a:lnTo>
                  <a:pt x="18" y="60"/>
                </a:lnTo>
                <a:lnTo>
                  <a:pt x="18" y="64"/>
                </a:lnTo>
                <a:lnTo>
                  <a:pt x="18" y="64"/>
                </a:lnTo>
                <a:lnTo>
                  <a:pt x="14" y="64"/>
                </a:lnTo>
                <a:lnTo>
                  <a:pt x="14" y="64"/>
                </a:lnTo>
                <a:lnTo>
                  <a:pt x="14" y="68"/>
                </a:lnTo>
                <a:lnTo>
                  <a:pt x="10" y="68"/>
                </a:lnTo>
                <a:lnTo>
                  <a:pt x="10" y="64"/>
                </a:lnTo>
                <a:lnTo>
                  <a:pt x="10" y="64"/>
                </a:lnTo>
                <a:lnTo>
                  <a:pt x="10" y="64"/>
                </a:lnTo>
                <a:lnTo>
                  <a:pt x="10" y="60"/>
                </a:lnTo>
                <a:lnTo>
                  <a:pt x="10" y="60"/>
                </a:lnTo>
                <a:lnTo>
                  <a:pt x="10" y="60"/>
                </a:lnTo>
                <a:lnTo>
                  <a:pt x="10" y="56"/>
                </a:lnTo>
                <a:lnTo>
                  <a:pt x="10" y="56"/>
                </a:lnTo>
                <a:lnTo>
                  <a:pt x="10" y="52"/>
                </a:lnTo>
                <a:lnTo>
                  <a:pt x="10" y="56"/>
                </a:lnTo>
                <a:lnTo>
                  <a:pt x="10" y="52"/>
                </a:lnTo>
                <a:lnTo>
                  <a:pt x="10" y="52"/>
                </a:lnTo>
                <a:lnTo>
                  <a:pt x="10" y="52"/>
                </a:lnTo>
                <a:lnTo>
                  <a:pt x="10" y="52"/>
                </a:lnTo>
                <a:lnTo>
                  <a:pt x="10" y="52"/>
                </a:lnTo>
                <a:lnTo>
                  <a:pt x="10" y="52"/>
                </a:lnTo>
                <a:lnTo>
                  <a:pt x="10" y="52"/>
                </a:lnTo>
                <a:lnTo>
                  <a:pt x="10" y="52"/>
                </a:lnTo>
                <a:lnTo>
                  <a:pt x="10" y="52"/>
                </a:lnTo>
                <a:lnTo>
                  <a:pt x="10" y="52"/>
                </a:lnTo>
                <a:lnTo>
                  <a:pt x="10" y="52"/>
                </a:lnTo>
                <a:lnTo>
                  <a:pt x="10" y="52"/>
                </a:lnTo>
                <a:lnTo>
                  <a:pt x="10" y="52"/>
                </a:lnTo>
                <a:lnTo>
                  <a:pt x="10" y="52"/>
                </a:lnTo>
                <a:lnTo>
                  <a:pt x="10" y="52"/>
                </a:lnTo>
                <a:lnTo>
                  <a:pt x="10" y="48"/>
                </a:lnTo>
                <a:lnTo>
                  <a:pt x="10" y="48"/>
                </a:lnTo>
                <a:lnTo>
                  <a:pt x="10" y="48"/>
                </a:lnTo>
                <a:lnTo>
                  <a:pt x="6" y="48"/>
                </a:lnTo>
                <a:lnTo>
                  <a:pt x="10" y="48"/>
                </a:lnTo>
                <a:lnTo>
                  <a:pt x="10" y="48"/>
                </a:lnTo>
                <a:lnTo>
                  <a:pt x="10" y="48"/>
                </a:lnTo>
                <a:lnTo>
                  <a:pt x="10" y="52"/>
                </a:lnTo>
                <a:lnTo>
                  <a:pt x="10" y="52"/>
                </a:lnTo>
                <a:lnTo>
                  <a:pt x="10" y="52"/>
                </a:lnTo>
                <a:lnTo>
                  <a:pt x="10" y="52"/>
                </a:lnTo>
                <a:lnTo>
                  <a:pt x="10" y="52"/>
                </a:lnTo>
                <a:lnTo>
                  <a:pt x="10" y="52"/>
                </a:lnTo>
                <a:lnTo>
                  <a:pt x="10" y="52"/>
                </a:lnTo>
                <a:lnTo>
                  <a:pt x="10" y="52"/>
                </a:lnTo>
                <a:lnTo>
                  <a:pt x="10" y="52"/>
                </a:lnTo>
                <a:lnTo>
                  <a:pt x="10" y="48"/>
                </a:lnTo>
                <a:lnTo>
                  <a:pt x="6" y="48"/>
                </a:lnTo>
                <a:lnTo>
                  <a:pt x="6" y="48"/>
                </a:lnTo>
                <a:lnTo>
                  <a:pt x="6" y="48"/>
                </a:lnTo>
                <a:lnTo>
                  <a:pt x="6" y="44"/>
                </a:lnTo>
                <a:lnTo>
                  <a:pt x="6" y="42"/>
                </a:lnTo>
                <a:lnTo>
                  <a:pt x="6" y="42"/>
                </a:lnTo>
                <a:lnTo>
                  <a:pt x="6" y="38"/>
                </a:lnTo>
                <a:lnTo>
                  <a:pt x="6" y="38"/>
                </a:lnTo>
                <a:lnTo>
                  <a:pt x="4" y="38"/>
                </a:lnTo>
                <a:lnTo>
                  <a:pt x="4" y="34"/>
                </a:lnTo>
                <a:lnTo>
                  <a:pt x="4" y="34"/>
                </a:lnTo>
                <a:lnTo>
                  <a:pt x="4" y="34"/>
                </a:lnTo>
                <a:lnTo>
                  <a:pt x="4" y="34"/>
                </a:lnTo>
                <a:lnTo>
                  <a:pt x="4" y="34"/>
                </a:lnTo>
                <a:lnTo>
                  <a:pt x="4" y="34"/>
                </a:lnTo>
                <a:lnTo>
                  <a:pt x="4" y="34"/>
                </a:lnTo>
                <a:lnTo>
                  <a:pt x="4" y="30"/>
                </a:lnTo>
                <a:lnTo>
                  <a:pt x="4" y="26"/>
                </a:lnTo>
                <a:lnTo>
                  <a:pt x="4" y="26"/>
                </a:lnTo>
                <a:lnTo>
                  <a:pt x="0" y="22"/>
                </a:lnTo>
                <a:lnTo>
                  <a:pt x="0" y="22"/>
                </a:lnTo>
                <a:lnTo>
                  <a:pt x="0" y="22"/>
                </a:lnTo>
                <a:lnTo>
                  <a:pt x="0" y="22"/>
                </a:lnTo>
                <a:lnTo>
                  <a:pt x="0" y="20"/>
                </a:lnTo>
                <a:lnTo>
                  <a:pt x="4" y="20"/>
                </a:lnTo>
                <a:lnTo>
                  <a:pt x="4" y="20"/>
                </a:lnTo>
                <a:lnTo>
                  <a:pt x="4" y="20"/>
                </a:lnTo>
                <a:lnTo>
                  <a:pt x="4" y="20"/>
                </a:lnTo>
                <a:lnTo>
                  <a:pt x="4" y="20"/>
                </a:lnTo>
                <a:lnTo>
                  <a:pt x="4" y="20"/>
                </a:lnTo>
                <a:lnTo>
                  <a:pt x="4" y="20"/>
                </a:lnTo>
                <a:lnTo>
                  <a:pt x="4" y="20"/>
                </a:lnTo>
                <a:lnTo>
                  <a:pt x="4" y="20"/>
                </a:lnTo>
                <a:lnTo>
                  <a:pt x="4" y="16"/>
                </a:lnTo>
                <a:lnTo>
                  <a:pt x="6" y="16"/>
                </a:lnTo>
                <a:lnTo>
                  <a:pt x="6" y="16"/>
                </a:lnTo>
                <a:lnTo>
                  <a:pt x="6" y="16"/>
                </a:lnTo>
                <a:lnTo>
                  <a:pt x="6" y="12"/>
                </a:lnTo>
                <a:lnTo>
                  <a:pt x="6" y="12"/>
                </a:lnTo>
                <a:lnTo>
                  <a:pt x="6" y="12"/>
                </a:lnTo>
                <a:lnTo>
                  <a:pt x="6" y="12"/>
                </a:lnTo>
                <a:lnTo>
                  <a:pt x="10" y="12"/>
                </a:lnTo>
                <a:lnTo>
                  <a:pt x="10" y="8"/>
                </a:lnTo>
                <a:lnTo>
                  <a:pt x="10" y="8"/>
                </a:lnTo>
                <a:lnTo>
                  <a:pt x="10" y="8"/>
                </a:lnTo>
                <a:lnTo>
                  <a:pt x="10" y="8"/>
                </a:lnTo>
                <a:lnTo>
                  <a:pt x="10" y="8"/>
                </a:lnTo>
                <a:lnTo>
                  <a:pt x="10" y="8"/>
                </a:lnTo>
                <a:lnTo>
                  <a:pt x="10" y="8"/>
                </a:lnTo>
                <a:lnTo>
                  <a:pt x="10" y="8"/>
                </a:lnTo>
                <a:lnTo>
                  <a:pt x="10" y="8"/>
                </a:lnTo>
                <a:lnTo>
                  <a:pt x="10" y="8"/>
                </a:lnTo>
                <a:lnTo>
                  <a:pt x="14" y="8"/>
                </a:lnTo>
                <a:lnTo>
                  <a:pt x="14" y="4"/>
                </a:lnTo>
                <a:lnTo>
                  <a:pt x="14" y="4"/>
                </a:lnTo>
                <a:lnTo>
                  <a:pt x="14" y="4"/>
                </a:lnTo>
                <a:lnTo>
                  <a:pt x="14" y="4"/>
                </a:lnTo>
                <a:lnTo>
                  <a:pt x="18" y="4"/>
                </a:lnTo>
                <a:lnTo>
                  <a:pt x="18" y="4"/>
                </a:lnTo>
                <a:lnTo>
                  <a:pt x="18" y="4"/>
                </a:lnTo>
                <a:lnTo>
                  <a:pt x="18" y="4"/>
                </a:lnTo>
                <a:lnTo>
                  <a:pt x="22" y="4"/>
                </a:lnTo>
                <a:lnTo>
                  <a:pt x="22" y="4"/>
                </a:lnTo>
                <a:lnTo>
                  <a:pt x="22" y="4"/>
                </a:lnTo>
                <a:lnTo>
                  <a:pt x="26" y="4"/>
                </a:lnTo>
                <a:lnTo>
                  <a:pt x="26" y="4"/>
                </a:lnTo>
                <a:lnTo>
                  <a:pt x="26" y="4"/>
                </a:lnTo>
                <a:lnTo>
                  <a:pt x="26" y="4"/>
                </a:lnTo>
                <a:lnTo>
                  <a:pt x="30" y="4"/>
                </a:lnTo>
                <a:lnTo>
                  <a:pt x="30" y="4"/>
                </a:lnTo>
                <a:lnTo>
                  <a:pt x="30" y="4"/>
                </a:lnTo>
                <a:lnTo>
                  <a:pt x="30" y="4"/>
                </a:lnTo>
                <a:lnTo>
                  <a:pt x="32" y="4"/>
                </a:lnTo>
                <a:lnTo>
                  <a:pt x="32" y="4"/>
                </a:lnTo>
                <a:lnTo>
                  <a:pt x="32" y="4"/>
                </a:lnTo>
                <a:lnTo>
                  <a:pt x="32" y="4"/>
                </a:lnTo>
                <a:lnTo>
                  <a:pt x="36" y="4"/>
                </a:lnTo>
                <a:lnTo>
                  <a:pt x="36" y="4"/>
                </a:lnTo>
                <a:lnTo>
                  <a:pt x="36" y="4"/>
                </a:lnTo>
                <a:lnTo>
                  <a:pt x="36" y="4"/>
                </a:lnTo>
                <a:lnTo>
                  <a:pt x="36" y="4"/>
                </a:lnTo>
                <a:lnTo>
                  <a:pt x="36" y="4"/>
                </a:lnTo>
                <a:lnTo>
                  <a:pt x="36" y="8"/>
                </a:lnTo>
                <a:lnTo>
                  <a:pt x="36" y="8"/>
                </a:lnTo>
                <a:lnTo>
                  <a:pt x="40" y="8"/>
                </a:lnTo>
                <a:lnTo>
                  <a:pt x="40" y="8"/>
                </a:lnTo>
                <a:lnTo>
                  <a:pt x="40" y="8"/>
                </a:lnTo>
                <a:lnTo>
                  <a:pt x="40" y="8"/>
                </a:lnTo>
                <a:lnTo>
                  <a:pt x="40" y="8"/>
                </a:lnTo>
                <a:lnTo>
                  <a:pt x="40" y="4"/>
                </a:lnTo>
                <a:lnTo>
                  <a:pt x="40" y="4"/>
                </a:lnTo>
                <a:lnTo>
                  <a:pt x="40" y="8"/>
                </a:lnTo>
                <a:lnTo>
                  <a:pt x="44" y="8"/>
                </a:lnTo>
                <a:lnTo>
                  <a:pt x="44" y="12"/>
                </a:lnTo>
                <a:lnTo>
                  <a:pt x="44" y="12"/>
                </a:lnTo>
                <a:lnTo>
                  <a:pt x="44" y="8"/>
                </a:lnTo>
                <a:lnTo>
                  <a:pt x="48" y="8"/>
                </a:lnTo>
                <a:lnTo>
                  <a:pt x="48" y="12"/>
                </a:lnTo>
                <a:lnTo>
                  <a:pt x="48" y="12"/>
                </a:lnTo>
                <a:lnTo>
                  <a:pt x="48" y="12"/>
                </a:lnTo>
                <a:lnTo>
                  <a:pt x="52" y="12"/>
                </a:lnTo>
                <a:lnTo>
                  <a:pt x="52" y="12"/>
                </a:lnTo>
                <a:lnTo>
                  <a:pt x="52" y="12"/>
                </a:lnTo>
                <a:lnTo>
                  <a:pt x="52" y="12"/>
                </a:lnTo>
                <a:lnTo>
                  <a:pt x="52" y="12"/>
                </a:lnTo>
                <a:lnTo>
                  <a:pt x="54" y="12"/>
                </a:lnTo>
                <a:lnTo>
                  <a:pt x="54" y="12"/>
                </a:lnTo>
                <a:lnTo>
                  <a:pt x="54" y="12"/>
                </a:lnTo>
                <a:lnTo>
                  <a:pt x="54" y="8"/>
                </a:lnTo>
                <a:lnTo>
                  <a:pt x="52" y="8"/>
                </a:lnTo>
                <a:lnTo>
                  <a:pt x="52" y="8"/>
                </a:lnTo>
                <a:lnTo>
                  <a:pt x="52" y="4"/>
                </a:lnTo>
                <a:lnTo>
                  <a:pt x="54" y="4"/>
                </a:lnTo>
                <a:lnTo>
                  <a:pt x="54" y="4"/>
                </a:lnTo>
                <a:lnTo>
                  <a:pt x="54" y="4"/>
                </a:lnTo>
                <a:lnTo>
                  <a:pt x="54" y="4"/>
                </a:lnTo>
                <a:lnTo>
                  <a:pt x="54" y="4"/>
                </a:lnTo>
                <a:lnTo>
                  <a:pt x="54" y="4"/>
                </a:lnTo>
                <a:lnTo>
                  <a:pt x="54" y="4"/>
                </a:lnTo>
                <a:lnTo>
                  <a:pt x="54" y="4"/>
                </a:lnTo>
                <a:lnTo>
                  <a:pt x="54" y="4"/>
                </a:lnTo>
                <a:lnTo>
                  <a:pt x="54" y="4"/>
                </a:lnTo>
                <a:lnTo>
                  <a:pt x="58" y="4"/>
                </a:lnTo>
                <a:lnTo>
                  <a:pt x="58" y="4"/>
                </a:lnTo>
                <a:lnTo>
                  <a:pt x="58" y="4"/>
                </a:lnTo>
                <a:lnTo>
                  <a:pt x="58" y="0"/>
                </a:lnTo>
                <a:lnTo>
                  <a:pt x="58" y="0"/>
                </a:lnTo>
                <a:lnTo>
                  <a:pt x="62" y="4"/>
                </a:lnTo>
                <a:lnTo>
                  <a:pt x="62" y="4"/>
                </a:lnTo>
                <a:lnTo>
                  <a:pt x="62" y="4"/>
                </a:lnTo>
                <a:lnTo>
                  <a:pt x="62" y="4"/>
                </a:lnTo>
                <a:lnTo>
                  <a:pt x="62" y="4"/>
                </a:lnTo>
                <a:lnTo>
                  <a:pt x="62" y="4"/>
                </a:lnTo>
                <a:lnTo>
                  <a:pt x="62" y="8"/>
                </a:lnTo>
                <a:lnTo>
                  <a:pt x="70" y="4"/>
                </a:lnTo>
                <a:lnTo>
                  <a:pt x="70" y="4"/>
                </a:lnTo>
                <a:lnTo>
                  <a:pt x="70" y="4"/>
                </a:lnTo>
                <a:lnTo>
                  <a:pt x="70" y="4"/>
                </a:lnTo>
                <a:lnTo>
                  <a:pt x="70" y="0"/>
                </a:lnTo>
                <a:lnTo>
                  <a:pt x="74" y="0"/>
                </a:lnTo>
                <a:lnTo>
                  <a:pt x="74" y="0"/>
                </a:lnTo>
                <a:lnTo>
                  <a:pt x="74" y="0"/>
                </a:lnTo>
                <a:lnTo>
                  <a:pt x="74" y="0"/>
                </a:lnTo>
                <a:lnTo>
                  <a:pt x="74" y="0"/>
                </a:lnTo>
                <a:lnTo>
                  <a:pt x="74" y="4"/>
                </a:lnTo>
                <a:lnTo>
                  <a:pt x="74" y="4"/>
                </a:lnTo>
                <a:lnTo>
                  <a:pt x="74" y="4"/>
                </a:lnTo>
                <a:lnTo>
                  <a:pt x="74" y="4"/>
                </a:lnTo>
                <a:lnTo>
                  <a:pt x="74" y="4"/>
                </a:lnTo>
                <a:lnTo>
                  <a:pt x="70" y="4"/>
                </a:lnTo>
                <a:lnTo>
                  <a:pt x="74" y="8"/>
                </a:lnTo>
                <a:lnTo>
                  <a:pt x="74" y="8"/>
                </a:lnTo>
                <a:lnTo>
                  <a:pt x="70" y="8"/>
                </a:lnTo>
                <a:lnTo>
                  <a:pt x="70" y="8"/>
                </a:lnTo>
                <a:lnTo>
                  <a:pt x="70" y="12"/>
                </a:lnTo>
                <a:lnTo>
                  <a:pt x="74" y="12"/>
                </a:lnTo>
                <a:lnTo>
                  <a:pt x="74" y="12"/>
                </a:lnTo>
                <a:lnTo>
                  <a:pt x="74" y="16"/>
                </a:lnTo>
                <a:lnTo>
                  <a:pt x="74" y="16"/>
                </a:lnTo>
                <a:lnTo>
                  <a:pt x="74" y="20"/>
                </a:lnTo>
                <a:lnTo>
                  <a:pt x="74" y="20"/>
                </a:lnTo>
                <a:lnTo>
                  <a:pt x="74" y="22"/>
                </a:lnTo>
                <a:lnTo>
                  <a:pt x="74" y="22"/>
                </a:lnTo>
                <a:lnTo>
                  <a:pt x="74" y="30"/>
                </a:lnTo>
                <a:lnTo>
                  <a:pt x="74" y="30"/>
                </a:lnTo>
                <a:lnTo>
                  <a:pt x="74" y="30"/>
                </a:lnTo>
                <a:lnTo>
                  <a:pt x="74" y="30"/>
                </a:lnTo>
                <a:lnTo>
                  <a:pt x="74" y="34"/>
                </a:lnTo>
                <a:lnTo>
                  <a:pt x="74" y="38"/>
                </a:lnTo>
                <a:lnTo>
                  <a:pt x="74" y="38"/>
                </a:lnTo>
                <a:lnTo>
                  <a:pt x="74" y="42"/>
                </a:lnTo>
                <a:lnTo>
                  <a:pt x="74" y="42"/>
                </a:lnTo>
                <a:lnTo>
                  <a:pt x="74" y="42"/>
                </a:lnTo>
                <a:lnTo>
                  <a:pt x="74" y="42"/>
                </a:lnTo>
                <a:lnTo>
                  <a:pt x="74" y="42"/>
                </a:lnTo>
                <a:lnTo>
                  <a:pt x="70" y="42"/>
                </a:lnTo>
                <a:lnTo>
                  <a:pt x="70" y="42"/>
                </a:lnTo>
                <a:lnTo>
                  <a:pt x="70" y="42"/>
                </a:lnTo>
                <a:lnTo>
                  <a:pt x="70" y="42"/>
                </a:lnTo>
                <a:lnTo>
                  <a:pt x="70" y="42"/>
                </a:lnTo>
                <a:lnTo>
                  <a:pt x="70" y="42"/>
                </a:lnTo>
                <a:lnTo>
                  <a:pt x="66" y="42"/>
                </a:lnTo>
                <a:lnTo>
                  <a:pt x="66" y="44"/>
                </a:lnTo>
                <a:lnTo>
                  <a:pt x="66" y="44"/>
                </a:lnTo>
                <a:lnTo>
                  <a:pt x="66" y="44"/>
                </a:lnTo>
                <a:lnTo>
                  <a:pt x="66" y="44"/>
                </a:lnTo>
                <a:lnTo>
                  <a:pt x="66" y="44"/>
                </a:lnTo>
                <a:lnTo>
                  <a:pt x="66" y="44"/>
                </a:lnTo>
                <a:lnTo>
                  <a:pt x="62" y="44"/>
                </a:lnTo>
                <a:lnTo>
                  <a:pt x="62" y="44"/>
                </a:lnTo>
                <a:lnTo>
                  <a:pt x="62" y="44"/>
                </a:lnTo>
                <a:lnTo>
                  <a:pt x="62" y="48"/>
                </a:lnTo>
                <a:lnTo>
                  <a:pt x="62" y="44"/>
                </a:lnTo>
                <a:lnTo>
                  <a:pt x="58" y="44"/>
                </a:lnTo>
                <a:lnTo>
                  <a:pt x="58" y="44"/>
                </a:lnTo>
                <a:lnTo>
                  <a:pt x="58" y="44"/>
                </a:lnTo>
                <a:lnTo>
                  <a:pt x="58" y="48"/>
                </a:lnTo>
                <a:lnTo>
                  <a:pt x="58" y="48"/>
                </a:lnTo>
                <a:lnTo>
                  <a:pt x="58" y="48"/>
                </a:lnTo>
                <a:lnTo>
                  <a:pt x="58" y="52"/>
                </a:lnTo>
                <a:lnTo>
                  <a:pt x="58" y="52"/>
                </a:lnTo>
                <a:lnTo>
                  <a:pt x="58" y="52"/>
                </a:lnTo>
                <a:lnTo>
                  <a:pt x="54" y="52"/>
                </a:lnTo>
                <a:lnTo>
                  <a:pt x="54" y="52"/>
                </a:lnTo>
                <a:lnTo>
                  <a:pt x="54" y="48"/>
                </a:lnTo>
                <a:lnTo>
                  <a:pt x="52" y="48"/>
                </a:lnTo>
                <a:lnTo>
                  <a:pt x="52" y="48"/>
                </a:lnTo>
                <a:lnTo>
                  <a:pt x="52" y="52"/>
                </a:lnTo>
                <a:lnTo>
                  <a:pt x="52" y="52"/>
                </a:lnTo>
                <a:lnTo>
                  <a:pt x="52" y="52"/>
                </a:lnTo>
                <a:lnTo>
                  <a:pt x="52" y="52"/>
                </a:lnTo>
                <a:lnTo>
                  <a:pt x="52" y="52"/>
                </a:lnTo>
                <a:lnTo>
                  <a:pt x="52" y="52"/>
                </a:lnTo>
                <a:lnTo>
                  <a:pt x="52" y="52"/>
                </a:lnTo>
                <a:lnTo>
                  <a:pt x="52" y="52"/>
                </a:lnTo>
                <a:lnTo>
                  <a:pt x="52" y="52"/>
                </a:lnTo>
                <a:lnTo>
                  <a:pt x="52" y="56"/>
                </a:lnTo>
                <a:lnTo>
                  <a:pt x="52" y="56"/>
                </a:lnTo>
                <a:lnTo>
                  <a:pt x="52" y="60"/>
                </a:lnTo>
                <a:lnTo>
                  <a:pt x="52" y="60"/>
                </a:lnTo>
                <a:lnTo>
                  <a:pt x="52" y="60"/>
                </a:lnTo>
                <a:lnTo>
                  <a:pt x="54" y="64"/>
                </a:lnTo>
                <a:lnTo>
                  <a:pt x="54" y="64"/>
                </a:lnTo>
                <a:lnTo>
                  <a:pt x="54" y="64"/>
                </a:lnTo>
                <a:lnTo>
                  <a:pt x="54" y="64"/>
                </a:lnTo>
                <a:lnTo>
                  <a:pt x="54" y="64"/>
                </a:lnTo>
                <a:lnTo>
                  <a:pt x="54" y="64"/>
                </a:lnTo>
                <a:lnTo>
                  <a:pt x="54" y="64"/>
                </a:lnTo>
                <a:lnTo>
                  <a:pt x="54" y="64"/>
                </a:lnTo>
                <a:lnTo>
                  <a:pt x="54" y="68"/>
                </a:lnTo>
                <a:lnTo>
                  <a:pt x="54" y="68"/>
                </a:lnTo>
                <a:lnTo>
                  <a:pt x="54" y="68"/>
                </a:lnTo>
                <a:lnTo>
                  <a:pt x="52" y="64"/>
                </a:lnTo>
                <a:lnTo>
                  <a:pt x="52" y="64"/>
                </a:lnTo>
                <a:lnTo>
                  <a:pt x="48" y="64"/>
                </a:lnTo>
                <a:lnTo>
                  <a:pt x="48" y="64"/>
                </a:lnTo>
                <a:lnTo>
                  <a:pt x="48" y="64"/>
                </a:lnTo>
                <a:lnTo>
                  <a:pt x="48" y="64"/>
                </a:lnTo>
                <a:lnTo>
                  <a:pt x="48" y="64"/>
                </a:lnTo>
                <a:lnTo>
                  <a:pt x="48" y="64"/>
                </a:lnTo>
                <a:lnTo>
                  <a:pt x="48" y="64"/>
                </a:lnTo>
                <a:lnTo>
                  <a:pt x="44" y="64"/>
                </a:lnTo>
                <a:lnTo>
                  <a:pt x="44" y="64"/>
                </a:lnTo>
                <a:lnTo>
                  <a:pt x="44" y="64"/>
                </a:lnTo>
                <a:lnTo>
                  <a:pt x="44" y="64"/>
                </a:lnTo>
                <a:lnTo>
                  <a:pt x="44" y="68"/>
                </a:lnTo>
                <a:lnTo>
                  <a:pt x="44" y="68"/>
                </a:lnTo>
                <a:lnTo>
                  <a:pt x="40" y="64"/>
                </a:lnTo>
                <a:lnTo>
                  <a:pt x="40" y="64"/>
                </a:lnTo>
                <a:lnTo>
                  <a:pt x="40" y="64"/>
                </a:lnTo>
                <a:lnTo>
                  <a:pt x="40" y="64"/>
                </a:lnTo>
                <a:lnTo>
                  <a:pt x="40" y="64"/>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7" name="Freeform 24"/>
          <p:cNvSpPr>
            <a:spLocks noEditPoints="1"/>
          </p:cNvSpPr>
          <p:nvPr/>
        </p:nvSpPr>
        <p:spPr bwMode="auto">
          <a:xfrm>
            <a:off x="5495925" y="2524125"/>
            <a:ext cx="1028700" cy="802481"/>
          </a:xfrm>
          <a:custGeom>
            <a:avLst/>
            <a:gdLst>
              <a:gd name="T0" fmla="*/ 356 w 864"/>
              <a:gd name="T1" fmla="*/ 518 h 674"/>
              <a:gd name="T2" fmla="*/ 328 w 864"/>
              <a:gd name="T3" fmla="*/ 484 h 674"/>
              <a:gd name="T4" fmla="*/ 282 w 864"/>
              <a:gd name="T5" fmla="*/ 484 h 674"/>
              <a:gd name="T6" fmla="*/ 226 w 864"/>
              <a:gd name="T7" fmla="*/ 496 h 674"/>
              <a:gd name="T8" fmla="*/ 182 w 864"/>
              <a:gd name="T9" fmla="*/ 500 h 674"/>
              <a:gd name="T10" fmla="*/ 136 w 864"/>
              <a:gd name="T11" fmla="*/ 470 h 674"/>
              <a:gd name="T12" fmla="*/ 84 w 864"/>
              <a:gd name="T13" fmla="*/ 444 h 674"/>
              <a:gd name="T14" fmla="*/ 76 w 864"/>
              <a:gd name="T15" fmla="*/ 402 h 674"/>
              <a:gd name="T16" fmla="*/ 44 w 864"/>
              <a:gd name="T17" fmla="*/ 354 h 674"/>
              <a:gd name="T18" fmla="*/ 20 w 864"/>
              <a:gd name="T19" fmla="*/ 316 h 674"/>
              <a:gd name="T20" fmla="*/ 18 w 864"/>
              <a:gd name="T21" fmla="*/ 268 h 674"/>
              <a:gd name="T22" fmla="*/ 74 w 864"/>
              <a:gd name="T23" fmla="*/ 242 h 674"/>
              <a:gd name="T24" fmla="*/ 96 w 864"/>
              <a:gd name="T25" fmla="*/ 194 h 674"/>
              <a:gd name="T26" fmla="*/ 122 w 864"/>
              <a:gd name="T27" fmla="*/ 164 h 674"/>
              <a:gd name="T28" fmla="*/ 170 w 864"/>
              <a:gd name="T29" fmla="*/ 120 h 674"/>
              <a:gd name="T30" fmla="*/ 218 w 864"/>
              <a:gd name="T31" fmla="*/ 112 h 674"/>
              <a:gd name="T32" fmla="*/ 242 w 864"/>
              <a:gd name="T33" fmla="*/ 168 h 674"/>
              <a:gd name="T34" fmla="*/ 312 w 864"/>
              <a:gd name="T35" fmla="*/ 198 h 674"/>
              <a:gd name="T36" fmla="*/ 386 w 864"/>
              <a:gd name="T37" fmla="*/ 220 h 674"/>
              <a:gd name="T38" fmla="*/ 476 w 864"/>
              <a:gd name="T39" fmla="*/ 228 h 674"/>
              <a:gd name="T40" fmla="*/ 542 w 864"/>
              <a:gd name="T41" fmla="*/ 198 h 674"/>
              <a:gd name="T42" fmla="*/ 600 w 864"/>
              <a:gd name="T43" fmla="*/ 164 h 674"/>
              <a:gd name="T44" fmla="*/ 656 w 864"/>
              <a:gd name="T45" fmla="*/ 138 h 674"/>
              <a:gd name="T46" fmla="*/ 600 w 864"/>
              <a:gd name="T47" fmla="*/ 108 h 674"/>
              <a:gd name="T48" fmla="*/ 648 w 864"/>
              <a:gd name="T49" fmla="*/ 64 h 674"/>
              <a:gd name="T50" fmla="*/ 676 w 864"/>
              <a:gd name="T51" fmla="*/ 4 h 674"/>
              <a:gd name="T52" fmla="*/ 744 w 864"/>
              <a:gd name="T53" fmla="*/ 18 h 674"/>
              <a:gd name="T54" fmla="*/ 762 w 864"/>
              <a:gd name="T55" fmla="*/ 78 h 674"/>
              <a:gd name="T56" fmla="*/ 814 w 864"/>
              <a:gd name="T57" fmla="*/ 120 h 674"/>
              <a:gd name="T58" fmla="*/ 856 w 864"/>
              <a:gd name="T59" fmla="*/ 138 h 674"/>
              <a:gd name="T60" fmla="*/ 814 w 864"/>
              <a:gd name="T61" fmla="*/ 180 h 674"/>
              <a:gd name="T62" fmla="*/ 796 w 864"/>
              <a:gd name="T63" fmla="*/ 220 h 674"/>
              <a:gd name="T64" fmla="*/ 748 w 864"/>
              <a:gd name="T65" fmla="*/ 242 h 674"/>
              <a:gd name="T66" fmla="*/ 696 w 864"/>
              <a:gd name="T67" fmla="*/ 284 h 674"/>
              <a:gd name="T68" fmla="*/ 688 w 864"/>
              <a:gd name="T69" fmla="*/ 268 h 674"/>
              <a:gd name="T70" fmla="*/ 628 w 864"/>
              <a:gd name="T71" fmla="*/ 286 h 674"/>
              <a:gd name="T72" fmla="*/ 662 w 864"/>
              <a:gd name="T73" fmla="*/ 320 h 674"/>
              <a:gd name="T74" fmla="*/ 666 w 864"/>
              <a:gd name="T75" fmla="*/ 340 h 674"/>
              <a:gd name="T76" fmla="*/ 662 w 864"/>
              <a:gd name="T77" fmla="*/ 384 h 674"/>
              <a:gd name="T78" fmla="*/ 662 w 864"/>
              <a:gd name="T79" fmla="*/ 424 h 674"/>
              <a:gd name="T80" fmla="*/ 676 w 864"/>
              <a:gd name="T81" fmla="*/ 448 h 674"/>
              <a:gd name="T82" fmla="*/ 680 w 864"/>
              <a:gd name="T83" fmla="*/ 470 h 674"/>
              <a:gd name="T84" fmla="*/ 670 w 864"/>
              <a:gd name="T85" fmla="*/ 496 h 674"/>
              <a:gd name="T86" fmla="*/ 658 w 864"/>
              <a:gd name="T87" fmla="*/ 522 h 674"/>
              <a:gd name="T88" fmla="*/ 648 w 864"/>
              <a:gd name="T89" fmla="*/ 540 h 674"/>
              <a:gd name="T90" fmla="*/ 626 w 864"/>
              <a:gd name="T91" fmla="*/ 564 h 674"/>
              <a:gd name="T92" fmla="*/ 588 w 864"/>
              <a:gd name="T93" fmla="*/ 592 h 674"/>
              <a:gd name="T94" fmla="*/ 562 w 864"/>
              <a:gd name="T95" fmla="*/ 592 h 674"/>
              <a:gd name="T96" fmla="*/ 536 w 864"/>
              <a:gd name="T97" fmla="*/ 616 h 674"/>
              <a:gd name="T98" fmla="*/ 514 w 864"/>
              <a:gd name="T99" fmla="*/ 620 h 674"/>
              <a:gd name="T100" fmla="*/ 486 w 864"/>
              <a:gd name="T101" fmla="*/ 616 h 674"/>
              <a:gd name="T102" fmla="*/ 430 w 864"/>
              <a:gd name="T103" fmla="*/ 592 h 674"/>
              <a:gd name="T104" fmla="*/ 402 w 864"/>
              <a:gd name="T105" fmla="*/ 620 h 674"/>
              <a:gd name="T106" fmla="*/ 364 w 864"/>
              <a:gd name="T107" fmla="*/ 586 h 674"/>
              <a:gd name="T108" fmla="*/ 670 w 864"/>
              <a:gd name="T109" fmla="*/ 556 h 674"/>
              <a:gd name="T110" fmla="*/ 670 w 864"/>
              <a:gd name="T111" fmla="*/ 600 h 674"/>
              <a:gd name="T112" fmla="*/ 498 w 864"/>
              <a:gd name="T113" fmla="*/ 662 h 674"/>
              <a:gd name="T114" fmla="*/ 524 w 864"/>
              <a:gd name="T115" fmla="*/ 656 h 674"/>
              <a:gd name="T116" fmla="*/ 684 w 864"/>
              <a:gd name="T117" fmla="*/ 458 h 674"/>
              <a:gd name="T118" fmla="*/ 520 w 864"/>
              <a:gd name="T119" fmla="*/ 622 h 674"/>
              <a:gd name="T120" fmla="*/ 566 w 864"/>
              <a:gd name="T121" fmla="*/ 590 h 674"/>
              <a:gd name="T122" fmla="*/ 628 w 864"/>
              <a:gd name="T123" fmla="*/ 564 h 674"/>
              <a:gd name="T124" fmla="*/ 576 w 864"/>
              <a:gd name="T125" fmla="*/ 604 h 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64" h="674">
                <a:moveTo>
                  <a:pt x="342" y="574"/>
                </a:moveTo>
                <a:lnTo>
                  <a:pt x="342" y="570"/>
                </a:lnTo>
                <a:lnTo>
                  <a:pt x="338" y="570"/>
                </a:lnTo>
                <a:lnTo>
                  <a:pt x="342" y="570"/>
                </a:lnTo>
                <a:lnTo>
                  <a:pt x="342" y="566"/>
                </a:lnTo>
                <a:lnTo>
                  <a:pt x="342" y="564"/>
                </a:lnTo>
                <a:lnTo>
                  <a:pt x="338" y="564"/>
                </a:lnTo>
                <a:lnTo>
                  <a:pt x="338" y="560"/>
                </a:lnTo>
                <a:lnTo>
                  <a:pt x="338" y="556"/>
                </a:lnTo>
                <a:lnTo>
                  <a:pt x="342" y="556"/>
                </a:lnTo>
                <a:lnTo>
                  <a:pt x="342" y="552"/>
                </a:lnTo>
                <a:lnTo>
                  <a:pt x="342" y="548"/>
                </a:lnTo>
                <a:lnTo>
                  <a:pt x="346" y="548"/>
                </a:lnTo>
                <a:lnTo>
                  <a:pt x="346" y="544"/>
                </a:lnTo>
                <a:lnTo>
                  <a:pt x="348" y="540"/>
                </a:lnTo>
                <a:lnTo>
                  <a:pt x="352" y="540"/>
                </a:lnTo>
                <a:lnTo>
                  <a:pt x="352" y="536"/>
                </a:lnTo>
                <a:lnTo>
                  <a:pt x="356" y="536"/>
                </a:lnTo>
                <a:lnTo>
                  <a:pt x="352" y="536"/>
                </a:lnTo>
                <a:lnTo>
                  <a:pt x="352" y="534"/>
                </a:lnTo>
                <a:lnTo>
                  <a:pt x="356" y="534"/>
                </a:lnTo>
                <a:lnTo>
                  <a:pt x="356" y="530"/>
                </a:lnTo>
                <a:lnTo>
                  <a:pt x="356" y="526"/>
                </a:lnTo>
                <a:lnTo>
                  <a:pt x="356" y="522"/>
                </a:lnTo>
                <a:lnTo>
                  <a:pt x="356" y="518"/>
                </a:lnTo>
                <a:lnTo>
                  <a:pt x="356" y="514"/>
                </a:lnTo>
                <a:lnTo>
                  <a:pt x="356" y="510"/>
                </a:lnTo>
                <a:lnTo>
                  <a:pt x="356" y="508"/>
                </a:lnTo>
                <a:lnTo>
                  <a:pt x="352" y="508"/>
                </a:lnTo>
                <a:lnTo>
                  <a:pt x="352" y="504"/>
                </a:lnTo>
                <a:lnTo>
                  <a:pt x="352" y="508"/>
                </a:lnTo>
                <a:lnTo>
                  <a:pt x="348" y="508"/>
                </a:lnTo>
                <a:lnTo>
                  <a:pt x="348" y="504"/>
                </a:lnTo>
                <a:lnTo>
                  <a:pt x="348" y="500"/>
                </a:lnTo>
                <a:lnTo>
                  <a:pt x="346" y="500"/>
                </a:lnTo>
                <a:lnTo>
                  <a:pt x="346" y="496"/>
                </a:lnTo>
                <a:lnTo>
                  <a:pt x="346" y="492"/>
                </a:lnTo>
                <a:lnTo>
                  <a:pt x="342" y="492"/>
                </a:lnTo>
                <a:lnTo>
                  <a:pt x="342" y="488"/>
                </a:lnTo>
                <a:lnTo>
                  <a:pt x="338" y="488"/>
                </a:lnTo>
                <a:lnTo>
                  <a:pt x="338" y="492"/>
                </a:lnTo>
                <a:lnTo>
                  <a:pt x="334" y="492"/>
                </a:lnTo>
                <a:lnTo>
                  <a:pt x="334" y="496"/>
                </a:lnTo>
                <a:lnTo>
                  <a:pt x="334" y="492"/>
                </a:lnTo>
                <a:lnTo>
                  <a:pt x="330" y="492"/>
                </a:lnTo>
                <a:lnTo>
                  <a:pt x="328" y="492"/>
                </a:lnTo>
                <a:lnTo>
                  <a:pt x="328" y="488"/>
                </a:lnTo>
                <a:lnTo>
                  <a:pt x="324" y="492"/>
                </a:lnTo>
                <a:lnTo>
                  <a:pt x="324" y="488"/>
                </a:lnTo>
                <a:lnTo>
                  <a:pt x="328" y="484"/>
                </a:lnTo>
                <a:lnTo>
                  <a:pt x="324" y="480"/>
                </a:lnTo>
                <a:lnTo>
                  <a:pt x="324" y="478"/>
                </a:lnTo>
                <a:lnTo>
                  <a:pt x="324" y="480"/>
                </a:lnTo>
                <a:lnTo>
                  <a:pt x="320" y="480"/>
                </a:lnTo>
                <a:lnTo>
                  <a:pt x="320" y="478"/>
                </a:lnTo>
                <a:lnTo>
                  <a:pt x="324" y="478"/>
                </a:lnTo>
                <a:lnTo>
                  <a:pt x="324" y="474"/>
                </a:lnTo>
                <a:lnTo>
                  <a:pt x="320" y="478"/>
                </a:lnTo>
                <a:lnTo>
                  <a:pt x="320" y="474"/>
                </a:lnTo>
                <a:lnTo>
                  <a:pt x="320" y="470"/>
                </a:lnTo>
                <a:lnTo>
                  <a:pt x="316" y="474"/>
                </a:lnTo>
                <a:lnTo>
                  <a:pt x="312" y="474"/>
                </a:lnTo>
                <a:lnTo>
                  <a:pt x="312" y="478"/>
                </a:lnTo>
                <a:lnTo>
                  <a:pt x="308" y="478"/>
                </a:lnTo>
                <a:lnTo>
                  <a:pt x="308" y="480"/>
                </a:lnTo>
                <a:lnTo>
                  <a:pt x="304" y="478"/>
                </a:lnTo>
                <a:lnTo>
                  <a:pt x="302" y="478"/>
                </a:lnTo>
                <a:lnTo>
                  <a:pt x="302" y="474"/>
                </a:lnTo>
                <a:lnTo>
                  <a:pt x="298" y="474"/>
                </a:lnTo>
                <a:lnTo>
                  <a:pt x="298" y="478"/>
                </a:lnTo>
                <a:lnTo>
                  <a:pt x="294" y="478"/>
                </a:lnTo>
                <a:lnTo>
                  <a:pt x="290" y="480"/>
                </a:lnTo>
                <a:lnTo>
                  <a:pt x="290" y="484"/>
                </a:lnTo>
                <a:lnTo>
                  <a:pt x="286" y="484"/>
                </a:lnTo>
                <a:lnTo>
                  <a:pt x="282" y="484"/>
                </a:lnTo>
                <a:lnTo>
                  <a:pt x="278" y="488"/>
                </a:lnTo>
                <a:lnTo>
                  <a:pt x="278" y="492"/>
                </a:lnTo>
                <a:lnTo>
                  <a:pt x="274" y="492"/>
                </a:lnTo>
                <a:lnTo>
                  <a:pt x="272" y="496"/>
                </a:lnTo>
                <a:lnTo>
                  <a:pt x="272" y="500"/>
                </a:lnTo>
                <a:lnTo>
                  <a:pt x="268" y="500"/>
                </a:lnTo>
                <a:lnTo>
                  <a:pt x="264" y="504"/>
                </a:lnTo>
                <a:lnTo>
                  <a:pt x="264" y="500"/>
                </a:lnTo>
                <a:lnTo>
                  <a:pt x="264" y="504"/>
                </a:lnTo>
                <a:lnTo>
                  <a:pt x="260" y="504"/>
                </a:lnTo>
                <a:lnTo>
                  <a:pt x="256" y="504"/>
                </a:lnTo>
                <a:lnTo>
                  <a:pt x="256" y="500"/>
                </a:lnTo>
                <a:lnTo>
                  <a:pt x="252" y="500"/>
                </a:lnTo>
                <a:lnTo>
                  <a:pt x="252" y="496"/>
                </a:lnTo>
                <a:lnTo>
                  <a:pt x="248" y="496"/>
                </a:lnTo>
                <a:lnTo>
                  <a:pt x="248" y="500"/>
                </a:lnTo>
                <a:lnTo>
                  <a:pt x="246" y="500"/>
                </a:lnTo>
                <a:lnTo>
                  <a:pt x="246" y="496"/>
                </a:lnTo>
                <a:lnTo>
                  <a:pt x="242" y="496"/>
                </a:lnTo>
                <a:lnTo>
                  <a:pt x="238" y="496"/>
                </a:lnTo>
                <a:lnTo>
                  <a:pt x="238" y="492"/>
                </a:lnTo>
                <a:lnTo>
                  <a:pt x="234" y="492"/>
                </a:lnTo>
                <a:lnTo>
                  <a:pt x="230" y="492"/>
                </a:lnTo>
                <a:lnTo>
                  <a:pt x="230" y="496"/>
                </a:lnTo>
                <a:lnTo>
                  <a:pt x="226" y="496"/>
                </a:lnTo>
                <a:lnTo>
                  <a:pt x="222" y="500"/>
                </a:lnTo>
                <a:lnTo>
                  <a:pt x="222" y="504"/>
                </a:lnTo>
                <a:lnTo>
                  <a:pt x="218" y="504"/>
                </a:lnTo>
                <a:lnTo>
                  <a:pt x="218" y="508"/>
                </a:lnTo>
                <a:lnTo>
                  <a:pt x="218" y="510"/>
                </a:lnTo>
                <a:lnTo>
                  <a:pt x="216" y="510"/>
                </a:lnTo>
                <a:lnTo>
                  <a:pt x="216" y="508"/>
                </a:lnTo>
                <a:lnTo>
                  <a:pt x="216" y="504"/>
                </a:lnTo>
                <a:lnTo>
                  <a:pt x="216" y="500"/>
                </a:lnTo>
                <a:lnTo>
                  <a:pt x="216" y="496"/>
                </a:lnTo>
                <a:lnTo>
                  <a:pt x="212" y="496"/>
                </a:lnTo>
                <a:lnTo>
                  <a:pt x="208" y="500"/>
                </a:lnTo>
                <a:lnTo>
                  <a:pt x="204" y="500"/>
                </a:lnTo>
                <a:lnTo>
                  <a:pt x="200" y="500"/>
                </a:lnTo>
                <a:lnTo>
                  <a:pt x="200" y="504"/>
                </a:lnTo>
                <a:lnTo>
                  <a:pt x="200" y="500"/>
                </a:lnTo>
                <a:lnTo>
                  <a:pt x="200" y="504"/>
                </a:lnTo>
                <a:lnTo>
                  <a:pt x="196" y="504"/>
                </a:lnTo>
                <a:lnTo>
                  <a:pt x="196" y="500"/>
                </a:lnTo>
                <a:lnTo>
                  <a:pt x="192" y="500"/>
                </a:lnTo>
                <a:lnTo>
                  <a:pt x="192" y="504"/>
                </a:lnTo>
                <a:lnTo>
                  <a:pt x="192" y="500"/>
                </a:lnTo>
                <a:lnTo>
                  <a:pt x="188" y="500"/>
                </a:lnTo>
                <a:lnTo>
                  <a:pt x="186" y="496"/>
                </a:lnTo>
                <a:lnTo>
                  <a:pt x="182" y="500"/>
                </a:lnTo>
                <a:lnTo>
                  <a:pt x="178" y="500"/>
                </a:lnTo>
                <a:lnTo>
                  <a:pt x="178" y="496"/>
                </a:lnTo>
                <a:lnTo>
                  <a:pt x="178" y="500"/>
                </a:lnTo>
                <a:lnTo>
                  <a:pt x="174" y="500"/>
                </a:lnTo>
                <a:lnTo>
                  <a:pt x="174" y="496"/>
                </a:lnTo>
                <a:lnTo>
                  <a:pt x="170" y="492"/>
                </a:lnTo>
                <a:lnTo>
                  <a:pt x="166" y="492"/>
                </a:lnTo>
                <a:lnTo>
                  <a:pt x="162" y="492"/>
                </a:lnTo>
                <a:lnTo>
                  <a:pt x="162" y="488"/>
                </a:lnTo>
                <a:lnTo>
                  <a:pt x="162" y="484"/>
                </a:lnTo>
                <a:lnTo>
                  <a:pt x="162" y="488"/>
                </a:lnTo>
                <a:lnTo>
                  <a:pt x="160" y="488"/>
                </a:lnTo>
                <a:lnTo>
                  <a:pt x="156" y="488"/>
                </a:lnTo>
                <a:lnTo>
                  <a:pt x="156" y="484"/>
                </a:lnTo>
                <a:lnTo>
                  <a:pt x="152" y="484"/>
                </a:lnTo>
                <a:lnTo>
                  <a:pt x="152" y="480"/>
                </a:lnTo>
                <a:lnTo>
                  <a:pt x="152" y="478"/>
                </a:lnTo>
                <a:lnTo>
                  <a:pt x="148" y="478"/>
                </a:lnTo>
                <a:lnTo>
                  <a:pt x="148" y="474"/>
                </a:lnTo>
                <a:lnTo>
                  <a:pt x="144" y="474"/>
                </a:lnTo>
                <a:lnTo>
                  <a:pt x="144" y="478"/>
                </a:lnTo>
                <a:lnTo>
                  <a:pt x="140" y="478"/>
                </a:lnTo>
                <a:lnTo>
                  <a:pt x="140" y="474"/>
                </a:lnTo>
                <a:lnTo>
                  <a:pt x="136" y="474"/>
                </a:lnTo>
                <a:lnTo>
                  <a:pt x="136" y="470"/>
                </a:lnTo>
                <a:lnTo>
                  <a:pt x="132" y="470"/>
                </a:lnTo>
                <a:lnTo>
                  <a:pt x="132" y="466"/>
                </a:lnTo>
                <a:lnTo>
                  <a:pt x="130" y="466"/>
                </a:lnTo>
                <a:lnTo>
                  <a:pt x="126" y="462"/>
                </a:lnTo>
                <a:lnTo>
                  <a:pt x="122" y="458"/>
                </a:lnTo>
                <a:lnTo>
                  <a:pt x="122" y="462"/>
                </a:lnTo>
                <a:lnTo>
                  <a:pt x="122" y="458"/>
                </a:lnTo>
                <a:lnTo>
                  <a:pt x="122" y="454"/>
                </a:lnTo>
                <a:lnTo>
                  <a:pt x="118" y="454"/>
                </a:lnTo>
                <a:lnTo>
                  <a:pt x="114" y="454"/>
                </a:lnTo>
                <a:lnTo>
                  <a:pt x="110" y="454"/>
                </a:lnTo>
                <a:lnTo>
                  <a:pt x="110" y="458"/>
                </a:lnTo>
                <a:lnTo>
                  <a:pt x="106" y="462"/>
                </a:lnTo>
                <a:lnTo>
                  <a:pt x="106" y="458"/>
                </a:lnTo>
                <a:lnTo>
                  <a:pt x="104" y="458"/>
                </a:lnTo>
                <a:lnTo>
                  <a:pt x="106" y="458"/>
                </a:lnTo>
                <a:lnTo>
                  <a:pt x="104" y="458"/>
                </a:lnTo>
                <a:lnTo>
                  <a:pt x="104" y="454"/>
                </a:lnTo>
                <a:lnTo>
                  <a:pt x="100" y="454"/>
                </a:lnTo>
                <a:lnTo>
                  <a:pt x="96" y="452"/>
                </a:lnTo>
                <a:lnTo>
                  <a:pt x="92" y="452"/>
                </a:lnTo>
                <a:lnTo>
                  <a:pt x="96" y="448"/>
                </a:lnTo>
                <a:lnTo>
                  <a:pt x="92" y="448"/>
                </a:lnTo>
                <a:lnTo>
                  <a:pt x="88" y="444"/>
                </a:lnTo>
                <a:lnTo>
                  <a:pt x="84" y="444"/>
                </a:lnTo>
                <a:lnTo>
                  <a:pt x="80" y="444"/>
                </a:lnTo>
                <a:lnTo>
                  <a:pt x="80" y="440"/>
                </a:lnTo>
                <a:lnTo>
                  <a:pt x="80" y="436"/>
                </a:lnTo>
                <a:lnTo>
                  <a:pt x="76" y="436"/>
                </a:lnTo>
                <a:lnTo>
                  <a:pt x="74" y="436"/>
                </a:lnTo>
                <a:lnTo>
                  <a:pt x="74" y="440"/>
                </a:lnTo>
                <a:lnTo>
                  <a:pt x="74" y="436"/>
                </a:lnTo>
                <a:lnTo>
                  <a:pt x="74" y="432"/>
                </a:lnTo>
                <a:lnTo>
                  <a:pt x="74" y="428"/>
                </a:lnTo>
                <a:lnTo>
                  <a:pt x="74" y="424"/>
                </a:lnTo>
                <a:lnTo>
                  <a:pt x="70" y="424"/>
                </a:lnTo>
                <a:lnTo>
                  <a:pt x="70" y="422"/>
                </a:lnTo>
                <a:lnTo>
                  <a:pt x="70" y="418"/>
                </a:lnTo>
                <a:lnTo>
                  <a:pt x="70" y="414"/>
                </a:lnTo>
                <a:lnTo>
                  <a:pt x="74" y="414"/>
                </a:lnTo>
                <a:lnTo>
                  <a:pt x="74" y="418"/>
                </a:lnTo>
                <a:lnTo>
                  <a:pt x="76" y="418"/>
                </a:lnTo>
                <a:lnTo>
                  <a:pt x="80" y="414"/>
                </a:lnTo>
                <a:lnTo>
                  <a:pt x="80" y="418"/>
                </a:lnTo>
                <a:lnTo>
                  <a:pt x="84" y="414"/>
                </a:lnTo>
                <a:lnTo>
                  <a:pt x="84" y="410"/>
                </a:lnTo>
                <a:lnTo>
                  <a:pt x="80" y="410"/>
                </a:lnTo>
                <a:lnTo>
                  <a:pt x="80" y="406"/>
                </a:lnTo>
                <a:lnTo>
                  <a:pt x="80" y="402"/>
                </a:lnTo>
                <a:lnTo>
                  <a:pt x="76" y="402"/>
                </a:lnTo>
                <a:lnTo>
                  <a:pt x="76" y="398"/>
                </a:lnTo>
                <a:lnTo>
                  <a:pt x="74" y="398"/>
                </a:lnTo>
                <a:lnTo>
                  <a:pt x="74" y="396"/>
                </a:lnTo>
                <a:lnTo>
                  <a:pt x="74" y="392"/>
                </a:lnTo>
                <a:lnTo>
                  <a:pt x="74" y="388"/>
                </a:lnTo>
                <a:lnTo>
                  <a:pt x="74" y="384"/>
                </a:lnTo>
                <a:lnTo>
                  <a:pt x="76" y="384"/>
                </a:lnTo>
                <a:lnTo>
                  <a:pt x="76" y="380"/>
                </a:lnTo>
                <a:lnTo>
                  <a:pt x="74" y="376"/>
                </a:lnTo>
                <a:lnTo>
                  <a:pt x="70" y="376"/>
                </a:lnTo>
                <a:lnTo>
                  <a:pt x="66" y="376"/>
                </a:lnTo>
                <a:lnTo>
                  <a:pt x="66" y="372"/>
                </a:lnTo>
                <a:lnTo>
                  <a:pt x="66" y="368"/>
                </a:lnTo>
                <a:lnTo>
                  <a:pt x="62" y="366"/>
                </a:lnTo>
                <a:lnTo>
                  <a:pt x="58" y="368"/>
                </a:lnTo>
                <a:lnTo>
                  <a:pt x="60" y="368"/>
                </a:lnTo>
                <a:lnTo>
                  <a:pt x="58" y="368"/>
                </a:lnTo>
                <a:lnTo>
                  <a:pt x="56" y="366"/>
                </a:lnTo>
                <a:lnTo>
                  <a:pt x="58" y="366"/>
                </a:lnTo>
                <a:lnTo>
                  <a:pt x="52" y="364"/>
                </a:lnTo>
                <a:lnTo>
                  <a:pt x="52" y="362"/>
                </a:lnTo>
                <a:lnTo>
                  <a:pt x="50" y="358"/>
                </a:lnTo>
                <a:lnTo>
                  <a:pt x="48" y="358"/>
                </a:lnTo>
                <a:lnTo>
                  <a:pt x="44" y="358"/>
                </a:lnTo>
                <a:lnTo>
                  <a:pt x="44" y="354"/>
                </a:lnTo>
                <a:lnTo>
                  <a:pt x="42" y="354"/>
                </a:lnTo>
                <a:lnTo>
                  <a:pt x="40" y="354"/>
                </a:lnTo>
                <a:lnTo>
                  <a:pt x="36" y="354"/>
                </a:lnTo>
                <a:lnTo>
                  <a:pt x="36" y="350"/>
                </a:lnTo>
                <a:lnTo>
                  <a:pt x="32" y="350"/>
                </a:lnTo>
                <a:lnTo>
                  <a:pt x="32" y="346"/>
                </a:lnTo>
                <a:lnTo>
                  <a:pt x="36" y="346"/>
                </a:lnTo>
                <a:lnTo>
                  <a:pt x="32" y="342"/>
                </a:lnTo>
                <a:lnTo>
                  <a:pt x="32" y="342"/>
                </a:lnTo>
                <a:lnTo>
                  <a:pt x="30" y="340"/>
                </a:lnTo>
                <a:lnTo>
                  <a:pt x="26" y="338"/>
                </a:lnTo>
                <a:lnTo>
                  <a:pt x="24" y="336"/>
                </a:lnTo>
                <a:lnTo>
                  <a:pt x="24" y="336"/>
                </a:lnTo>
                <a:lnTo>
                  <a:pt x="20" y="332"/>
                </a:lnTo>
                <a:lnTo>
                  <a:pt x="18" y="332"/>
                </a:lnTo>
                <a:lnTo>
                  <a:pt x="14" y="332"/>
                </a:lnTo>
                <a:lnTo>
                  <a:pt x="10" y="328"/>
                </a:lnTo>
                <a:lnTo>
                  <a:pt x="14" y="328"/>
                </a:lnTo>
                <a:lnTo>
                  <a:pt x="18" y="324"/>
                </a:lnTo>
                <a:lnTo>
                  <a:pt x="18" y="328"/>
                </a:lnTo>
                <a:lnTo>
                  <a:pt x="20" y="324"/>
                </a:lnTo>
                <a:lnTo>
                  <a:pt x="20" y="320"/>
                </a:lnTo>
                <a:lnTo>
                  <a:pt x="18" y="320"/>
                </a:lnTo>
                <a:lnTo>
                  <a:pt x="18" y="316"/>
                </a:lnTo>
                <a:lnTo>
                  <a:pt x="20" y="316"/>
                </a:lnTo>
                <a:lnTo>
                  <a:pt x="18" y="316"/>
                </a:lnTo>
                <a:lnTo>
                  <a:pt x="18" y="312"/>
                </a:lnTo>
                <a:lnTo>
                  <a:pt x="18" y="310"/>
                </a:lnTo>
                <a:lnTo>
                  <a:pt x="18" y="306"/>
                </a:lnTo>
                <a:lnTo>
                  <a:pt x="18" y="302"/>
                </a:lnTo>
                <a:lnTo>
                  <a:pt x="14" y="302"/>
                </a:lnTo>
                <a:lnTo>
                  <a:pt x="10" y="298"/>
                </a:lnTo>
                <a:lnTo>
                  <a:pt x="6" y="298"/>
                </a:lnTo>
                <a:lnTo>
                  <a:pt x="6" y="302"/>
                </a:lnTo>
                <a:lnTo>
                  <a:pt x="4" y="302"/>
                </a:lnTo>
                <a:lnTo>
                  <a:pt x="4" y="298"/>
                </a:lnTo>
                <a:lnTo>
                  <a:pt x="4" y="294"/>
                </a:lnTo>
                <a:lnTo>
                  <a:pt x="4" y="290"/>
                </a:lnTo>
                <a:lnTo>
                  <a:pt x="0" y="286"/>
                </a:lnTo>
                <a:lnTo>
                  <a:pt x="4" y="286"/>
                </a:lnTo>
                <a:lnTo>
                  <a:pt x="4" y="284"/>
                </a:lnTo>
                <a:lnTo>
                  <a:pt x="6" y="284"/>
                </a:lnTo>
                <a:lnTo>
                  <a:pt x="6" y="280"/>
                </a:lnTo>
                <a:lnTo>
                  <a:pt x="4" y="280"/>
                </a:lnTo>
                <a:lnTo>
                  <a:pt x="4" y="276"/>
                </a:lnTo>
                <a:lnTo>
                  <a:pt x="6" y="272"/>
                </a:lnTo>
                <a:lnTo>
                  <a:pt x="10" y="272"/>
                </a:lnTo>
                <a:lnTo>
                  <a:pt x="14" y="272"/>
                </a:lnTo>
                <a:lnTo>
                  <a:pt x="14" y="268"/>
                </a:lnTo>
                <a:lnTo>
                  <a:pt x="18" y="268"/>
                </a:lnTo>
                <a:lnTo>
                  <a:pt x="18" y="264"/>
                </a:lnTo>
                <a:lnTo>
                  <a:pt x="20" y="264"/>
                </a:lnTo>
                <a:lnTo>
                  <a:pt x="24" y="264"/>
                </a:lnTo>
                <a:lnTo>
                  <a:pt x="24" y="260"/>
                </a:lnTo>
                <a:lnTo>
                  <a:pt x="28" y="260"/>
                </a:lnTo>
                <a:lnTo>
                  <a:pt x="28" y="264"/>
                </a:lnTo>
                <a:lnTo>
                  <a:pt x="28" y="268"/>
                </a:lnTo>
                <a:lnTo>
                  <a:pt x="32" y="268"/>
                </a:lnTo>
                <a:lnTo>
                  <a:pt x="36" y="264"/>
                </a:lnTo>
                <a:lnTo>
                  <a:pt x="40" y="264"/>
                </a:lnTo>
                <a:lnTo>
                  <a:pt x="40" y="268"/>
                </a:lnTo>
                <a:lnTo>
                  <a:pt x="40" y="264"/>
                </a:lnTo>
                <a:lnTo>
                  <a:pt x="44" y="264"/>
                </a:lnTo>
                <a:lnTo>
                  <a:pt x="44" y="260"/>
                </a:lnTo>
                <a:lnTo>
                  <a:pt x="44" y="254"/>
                </a:lnTo>
                <a:lnTo>
                  <a:pt x="48" y="254"/>
                </a:lnTo>
                <a:lnTo>
                  <a:pt x="50" y="254"/>
                </a:lnTo>
                <a:lnTo>
                  <a:pt x="54" y="254"/>
                </a:lnTo>
                <a:lnTo>
                  <a:pt x="58" y="254"/>
                </a:lnTo>
                <a:lnTo>
                  <a:pt x="62" y="254"/>
                </a:lnTo>
                <a:lnTo>
                  <a:pt x="66" y="254"/>
                </a:lnTo>
                <a:lnTo>
                  <a:pt x="66" y="250"/>
                </a:lnTo>
                <a:lnTo>
                  <a:pt x="66" y="246"/>
                </a:lnTo>
                <a:lnTo>
                  <a:pt x="70" y="246"/>
                </a:lnTo>
                <a:lnTo>
                  <a:pt x="74" y="242"/>
                </a:lnTo>
                <a:lnTo>
                  <a:pt x="76" y="242"/>
                </a:lnTo>
                <a:lnTo>
                  <a:pt x="76" y="238"/>
                </a:lnTo>
                <a:lnTo>
                  <a:pt x="80" y="238"/>
                </a:lnTo>
                <a:lnTo>
                  <a:pt x="84" y="238"/>
                </a:lnTo>
                <a:lnTo>
                  <a:pt x="88" y="238"/>
                </a:lnTo>
                <a:lnTo>
                  <a:pt x="88" y="234"/>
                </a:lnTo>
                <a:lnTo>
                  <a:pt x="92" y="234"/>
                </a:lnTo>
                <a:lnTo>
                  <a:pt x="96" y="234"/>
                </a:lnTo>
                <a:lnTo>
                  <a:pt x="96" y="230"/>
                </a:lnTo>
                <a:lnTo>
                  <a:pt x="92" y="230"/>
                </a:lnTo>
                <a:lnTo>
                  <a:pt x="96" y="230"/>
                </a:lnTo>
                <a:lnTo>
                  <a:pt x="96" y="228"/>
                </a:lnTo>
                <a:lnTo>
                  <a:pt x="92" y="228"/>
                </a:lnTo>
                <a:lnTo>
                  <a:pt x="92" y="224"/>
                </a:lnTo>
                <a:lnTo>
                  <a:pt x="96" y="220"/>
                </a:lnTo>
                <a:lnTo>
                  <a:pt x="100" y="216"/>
                </a:lnTo>
                <a:lnTo>
                  <a:pt x="96" y="216"/>
                </a:lnTo>
                <a:lnTo>
                  <a:pt x="100" y="214"/>
                </a:lnTo>
                <a:lnTo>
                  <a:pt x="104" y="214"/>
                </a:lnTo>
                <a:lnTo>
                  <a:pt x="104" y="210"/>
                </a:lnTo>
                <a:lnTo>
                  <a:pt x="100" y="206"/>
                </a:lnTo>
                <a:lnTo>
                  <a:pt x="100" y="202"/>
                </a:lnTo>
                <a:lnTo>
                  <a:pt x="100" y="198"/>
                </a:lnTo>
                <a:lnTo>
                  <a:pt x="96" y="198"/>
                </a:lnTo>
                <a:lnTo>
                  <a:pt x="96" y="194"/>
                </a:lnTo>
                <a:lnTo>
                  <a:pt x="96" y="190"/>
                </a:lnTo>
                <a:lnTo>
                  <a:pt x="96" y="186"/>
                </a:lnTo>
                <a:lnTo>
                  <a:pt x="96" y="184"/>
                </a:lnTo>
                <a:lnTo>
                  <a:pt x="100" y="184"/>
                </a:lnTo>
                <a:lnTo>
                  <a:pt x="100" y="180"/>
                </a:lnTo>
                <a:lnTo>
                  <a:pt x="96" y="180"/>
                </a:lnTo>
                <a:lnTo>
                  <a:pt x="92" y="180"/>
                </a:lnTo>
                <a:lnTo>
                  <a:pt x="88" y="180"/>
                </a:lnTo>
                <a:lnTo>
                  <a:pt x="92" y="176"/>
                </a:lnTo>
                <a:lnTo>
                  <a:pt x="96" y="176"/>
                </a:lnTo>
                <a:lnTo>
                  <a:pt x="100" y="172"/>
                </a:lnTo>
                <a:lnTo>
                  <a:pt x="104" y="172"/>
                </a:lnTo>
                <a:lnTo>
                  <a:pt x="106" y="172"/>
                </a:lnTo>
                <a:lnTo>
                  <a:pt x="110" y="172"/>
                </a:lnTo>
                <a:lnTo>
                  <a:pt x="110" y="168"/>
                </a:lnTo>
                <a:lnTo>
                  <a:pt x="114" y="168"/>
                </a:lnTo>
                <a:lnTo>
                  <a:pt x="114" y="172"/>
                </a:lnTo>
                <a:lnTo>
                  <a:pt x="118" y="172"/>
                </a:lnTo>
                <a:lnTo>
                  <a:pt x="122" y="172"/>
                </a:lnTo>
                <a:lnTo>
                  <a:pt x="126" y="172"/>
                </a:lnTo>
                <a:lnTo>
                  <a:pt x="130" y="172"/>
                </a:lnTo>
                <a:lnTo>
                  <a:pt x="130" y="168"/>
                </a:lnTo>
                <a:lnTo>
                  <a:pt x="126" y="168"/>
                </a:lnTo>
                <a:lnTo>
                  <a:pt x="126" y="164"/>
                </a:lnTo>
                <a:lnTo>
                  <a:pt x="122" y="164"/>
                </a:lnTo>
                <a:lnTo>
                  <a:pt x="126" y="160"/>
                </a:lnTo>
                <a:lnTo>
                  <a:pt x="126" y="158"/>
                </a:lnTo>
                <a:lnTo>
                  <a:pt x="126" y="154"/>
                </a:lnTo>
                <a:lnTo>
                  <a:pt x="126" y="150"/>
                </a:lnTo>
                <a:lnTo>
                  <a:pt x="130" y="150"/>
                </a:lnTo>
                <a:lnTo>
                  <a:pt x="130" y="146"/>
                </a:lnTo>
                <a:lnTo>
                  <a:pt x="130" y="142"/>
                </a:lnTo>
                <a:lnTo>
                  <a:pt x="132" y="138"/>
                </a:lnTo>
                <a:lnTo>
                  <a:pt x="132" y="134"/>
                </a:lnTo>
                <a:lnTo>
                  <a:pt x="132" y="130"/>
                </a:lnTo>
                <a:lnTo>
                  <a:pt x="136" y="130"/>
                </a:lnTo>
                <a:lnTo>
                  <a:pt x="140" y="134"/>
                </a:lnTo>
                <a:lnTo>
                  <a:pt x="144" y="134"/>
                </a:lnTo>
                <a:lnTo>
                  <a:pt x="148" y="134"/>
                </a:lnTo>
                <a:lnTo>
                  <a:pt x="152" y="134"/>
                </a:lnTo>
                <a:lnTo>
                  <a:pt x="156" y="134"/>
                </a:lnTo>
                <a:lnTo>
                  <a:pt x="160" y="138"/>
                </a:lnTo>
                <a:lnTo>
                  <a:pt x="162" y="138"/>
                </a:lnTo>
                <a:lnTo>
                  <a:pt x="162" y="134"/>
                </a:lnTo>
                <a:lnTo>
                  <a:pt x="166" y="134"/>
                </a:lnTo>
                <a:lnTo>
                  <a:pt x="170" y="134"/>
                </a:lnTo>
                <a:lnTo>
                  <a:pt x="170" y="130"/>
                </a:lnTo>
                <a:lnTo>
                  <a:pt x="170" y="128"/>
                </a:lnTo>
                <a:lnTo>
                  <a:pt x="170" y="124"/>
                </a:lnTo>
                <a:lnTo>
                  <a:pt x="170" y="120"/>
                </a:lnTo>
                <a:lnTo>
                  <a:pt x="170" y="116"/>
                </a:lnTo>
                <a:lnTo>
                  <a:pt x="170" y="112"/>
                </a:lnTo>
                <a:lnTo>
                  <a:pt x="170" y="108"/>
                </a:lnTo>
                <a:lnTo>
                  <a:pt x="174" y="108"/>
                </a:lnTo>
                <a:lnTo>
                  <a:pt x="174" y="104"/>
                </a:lnTo>
                <a:lnTo>
                  <a:pt x="178" y="104"/>
                </a:lnTo>
                <a:lnTo>
                  <a:pt x="182" y="104"/>
                </a:lnTo>
                <a:lnTo>
                  <a:pt x="186" y="104"/>
                </a:lnTo>
                <a:lnTo>
                  <a:pt x="186" y="102"/>
                </a:lnTo>
                <a:lnTo>
                  <a:pt x="186" y="98"/>
                </a:lnTo>
                <a:lnTo>
                  <a:pt x="186" y="94"/>
                </a:lnTo>
                <a:lnTo>
                  <a:pt x="188" y="94"/>
                </a:lnTo>
                <a:lnTo>
                  <a:pt x="192" y="94"/>
                </a:lnTo>
                <a:lnTo>
                  <a:pt x="196" y="94"/>
                </a:lnTo>
                <a:lnTo>
                  <a:pt x="200" y="90"/>
                </a:lnTo>
                <a:lnTo>
                  <a:pt x="200" y="94"/>
                </a:lnTo>
                <a:lnTo>
                  <a:pt x="204" y="94"/>
                </a:lnTo>
                <a:lnTo>
                  <a:pt x="200" y="98"/>
                </a:lnTo>
                <a:lnTo>
                  <a:pt x="204" y="102"/>
                </a:lnTo>
                <a:lnTo>
                  <a:pt x="204" y="104"/>
                </a:lnTo>
                <a:lnTo>
                  <a:pt x="208" y="104"/>
                </a:lnTo>
                <a:lnTo>
                  <a:pt x="212" y="108"/>
                </a:lnTo>
                <a:lnTo>
                  <a:pt x="212" y="112"/>
                </a:lnTo>
                <a:lnTo>
                  <a:pt x="216" y="112"/>
                </a:lnTo>
                <a:lnTo>
                  <a:pt x="218" y="112"/>
                </a:lnTo>
                <a:lnTo>
                  <a:pt x="218" y="116"/>
                </a:lnTo>
                <a:lnTo>
                  <a:pt x="222" y="116"/>
                </a:lnTo>
                <a:lnTo>
                  <a:pt x="226" y="116"/>
                </a:lnTo>
                <a:lnTo>
                  <a:pt x="230" y="120"/>
                </a:lnTo>
                <a:lnTo>
                  <a:pt x="230" y="116"/>
                </a:lnTo>
                <a:lnTo>
                  <a:pt x="234" y="116"/>
                </a:lnTo>
                <a:lnTo>
                  <a:pt x="234" y="120"/>
                </a:lnTo>
                <a:lnTo>
                  <a:pt x="238" y="120"/>
                </a:lnTo>
                <a:lnTo>
                  <a:pt x="238" y="124"/>
                </a:lnTo>
                <a:lnTo>
                  <a:pt x="238" y="128"/>
                </a:lnTo>
                <a:lnTo>
                  <a:pt x="238" y="130"/>
                </a:lnTo>
                <a:lnTo>
                  <a:pt x="242" y="130"/>
                </a:lnTo>
                <a:lnTo>
                  <a:pt x="242" y="134"/>
                </a:lnTo>
                <a:lnTo>
                  <a:pt x="246" y="134"/>
                </a:lnTo>
                <a:lnTo>
                  <a:pt x="246" y="138"/>
                </a:lnTo>
                <a:lnTo>
                  <a:pt x="246" y="142"/>
                </a:lnTo>
                <a:lnTo>
                  <a:pt x="248" y="142"/>
                </a:lnTo>
                <a:lnTo>
                  <a:pt x="246" y="142"/>
                </a:lnTo>
                <a:lnTo>
                  <a:pt x="248" y="146"/>
                </a:lnTo>
                <a:lnTo>
                  <a:pt x="246" y="150"/>
                </a:lnTo>
                <a:lnTo>
                  <a:pt x="246" y="154"/>
                </a:lnTo>
                <a:lnTo>
                  <a:pt x="246" y="158"/>
                </a:lnTo>
                <a:lnTo>
                  <a:pt x="242" y="160"/>
                </a:lnTo>
                <a:lnTo>
                  <a:pt x="242" y="164"/>
                </a:lnTo>
                <a:lnTo>
                  <a:pt x="242" y="168"/>
                </a:lnTo>
                <a:lnTo>
                  <a:pt x="246" y="168"/>
                </a:lnTo>
                <a:lnTo>
                  <a:pt x="246" y="172"/>
                </a:lnTo>
                <a:lnTo>
                  <a:pt x="248" y="172"/>
                </a:lnTo>
                <a:lnTo>
                  <a:pt x="252" y="172"/>
                </a:lnTo>
                <a:lnTo>
                  <a:pt x="252" y="176"/>
                </a:lnTo>
                <a:lnTo>
                  <a:pt x="260" y="176"/>
                </a:lnTo>
                <a:lnTo>
                  <a:pt x="264" y="176"/>
                </a:lnTo>
                <a:lnTo>
                  <a:pt x="268" y="176"/>
                </a:lnTo>
                <a:lnTo>
                  <a:pt x="272" y="176"/>
                </a:lnTo>
                <a:lnTo>
                  <a:pt x="274" y="176"/>
                </a:lnTo>
                <a:lnTo>
                  <a:pt x="278" y="176"/>
                </a:lnTo>
                <a:lnTo>
                  <a:pt x="282" y="176"/>
                </a:lnTo>
                <a:lnTo>
                  <a:pt x="282" y="180"/>
                </a:lnTo>
                <a:lnTo>
                  <a:pt x="286" y="180"/>
                </a:lnTo>
                <a:lnTo>
                  <a:pt x="290" y="180"/>
                </a:lnTo>
                <a:lnTo>
                  <a:pt x="290" y="184"/>
                </a:lnTo>
                <a:lnTo>
                  <a:pt x="294" y="184"/>
                </a:lnTo>
                <a:lnTo>
                  <a:pt x="294" y="186"/>
                </a:lnTo>
                <a:lnTo>
                  <a:pt x="298" y="186"/>
                </a:lnTo>
                <a:lnTo>
                  <a:pt x="298" y="190"/>
                </a:lnTo>
                <a:lnTo>
                  <a:pt x="304" y="190"/>
                </a:lnTo>
                <a:lnTo>
                  <a:pt x="308" y="190"/>
                </a:lnTo>
                <a:lnTo>
                  <a:pt x="308" y="194"/>
                </a:lnTo>
                <a:lnTo>
                  <a:pt x="312" y="194"/>
                </a:lnTo>
                <a:lnTo>
                  <a:pt x="312" y="198"/>
                </a:lnTo>
                <a:lnTo>
                  <a:pt x="312" y="202"/>
                </a:lnTo>
                <a:lnTo>
                  <a:pt x="312" y="206"/>
                </a:lnTo>
                <a:lnTo>
                  <a:pt x="316" y="206"/>
                </a:lnTo>
                <a:lnTo>
                  <a:pt x="316" y="210"/>
                </a:lnTo>
                <a:lnTo>
                  <a:pt x="316" y="214"/>
                </a:lnTo>
                <a:lnTo>
                  <a:pt x="320" y="214"/>
                </a:lnTo>
                <a:lnTo>
                  <a:pt x="324" y="216"/>
                </a:lnTo>
                <a:lnTo>
                  <a:pt x="324" y="220"/>
                </a:lnTo>
                <a:lnTo>
                  <a:pt x="328" y="220"/>
                </a:lnTo>
                <a:lnTo>
                  <a:pt x="330" y="220"/>
                </a:lnTo>
                <a:lnTo>
                  <a:pt x="334" y="220"/>
                </a:lnTo>
                <a:lnTo>
                  <a:pt x="338" y="220"/>
                </a:lnTo>
                <a:lnTo>
                  <a:pt x="342" y="220"/>
                </a:lnTo>
                <a:lnTo>
                  <a:pt x="346" y="220"/>
                </a:lnTo>
                <a:lnTo>
                  <a:pt x="348" y="224"/>
                </a:lnTo>
                <a:lnTo>
                  <a:pt x="352" y="224"/>
                </a:lnTo>
                <a:lnTo>
                  <a:pt x="356" y="224"/>
                </a:lnTo>
                <a:lnTo>
                  <a:pt x="360" y="224"/>
                </a:lnTo>
                <a:lnTo>
                  <a:pt x="364" y="224"/>
                </a:lnTo>
                <a:lnTo>
                  <a:pt x="368" y="224"/>
                </a:lnTo>
                <a:lnTo>
                  <a:pt x="372" y="224"/>
                </a:lnTo>
                <a:lnTo>
                  <a:pt x="374" y="224"/>
                </a:lnTo>
                <a:lnTo>
                  <a:pt x="378" y="220"/>
                </a:lnTo>
                <a:lnTo>
                  <a:pt x="382" y="220"/>
                </a:lnTo>
                <a:lnTo>
                  <a:pt x="386" y="220"/>
                </a:lnTo>
                <a:lnTo>
                  <a:pt x="386" y="224"/>
                </a:lnTo>
                <a:lnTo>
                  <a:pt x="390" y="224"/>
                </a:lnTo>
                <a:lnTo>
                  <a:pt x="394" y="224"/>
                </a:lnTo>
                <a:lnTo>
                  <a:pt x="398" y="224"/>
                </a:lnTo>
                <a:lnTo>
                  <a:pt x="402" y="228"/>
                </a:lnTo>
                <a:lnTo>
                  <a:pt x="402" y="230"/>
                </a:lnTo>
                <a:lnTo>
                  <a:pt x="408" y="230"/>
                </a:lnTo>
                <a:lnTo>
                  <a:pt x="412" y="230"/>
                </a:lnTo>
                <a:lnTo>
                  <a:pt x="416" y="234"/>
                </a:lnTo>
                <a:lnTo>
                  <a:pt x="420" y="234"/>
                </a:lnTo>
                <a:lnTo>
                  <a:pt x="420" y="238"/>
                </a:lnTo>
                <a:lnTo>
                  <a:pt x="428" y="238"/>
                </a:lnTo>
                <a:lnTo>
                  <a:pt x="430" y="238"/>
                </a:lnTo>
                <a:lnTo>
                  <a:pt x="438" y="238"/>
                </a:lnTo>
                <a:lnTo>
                  <a:pt x="438" y="242"/>
                </a:lnTo>
                <a:lnTo>
                  <a:pt x="442" y="242"/>
                </a:lnTo>
                <a:lnTo>
                  <a:pt x="446" y="238"/>
                </a:lnTo>
                <a:lnTo>
                  <a:pt x="450" y="238"/>
                </a:lnTo>
                <a:lnTo>
                  <a:pt x="454" y="238"/>
                </a:lnTo>
                <a:lnTo>
                  <a:pt x="458" y="234"/>
                </a:lnTo>
                <a:lnTo>
                  <a:pt x="460" y="234"/>
                </a:lnTo>
                <a:lnTo>
                  <a:pt x="464" y="230"/>
                </a:lnTo>
                <a:lnTo>
                  <a:pt x="468" y="228"/>
                </a:lnTo>
                <a:lnTo>
                  <a:pt x="472" y="228"/>
                </a:lnTo>
                <a:lnTo>
                  <a:pt x="476" y="228"/>
                </a:lnTo>
                <a:lnTo>
                  <a:pt x="480" y="228"/>
                </a:lnTo>
                <a:lnTo>
                  <a:pt x="484" y="228"/>
                </a:lnTo>
                <a:lnTo>
                  <a:pt x="490" y="228"/>
                </a:lnTo>
                <a:lnTo>
                  <a:pt x="494" y="228"/>
                </a:lnTo>
                <a:lnTo>
                  <a:pt x="498" y="228"/>
                </a:lnTo>
                <a:lnTo>
                  <a:pt x="502" y="228"/>
                </a:lnTo>
                <a:lnTo>
                  <a:pt x="506" y="228"/>
                </a:lnTo>
                <a:lnTo>
                  <a:pt x="510" y="228"/>
                </a:lnTo>
                <a:lnTo>
                  <a:pt x="510" y="224"/>
                </a:lnTo>
                <a:lnTo>
                  <a:pt x="514" y="224"/>
                </a:lnTo>
                <a:lnTo>
                  <a:pt x="516" y="224"/>
                </a:lnTo>
                <a:lnTo>
                  <a:pt x="516" y="220"/>
                </a:lnTo>
                <a:lnTo>
                  <a:pt x="520" y="220"/>
                </a:lnTo>
                <a:lnTo>
                  <a:pt x="520" y="216"/>
                </a:lnTo>
                <a:lnTo>
                  <a:pt x="524" y="216"/>
                </a:lnTo>
                <a:lnTo>
                  <a:pt x="524" y="214"/>
                </a:lnTo>
                <a:lnTo>
                  <a:pt x="528" y="214"/>
                </a:lnTo>
                <a:lnTo>
                  <a:pt x="528" y="210"/>
                </a:lnTo>
                <a:lnTo>
                  <a:pt x="532" y="210"/>
                </a:lnTo>
                <a:lnTo>
                  <a:pt x="532" y="206"/>
                </a:lnTo>
                <a:lnTo>
                  <a:pt x="536" y="206"/>
                </a:lnTo>
                <a:lnTo>
                  <a:pt x="540" y="206"/>
                </a:lnTo>
                <a:lnTo>
                  <a:pt x="540" y="202"/>
                </a:lnTo>
                <a:lnTo>
                  <a:pt x="542" y="202"/>
                </a:lnTo>
                <a:lnTo>
                  <a:pt x="542" y="198"/>
                </a:lnTo>
                <a:lnTo>
                  <a:pt x="540" y="194"/>
                </a:lnTo>
                <a:lnTo>
                  <a:pt x="536" y="190"/>
                </a:lnTo>
                <a:lnTo>
                  <a:pt x="536" y="186"/>
                </a:lnTo>
                <a:lnTo>
                  <a:pt x="536" y="184"/>
                </a:lnTo>
                <a:lnTo>
                  <a:pt x="540" y="180"/>
                </a:lnTo>
                <a:lnTo>
                  <a:pt x="540" y="176"/>
                </a:lnTo>
                <a:lnTo>
                  <a:pt x="542" y="176"/>
                </a:lnTo>
                <a:lnTo>
                  <a:pt x="546" y="176"/>
                </a:lnTo>
                <a:lnTo>
                  <a:pt x="550" y="176"/>
                </a:lnTo>
                <a:lnTo>
                  <a:pt x="554" y="180"/>
                </a:lnTo>
                <a:lnTo>
                  <a:pt x="558" y="180"/>
                </a:lnTo>
                <a:lnTo>
                  <a:pt x="562" y="180"/>
                </a:lnTo>
                <a:lnTo>
                  <a:pt x="566" y="180"/>
                </a:lnTo>
                <a:lnTo>
                  <a:pt x="570" y="180"/>
                </a:lnTo>
                <a:lnTo>
                  <a:pt x="570" y="176"/>
                </a:lnTo>
                <a:lnTo>
                  <a:pt x="572" y="176"/>
                </a:lnTo>
                <a:lnTo>
                  <a:pt x="576" y="176"/>
                </a:lnTo>
                <a:lnTo>
                  <a:pt x="576" y="172"/>
                </a:lnTo>
                <a:lnTo>
                  <a:pt x="580" y="168"/>
                </a:lnTo>
                <a:lnTo>
                  <a:pt x="584" y="168"/>
                </a:lnTo>
                <a:lnTo>
                  <a:pt x="588" y="168"/>
                </a:lnTo>
                <a:lnTo>
                  <a:pt x="592" y="168"/>
                </a:lnTo>
                <a:lnTo>
                  <a:pt x="596" y="168"/>
                </a:lnTo>
                <a:lnTo>
                  <a:pt x="596" y="164"/>
                </a:lnTo>
                <a:lnTo>
                  <a:pt x="600" y="164"/>
                </a:lnTo>
                <a:lnTo>
                  <a:pt x="600" y="160"/>
                </a:lnTo>
                <a:lnTo>
                  <a:pt x="602" y="160"/>
                </a:lnTo>
                <a:lnTo>
                  <a:pt x="602" y="158"/>
                </a:lnTo>
                <a:lnTo>
                  <a:pt x="606" y="154"/>
                </a:lnTo>
                <a:lnTo>
                  <a:pt x="606" y="150"/>
                </a:lnTo>
                <a:lnTo>
                  <a:pt x="610" y="150"/>
                </a:lnTo>
                <a:lnTo>
                  <a:pt x="614" y="150"/>
                </a:lnTo>
                <a:lnTo>
                  <a:pt x="618" y="150"/>
                </a:lnTo>
                <a:lnTo>
                  <a:pt x="618" y="146"/>
                </a:lnTo>
                <a:lnTo>
                  <a:pt x="622" y="146"/>
                </a:lnTo>
                <a:lnTo>
                  <a:pt x="622" y="142"/>
                </a:lnTo>
                <a:lnTo>
                  <a:pt x="622" y="146"/>
                </a:lnTo>
                <a:lnTo>
                  <a:pt x="626" y="146"/>
                </a:lnTo>
                <a:lnTo>
                  <a:pt x="626" y="142"/>
                </a:lnTo>
                <a:lnTo>
                  <a:pt x="628" y="142"/>
                </a:lnTo>
                <a:lnTo>
                  <a:pt x="632" y="142"/>
                </a:lnTo>
                <a:lnTo>
                  <a:pt x="636" y="142"/>
                </a:lnTo>
                <a:lnTo>
                  <a:pt x="640" y="142"/>
                </a:lnTo>
                <a:lnTo>
                  <a:pt x="640" y="138"/>
                </a:lnTo>
                <a:lnTo>
                  <a:pt x="640" y="142"/>
                </a:lnTo>
                <a:lnTo>
                  <a:pt x="644" y="142"/>
                </a:lnTo>
                <a:lnTo>
                  <a:pt x="648" y="142"/>
                </a:lnTo>
                <a:lnTo>
                  <a:pt x="652" y="142"/>
                </a:lnTo>
                <a:lnTo>
                  <a:pt x="656" y="142"/>
                </a:lnTo>
                <a:lnTo>
                  <a:pt x="656" y="138"/>
                </a:lnTo>
                <a:lnTo>
                  <a:pt x="656" y="134"/>
                </a:lnTo>
                <a:lnTo>
                  <a:pt x="652" y="130"/>
                </a:lnTo>
                <a:lnTo>
                  <a:pt x="648" y="130"/>
                </a:lnTo>
                <a:lnTo>
                  <a:pt x="648" y="128"/>
                </a:lnTo>
                <a:lnTo>
                  <a:pt x="648" y="124"/>
                </a:lnTo>
                <a:lnTo>
                  <a:pt x="644" y="124"/>
                </a:lnTo>
                <a:lnTo>
                  <a:pt x="640" y="120"/>
                </a:lnTo>
                <a:lnTo>
                  <a:pt x="636" y="116"/>
                </a:lnTo>
                <a:lnTo>
                  <a:pt x="632" y="116"/>
                </a:lnTo>
                <a:lnTo>
                  <a:pt x="628" y="116"/>
                </a:lnTo>
                <a:lnTo>
                  <a:pt x="626" y="116"/>
                </a:lnTo>
                <a:lnTo>
                  <a:pt x="622" y="116"/>
                </a:lnTo>
                <a:lnTo>
                  <a:pt x="622" y="120"/>
                </a:lnTo>
                <a:lnTo>
                  <a:pt x="618" y="124"/>
                </a:lnTo>
                <a:lnTo>
                  <a:pt x="614" y="120"/>
                </a:lnTo>
                <a:lnTo>
                  <a:pt x="614" y="116"/>
                </a:lnTo>
                <a:lnTo>
                  <a:pt x="610" y="116"/>
                </a:lnTo>
                <a:lnTo>
                  <a:pt x="606" y="120"/>
                </a:lnTo>
                <a:lnTo>
                  <a:pt x="602" y="116"/>
                </a:lnTo>
                <a:lnTo>
                  <a:pt x="602" y="120"/>
                </a:lnTo>
                <a:lnTo>
                  <a:pt x="600" y="120"/>
                </a:lnTo>
                <a:lnTo>
                  <a:pt x="596" y="116"/>
                </a:lnTo>
                <a:lnTo>
                  <a:pt x="592" y="112"/>
                </a:lnTo>
                <a:lnTo>
                  <a:pt x="596" y="112"/>
                </a:lnTo>
                <a:lnTo>
                  <a:pt x="600" y="108"/>
                </a:lnTo>
                <a:lnTo>
                  <a:pt x="596" y="104"/>
                </a:lnTo>
                <a:lnTo>
                  <a:pt x="600" y="102"/>
                </a:lnTo>
                <a:lnTo>
                  <a:pt x="602" y="98"/>
                </a:lnTo>
                <a:lnTo>
                  <a:pt x="600" y="98"/>
                </a:lnTo>
                <a:lnTo>
                  <a:pt x="602" y="94"/>
                </a:lnTo>
                <a:lnTo>
                  <a:pt x="602" y="90"/>
                </a:lnTo>
                <a:lnTo>
                  <a:pt x="606" y="90"/>
                </a:lnTo>
                <a:lnTo>
                  <a:pt x="606" y="86"/>
                </a:lnTo>
                <a:lnTo>
                  <a:pt x="606" y="82"/>
                </a:lnTo>
                <a:lnTo>
                  <a:pt x="610" y="78"/>
                </a:lnTo>
                <a:lnTo>
                  <a:pt x="614" y="78"/>
                </a:lnTo>
                <a:lnTo>
                  <a:pt x="618" y="82"/>
                </a:lnTo>
                <a:lnTo>
                  <a:pt x="622" y="82"/>
                </a:lnTo>
                <a:lnTo>
                  <a:pt x="626" y="82"/>
                </a:lnTo>
                <a:lnTo>
                  <a:pt x="628" y="82"/>
                </a:lnTo>
                <a:lnTo>
                  <a:pt x="632" y="78"/>
                </a:lnTo>
                <a:lnTo>
                  <a:pt x="636" y="78"/>
                </a:lnTo>
                <a:lnTo>
                  <a:pt x="636" y="74"/>
                </a:lnTo>
                <a:lnTo>
                  <a:pt x="640" y="74"/>
                </a:lnTo>
                <a:lnTo>
                  <a:pt x="644" y="74"/>
                </a:lnTo>
                <a:lnTo>
                  <a:pt x="648" y="72"/>
                </a:lnTo>
                <a:lnTo>
                  <a:pt x="648" y="68"/>
                </a:lnTo>
                <a:lnTo>
                  <a:pt x="644" y="68"/>
                </a:lnTo>
                <a:lnTo>
                  <a:pt x="644" y="64"/>
                </a:lnTo>
                <a:lnTo>
                  <a:pt x="648" y="64"/>
                </a:lnTo>
                <a:lnTo>
                  <a:pt x="648" y="60"/>
                </a:lnTo>
                <a:lnTo>
                  <a:pt x="652" y="60"/>
                </a:lnTo>
                <a:lnTo>
                  <a:pt x="652" y="56"/>
                </a:lnTo>
                <a:lnTo>
                  <a:pt x="652" y="52"/>
                </a:lnTo>
                <a:lnTo>
                  <a:pt x="656" y="48"/>
                </a:lnTo>
                <a:lnTo>
                  <a:pt x="656" y="46"/>
                </a:lnTo>
                <a:lnTo>
                  <a:pt x="656" y="42"/>
                </a:lnTo>
                <a:lnTo>
                  <a:pt x="658" y="42"/>
                </a:lnTo>
                <a:lnTo>
                  <a:pt x="658" y="38"/>
                </a:lnTo>
                <a:lnTo>
                  <a:pt x="662" y="38"/>
                </a:lnTo>
                <a:lnTo>
                  <a:pt x="662" y="34"/>
                </a:lnTo>
                <a:lnTo>
                  <a:pt x="666" y="34"/>
                </a:lnTo>
                <a:lnTo>
                  <a:pt x="666" y="30"/>
                </a:lnTo>
                <a:lnTo>
                  <a:pt x="666" y="26"/>
                </a:lnTo>
                <a:lnTo>
                  <a:pt x="666" y="22"/>
                </a:lnTo>
                <a:lnTo>
                  <a:pt x="666" y="18"/>
                </a:lnTo>
                <a:lnTo>
                  <a:pt x="662" y="18"/>
                </a:lnTo>
                <a:lnTo>
                  <a:pt x="658" y="18"/>
                </a:lnTo>
                <a:lnTo>
                  <a:pt x="656" y="18"/>
                </a:lnTo>
                <a:lnTo>
                  <a:pt x="658" y="16"/>
                </a:lnTo>
                <a:lnTo>
                  <a:pt x="662" y="12"/>
                </a:lnTo>
                <a:lnTo>
                  <a:pt x="666" y="8"/>
                </a:lnTo>
                <a:lnTo>
                  <a:pt x="670" y="4"/>
                </a:lnTo>
                <a:lnTo>
                  <a:pt x="674" y="4"/>
                </a:lnTo>
                <a:lnTo>
                  <a:pt x="676" y="4"/>
                </a:lnTo>
                <a:lnTo>
                  <a:pt x="680" y="4"/>
                </a:lnTo>
                <a:lnTo>
                  <a:pt x="680" y="0"/>
                </a:lnTo>
                <a:lnTo>
                  <a:pt x="684" y="0"/>
                </a:lnTo>
                <a:lnTo>
                  <a:pt x="688" y="0"/>
                </a:lnTo>
                <a:lnTo>
                  <a:pt x="692" y="0"/>
                </a:lnTo>
                <a:lnTo>
                  <a:pt x="696" y="0"/>
                </a:lnTo>
                <a:lnTo>
                  <a:pt x="698" y="0"/>
                </a:lnTo>
                <a:lnTo>
                  <a:pt x="702" y="0"/>
                </a:lnTo>
                <a:lnTo>
                  <a:pt x="706" y="0"/>
                </a:lnTo>
                <a:lnTo>
                  <a:pt x="710" y="0"/>
                </a:lnTo>
                <a:lnTo>
                  <a:pt x="714" y="0"/>
                </a:lnTo>
                <a:lnTo>
                  <a:pt x="714" y="4"/>
                </a:lnTo>
                <a:lnTo>
                  <a:pt x="718" y="4"/>
                </a:lnTo>
                <a:lnTo>
                  <a:pt x="718" y="8"/>
                </a:lnTo>
                <a:lnTo>
                  <a:pt x="722" y="8"/>
                </a:lnTo>
                <a:lnTo>
                  <a:pt x="726" y="8"/>
                </a:lnTo>
                <a:lnTo>
                  <a:pt x="728" y="8"/>
                </a:lnTo>
                <a:lnTo>
                  <a:pt x="732" y="8"/>
                </a:lnTo>
                <a:lnTo>
                  <a:pt x="736" y="8"/>
                </a:lnTo>
                <a:lnTo>
                  <a:pt x="736" y="12"/>
                </a:lnTo>
                <a:lnTo>
                  <a:pt x="740" y="16"/>
                </a:lnTo>
                <a:lnTo>
                  <a:pt x="744" y="16"/>
                </a:lnTo>
                <a:lnTo>
                  <a:pt x="740" y="16"/>
                </a:lnTo>
                <a:lnTo>
                  <a:pt x="740" y="18"/>
                </a:lnTo>
                <a:lnTo>
                  <a:pt x="744" y="18"/>
                </a:lnTo>
                <a:lnTo>
                  <a:pt x="744" y="22"/>
                </a:lnTo>
                <a:lnTo>
                  <a:pt x="744" y="26"/>
                </a:lnTo>
                <a:lnTo>
                  <a:pt x="748" y="26"/>
                </a:lnTo>
                <a:lnTo>
                  <a:pt x="748" y="30"/>
                </a:lnTo>
                <a:lnTo>
                  <a:pt x="748" y="34"/>
                </a:lnTo>
                <a:lnTo>
                  <a:pt x="748" y="38"/>
                </a:lnTo>
                <a:lnTo>
                  <a:pt x="752" y="38"/>
                </a:lnTo>
                <a:lnTo>
                  <a:pt x="752" y="42"/>
                </a:lnTo>
                <a:lnTo>
                  <a:pt x="752" y="46"/>
                </a:lnTo>
                <a:lnTo>
                  <a:pt x="756" y="46"/>
                </a:lnTo>
                <a:lnTo>
                  <a:pt x="752" y="46"/>
                </a:lnTo>
                <a:lnTo>
                  <a:pt x="752" y="48"/>
                </a:lnTo>
                <a:lnTo>
                  <a:pt x="756" y="48"/>
                </a:lnTo>
                <a:lnTo>
                  <a:pt x="756" y="46"/>
                </a:lnTo>
                <a:lnTo>
                  <a:pt x="756" y="48"/>
                </a:lnTo>
                <a:lnTo>
                  <a:pt x="756" y="52"/>
                </a:lnTo>
                <a:lnTo>
                  <a:pt x="756" y="56"/>
                </a:lnTo>
                <a:lnTo>
                  <a:pt x="758" y="56"/>
                </a:lnTo>
                <a:lnTo>
                  <a:pt x="758" y="60"/>
                </a:lnTo>
                <a:lnTo>
                  <a:pt x="758" y="64"/>
                </a:lnTo>
                <a:lnTo>
                  <a:pt x="758" y="68"/>
                </a:lnTo>
                <a:lnTo>
                  <a:pt x="762" y="68"/>
                </a:lnTo>
                <a:lnTo>
                  <a:pt x="762" y="72"/>
                </a:lnTo>
                <a:lnTo>
                  <a:pt x="762" y="74"/>
                </a:lnTo>
                <a:lnTo>
                  <a:pt x="762" y="78"/>
                </a:lnTo>
                <a:lnTo>
                  <a:pt x="766" y="78"/>
                </a:lnTo>
                <a:lnTo>
                  <a:pt x="766" y="82"/>
                </a:lnTo>
                <a:lnTo>
                  <a:pt x="770" y="82"/>
                </a:lnTo>
                <a:lnTo>
                  <a:pt x="774" y="82"/>
                </a:lnTo>
                <a:lnTo>
                  <a:pt x="778" y="82"/>
                </a:lnTo>
                <a:lnTo>
                  <a:pt x="782" y="82"/>
                </a:lnTo>
                <a:lnTo>
                  <a:pt x="782" y="86"/>
                </a:lnTo>
                <a:lnTo>
                  <a:pt x="784" y="86"/>
                </a:lnTo>
                <a:lnTo>
                  <a:pt x="788" y="86"/>
                </a:lnTo>
                <a:lnTo>
                  <a:pt x="792" y="86"/>
                </a:lnTo>
                <a:lnTo>
                  <a:pt x="792" y="90"/>
                </a:lnTo>
                <a:lnTo>
                  <a:pt x="796" y="94"/>
                </a:lnTo>
                <a:lnTo>
                  <a:pt x="800" y="98"/>
                </a:lnTo>
                <a:lnTo>
                  <a:pt x="804" y="98"/>
                </a:lnTo>
                <a:lnTo>
                  <a:pt x="808" y="98"/>
                </a:lnTo>
                <a:lnTo>
                  <a:pt x="808" y="102"/>
                </a:lnTo>
                <a:lnTo>
                  <a:pt x="804" y="102"/>
                </a:lnTo>
                <a:lnTo>
                  <a:pt x="808" y="104"/>
                </a:lnTo>
                <a:lnTo>
                  <a:pt x="808" y="108"/>
                </a:lnTo>
                <a:lnTo>
                  <a:pt x="808" y="112"/>
                </a:lnTo>
                <a:lnTo>
                  <a:pt x="808" y="116"/>
                </a:lnTo>
                <a:lnTo>
                  <a:pt x="812" y="116"/>
                </a:lnTo>
                <a:lnTo>
                  <a:pt x="812" y="120"/>
                </a:lnTo>
                <a:lnTo>
                  <a:pt x="812" y="124"/>
                </a:lnTo>
                <a:lnTo>
                  <a:pt x="814" y="120"/>
                </a:lnTo>
                <a:lnTo>
                  <a:pt x="818" y="120"/>
                </a:lnTo>
                <a:lnTo>
                  <a:pt x="818" y="124"/>
                </a:lnTo>
                <a:lnTo>
                  <a:pt x="822" y="124"/>
                </a:lnTo>
                <a:lnTo>
                  <a:pt x="826" y="124"/>
                </a:lnTo>
                <a:lnTo>
                  <a:pt x="826" y="120"/>
                </a:lnTo>
                <a:lnTo>
                  <a:pt x="830" y="120"/>
                </a:lnTo>
                <a:lnTo>
                  <a:pt x="834" y="120"/>
                </a:lnTo>
                <a:lnTo>
                  <a:pt x="834" y="116"/>
                </a:lnTo>
                <a:lnTo>
                  <a:pt x="838" y="116"/>
                </a:lnTo>
                <a:lnTo>
                  <a:pt x="840" y="112"/>
                </a:lnTo>
                <a:lnTo>
                  <a:pt x="844" y="112"/>
                </a:lnTo>
                <a:lnTo>
                  <a:pt x="848" y="112"/>
                </a:lnTo>
                <a:lnTo>
                  <a:pt x="852" y="108"/>
                </a:lnTo>
                <a:lnTo>
                  <a:pt x="856" y="108"/>
                </a:lnTo>
                <a:lnTo>
                  <a:pt x="860" y="108"/>
                </a:lnTo>
                <a:lnTo>
                  <a:pt x="864" y="108"/>
                </a:lnTo>
                <a:lnTo>
                  <a:pt x="864" y="112"/>
                </a:lnTo>
                <a:lnTo>
                  <a:pt x="864" y="116"/>
                </a:lnTo>
                <a:lnTo>
                  <a:pt x="864" y="120"/>
                </a:lnTo>
                <a:lnTo>
                  <a:pt x="864" y="128"/>
                </a:lnTo>
                <a:lnTo>
                  <a:pt x="860" y="128"/>
                </a:lnTo>
                <a:lnTo>
                  <a:pt x="856" y="128"/>
                </a:lnTo>
                <a:lnTo>
                  <a:pt x="856" y="130"/>
                </a:lnTo>
                <a:lnTo>
                  <a:pt x="856" y="134"/>
                </a:lnTo>
                <a:lnTo>
                  <a:pt x="856" y="138"/>
                </a:lnTo>
                <a:lnTo>
                  <a:pt x="856" y="142"/>
                </a:lnTo>
                <a:lnTo>
                  <a:pt x="852" y="142"/>
                </a:lnTo>
                <a:lnTo>
                  <a:pt x="852" y="146"/>
                </a:lnTo>
                <a:lnTo>
                  <a:pt x="852" y="150"/>
                </a:lnTo>
                <a:lnTo>
                  <a:pt x="852" y="154"/>
                </a:lnTo>
                <a:lnTo>
                  <a:pt x="848" y="154"/>
                </a:lnTo>
                <a:lnTo>
                  <a:pt x="848" y="158"/>
                </a:lnTo>
                <a:lnTo>
                  <a:pt x="848" y="160"/>
                </a:lnTo>
                <a:lnTo>
                  <a:pt x="848" y="164"/>
                </a:lnTo>
                <a:lnTo>
                  <a:pt x="844" y="164"/>
                </a:lnTo>
                <a:lnTo>
                  <a:pt x="840" y="164"/>
                </a:lnTo>
                <a:lnTo>
                  <a:pt x="840" y="168"/>
                </a:lnTo>
                <a:lnTo>
                  <a:pt x="840" y="172"/>
                </a:lnTo>
                <a:lnTo>
                  <a:pt x="840" y="176"/>
                </a:lnTo>
                <a:lnTo>
                  <a:pt x="838" y="176"/>
                </a:lnTo>
                <a:lnTo>
                  <a:pt x="834" y="172"/>
                </a:lnTo>
                <a:lnTo>
                  <a:pt x="830" y="172"/>
                </a:lnTo>
                <a:lnTo>
                  <a:pt x="826" y="172"/>
                </a:lnTo>
                <a:lnTo>
                  <a:pt x="826" y="168"/>
                </a:lnTo>
                <a:lnTo>
                  <a:pt x="822" y="168"/>
                </a:lnTo>
                <a:lnTo>
                  <a:pt x="822" y="172"/>
                </a:lnTo>
                <a:lnTo>
                  <a:pt x="822" y="176"/>
                </a:lnTo>
                <a:lnTo>
                  <a:pt x="818" y="176"/>
                </a:lnTo>
                <a:lnTo>
                  <a:pt x="814" y="176"/>
                </a:lnTo>
                <a:lnTo>
                  <a:pt x="814" y="180"/>
                </a:lnTo>
                <a:lnTo>
                  <a:pt x="814" y="176"/>
                </a:lnTo>
                <a:lnTo>
                  <a:pt x="812" y="180"/>
                </a:lnTo>
                <a:lnTo>
                  <a:pt x="812" y="184"/>
                </a:lnTo>
                <a:lnTo>
                  <a:pt x="814" y="184"/>
                </a:lnTo>
                <a:lnTo>
                  <a:pt x="814" y="190"/>
                </a:lnTo>
                <a:lnTo>
                  <a:pt x="814" y="194"/>
                </a:lnTo>
                <a:lnTo>
                  <a:pt x="814" y="198"/>
                </a:lnTo>
                <a:lnTo>
                  <a:pt x="814" y="206"/>
                </a:lnTo>
                <a:lnTo>
                  <a:pt x="814" y="210"/>
                </a:lnTo>
                <a:lnTo>
                  <a:pt x="814" y="214"/>
                </a:lnTo>
                <a:lnTo>
                  <a:pt x="814" y="216"/>
                </a:lnTo>
                <a:lnTo>
                  <a:pt x="812" y="216"/>
                </a:lnTo>
                <a:lnTo>
                  <a:pt x="812" y="220"/>
                </a:lnTo>
                <a:lnTo>
                  <a:pt x="812" y="216"/>
                </a:lnTo>
                <a:lnTo>
                  <a:pt x="808" y="216"/>
                </a:lnTo>
                <a:lnTo>
                  <a:pt x="808" y="220"/>
                </a:lnTo>
                <a:lnTo>
                  <a:pt x="804" y="220"/>
                </a:lnTo>
                <a:lnTo>
                  <a:pt x="808" y="224"/>
                </a:lnTo>
                <a:lnTo>
                  <a:pt x="808" y="228"/>
                </a:lnTo>
                <a:lnTo>
                  <a:pt x="804" y="228"/>
                </a:lnTo>
                <a:lnTo>
                  <a:pt x="804" y="224"/>
                </a:lnTo>
                <a:lnTo>
                  <a:pt x="800" y="220"/>
                </a:lnTo>
                <a:lnTo>
                  <a:pt x="800" y="216"/>
                </a:lnTo>
                <a:lnTo>
                  <a:pt x="796" y="216"/>
                </a:lnTo>
                <a:lnTo>
                  <a:pt x="796" y="220"/>
                </a:lnTo>
                <a:lnTo>
                  <a:pt x="792" y="220"/>
                </a:lnTo>
                <a:lnTo>
                  <a:pt x="792" y="224"/>
                </a:lnTo>
                <a:lnTo>
                  <a:pt x="792" y="228"/>
                </a:lnTo>
                <a:lnTo>
                  <a:pt x="788" y="228"/>
                </a:lnTo>
                <a:lnTo>
                  <a:pt x="784" y="228"/>
                </a:lnTo>
                <a:lnTo>
                  <a:pt x="784" y="230"/>
                </a:lnTo>
                <a:lnTo>
                  <a:pt x="784" y="234"/>
                </a:lnTo>
                <a:lnTo>
                  <a:pt x="782" y="234"/>
                </a:lnTo>
                <a:lnTo>
                  <a:pt x="778" y="234"/>
                </a:lnTo>
                <a:lnTo>
                  <a:pt x="774" y="234"/>
                </a:lnTo>
                <a:lnTo>
                  <a:pt x="770" y="234"/>
                </a:lnTo>
                <a:lnTo>
                  <a:pt x="770" y="238"/>
                </a:lnTo>
                <a:lnTo>
                  <a:pt x="770" y="242"/>
                </a:lnTo>
                <a:lnTo>
                  <a:pt x="774" y="242"/>
                </a:lnTo>
                <a:lnTo>
                  <a:pt x="774" y="246"/>
                </a:lnTo>
                <a:lnTo>
                  <a:pt x="770" y="246"/>
                </a:lnTo>
                <a:lnTo>
                  <a:pt x="766" y="246"/>
                </a:lnTo>
                <a:lnTo>
                  <a:pt x="762" y="246"/>
                </a:lnTo>
                <a:lnTo>
                  <a:pt x="758" y="246"/>
                </a:lnTo>
                <a:lnTo>
                  <a:pt x="758" y="242"/>
                </a:lnTo>
                <a:lnTo>
                  <a:pt x="756" y="242"/>
                </a:lnTo>
                <a:lnTo>
                  <a:pt x="756" y="238"/>
                </a:lnTo>
                <a:lnTo>
                  <a:pt x="752" y="238"/>
                </a:lnTo>
                <a:lnTo>
                  <a:pt x="752" y="242"/>
                </a:lnTo>
                <a:lnTo>
                  <a:pt x="748" y="242"/>
                </a:lnTo>
                <a:lnTo>
                  <a:pt x="748" y="246"/>
                </a:lnTo>
                <a:lnTo>
                  <a:pt x="748" y="250"/>
                </a:lnTo>
                <a:lnTo>
                  <a:pt x="744" y="250"/>
                </a:lnTo>
                <a:lnTo>
                  <a:pt x="744" y="254"/>
                </a:lnTo>
                <a:lnTo>
                  <a:pt x="740" y="256"/>
                </a:lnTo>
                <a:lnTo>
                  <a:pt x="736" y="256"/>
                </a:lnTo>
                <a:lnTo>
                  <a:pt x="736" y="260"/>
                </a:lnTo>
                <a:lnTo>
                  <a:pt x="732" y="260"/>
                </a:lnTo>
                <a:lnTo>
                  <a:pt x="728" y="260"/>
                </a:lnTo>
                <a:lnTo>
                  <a:pt x="728" y="264"/>
                </a:lnTo>
                <a:lnTo>
                  <a:pt x="726" y="264"/>
                </a:lnTo>
                <a:lnTo>
                  <a:pt x="728" y="264"/>
                </a:lnTo>
                <a:lnTo>
                  <a:pt x="726" y="264"/>
                </a:lnTo>
                <a:lnTo>
                  <a:pt x="722" y="268"/>
                </a:lnTo>
                <a:lnTo>
                  <a:pt x="718" y="272"/>
                </a:lnTo>
                <a:lnTo>
                  <a:pt x="718" y="276"/>
                </a:lnTo>
                <a:lnTo>
                  <a:pt x="714" y="276"/>
                </a:lnTo>
                <a:lnTo>
                  <a:pt x="710" y="276"/>
                </a:lnTo>
                <a:lnTo>
                  <a:pt x="706" y="276"/>
                </a:lnTo>
                <a:lnTo>
                  <a:pt x="706" y="280"/>
                </a:lnTo>
                <a:lnTo>
                  <a:pt x="702" y="280"/>
                </a:lnTo>
                <a:lnTo>
                  <a:pt x="702" y="276"/>
                </a:lnTo>
                <a:lnTo>
                  <a:pt x="702" y="280"/>
                </a:lnTo>
                <a:lnTo>
                  <a:pt x="698" y="280"/>
                </a:lnTo>
                <a:lnTo>
                  <a:pt x="696" y="284"/>
                </a:lnTo>
                <a:lnTo>
                  <a:pt x="692" y="284"/>
                </a:lnTo>
                <a:lnTo>
                  <a:pt x="692" y="286"/>
                </a:lnTo>
                <a:lnTo>
                  <a:pt x="688" y="284"/>
                </a:lnTo>
                <a:lnTo>
                  <a:pt x="688" y="286"/>
                </a:lnTo>
                <a:lnTo>
                  <a:pt x="684" y="290"/>
                </a:lnTo>
                <a:lnTo>
                  <a:pt x="680" y="290"/>
                </a:lnTo>
                <a:lnTo>
                  <a:pt x="680" y="294"/>
                </a:lnTo>
                <a:lnTo>
                  <a:pt x="676" y="298"/>
                </a:lnTo>
                <a:lnTo>
                  <a:pt x="674" y="298"/>
                </a:lnTo>
                <a:lnTo>
                  <a:pt x="674" y="294"/>
                </a:lnTo>
                <a:lnTo>
                  <a:pt x="676" y="294"/>
                </a:lnTo>
                <a:lnTo>
                  <a:pt x="676" y="290"/>
                </a:lnTo>
                <a:lnTo>
                  <a:pt x="680" y="290"/>
                </a:lnTo>
                <a:lnTo>
                  <a:pt x="676" y="290"/>
                </a:lnTo>
                <a:lnTo>
                  <a:pt x="676" y="286"/>
                </a:lnTo>
                <a:lnTo>
                  <a:pt x="680" y="286"/>
                </a:lnTo>
                <a:lnTo>
                  <a:pt x="676" y="286"/>
                </a:lnTo>
                <a:lnTo>
                  <a:pt x="676" y="284"/>
                </a:lnTo>
                <a:lnTo>
                  <a:pt x="674" y="284"/>
                </a:lnTo>
                <a:lnTo>
                  <a:pt x="676" y="280"/>
                </a:lnTo>
                <a:lnTo>
                  <a:pt x="676" y="276"/>
                </a:lnTo>
                <a:lnTo>
                  <a:pt x="680" y="276"/>
                </a:lnTo>
                <a:lnTo>
                  <a:pt x="684" y="272"/>
                </a:lnTo>
                <a:lnTo>
                  <a:pt x="684" y="268"/>
                </a:lnTo>
                <a:lnTo>
                  <a:pt x="688" y="268"/>
                </a:lnTo>
                <a:lnTo>
                  <a:pt x="688" y="264"/>
                </a:lnTo>
                <a:lnTo>
                  <a:pt x="684" y="260"/>
                </a:lnTo>
                <a:lnTo>
                  <a:pt x="684" y="256"/>
                </a:lnTo>
                <a:lnTo>
                  <a:pt x="680" y="256"/>
                </a:lnTo>
                <a:lnTo>
                  <a:pt x="676" y="256"/>
                </a:lnTo>
                <a:lnTo>
                  <a:pt x="674" y="256"/>
                </a:lnTo>
                <a:lnTo>
                  <a:pt x="670" y="256"/>
                </a:lnTo>
                <a:lnTo>
                  <a:pt x="670" y="260"/>
                </a:lnTo>
                <a:lnTo>
                  <a:pt x="666" y="264"/>
                </a:lnTo>
                <a:lnTo>
                  <a:pt x="662" y="264"/>
                </a:lnTo>
                <a:lnTo>
                  <a:pt x="662" y="268"/>
                </a:lnTo>
                <a:lnTo>
                  <a:pt x="658" y="272"/>
                </a:lnTo>
                <a:lnTo>
                  <a:pt x="656" y="272"/>
                </a:lnTo>
                <a:lnTo>
                  <a:pt x="656" y="276"/>
                </a:lnTo>
                <a:lnTo>
                  <a:pt x="652" y="276"/>
                </a:lnTo>
                <a:lnTo>
                  <a:pt x="648" y="280"/>
                </a:lnTo>
                <a:lnTo>
                  <a:pt x="648" y="284"/>
                </a:lnTo>
                <a:lnTo>
                  <a:pt x="648" y="286"/>
                </a:lnTo>
                <a:lnTo>
                  <a:pt x="644" y="286"/>
                </a:lnTo>
                <a:lnTo>
                  <a:pt x="644" y="290"/>
                </a:lnTo>
                <a:lnTo>
                  <a:pt x="640" y="290"/>
                </a:lnTo>
                <a:lnTo>
                  <a:pt x="636" y="290"/>
                </a:lnTo>
                <a:lnTo>
                  <a:pt x="632" y="290"/>
                </a:lnTo>
                <a:lnTo>
                  <a:pt x="628" y="290"/>
                </a:lnTo>
                <a:lnTo>
                  <a:pt x="628" y="286"/>
                </a:lnTo>
                <a:lnTo>
                  <a:pt x="626" y="290"/>
                </a:lnTo>
                <a:lnTo>
                  <a:pt x="622" y="294"/>
                </a:lnTo>
                <a:lnTo>
                  <a:pt x="622" y="298"/>
                </a:lnTo>
                <a:lnTo>
                  <a:pt x="622" y="302"/>
                </a:lnTo>
                <a:lnTo>
                  <a:pt x="622" y="306"/>
                </a:lnTo>
                <a:lnTo>
                  <a:pt x="626" y="306"/>
                </a:lnTo>
                <a:lnTo>
                  <a:pt x="626" y="310"/>
                </a:lnTo>
                <a:lnTo>
                  <a:pt x="628" y="310"/>
                </a:lnTo>
                <a:lnTo>
                  <a:pt x="632" y="310"/>
                </a:lnTo>
                <a:lnTo>
                  <a:pt x="636" y="310"/>
                </a:lnTo>
                <a:lnTo>
                  <a:pt x="640" y="310"/>
                </a:lnTo>
                <a:lnTo>
                  <a:pt x="640" y="312"/>
                </a:lnTo>
                <a:lnTo>
                  <a:pt x="644" y="312"/>
                </a:lnTo>
                <a:lnTo>
                  <a:pt x="644" y="316"/>
                </a:lnTo>
                <a:lnTo>
                  <a:pt x="644" y="320"/>
                </a:lnTo>
                <a:lnTo>
                  <a:pt x="640" y="320"/>
                </a:lnTo>
                <a:lnTo>
                  <a:pt x="640" y="324"/>
                </a:lnTo>
                <a:lnTo>
                  <a:pt x="644" y="328"/>
                </a:lnTo>
                <a:lnTo>
                  <a:pt x="648" y="328"/>
                </a:lnTo>
                <a:lnTo>
                  <a:pt x="652" y="328"/>
                </a:lnTo>
                <a:lnTo>
                  <a:pt x="656" y="328"/>
                </a:lnTo>
                <a:lnTo>
                  <a:pt x="656" y="324"/>
                </a:lnTo>
                <a:lnTo>
                  <a:pt x="658" y="324"/>
                </a:lnTo>
                <a:lnTo>
                  <a:pt x="658" y="320"/>
                </a:lnTo>
                <a:lnTo>
                  <a:pt x="662" y="320"/>
                </a:lnTo>
                <a:lnTo>
                  <a:pt x="662" y="316"/>
                </a:lnTo>
                <a:lnTo>
                  <a:pt x="666" y="316"/>
                </a:lnTo>
                <a:lnTo>
                  <a:pt x="670" y="316"/>
                </a:lnTo>
                <a:lnTo>
                  <a:pt x="674" y="320"/>
                </a:lnTo>
                <a:lnTo>
                  <a:pt x="676" y="320"/>
                </a:lnTo>
                <a:lnTo>
                  <a:pt x="676" y="324"/>
                </a:lnTo>
                <a:lnTo>
                  <a:pt x="680" y="324"/>
                </a:lnTo>
                <a:lnTo>
                  <a:pt x="684" y="324"/>
                </a:lnTo>
                <a:lnTo>
                  <a:pt x="684" y="320"/>
                </a:lnTo>
                <a:lnTo>
                  <a:pt x="688" y="320"/>
                </a:lnTo>
                <a:lnTo>
                  <a:pt x="684" y="320"/>
                </a:lnTo>
                <a:lnTo>
                  <a:pt x="688" y="324"/>
                </a:lnTo>
                <a:lnTo>
                  <a:pt x="692" y="324"/>
                </a:lnTo>
                <a:lnTo>
                  <a:pt x="692" y="328"/>
                </a:lnTo>
                <a:lnTo>
                  <a:pt x="688" y="332"/>
                </a:lnTo>
                <a:lnTo>
                  <a:pt x="692" y="332"/>
                </a:lnTo>
                <a:lnTo>
                  <a:pt x="688" y="336"/>
                </a:lnTo>
                <a:lnTo>
                  <a:pt x="688" y="332"/>
                </a:lnTo>
                <a:lnTo>
                  <a:pt x="684" y="332"/>
                </a:lnTo>
                <a:lnTo>
                  <a:pt x="680" y="336"/>
                </a:lnTo>
                <a:lnTo>
                  <a:pt x="676" y="336"/>
                </a:lnTo>
                <a:lnTo>
                  <a:pt x="674" y="336"/>
                </a:lnTo>
                <a:lnTo>
                  <a:pt x="674" y="340"/>
                </a:lnTo>
                <a:lnTo>
                  <a:pt x="670" y="340"/>
                </a:lnTo>
                <a:lnTo>
                  <a:pt x="666" y="340"/>
                </a:lnTo>
                <a:lnTo>
                  <a:pt x="670" y="340"/>
                </a:lnTo>
                <a:lnTo>
                  <a:pt x="670" y="342"/>
                </a:lnTo>
                <a:lnTo>
                  <a:pt x="666" y="342"/>
                </a:lnTo>
                <a:lnTo>
                  <a:pt x="666" y="346"/>
                </a:lnTo>
                <a:lnTo>
                  <a:pt x="662" y="350"/>
                </a:lnTo>
                <a:lnTo>
                  <a:pt x="658" y="350"/>
                </a:lnTo>
                <a:lnTo>
                  <a:pt x="662" y="346"/>
                </a:lnTo>
                <a:lnTo>
                  <a:pt x="658" y="346"/>
                </a:lnTo>
                <a:lnTo>
                  <a:pt x="658" y="350"/>
                </a:lnTo>
                <a:lnTo>
                  <a:pt x="658" y="354"/>
                </a:lnTo>
                <a:lnTo>
                  <a:pt x="656" y="354"/>
                </a:lnTo>
                <a:lnTo>
                  <a:pt x="656" y="358"/>
                </a:lnTo>
                <a:lnTo>
                  <a:pt x="652" y="358"/>
                </a:lnTo>
                <a:lnTo>
                  <a:pt x="652" y="362"/>
                </a:lnTo>
                <a:lnTo>
                  <a:pt x="648" y="362"/>
                </a:lnTo>
                <a:lnTo>
                  <a:pt x="648" y="366"/>
                </a:lnTo>
                <a:lnTo>
                  <a:pt x="648" y="368"/>
                </a:lnTo>
                <a:lnTo>
                  <a:pt x="644" y="368"/>
                </a:lnTo>
                <a:lnTo>
                  <a:pt x="644" y="372"/>
                </a:lnTo>
                <a:lnTo>
                  <a:pt x="648" y="372"/>
                </a:lnTo>
                <a:lnTo>
                  <a:pt x="648" y="376"/>
                </a:lnTo>
                <a:lnTo>
                  <a:pt x="652" y="376"/>
                </a:lnTo>
                <a:lnTo>
                  <a:pt x="656" y="380"/>
                </a:lnTo>
                <a:lnTo>
                  <a:pt x="658" y="380"/>
                </a:lnTo>
                <a:lnTo>
                  <a:pt x="662" y="384"/>
                </a:lnTo>
                <a:lnTo>
                  <a:pt x="662" y="388"/>
                </a:lnTo>
                <a:lnTo>
                  <a:pt x="662" y="392"/>
                </a:lnTo>
                <a:lnTo>
                  <a:pt x="662" y="396"/>
                </a:lnTo>
                <a:lnTo>
                  <a:pt x="666" y="398"/>
                </a:lnTo>
                <a:lnTo>
                  <a:pt x="666" y="402"/>
                </a:lnTo>
                <a:lnTo>
                  <a:pt x="670" y="406"/>
                </a:lnTo>
                <a:lnTo>
                  <a:pt x="670" y="410"/>
                </a:lnTo>
                <a:lnTo>
                  <a:pt x="670" y="414"/>
                </a:lnTo>
                <a:lnTo>
                  <a:pt x="674" y="414"/>
                </a:lnTo>
                <a:lnTo>
                  <a:pt x="674" y="418"/>
                </a:lnTo>
                <a:lnTo>
                  <a:pt x="676" y="418"/>
                </a:lnTo>
                <a:lnTo>
                  <a:pt x="676" y="422"/>
                </a:lnTo>
                <a:lnTo>
                  <a:pt x="680" y="424"/>
                </a:lnTo>
                <a:lnTo>
                  <a:pt x="680" y="428"/>
                </a:lnTo>
                <a:lnTo>
                  <a:pt x="684" y="428"/>
                </a:lnTo>
                <a:lnTo>
                  <a:pt x="684" y="432"/>
                </a:lnTo>
                <a:lnTo>
                  <a:pt x="680" y="432"/>
                </a:lnTo>
                <a:lnTo>
                  <a:pt x="680" y="428"/>
                </a:lnTo>
                <a:lnTo>
                  <a:pt x="676" y="428"/>
                </a:lnTo>
                <a:lnTo>
                  <a:pt x="674" y="428"/>
                </a:lnTo>
                <a:lnTo>
                  <a:pt x="670" y="428"/>
                </a:lnTo>
                <a:lnTo>
                  <a:pt x="670" y="424"/>
                </a:lnTo>
                <a:lnTo>
                  <a:pt x="666" y="424"/>
                </a:lnTo>
                <a:lnTo>
                  <a:pt x="662" y="422"/>
                </a:lnTo>
                <a:lnTo>
                  <a:pt x="662" y="424"/>
                </a:lnTo>
                <a:lnTo>
                  <a:pt x="658" y="424"/>
                </a:lnTo>
                <a:lnTo>
                  <a:pt x="656" y="424"/>
                </a:lnTo>
                <a:lnTo>
                  <a:pt x="656" y="422"/>
                </a:lnTo>
                <a:lnTo>
                  <a:pt x="656" y="418"/>
                </a:lnTo>
                <a:lnTo>
                  <a:pt x="652" y="418"/>
                </a:lnTo>
                <a:lnTo>
                  <a:pt x="652" y="422"/>
                </a:lnTo>
                <a:lnTo>
                  <a:pt x="656" y="422"/>
                </a:lnTo>
                <a:lnTo>
                  <a:pt x="652" y="422"/>
                </a:lnTo>
                <a:lnTo>
                  <a:pt x="656" y="422"/>
                </a:lnTo>
                <a:lnTo>
                  <a:pt x="656" y="424"/>
                </a:lnTo>
                <a:lnTo>
                  <a:pt x="658" y="424"/>
                </a:lnTo>
                <a:lnTo>
                  <a:pt x="662" y="424"/>
                </a:lnTo>
                <a:lnTo>
                  <a:pt x="666" y="424"/>
                </a:lnTo>
                <a:lnTo>
                  <a:pt x="666" y="428"/>
                </a:lnTo>
                <a:lnTo>
                  <a:pt x="670" y="428"/>
                </a:lnTo>
                <a:lnTo>
                  <a:pt x="674" y="428"/>
                </a:lnTo>
                <a:lnTo>
                  <a:pt x="674" y="432"/>
                </a:lnTo>
                <a:lnTo>
                  <a:pt x="676" y="436"/>
                </a:lnTo>
                <a:lnTo>
                  <a:pt x="680" y="436"/>
                </a:lnTo>
                <a:lnTo>
                  <a:pt x="680" y="440"/>
                </a:lnTo>
                <a:lnTo>
                  <a:pt x="680" y="444"/>
                </a:lnTo>
                <a:lnTo>
                  <a:pt x="684" y="444"/>
                </a:lnTo>
                <a:lnTo>
                  <a:pt x="684" y="448"/>
                </a:lnTo>
                <a:lnTo>
                  <a:pt x="680" y="448"/>
                </a:lnTo>
                <a:lnTo>
                  <a:pt x="676" y="448"/>
                </a:lnTo>
                <a:lnTo>
                  <a:pt x="674" y="448"/>
                </a:lnTo>
                <a:lnTo>
                  <a:pt x="674" y="452"/>
                </a:lnTo>
                <a:lnTo>
                  <a:pt x="670" y="452"/>
                </a:lnTo>
                <a:lnTo>
                  <a:pt x="670" y="454"/>
                </a:lnTo>
                <a:lnTo>
                  <a:pt x="666" y="454"/>
                </a:lnTo>
                <a:lnTo>
                  <a:pt x="662" y="454"/>
                </a:lnTo>
                <a:lnTo>
                  <a:pt x="658" y="458"/>
                </a:lnTo>
                <a:lnTo>
                  <a:pt x="662" y="458"/>
                </a:lnTo>
                <a:lnTo>
                  <a:pt x="662" y="454"/>
                </a:lnTo>
                <a:lnTo>
                  <a:pt x="666" y="458"/>
                </a:lnTo>
                <a:lnTo>
                  <a:pt x="666" y="462"/>
                </a:lnTo>
                <a:lnTo>
                  <a:pt x="666" y="458"/>
                </a:lnTo>
                <a:lnTo>
                  <a:pt x="670" y="458"/>
                </a:lnTo>
                <a:lnTo>
                  <a:pt x="674" y="454"/>
                </a:lnTo>
                <a:lnTo>
                  <a:pt x="676" y="454"/>
                </a:lnTo>
                <a:lnTo>
                  <a:pt x="676" y="458"/>
                </a:lnTo>
                <a:lnTo>
                  <a:pt x="680" y="462"/>
                </a:lnTo>
                <a:lnTo>
                  <a:pt x="684" y="462"/>
                </a:lnTo>
                <a:lnTo>
                  <a:pt x="684" y="466"/>
                </a:lnTo>
                <a:lnTo>
                  <a:pt x="680" y="466"/>
                </a:lnTo>
                <a:lnTo>
                  <a:pt x="680" y="470"/>
                </a:lnTo>
                <a:lnTo>
                  <a:pt x="676" y="470"/>
                </a:lnTo>
                <a:lnTo>
                  <a:pt x="676" y="474"/>
                </a:lnTo>
                <a:lnTo>
                  <a:pt x="676" y="470"/>
                </a:lnTo>
                <a:lnTo>
                  <a:pt x="680" y="470"/>
                </a:lnTo>
                <a:lnTo>
                  <a:pt x="684" y="470"/>
                </a:lnTo>
                <a:lnTo>
                  <a:pt x="684" y="474"/>
                </a:lnTo>
                <a:lnTo>
                  <a:pt x="684" y="478"/>
                </a:lnTo>
                <a:lnTo>
                  <a:pt x="680" y="478"/>
                </a:lnTo>
                <a:lnTo>
                  <a:pt x="680" y="474"/>
                </a:lnTo>
                <a:lnTo>
                  <a:pt x="680" y="478"/>
                </a:lnTo>
                <a:lnTo>
                  <a:pt x="676" y="478"/>
                </a:lnTo>
                <a:lnTo>
                  <a:pt x="676" y="474"/>
                </a:lnTo>
                <a:lnTo>
                  <a:pt x="676" y="478"/>
                </a:lnTo>
                <a:lnTo>
                  <a:pt x="680" y="478"/>
                </a:lnTo>
                <a:lnTo>
                  <a:pt x="680" y="480"/>
                </a:lnTo>
                <a:lnTo>
                  <a:pt x="676" y="480"/>
                </a:lnTo>
                <a:lnTo>
                  <a:pt x="680" y="484"/>
                </a:lnTo>
                <a:lnTo>
                  <a:pt x="676" y="484"/>
                </a:lnTo>
                <a:lnTo>
                  <a:pt x="674" y="484"/>
                </a:lnTo>
                <a:lnTo>
                  <a:pt x="676" y="484"/>
                </a:lnTo>
                <a:lnTo>
                  <a:pt x="676" y="488"/>
                </a:lnTo>
                <a:lnTo>
                  <a:pt x="676" y="492"/>
                </a:lnTo>
                <a:lnTo>
                  <a:pt x="680" y="492"/>
                </a:lnTo>
                <a:lnTo>
                  <a:pt x="676" y="492"/>
                </a:lnTo>
                <a:lnTo>
                  <a:pt x="676" y="496"/>
                </a:lnTo>
                <a:lnTo>
                  <a:pt x="674" y="496"/>
                </a:lnTo>
                <a:lnTo>
                  <a:pt x="674" y="492"/>
                </a:lnTo>
                <a:lnTo>
                  <a:pt x="674" y="496"/>
                </a:lnTo>
                <a:lnTo>
                  <a:pt x="670" y="496"/>
                </a:lnTo>
                <a:lnTo>
                  <a:pt x="670" y="500"/>
                </a:lnTo>
                <a:lnTo>
                  <a:pt x="666" y="496"/>
                </a:lnTo>
                <a:lnTo>
                  <a:pt x="666" y="500"/>
                </a:lnTo>
                <a:lnTo>
                  <a:pt x="670" y="500"/>
                </a:lnTo>
                <a:lnTo>
                  <a:pt x="666" y="500"/>
                </a:lnTo>
                <a:lnTo>
                  <a:pt x="666" y="504"/>
                </a:lnTo>
                <a:lnTo>
                  <a:pt x="666" y="508"/>
                </a:lnTo>
                <a:lnTo>
                  <a:pt x="666" y="510"/>
                </a:lnTo>
                <a:lnTo>
                  <a:pt x="662" y="510"/>
                </a:lnTo>
                <a:lnTo>
                  <a:pt x="662" y="514"/>
                </a:lnTo>
                <a:lnTo>
                  <a:pt x="662" y="510"/>
                </a:lnTo>
                <a:lnTo>
                  <a:pt x="662" y="514"/>
                </a:lnTo>
                <a:lnTo>
                  <a:pt x="662" y="510"/>
                </a:lnTo>
                <a:lnTo>
                  <a:pt x="658" y="510"/>
                </a:lnTo>
                <a:lnTo>
                  <a:pt x="662" y="510"/>
                </a:lnTo>
                <a:lnTo>
                  <a:pt x="662" y="514"/>
                </a:lnTo>
                <a:lnTo>
                  <a:pt x="658" y="514"/>
                </a:lnTo>
                <a:lnTo>
                  <a:pt x="658" y="518"/>
                </a:lnTo>
                <a:lnTo>
                  <a:pt x="656" y="518"/>
                </a:lnTo>
                <a:lnTo>
                  <a:pt x="658" y="518"/>
                </a:lnTo>
                <a:lnTo>
                  <a:pt x="658" y="522"/>
                </a:lnTo>
                <a:lnTo>
                  <a:pt x="656" y="522"/>
                </a:lnTo>
                <a:lnTo>
                  <a:pt x="656" y="526"/>
                </a:lnTo>
                <a:lnTo>
                  <a:pt x="656" y="522"/>
                </a:lnTo>
                <a:lnTo>
                  <a:pt x="658" y="522"/>
                </a:lnTo>
                <a:lnTo>
                  <a:pt x="656" y="518"/>
                </a:lnTo>
                <a:lnTo>
                  <a:pt x="656" y="522"/>
                </a:lnTo>
                <a:lnTo>
                  <a:pt x="656" y="518"/>
                </a:lnTo>
                <a:lnTo>
                  <a:pt x="652" y="518"/>
                </a:lnTo>
                <a:lnTo>
                  <a:pt x="652" y="522"/>
                </a:lnTo>
                <a:lnTo>
                  <a:pt x="652" y="518"/>
                </a:lnTo>
                <a:lnTo>
                  <a:pt x="652" y="522"/>
                </a:lnTo>
                <a:lnTo>
                  <a:pt x="652" y="526"/>
                </a:lnTo>
                <a:lnTo>
                  <a:pt x="652" y="522"/>
                </a:lnTo>
                <a:lnTo>
                  <a:pt x="656" y="526"/>
                </a:lnTo>
                <a:lnTo>
                  <a:pt x="652" y="526"/>
                </a:lnTo>
                <a:lnTo>
                  <a:pt x="652" y="530"/>
                </a:lnTo>
                <a:lnTo>
                  <a:pt x="656" y="526"/>
                </a:lnTo>
                <a:lnTo>
                  <a:pt x="656" y="530"/>
                </a:lnTo>
                <a:lnTo>
                  <a:pt x="652" y="530"/>
                </a:lnTo>
                <a:lnTo>
                  <a:pt x="652" y="534"/>
                </a:lnTo>
                <a:lnTo>
                  <a:pt x="648" y="534"/>
                </a:lnTo>
                <a:lnTo>
                  <a:pt x="644" y="534"/>
                </a:lnTo>
                <a:lnTo>
                  <a:pt x="648" y="534"/>
                </a:lnTo>
                <a:lnTo>
                  <a:pt x="648" y="536"/>
                </a:lnTo>
                <a:lnTo>
                  <a:pt x="648" y="534"/>
                </a:lnTo>
                <a:lnTo>
                  <a:pt x="652" y="534"/>
                </a:lnTo>
                <a:lnTo>
                  <a:pt x="652" y="536"/>
                </a:lnTo>
                <a:lnTo>
                  <a:pt x="652" y="540"/>
                </a:lnTo>
                <a:lnTo>
                  <a:pt x="648" y="540"/>
                </a:lnTo>
                <a:lnTo>
                  <a:pt x="652" y="540"/>
                </a:lnTo>
                <a:lnTo>
                  <a:pt x="652" y="544"/>
                </a:lnTo>
                <a:lnTo>
                  <a:pt x="652" y="548"/>
                </a:lnTo>
                <a:lnTo>
                  <a:pt x="652" y="544"/>
                </a:lnTo>
                <a:lnTo>
                  <a:pt x="648" y="544"/>
                </a:lnTo>
                <a:lnTo>
                  <a:pt x="648" y="540"/>
                </a:lnTo>
                <a:lnTo>
                  <a:pt x="648" y="544"/>
                </a:lnTo>
                <a:lnTo>
                  <a:pt x="644" y="544"/>
                </a:lnTo>
                <a:lnTo>
                  <a:pt x="648" y="548"/>
                </a:lnTo>
                <a:lnTo>
                  <a:pt x="644" y="552"/>
                </a:lnTo>
                <a:lnTo>
                  <a:pt x="644" y="548"/>
                </a:lnTo>
                <a:lnTo>
                  <a:pt x="640" y="548"/>
                </a:lnTo>
                <a:lnTo>
                  <a:pt x="640" y="552"/>
                </a:lnTo>
                <a:lnTo>
                  <a:pt x="644" y="552"/>
                </a:lnTo>
                <a:lnTo>
                  <a:pt x="640" y="556"/>
                </a:lnTo>
                <a:lnTo>
                  <a:pt x="636" y="556"/>
                </a:lnTo>
                <a:lnTo>
                  <a:pt x="640" y="556"/>
                </a:lnTo>
                <a:lnTo>
                  <a:pt x="636" y="552"/>
                </a:lnTo>
                <a:lnTo>
                  <a:pt x="636" y="556"/>
                </a:lnTo>
                <a:lnTo>
                  <a:pt x="640" y="556"/>
                </a:lnTo>
                <a:lnTo>
                  <a:pt x="636" y="560"/>
                </a:lnTo>
                <a:lnTo>
                  <a:pt x="632" y="560"/>
                </a:lnTo>
                <a:lnTo>
                  <a:pt x="628" y="560"/>
                </a:lnTo>
                <a:lnTo>
                  <a:pt x="628" y="564"/>
                </a:lnTo>
                <a:lnTo>
                  <a:pt x="626" y="564"/>
                </a:lnTo>
                <a:lnTo>
                  <a:pt x="628" y="564"/>
                </a:lnTo>
                <a:lnTo>
                  <a:pt x="628" y="566"/>
                </a:lnTo>
                <a:lnTo>
                  <a:pt x="626" y="570"/>
                </a:lnTo>
                <a:lnTo>
                  <a:pt x="622" y="570"/>
                </a:lnTo>
                <a:lnTo>
                  <a:pt x="622" y="574"/>
                </a:lnTo>
                <a:lnTo>
                  <a:pt x="618" y="574"/>
                </a:lnTo>
                <a:lnTo>
                  <a:pt x="618" y="578"/>
                </a:lnTo>
                <a:lnTo>
                  <a:pt x="614" y="578"/>
                </a:lnTo>
                <a:lnTo>
                  <a:pt x="610" y="578"/>
                </a:lnTo>
                <a:lnTo>
                  <a:pt x="610" y="582"/>
                </a:lnTo>
                <a:lnTo>
                  <a:pt x="606" y="582"/>
                </a:lnTo>
                <a:lnTo>
                  <a:pt x="610" y="582"/>
                </a:lnTo>
                <a:lnTo>
                  <a:pt x="610" y="586"/>
                </a:lnTo>
                <a:lnTo>
                  <a:pt x="606" y="586"/>
                </a:lnTo>
                <a:lnTo>
                  <a:pt x="606" y="590"/>
                </a:lnTo>
                <a:lnTo>
                  <a:pt x="602" y="590"/>
                </a:lnTo>
                <a:lnTo>
                  <a:pt x="602" y="592"/>
                </a:lnTo>
                <a:lnTo>
                  <a:pt x="600" y="590"/>
                </a:lnTo>
                <a:lnTo>
                  <a:pt x="600" y="592"/>
                </a:lnTo>
                <a:lnTo>
                  <a:pt x="596" y="592"/>
                </a:lnTo>
                <a:lnTo>
                  <a:pt x="596" y="590"/>
                </a:lnTo>
                <a:lnTo>
                  <a:pt x="592" y="592"/>
                </a:lnTo>
                <a:lnTo>
                  <a:pt x="596" y="592"/>
                </a:lnTo>
                <a:lnTo>
                  <a:pt x="592" y="592"/>
                </a:lnTo>
                <a:lnTo>
                  <a:pt x="588" y="592"/>
                </a:lnTo>
                <a:lnTo>
                  <a:pt x="584" y="592"/>
                </a:lnTo>
                <a:lnTo>
                  <a:pt x="584" y="596"/>
                </a:lnTo>
                <a:lnTo>
                  <a:pt x="580" y="596"/>
                </a:lnTo>
                <a:lnTo>
                  <a:pt x="580" y="592"/>
                </a:lnTo>
                <a:lnTo>
                  <a:pt x="584" y="592"/>
                </a:lnTo>
                <a:lnTo>
                  <a:pt x="580" y="592"/>
                </a:lnTo>
                <a:lnTo>
                  <a:pt x="580" y="596"/>
                </a:lnTo>
                <a:lnTo>
                  <a:pt x="576" y="596"/>
                </a:lnTo>
                <a:lnTo>
                  <a:pt x="572" y="596"/>
                </a:lnTo>
                <a:lnTo>
                  <a:pt x="576" y="596"/>
                </a:lnTo>
                <a:lnTo>
                  <a:pt x="576" y="600"/>
                </a:lnTo>
                <a:lnTo>
                  <a:pt x="572" y="600"/>
                </a:lnTo>
                <a:lnTo>
                  <a:pt x="570" y="600"/>
                </a:lnTo>
                <a:lnTo>
                  <a:pt x="570" y="596"/>
                </a:lnTo>
                <a:lnTo>
                  <a:pt x="572" y="596"/>
                </a:lnTo>
                <a:lnTo>
                  <a:pt x="570" y="596"/>
                </a:lnTo>
                <a:lnTo>
                  <a:pt x="570" y="592"/>
                </a:lnTo>
                <a:lnTo>
                  <a:pt x="566" y="590"/>
                </a:lnTo>
                <a:lnTo>
                  <a:pt x="566" y="586"/>
                </a:lnTo>
                <a:lnTo>
                  <a:pt x="570" y="586"/>
                </a:lnTo>
                <a:lnTo>
                  <a:pt x="566" y="586"/>
                </a:lnTo>
                <a:lnTo>
                  <a:pt x="566" y="590"/>
                </a:lnTo>
                <a:lnTo>
                  <a:pt x="562" y="590"/>
                </a:lnTo>
                <a:lnTo>
                  <a:pt x="566" y="592"/>
                </a:lnTo>
                <a:lnTo>
                  <a:pt x="562" y="592"/>
                </a:lnTo>
                <a:lnTo>
                  <a:pt x="566" y="592"/>
                </a:lnTo>
                <a:lnTo>
                  <a:pt x="566" y="596"/>
                </a:lnTo>
                <a:lnTo>
                  <a:pt x="566" y="600"/>
                </a:lnTo>
                <a:lnTo>
                  <a:pt x="566" y="604"/>
                </a:lnTo>
                <a:lnTo>
                  <a:pt x="562" y="604"/>
                </a:lnTo>
                <a:lnTo>
                  <a:pt x="562" y="600"/>
                </a:lnTo>
                <a:lnTo>
                  <a:pt x="562" y="596"/>
                </a:lnTo>
                <a:lnTo>
                  <a:pt x="558" y="596"/>
                </a:lnTo>
                <a:lnTo>
                  <a:pt x="562" y="596"/>
                </a:lnTo>
                <a:lnTo>
                  <a:pt x="562" y="600"/>
                </a:lnTo>
                <a:lnTo>
                  <a:pt x="562" y="604"/>
                </a:lnTo>
                <a:lnTo>
                  <a:pt x="558" y="604"/>
                </a:lnTo>
                <a:lnTo>
                  <a:pt x="558" y="600"/>
                </a:lnTo>
                <a:lnTo>
                  <a:pt x="558" y="604"/>
                </a:lnTo>
                <a:lnTo>
                  <a:pt x="558" y="608"/>
                </a:lnTo>
                <a:lnTo>
                  <a:pt x="554" y="608"/>
                </a:lnTo>
                <a:lnTo>
                  <a:pt x="550" y="608"/>
                </a:lnTo>
                <a:lnTo>
                  <a:pt x="550" y="612"/>
                </a:lnTo>
                <a:lnTo>
                  <a:pt x="550" y="608"/>
                </a:lnTo>
                <a:lnTo>
                  <a:pt x="546" y="612"/>
                </a:lnTo>
                <a:lnTo>
                  <a:pt x="542" y="608"/>
                </a:lnTo>
                <a:lnTo>
                  <a:pt x="542" y="612"/>
                </a:lnTo>
                <a:lnTo>
                  <a:pt x="540" y="612"/>
                </a:lnTo>
                <a:lnTo>
                  <a:pt x="540" y="616"/>
                </a:lnTo>
                <a:lnTo>
                  <a:pt x="536" y="616"/>
                </a:lnTo>
                <a:lnTo>
                  <a:pt x="532" y="616"/>
                </a:lnTo>
                <a:lnTo>
                  <a:pt x="528" y="616"/>
                </a:lnTo>
                <a:lnTo>
                  <a:pt x="524" y="616"/>
                </a:lnTo>
                <a:lnTo>
                  <a:pt x="524" y="620"/>
                </a:lnTo>
                <a:lnTo>
                  <a:pt x="524" y="616"/>
                </a:lnTo>
                <a:lnTo>
                  <a:pt x="524" y="620"/>
                </a:lnTo>
                <a:lnTo>
                  <a:pt x="520" y="620"/>
                </a:lnTo>
                <a:lnTo>
                  <a:pt x="520" y="616"/>
                </a:lnTo>
                <a:lnTo>
                  <a:pt x="520" y="620"/>
                </a:lnTo>
                <a:lnTo>
                  <a:pt x="520" y="622"/>
                </a:lnTo>
                <a:lnTo>
                  <a:pt x="516" y="622"/>
                </a:lnTo>
                <a:lnTo>
                  <a:pt x="516" y="626"/>
                </a:lnTo>
                <a:lnTo>
                  <a:pt x="520" y="626"/>
                </a:lnTo>
                <a:lnTo>
                  <a:pt x="520" y="630"/>
                </a:lnTo>
                <a:lnTo>
                  <a:pt x="520" y="626"/>
                </a:lnTo>
                <a:lnTo>
                  <a:pt x="520" y="630"/>
                </a:lnTo>
                <a:lnTo>
                  <a:pt x="520" y="634"/>
                </a:lnTo>
                <a:lnTo>
                  <a:pt x="520" y="636"/>
                </a:lnTo>
                <a:lnTo>
                  <a:pt x="516" y="636"/>
                </a:lnTo>
                <a:lnTo>
                  <a:pt x="514" y="636"/>
                </a:lnTo>
                <a:lnTo>
                  <a:pt x="514" y="634"/>
                </a:lnTo>
                <a:lnTo>
                  <a:pt x="510" y="630"/>
                </a:lnTo>
                <a:lnTo>
                  <a:pt x="510" y="626"/>
                </a:lnTo>
                <a:lnTo>
                  <a:pt x="510" y="622"/>
                </a:lnTo>
                <a:lnTo>
                  <a:pt x="514" y="620"/>
                </a:lnTo>
                <a:lnTo>
                  <a:pt x="514" y="616"/>
                </a:lnTo>
                <a:lnTo>
                  <a:pt x="514" y="612"/>
                </a:lnTo>
                <a:lnTo>
                  <a:pt x="510" y="612"/>
                </a:lnTo>
                <a:lnTo>
                  <a:pt x="510" y="616"/>
                </a:lnTo>
                <a:lnTo>
                  <a:pt x="514" y="616"/>
                </a:lnTo>
                <a:lnTo>
                  <a:pt x="510" y="616"/>
                </a:lnTo>
                <a:lnTo>
                  <a:pt x="510" y="612"/>
                </a:lnTo>
                <a:lnTo>
                  <a:pt x="510" y="616"/>
                </a:lnTo>
                <a:lnTo>
                  <a:pt x="506" y="616"/>
                </a:lnTo>
                <a:lnTo>
                  <a:pt x="502" y="616"/>
                </a:lnTo>
                <a:lnTo>
                  <a:pt x="502" y="612"/>
                </a:lnTo>
                <a:lnTo>
                  <a:pt x="498" y="612"/>
                </a:lnTo>
                <a:lnTo>
                  <a:pt x="498" y="608"/>
                </a:lnTo>
                <a:lnTo>
                  <a:pt x="498" y="612"/>
                </a:lnTo>
                <a:lnTo>
                  <a:pt x="494" y="612"/>
                </a:lnTo>
                <a:lnTo>
                  <a:pt x="494" y="608"/>
                </a:lnTo>
                <a:lnTo>
                  <a:pt x="494" y="612"/>
                </a:lnTo>
                <a:lnTo>
                  <a:pt x="494" y="616"/>
                </a:lnTo>
                <a:lnTo>
                  <a:pt x="490" y="616"/>
                </a:lnTo>
                <a:lnTo>
                  <a:pt x="490" y="612"/>
                </a:lnTo>
                <a:lnTo>
                  <a:pt x="494" y="612"/>
                </a:lnTo>
                <a:lnTo>
                  <a:pt x="490" y="612"/>
                </a:lnTo>
                <a:lnTo>
                  <a:pt x="490" y="616"/>
                </a:lnTo>
                <a:lnTo>
                  <a:pt x="490" y="612"/>
                </a:lnTo>
                <a:lnTo>
                  <a:pt x="486" y="616"/>
                </a:lnTo>
                <a:lnTo>
                  <a:pt x="486" y="612"/>
                </a:lnTo>
                <a:lnTo>
                  <a:pt x="484" y="612"/>
                </a:lnTo>
                <a:lnTo>
                  <a:pt x="480" y="612"/>
                </a:lnTo>
                <a:lnTo>
                  <a:pt x="476" y="612"/>
                </a:lnTo>
                <a:lnTo>
                  <a:pt x="472" y="608"/>
                </a:lnTo>
                <a:lnTo>
                  <a:pt x="468" y="604"/>
                </a:lnTo>
                <a:lnTo>
                  <a:pt x="468" y="600"/>
                </a:lnTo>
                <a:lnTo>
                  <a:pt x="464" y="600"/>
                </a:lnTo>
                <a:lnTo>
                  <a:pt x="464" y="596"/>
                </a:lnTo>
                <a:lnTo>
                  <a:pt x="468" y="596"/>
                </a:lnTo>
                <a:lnTo>
                  <a:pt x="468" y="592"/>
                </a:lnTo>
                <a:lnTo>
                  <a:pt x="468" y="590"/>
                </a:lnTo>
                <a:lnTo>
                  <a:pt x="464" y="590"/>
                </a:lnTo>
                <a:lnTo>
                  <a:pt x="460" y="590"/>
                </a:lnTo>
                <a:lnTo>
                  <a:pt x="458" y="590"/>
                </a:lnTo>
                <a:lnTo>
                  <a:pt x="454" y="590"/>
                </a:lnTo>
                <a:lnTo>
                  <a:pt x="454" y="586"/>
                </a:lnTo>
                <a:lnTo>
                  <a:pt x="450" y="586"/>
                </a:lnTo>
                <a:lnTo>
                  <a:pt x="450" y="582"/>
                </a:lnTo>
                <a:lnTo>
                  <a:pt x="446" y="582"/>
                </a:lnTo>
                <a:lnTo>
                  <a:pt x="442" y="586"/>
                </a:lnTo>
                <a:lnTo>
                  <a:pt x="442" y="590"/>
                </a:lnTo>
                <a:lnTo>
                  <a:pt x="438" y="592"/>
                </a:lnTo>
                <a:lnTo>
                  <a:pt x="434" y="592"/>
                </a:lnTo>
                <a:lnTo>
                  <a:pt x="430" y="592"/>
                </a:lnTo>
                <a:lnTo>
                  <a:pt x="430" y="596"/>
                </a:lnTo>
                <a:lnTo>
                  <a:pt x="428" y="596"/>
                </a:lnTo>
                <a:lnTo>
                  <a:pt x="428" y="592"/>
                </a:lnTo>
                <a:lnTo>
                  <a:pt x="424" y="592"/>
                </a:lnTo>
                <a:lnTo>
                  <a:pt x="424" y="596"/>
                </a:lnTo>
                <a:lnTo>
                  <a:pt x="424" y="592"/>
                </a:lnTo>
                <a:lnTo>
                  <a:pt x="420" y="592"/>
                </a:lnTo>
                <a:lnTo>
                  <a:pt x="420" y="596"/>
                </a:lnTo>
                <a:lnTo>
                  <a:pt x="416" y="596"/>
                </a:lnTo>
                <a:lnTo>
                  <a:pt x="412" y="596"/>
                </a:lnTo>
                <a:lnTo>
                  <a:pt x="412" y="592"/>
                </a:lnTo>
                <a:lnTo>
                  <a:pt x="408" y="592"/>
                </a:lnTo>
                <a:lnTo>
                  <a:pt x="408" y="596"/>
                </a:lnTo>
                <a:lnTo>
                  <a:pt x="404" y="596"/>
                </a:lnTo>
                <a:lnTo>
                  <a:pt x="404" y="600"/>
                </a:lnTo>
                <a:lnTo>
                  <a:pt x="404" y="596"/>
                </a:lnTo>
                <a:lnTo>
                  <a:pt x="402" y="596"/>
                </a:lnTo>
                <a:lnTo>
                  <a:pt x="398" y="596"/>
                </a:lnTo>
                <a:lnTo>
                  <a:pt x="398" y="600"/>
                </a:lnTo>
                <a:lnTo>
                  <a:pt x="394" y="600"/>
                </a:lnTo>
                <a:lnTo>
                  <a:pt x="398" y="608"/>
                </a:lnTo>
                <a:lnTo>
                  <a:pt x="398" y="612"/>
                </a:lnTo>
                <a:lnTo>
                  <a:pt x="398" y="616"/>
                </a:lnTo>
                <a:lnTo>
                  <a:pt x="398" y="620"/>
                </a:lnTo>
                <a:lnTo>
                  <a:pt x="402" y="620"/>
                </a:lnTo>
                <a:lnTo>
                  <a:pt x="398" y="620"/>
                </a:lnTo>
                <a:lnTo>
                  <a:pt x="398" y="622"/>
                </a:lnTo>
                <a:lnTo>
                  <a:pt x="398" y="620"/>
                </a:lnTo>
                <a:lnTo>
                  <a:pt x="394" y="620"/>
                </a:lnTo>
                <a:lnTo>
                  <a:pt x="390" y="620"/>
                </a:lnTo>
                <a:lnTo>
                  <a:pt x="390" y="616"/>
                </a:lnTo>
                <a:lnTo>
                  <a:pt x="390" y="612"/>
                </a:lnTo>
                <a:lnTo>
                  <a:pt x="386" y="612"/>
                </a:lnTo>
                <a:lnTo>
                  <a:pt x="382" y="616"/>
                </a:lnTo>
                <a:lnTo>
                  <a:pt x="378" y="616"/>
                </a:lnTo>
                <a:lnTo>
                  <a:pt x="374" y="616"/>
                </a:lnTo>
                <a:lnTo>
                  <a:pt x="374" y="612"/>
                </a:lnTo>
                <a:lnTo>
                  <a:pt x="372" y="612"/>
                </a:lnTo>
                <a:lnTo>
                  <a:pt x="372" y="608"/>
                </a:lnTo>
                <a:lnTo>
                  <a:pt x="372" y="604"/>
                </a:lnTo>
                <a:lnTo>
                  <a:pt x="368" y="604"/>
                </a:lnTo>
                <a:lnTo>
                  <a:pt x="364" y="604"/>
                </a:lnTo>
                <a:lnTo>
                  <a:pt x="360" y="604"/>
                </a:lnTo>
                <a:lnTo>
                  <a:pt x="364" y="600"/>
                </a:lnTo>
                <a:lnTo>
                  <a:pt x="364" y="596"/>
                </a:lnTo>
                <a:lnTo>
                  <a:pt x="364" y="592"/>
                </a:lnTo>
                <a:lnTo>
                  <a:pt x="364" y="590"/>
                </a:lnTo>
                <a:lnTo>
                  <a:pt x="368" y="590"/>
                </a:lnTo>
                <a:lnTo>
                  <a:pt x="368" y="586"/>
                </a:lnTo>
                <a:lnTo>
                  <a:pt x="364" y="586"/>
                </a:lnTo>
                <a:lnTo>
                  <a:pt x="360" y="586"/>
                </a:lnTo>
                <a:lnTo>
                  <a:pt x="356" y="586"/>
                </a:lnTo>
                <a:lnTo>
                  <a:pt x="356" y="582"/>
                </a:lnTo>
                <a:lnTo>
                  <a:pt x="356" y="578"/>
                </a:lnTo>
                <a:lnTo>
                  <a:pt x="356" y="574"/>
                </a:lnTo>
                <a:lnTo>
                  <a:pt x="352" y="570"/>
                </a:lnTo>
                <a:lnTo>
                  <a:pt x="356" y="570"/>
                </a:lnTo>
                <a:lnTo>
                  <a:pt x="356" y="566"/>
                </a:lnTo>
                <a:lnTo>
                  <a:pt x="352" y="566"/>
                </a:lnTo>
                <a:lnTo>
                  <a:pt x="348" y="566"/>
                </a:lnTo>
                <a:lnTo>
                  <a:pt x="346" y="566"/>
                </a:lnTo>
                <a:lnTo>
                  <a:pt x="346" y="570"/>
                </a:lnTo>
                <a:lnTo>
                  <a:pt x="342" y="570"/>
                </a:lnTo>
                <a:lnTo>
                  <a:pt x="342" y="574"/>
                </a:lnTo>
                <a:lnTo>
                  <a:pt x="342" y="574"/>
                </a:lnTo>
                <a:lnTo>
                  <a:pt x="342" y="574"/>
                </a:lnTo>
                <a:close/>
                <a:moveTo>
                  <a:pt x="658" y="578"/>
                </a:moveTo>
                <a:lnTo>
                  <a:pt x="658" y="574"/>
                </a:lnTo>
                <a:lnTo>
                  <a:pt x="658" y="570"/>
                </a:lnTo>
                <a:lnTo>
                  <a:pt x="662" y="570"/>
                </a:lnTo>
                <a:lnTo>
                  <a:pt x="662" y="566"/>
                </a:lnTo>
                <a:lnTo>
                  <a:pt x="662" y="564"/>
                </a:lnTo>
                <a:lnTo>
                  <a:pt x="666" y="564"/>
                </a:lnTo>
                <a:lnTo>
                  <a:pt x="666" y="560"/>
                </a:lnTo>
                <a:lnTo>
                  <a:pt x="670" y="556"/>
                </a:lnTo>
                <a:lnTo>
                  <a:pt x="670" y="552"/>
                </a:lnTo>
                <a:lnTo>
                  <a:pt x="674" y="552"/>
                </a:lnTo>
                <a:lnTo>
                  <a:pt x="674" y="548"/>
                </a:lnTo>
                <a:lnTo>
                  <a:pt x="676" y="548"/>
                </a:lnTo>
                <a:lnTo>
                  <a:pt x="676" y="552"/>
                </a:lnTo>
                <a:lnTo>
                  <a:pt x="676" y="548"/>
                </a:lnTo>
                <a:lnTo>
                  <a:pt x="680" y="548"/>
                </a:lnTo>
                <a:lnTo>
                  <a:pt x="680" y="552"/>
                </a:lnTo>
                <a:lnTo>
                  <a:pt x="684" y="552"/>
                </a:lnTo>
                <a:lnTo>
                  <a:pt x="680" y="556"/>
                </a:lnTo>
                <a:lnTo>
                  <a:pt x="680" y="560"/>
                </a:lnTo>
                <a:lnTo>
                  <a:pt x="680" y="564"/>
                </a:lnTo>
                <a:lnTo>
                  <a:pt x="680" y="566"/>
                </a:lnTo>
                <a:lnTo>
                  <a:pt x="676" y="570"/>
                </a:lnTo>
                <a:lnTo>
                  <a:pt x="680" y="570"/>
                </a:lnTo>
                <a:lnTo>
                  <a:pt x="676" y="570"/>
                </a:lnTo>
                <a:lnTo>
                  <a:pt x="676" y="574"/>
                </a:lnTo>
                <a:lnTo>
                  <a:pt x="676" y="578"/>
                </a:lnTo>
                <a:lnTo>
                  <a:pt x="676" y="582"/>
                </a:lnTo>
                <a:lnTo>
                  <a:pt x="676" y="586"/>
                </a:lnTo>
                <a:lnTo>
                  <a:pt x="674" y="590"/>
                </a:lnTo>
                <a:lnTo>
                  <a:pt x="674" y="592"/>
                </a:lnTo>
                <a:lnTo>
                  <a:pt x="670" y="592"/>
                </a:lnTo>
                <a:lnTo>
                  <a:pt x="670" y="596"/>
                </a:lnTo>
                <a:lnTo>
                  <a:pt x="670" y="600"/>
                </a:lnTo>
                <a:lnTo>
                  <a:pt x="670" y="604"/>
                </a:lnTo>
                <a:lnTo>
                  <a:pt x="670" y="608"/>
                </a:lnTo>
                <a:lnTo>
                  <a:pt x="666" y="608"/>
                </a:lnTo>
                <a:lnTo>
                  <a:pt x="666" y="604"/>
                </a:lnTo>
                <a:lnTo>
                  <a:pt x="666" y="600"/>
                </a:lnTo>
                <a:lnTo>
                  <a:pt x="662" y="600"/>
                </a:lnTo>
                <a:lnTo>
                  <a:pt x="662" y="596"/>
                </a:lnTo>
                <a:lnTo>
                  <a:pt x="658" y="596"/>
                </a:lnTo>
                <a:lnTo>
                  <a:pt x="658" y="592"/>
                </a:lnTo>
                <a:lnTo>
                  <a:pt x="658" y="590"/>
                </a:lnTo>
                <a:lnTo>
                  <a:pt x="658" y="586"/>
                </a:lnTo>
                <a:lnTo>
                  <a:pt x="658" y="582"/>
                </a:lnTo>
                <a:lnTo>
                  <a:pt x="658" y="578"/>
                </a:lnTo>
                <a:lnTo>
                  <a:pt x="658" y="578"/>
                </a:lnTo>
                <a:lnTo>
                  <a:pt x="658" y="578"/>
                </a:lnTo>
                <a:close/>
                <a:moveTo>
                  <a:pt x="510" y="670"/>
                </a:moveTo>
                <a:lnTo>
                  <a:pt x="510" y="674"/>
                </a:lnTo>
                <a:lnTo>
                  <a:pt x="510" y="670"/>
                </a:lnTo>
                <a:lnTo>
                  <a:pt x="506" y="670"/>
                </a:lnTo>
                <a:lnTo>
                  <a:pt x="502" y="670"/>
                </a:lnTo>
                <a:lnTo>
                  <a:pt x="498" y="670"/>
                </a:lnTo>
                <a:lnTo>
                  <a:pt x="498" y="666"/>
                </a:lnTo>
                <a:lnTo>
                  <a:pt x="494" y="666"/>
                </a:lnTo>
                <a:lnTo>
                  <a:pt x="494" y="662"/>
                </a:lnTo>
                <a:lnTo>
                  <a:pt x="498" y="662"/>
                </a:lnTo>
                <a:lnTo>
                  <a:pt x="494" y="662"/>
                </a:lnTo>
                <a:lnTo>
                  <a:pt x="494" y="660"/>
                </a:lnTo>
                <a:lnTo>
                  <a:pt x="494" y="656"/>
                </a:lnTo>
                <a:lnTo>
                  <a:pt x="494" y="652"/>
                </a:lnTo>
                <a:lnTo>
                  <a:pt x="498" y="652"/>
                </a:lnTo>
                <a:lnTo>
                  <a:pt x="498" y="648"/>
                </a:lnTo>
                <a:lnTo>
                  <a:pt x="502" y="648"/>
                </a:lnTo>
                <a:lnTo>
                  <a:pt x="506" y="644"/>
                </a:lnTo>
                <a:lnTo>
                  <a:pt x="502" y="644"/>
                </a:lnTo>
                <a:lnTo>
                  <a:pt x="506" y="640"/>
                </a:lnTo>
                <a:lnTo>
                  <a:pt x="506" y="644"/>
                </a:lnTo>
                <a:lnTo>
                  <a:pt x="510" y="644"/>
                </a:lnTo>
                <a:lnTo>
                  <a:pt x="510" y="640"/>
                </a:lnTo>
                <a:lnTo>
                  <a:pt x="514" y="640"/>
                </a:lnTo>
                <a:lnTo>
                  <a:pt x="516" y="640"/>
                </a:lnTo>
                <a:lnTo>
                  <a:pt x="520" y="640"/>
                </a:lnTo>
                <a:lnTo>
                  <a:pt x="524" y="640"/>
                </a:lnTo>
                <a:lnTo>
                  <a:pt x="524" y="636"/>
                </a:lnTo>
                <a:lnTo>
                  <a:pt x="524" y="640"/>
                </a:lnTo>
                <a:lnTo>
                  <a:pt x="528" y="640"/>
                </a:lnTo>
                <a:lnTo>
                  <a:pt x="528" y="648"/>
                </a:lnTo>
                <a:lnTo>
                  <a:pt x="524" y="652"/>
                </a:lnTo>
                <a:lnTo>
                  <a:pt x="524" y="656"/>
                </a:lnTo>
                <a:lnTo>
                  <a:pt x="520" y="656"/>
                </a:lnTo>
                <a:lnTo>
                  <a:pt x="524" y="656"/>
                </a:lnTo>
                <a:lnTo>
                  <a:pt x="520" y="660"/>
                </a:lnTo>
                <a:lnTo>
                  <a:pt x="520" y="662"/>
                </a:lnTo>
                <a:lnTo>
                  <a:pt x="516" y="662"/>
                </a:lnTo>
                <a:lnTo>
                  <a:pt x="516" y="666"/>
                </a:lnTo>
                <a:lnTo>
                  <a:pt x="516" y="670"/>
                </a:lnTo>
                <a:lnTo>
                  <a:pt x="514" y="670"/>
                </a:lnTo>
                <a:lnTo>
                  <a:pt x="514" y="666"/>
                </a:lnTo>
                <a:lnTo>
                  <a:pt x="514" y="670"/>
                </a:lnTo>
                <a:lnTo>
                  <a:pt x="510" y="670"/>
                </a:lnTo>
                <a:lnTo>
                  <a:pt x="510" y="670"/>
                </a:lnTo>
                <a:lnTo>
                  <a:pt x="510" y="670"/>
                </a:lnTo>
                <a:close/>
                <a:moveTo>
                  <a:pt x="674" y="428"/>
                </a:moveTo>
                <a:lnTo>
                  <a:pt x="676" y="428"/>
                </a:lnTo>
                <a:lnTo>
                  <a:pt x="676" y="432"/>
                </a:lnTo>
                <a:lnTo>
                  <a:pt x="680" y="432"/>
                </a:lnTo>
                <a:lnTo>
                  <a:pt x="684" y="432"/>
                </a:lnTo>
                <a:lnTo>
                  <a:pt x="680" y="432"/>
                </a:lnTo>
                <a:lnTo>
                  <a:pt x="680" y="436"/>
                </a:lnTo>
                <a:lnTo>
                  <a:pt x="676" y="432"/>
                </a:lnTo>
                <a:lnTo>
                  <a:pt x="674" y="432"/>
                </a:lnTo>
                <a:lnTo>
                  <a:pt x="674" y="428"/>
                </a:lnTo>
                <a:lnTo>
                  <a:pt x="674" y="428"/>
                </a:lnTo>
                <a:lnTo>
                  <a:pt x="674" y="428"/>
                </a:lnTo>
                <a:close/>
                <a:moveTo>
                  <a:pt x="684" y="462"/>
                </a:moveTo>
                <a:lnTo>
                  <a:pt x="684" y="458"/>
                </a:lnTo>
                <a:lnTo>
                  <a:pt x="688" y="458"/>
                </a:lnTo>
                <a:lnTo>
                  <a:pt x="688" y="462"/>
                </a:lnTo>
                <a:lnTo>
                  <a:pt x="684" y="462"/>
                </a:lnTo>
                <a:lnTo>
                  <a:pt x="684" y="462"/>
                </a:lnTo>
                <a:lnTo>
                  <a:pt x="684" y="462"/>
                </a:lnTo>
                <a:close/>
                <a:moveTo>
                  <a:pt x="652" y="544"/>
                </a:moveTo>
                <a:lnTo>
                  <a:pt x="652" y="540"/>
                </a:lnTo>
                <a:lnTo>
                  <a:pt x="656" y="540"/>
                </a:lnTo>
                <a:lnTo>
                  <a:pt x="656" y="544"/>
                </a:lnTo>
                <a:lnTo>
                  <a:pt x="652" y="544"/>
                </a:lnTo>
                <a:lnTo>
                  <a:pt x="652" y="544"/>
                </a:lnTo>
                <a:lnTo>
                  <a:pt x="652" y="544"/>
                </a:lnTo>
                <a:close/>
                <a:moveTo>
                  <a:pt x="622" y="574"/>
                </a:moveTo>
                <a:lnTo>
                  <a:pt x="622" y="578"/>
                </a:lnTo>
                <a:lnTo>
                  <a:pt x="618" y="578"/>
                </a:lnTo>
                <a:lnTo>
                  <a:pt x="618" y="574"/>
                </a:lnTo>
                <a:lnTo>
                  <a:pt x="622" y="574"/>
                </a:lnTo>
                <a:lnTo>
                  <a:pt x="622" y="574"/>
                </a:lnTo>
                <a:lnTo>
                  <a:pt x="622" y="574"/>
                </a:lnTo>
                <a:close/>
                <a:moveTo>
                  <a:pt x="520" y="622"/>
                </a:moveTo>
                <a:lnTo>
                  <a:pt x="524" y="622"/>
                </a:lnTo>
                <a:lnTo>
                  <a:pt x="520" y="622"/>
                </a:lnTo>
                <a:lnTo>
                  <a:pt x="516" y="622"/>
                </a:lnTo>
                <a:lnTo>
                  <a:pt x="520" y="622"/>
                </a:lnTo>
                <a:lnTo>
                  <a:pt x="520" y="622"/>
                </a:lnTo>
                <a:lnTo>
                  <a:pt x="520" y="622"/>
                </a:lnTo>
                <a:close/>
                <a:moveTo>
                  <a:pt x="676" y="286"/>
                </a:moveTo>
                <a:lnTo>
                  <a:pt x="674" y="286"/>
                </a:lnTo>
                <a:lnTo>
                  <a:pt x="674" y="284"/>
                </a:lnTo>
                <a:lnTo>
                  <a:pt x="676" y="284"/>
                </a:lnTo>
                <a:lnTo>
                  <a:pt x="676" y="286"/>
                </a:lnTo>
                <a:lnTo>
                  <a:pt x="676" y="286"/>
                </a:lnTo>
                <a:lnTo>
                  <a:pt x="676" y="286"/>
                </a:lnTo>
                <a:close/>
                <a:moveTo>
                  <a:pt x="572" y="600"/>
                </a:moveTo>
                <a:lnTo>
                  <a:pt x="570" y="600"/>
                </a:lnTo>
                <a:lnTo>
                  <a:pt x="570" y="604"/>
                </a:lnTo>
                <a:lnTo>
                  <a:pt x="570" y="600"/>
                </a:lnTo>
                <a:lnTo>
                  <a:pt x="572" y="600"/>
                </a:lnTo>
                <a:lnTo>
                  <a:pt x="572" y="600"/>
                </a:lnTo>
                <a:lnTo>
                  <a:pt x="572" y="600"/>
                </a:lnTo>
                <a:close/>
                <a:moveTo>
                  <a:pt x="652" y="422"/>
                </a:moveTo>
                <a:lnTo>
                  <a:pt x="656" y="422"/>
                </a:lnTo>
                <a:lnTo>
                  <a:pt x="656" y="424"/>
                </a:lnTo>
                <a:lnTo>
                  <a:pt x="656" y="422"/>
                </a:lnTo>
                <a:lnTo>
                  <a:pt x="652" y="422"/>
                </a:lnTo>
                <a:lnTo>
                  <a:pt x="652" y="422"/>
                </a:lnTo>
                <a:lnTo>
                  <a:pt x="652" y="422"/>
                </a:lnTo>
                <a:close/>
                <a:moveTo>
                  <a:pt x="566" y="592"/>
                </a:moveTo>
                <a:lnTo>
                  <a:pt x="562" y="590"/>
                </a:lnTo>
                <a:lnTo>
                  <a:pt x="566" y="590"/>
                </a:lnTo>
                <a:lnTo>
                  <a:pt x="566" y="592"/>
                </a:lnTo>
                <a:lnTo>
                  <a:pt x="566" y="592"/>
                </a:lnTo>
                <a:lnTo>
                  <a:pt x="566" y="592"/>
                </a:lnTo>
                <a:close/>
                <a:moveTo>
                  <a:pt x="632" y="564"/>
                </a:moveTo>
                <a:lnTo>
                  <a:pt x="632" y="560"/>
                </a:lnTo>
                <a:lnTo>
                  <a:pt x="632" y="564"/>
                </a:lnTo>
                <a:lnTo>
                  <a:pt x="636" y="564"/>
                </a:lnTo>
                <a:lnTo>
                  <a:pt x="632" y="564"/>
                </a:lnTo>
                <a:lnTo>
                  <a:pt x="632" y="564"/>
                </a:lnTo>
                <a:lnTo>
                  <a:pt x="632" y="564"/>
                </a:lnTo>
                <a:close/>
                <a:moveTo>
                  <a:pt x="614" y="578"/>
                </a:moveTo>
                <a:lnTo>
                  <a:pt x="614" y="582"/>
                </a:lnTo>
                <a:lnTo>
                  <a:pt x="614" y="578"/>
                </a:lnTo>
                <a:lnTo>
                  <a:pt x="614" y="578"/>
                </a:lnTo>
                <a:lnTo>
                  <a:pt x="614" y="578"/>
                </a:lnTo>
                <a:close/>
                <a:moveTo>
                  <a:pt x="540" y="616"/>
                </a:moveTo>
                <a:lnTo>
                  <a:pt x="540" y="612"/>
                </a:lnTo>
                <a:lnTo>
                  <a:pt x="542" y="612"/>
                </a:lnTo>
                <a:lnTo>
                  <a:pt x="540" y="616"/>
                </a:lnTo>
                <a:lnTo>
                  <a:pt x="540" y="616"/>
                </a:lnTo>
                <a:lnTo>
                  <a:pt x="540" y="616"/>
                </a:lnTo>
                <a:close/>
                <a:moveTo>
                  <a:pt x="628" y="564"/>
                </a:moveTo>
                <a:lnTo>
                  <a:pt x="628" y="560"/>
                </a:lnTo>
                <a:lnTo>
                  <a:pt x="632" y="564"/>
                </a:lnTo>
                <a:lnTo>
                  <a:pt x="628" y="564"/>
                </a:lnTo>
                <a:lnTo>
                  <a:pt x="628" y="564"/>
                </a:lnTo>
                <a:lnTo>
                  <a:pt x="628" y="564"/>
                </a:lnTo>
                <a:close/>
                <a:moveTo>
                  <a:pt x="520" y="620"/>
                </a:moveTo>
                <a:lnTo>
                  <a:pt x="524" y="620"/>
                </a:lnTo>
                <a:lnTo>
                  <a:pt x="524" y="622"/>
                </a:lnTo>
                <a:lnTo>
                  <a:pt x="520" y="622"/>
                </a:lnTo>
                <a:lnTo>
                  <a:pt x="520" y="620"/>
                </a:lnTo>
                <a:lnTo>
                  <a:pt x="520" y="620"/>
                </a:lnTo>
                <a:lnTo>
                  <a:pt x="520" y="620"/>
                </a:lnTo>
                <a:close/>
                <a:moveTo>
                  <a:pt x="684" y="454"/>
                </a:moveTo>
                <a:lnTo>
                  <a:pt x="688" y="454"/>
                </a:lnTo>
                <a:lnTo>
                  <a:pt x="688" y="458"/>
                </a:lnTo>
                <a:lnTo>
                  <a:pt x="684" y="458"/>
                </a:lnTo>
                <a:lnTo>
                  <a:pt x="684" y="454"/>
                </a:lnTo>
                <a:lnTo>
                  <a:pt x="684" y="454"/>
                </a:lnTo>
                <a:lnTo>
                  <a:pt x="684" y="454"/>
                </a:lnTo>
                <a:close/>
                <a:moveTo>
                  <a:pt x="684" y="466"/>
                </a:moveTo>
                <a:lnTo>
                  <a:pt x="688" y="466"/>
                </a:lnTo>
                <a:lnTo>
                  <a:pt x="688" y="470"/>
                </a:lnTo>
                <a:lnTo>
                  <a:pt x="684" y="466"/>
                </a:lnTo>
                <a:lnTo>
                  <a:pt x="684" y="466"/>
                </a:lnTo>
                <a:lnTo>
                  <a:pt x="684" y="466"/>
                </a:lnTo>
                <a:close/>
                <a:moveTo>
                  <a:pt x="572" y="600"/>
                </a:moveTo>
                <a:lnTo>
                  <a:pt x="576" y="600"/>
                </a:lnTo>
                <a:lnTo>
                  <a:pt x="576" y="604"/>
                </a:lnTo>
                <a:lnTo>
                  <a:pt x="572" y="600"/>
                </a:lnTo>
                <a:lnTo>
                  <a:pt x="572" y="604"/>
                </a:lnTo>
                <a:lnTo>
                  <a:pt x="572" y="600"/>
                </a:lnTo>
                <a:lnTo>
                  <a:pt x="572" y="600"/>
                </a:lnTo>
                <a:lnTo>
                  <a:pt x="572" y="600"/>
                </a:lnTo>
                <a:close/>
              </a:path>
            </a:pathLst>
          </a:custGeom>
          <a:solidFill>
            <a:srgbClr val="A0DCFF"/>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8" name="Freeform 25"/>
          <p:cNvSpPr>
            <a:spLocks/>
          </p:cNvSpPr>
          <p:nvPr/>
        </p:nvSpPr>
        <p:spPr bwMode="auto">
          <a:xfrm>
            <a:off x="4798219" y="2950369"/>
            <a:ext cx="40481" cy="21431"/>
          </a:xfrm>
          <a:custGeom>
            <a:avLst/>
            <a:gdLst>
              <a:gd name="T0" fmla="*/ 14 w 34"/>
              <a:gd name="T1" fmla="*/ 14 h 18"/>
              <a:gd name="T2" fmla="*/ 14 w 34"/>
              <a:gd name="T3" fmla="*/ 18 h 18"/>
              <a:gd name="T4" fmla="*/ 10 w 34"/>
              <a:gd name="T5" fmla="*/ 18 h 18"/>
              <a:gd name="T6" fmla="*/ 8 w 34"/>
              <a:gd name="T7" fmla="*/ 18 h 18"/>
              <a:gd name="T8" fmla="*/ 8 w 34"/>
              <a:gd name="T9" fmla="*/ 18 h 18"/>
              <a:gd name="T10" fmla="*/ 4 w 34"/>
              <a:gd name="T11" fmla="*/ 14 h 18"/>
              <a:gd name="T12" fmla="*/ 4 w 34"/>
              <a:gd name="T13" fmla="*/ 14 h 18"/>
              <a:gd name="T14" fmla="*/ 0 w 34"/>
              <a:gd name="T15" fmla="*/ 10 h 18"/>
              <a:gd name="T16" fmla="*/ 4 w 34"/>
              <a:gd name="T17" fmla="*/ 10 h 18"/>
              <a:gd name="T18" fmla="*/ 4 w 34"/>
              <a:gd name="T19" fmla="*/ 10 h 18"/>
              <a:gd name="T20" fmla="*/ 4 w 34"/>
              <a:gd name="T21" fmla="*/ 10 h 18"/>
              <a:gd name="T22" fmla="*/ 4 w 34"/>
              <a:gd name="T23" fmla="*/ 10 h 18"/>
              <a:gd name="T24" fmla="*/ 4 w 34"/>
              <a:gd name="T25" fmla="*/ 8 h 18"/>
              <a:gd name="T26" fmla="*/ 8 w 34"/>
              <a:gd name="T27" fmla="*/ 8 h 18"/>
              <a:gd name="T28" fmla="*/ 8 w 34"/>
              <a:gd name="T29" fmla="*/ 8 h 18"/>
              <a:gd name="T30" fmla="*/ 10 w 34"/>
              <a:gd name="T31" fmla="*/ 8 h 18"/>
              <a:gd name="T32" fmla="*/ 10 w 34"/>
              <a:gd name="T33" fmla="*/ 8 h 18"/>
              <a:gd name="T34" fmla="*/ 10 w 34"/>
              <a:gd name="T35" fmla="*/ 8 h 18"/>
              <a:gd name="T36" fmla="*/ 10 w 34"/>
              <a:gd name="T37" fmla="*/ 8 h 18"/>
              <a:gd name="T38" fmla="*/ 14 w 34"/>
              <a:gd name="T39" fmla="*/ 4 h 18"/>
              <a:gd name="T40" fmla="*/ 18 w 34"/>
              <a:gd name="T41" fmla="*/ 4 h 18"/>
              <a:gd name="T42" fmla="*/ 22 w 34"/>
              <a:gd name="T43" fmla="*/ 4 h 18"/>
              <a:gd name="T44" fmla="*/ 22 w 34"/>
              <a:gd name="T45" fmla="*/ 4 h 18"/>
              <a:gd name="T46" fmla="*/ 22 w 34"/>
              <a:gd name="T47" fmla="*/ 4 h 18"/>
              <a:gd name="T48" fmla="*/ 30 w 34"/>
              <a:gd name="T49" fmla="*/ 0 h 18"/>
              <a:gd name="T50" fmla="*/ 30 w 34"/>
              <a:gd name="T51" fmla="*/ 0 h 18"/>
              <a:gd name="T52" fmla="*/ 34 w 34"/>
              <a:gd name="T53" fmla="*/ 0 h 18"/>
              <a:gd name="T54" fmla="*/ 34 w 34"/>
              <a:gd name="T55" fmla="*/ 0 h 18"/>
              <a:gd name="T56" fmla="*/ 30 w 34"/>
              <a:gd name="T57" fmla="*/ 4 h 18"/>
              <a:gd name="T58" fmla="*/ 26 w 34"/>
              <a:gd name="T59" fmla="*/ 4 h 18"/>
              <a:gd name="T60" fmla="*/ 26 w 34"/>
              <a:gd name="T61" fmla="*/ 8 h 18"/>
              <a:gd name="T62" fmla="*/ 26 w 34"/>
              <a:gd name="T63" fmla="*/ 8 h 18"/>
              <a:gd name="T64" fmla="*/ 26 w 34"/>
              <a:gd name="T65" fmla="*/ 10 h 18"/>
              <a:gd name="T66" fmla="*/ 26 w 34"/>
              <a:gd name="T67" fmla="*/ 10 h 18"/>
              <a:gd name="T68" fmla="*/ 26 w 34"/>
              <a:gd name="T69" fmla="*/ 10 h 18"/>
              <a:gd name="T70" fmla="*/ 26 w 34"/>
              <a:gd name="T71" fmla="*/ 10 h 18"/>
              <a:gd name="T72" fmla="*/ 26 w 34"/>
              <a:gd name="T73" fmla="*/ 10 h 18"/>
              <a:gd name="T74" fmla="*/ 26 w 34"/>
              <a:gd name="T75" fmla="*/ 10 h 18"/>
              <a:gd name="T76" fmla="*/ 22 w 34"/>
              <a:gd name="T77" fmla="*/ 10 h 18"/>
              <a:gd name="T78" fmla="*/ 22 w 34"/>
              <a:gd name="T79" fmla="*/ 10 h 18"/>
              <a:gd name="T80" fmla="*/ 22 w 34"/>
              <a:gd name="T81" fmla="*/ 10 h 18"/>
              <a:gd name="T82" fmla="*/ 22 w 34"/>
              <a:gd name="T83" fmla="*/ 10 h 18"/>
              <a:gd name="T84" fmla="*/ 22 w 34"/>
              <a:gd name="T85" fmla="*/ 14 h 18"/>
              <a:gd name="T86" fmla="*/ 18 w 34"/>
              <a:gd name="T87" fmla="*/ 14 h 18"/>
              <a:gd name="T88" fmla="*/ 14 w 34"/>
              <a:gd name="T89"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4" h="18">
                <a:moveTo>
                  <a:pt x="14" y="14"/>
                </a:moveTo>
                <a:lnTo>
                  <a:pt x="14" y="18"/>
                </a:lnTo>
                <a:lnTo>
                  <a:pt x="14" y="14"/>
                </a:lnTo>
                <a:lnTo>
                  <a:pt x="14" y="14"/>
                </a:lnTo>
                <a:lnTo>
                  <a:pt x="14" y="18"/>
                </a:lnTo>
                <a:lnTo>
                  <a:pt x="14" y="18"/>
                </a:lnTo>
                <a:lnTo>
                  <a:pt x="10" y="18"/>
                </a:lnTo>
                <a:lnTo>
                  <a:pt x="10" y="18"/>
                </a:lnTo>
                <a:lnTo>
                  <a:pt x="10" y="18"/>
                </a:lnTo>
                <a:lnTo>
                  <a:pt x="10" y="18"/>
                </a:lnTo>
                <a:lnTo>
                  <a:pt x="8" y="18"/>
                </a:lnTo>
                <a:lnTo>
                  <a:pt x="8" y="18"/>
                </a:lnTo>
                <a:lnTo>
                  <a:pt x="8" y="18"/>
                </a:lnTo>
                <a:lnTo>
                  <a:pt x="8" y="18"/>
                </a:lnTo>
                <a:lnTo>
                  <a:pt x="8" y="18"/>
                </a:lnTo>
                <a:lnTo>
                  <a:pt x="8" y="18"/>
                </a:lnTo>
                <a:lnTo>
                  <a:pt x="8" y="18"/>
                </a:lnTo>
                <a:lnTo>
                  <a:pt x="4" y="14"/>
                </a:lnTo>
                <a:lnTo>
                  <a:pt x="4" y="14"/>
                </a:lnTo>
                <a:lnTo>
                  <a:pt x="4" y="14"/>
                </a:lnTo>
                <a:lnTo>
                  <a:pt x="4" y="14"/>
                </a:lnTo>
                <a:lnTo>
                  <a:pt x="4" y="10"/>
                </a:lnTo>
                <a:lnTo>
                  <a:pt x="0" y="10"/>
                </a:lnTo>
                <a:lnTo>
                  <a:pt x="0" y="10"/>
                </a:lnTo>
                <a:lnTo>
                  <a:pt x="0" y="10"/>
                </a:lnTo>
                <a:lnTo>
                  <a:pt x="0" y="10"/>
                </a:lnTo>
                <a:lnTo>
                  <a:pt x="4" y="10"/>
                </a:lnTo>
                <a:lnTo>
                  <a:pt x="4" y="10"/>
                </a:lnTo>
                <a:lnTo>
                  <a:pt x="4" y="10"/>
                </a:lnTo>
                <a:lnTo>
                  <a:pt x="4" y="10"/>
                </a:lnTo>
                <a:lnTo>
                  <a:pt x="4" y="10"/>
                </a:lnTo>
                <a:lnTo>
                  <a:pt x="4" y="10"/>
                </a:lnTo>
                <a:lnTo>
                  <a:pt x="4" y="10"/>
                </a:lnTo>
                <a:lnTo>
                  <a:pt x="4" y="10"/>
                </a:lnTo>
                <a:lnTo>
                  <a:pt x="4" y="10"/>
                </a:lnTo>
                <a:lnTo>
                  <a:pt x="4" y="10"/>
                </a:lnTo>
                <a:lnTo>
                  <a:pt x="4" y="10"/>
                </a:lnTo>
                <a:lnTo>
                  <a:pt x="4" y="10"/>
                </a:lnTo>
                <a:lnTo>
                  <a:pt x="4" y="8"/>
                </a:lnTo>
                <a:lnTo>
                  <a:pt x="4" y="8"/>
                </a:lnTo>
                <a:lnTo>
                  <a:pt x="4" y="8"/>
                </a:lnTo>
                <a:lnTo>
                  <a:pt x="8" y="8"/>
                </a:lnTo>
                <a:lnTo>
                  <a:pt x="8" y="8"/>
                </a:lnTo>
                <a:lnTo>
                  <a:pt x="8" y="8"/>
                </a:lnTo>
                <a:lnTo>
                  <a:pt x="8" y="8"/>
                </a:lnTo>
                <a:lnTo>
                  <a:pt x="8" y="8"/>
                </a:lnTo>
                <a:lnTo>
                  <a:pt x="8" y="8"/>
                </a:lnTo>
                <a:lnTo>
                  <a:pt x="10" y="8"/>
                </a:lnTo>
                <a:lnTo>
                  <a:pt x="10" y="8"/>
                </a:lnTo>
                <a:lnTo>
                  <a:pt x="10" y="8"/>
                </a:lnTo>
                <a:lnTo>
                  <a:pt x="10" y="8"/>
                </a:lnTo>
                <a:lnTo>
                  <a:pt x="10" y="8"/>
                </a:lnTo>
                <a:lnTo>
                  <a:pt x="10" y="8"/>
                </a:lnTo>
                <a:lnTo>
                  <a:pt x="10" y="8"/>
                </a:lnTo>
                <a:lnTo>
                  <a:pt x="10" y="8"/>
                </a:lnTo>
                <a:lnTo>
                  <a:pt x="10" y="8"/>
                </a:lnTo>
                <a:lnTo>
                  <a:pt x="10" y="8"/>
                </a:lnTo>
                <a:lnTo>
                  <a:pt x="10" y="4"/>
                </a:lnTo>
                <a:lnTo>
                  <a:pt x="10" y="4"/>
                </a:lnTo>
                <a:lnTo>
                  <a:pt x="14" y="4"/>
                </a:lnTo>
                <a:lnTo>
                  <a:pt x="18" y="4"/>
                </a:lnTo>
                <a:lnTo>
                  <a:pt x="18" y="4"/>
                </a:lnTo>
                <a:lnTo>
                  <a:pt x="18" y="4"/>
                </a:lnTo>
                <a:lnTo>
                  <a:pt x="18" y="4"/>
                </a:lnTo>
                <a:lnTo>
                  <a:pt x="18" y="4"/>
                </a:lnTo>
                <a:lnTo>
                  <a:pt x="22" y="4"/>
                </a:lnTo>
                <a:lnTo>
                  <a:pt x="22" y="4"/>
                </a:lnTo>
                <a:lnTo>
                  <a:pt x="22" y="4"/>
                </a:lnTo>
                <a:lnTo>
                  <a:pt x="22" y="4"/>
                </a:lnTo>
                <a:lnTo>
                  <a:pt x="22" y="4"/>
                </a:lnTo>
                <a:lnTo>
                  <a:pt x="22" y="4"/>
                </a:lnTo>
                <a:lnTo>
                  <a:pt x="22" y="4"/>
                </a:lnTo>
                <a:lnTo>
                  <a:pt x="26" y="4"/>
                </a:lnTo>
                <a:lnTo>
                  <a:pt x="26" y="4"/>
                </a:lnTo>
                <a:lnTo>
                  <a:pt x="30" y="0"/>
                </a:lnTo>
                <a:lnTo>
                  <a:pt x="30" y="0"/>
                </a:lnTo>
                <a:lnTo>
                  <a:pt x="30" y="0"/>
                </a:lnTo>
                <a:lnTo>
                  <a:pt x="30" y="0"/>
                </a:lnTo>
                <a:lnTo>
                  <a:pt x="30" y="0"/>
                </a:lnTo>
                <a:lnTo>
                  <a:pt x="30" y="0"/>
                </a:lnTo>
                <a:lnTo>
                  <a:pt x="34" y="0"/>
                </a:lnTo>
                <a:lnTo>
                  <a:pt x="34" y="0"/>
                </a:lnTo>
                <a:lnTo>
                  <a:pt x="34" y="0"/>
                </a:lnTo>
                <a:lnTo>
                  <a:pt x="34" y="0"/>
                </a:lnTo>
                <a:lnTo>
                  <a:pt x="30" y="0"/>
                </a:lnTo>
                <a:lnTo>
                  <a:pt x="30" y="4"/>
                </a:lnTo>
                <a:lnTo>
                  <a:pt x="30" y="4"/>
                </a:lnTo>
                <a:lnTo>
                  <a:pt x="30" y="4"/>
                </a:lnTo>
                <a:lnTo>
                  <a:pt x="26" y="4"/>
                </a:lnTo>
                <a:lnTo>
                  <a:pt x="26" y="4"/>
                </a:lnTo>
                <a:lnTo>
                  <a:pt x="26" y="4"/>
                </a:lnTo>
                <a:lnTo>
                  <a:pt x="26" y="4"/>
                </a:lnTo>
                <a:lnTo>
                  <a:pt x="26" y="8"/>
                </a:lnTo>
                <a:lnTo>
                  <a:pt x="26" y="8"/>
                </a:lnTo>
                <a:lnTo>
                  <a:pt x="26" y="8"/>
                </a:lnTo>
                <a:lnTo>
                  <a:pt x="26" y="8"/>
                </a:lnTo>
                <a:lnTo>
                  <a:pt x="26" y="8"/>
                </a:lnTo>
                <a:lnTo>
                  <a:pt x="26" y="8"/>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2" y="10"/>
                </a:lnTo>
                <a:lnTo>
                  <a:pt x="22" y="10"/>
                </a:lnTo>
                <a:lnTo>
                  <a:pt x="22" y="10"/>
                </a:lnTo>
                <a:lnTo>
                  <a:pt x="22" y="10"/>
                </a:lnTo>
                <a:lnTo>
                  <a:pt x="22" y="10"/>
                </a:lnTo>
                <a:lnTo>
                  <a:pt x="22" y="10"/>
                </a:lnTo>
                <a:lnTo>
                  <a:pt x="22" y="10"/>
                </a:lnTo>
                <a:lnTo>
                  <a:pt x="22" y="10"/>
                </a:lnTo>
                <a:lnTo>
                  <a:pt x="22" y="10"/>
                </a:lnTo>
                <a:lnTo>
                  <a:pt x="22" y="10"/>
                </a:lnTo>
                <a:lnTo>
                  <a:pt x="22" y="10"/>
                </a:lnTo>
                <a:lnTo>
                  <a:pt x="22" y="14"/>
                </a:lnTo>
                <a:lnTo>
                  <a:pt x="22" y="14"/>
                </a:lnTo>
                <a:lnTo>
                  <a:pt x="22" y="14"/>
                </a:lnTo>
                <a:lnTo>
                  <a:pt x="18" y="14"/>
                </a:lnTo>
                <a:lnTo>
                  <a:pt x="18" y="14"/>
                </a:lnTo>
                <a:lnTo>
                  <a:pt x="14" y="14"/>
                </a:lnTo>
                <a:lnTo>
                  <a:pt x="14" y="14"/>
                </a:lnTo>
                <a:lnTo>
                  <a:pt x="14" y="14"/>
                </a:lnTo>
                <a:lnTo>
                  <a:pt x="14" y="14"/>
                </a:lnTo>
                <a:close/>
              </a:path>
            </a:pathLst>
          </a:custGeom>
          <a:solidFill>
            <a:srgbClr val="A0DCFF"/>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9" name="Freeform 26"/>
          <p:cNvSpPr>
            <a:spLocks/>
          </p:cNvSpPr>
          <p:nvPr/>
        </p:nvSpPr>
        <p:spPr bwMode="auto">
          <a:xfrm>
            <a:off x="4833937" y="3038474"/>
            <a:ext cx="4763" cy="9525"/>
          </a:xfrm>
          <a:custGeom>
            <a:avLst/>
            <a:gdLst>
              <a:gd name="T0" fmla="*/ 4 w 4"/>
              <a:gd name="T1" fmla="*/ 0 h 8"/>
              <a:gd name="T2" fmla="*/ 4 w 4"/>
              <a:gd name="T3" fmla="*/ 0 h 8"/>
              <a:gd name="T4" fmla="*/ 4 w 4"/>
              <a:gd name="T5" fmla="*/ 0 h 8"/>
              <a:gd name="T6" fmla="*/ 4 w 4"/>
              <a:gd name="T7" fmla="*/ 0 h 8"/>
              <a:gd name="T8" fmla="*/ 4 w 4"/>
              <a:gd name="T9" fmla="*/ 4 h 8"/>
              <a:gd name="T10" fmla="*/ 4 w 4"/>
              <a:gd name="T11" fmla="*/ 4 h 8"/>
              <a:gd name="T12" fmla="*/ 0 w 4"/>
              <a:gd name="T13" fmla="*/ 4 h 8"/>
              <a:gd name="T14" fmla="*/ 0 w 4"/>
              <a:gd name="T15" fmla="*/ 4 h 8"/>
              <a:gd name="T16" fmla="*/ 0 w 4"/>
              <a:gd name="T17" fmla="*/ 8 h 8"/>
              <a:gd name="T18" fmla="*/ 0 w 4"/>
              <a:gd name="T19" fmla="*/ 8 h 8"/>
              <a:gd name="T20" fmla="*/ 0 w 4"/>
              <a:gd name="T21" fmla="*/ 4 h 8"/>
              <a:gd name="T22" fmla="*/ 0 w 4"/>
              <a:gd name="T23" fmla="*/ 4 h 8"/>
              <a:gd name="T24" fmla="*/ 0 w 4"/>
              <a:gd name="T25" fmla="*/ 4 h 8"/>
              <a:gd name="T26" fmla="*/ 0 w 4"/>
              <a:gd name="T27" fmla="*/ 4 h 8"/>
              <a:gd name="T28" fmla="*/ 4 w 4"/>
              <a:gd name="T29" fmla="*/ 4 h 8"/>
              <a:gd name="T30" fmla="*/ 4 w 4"/>
              <a:gd name="T31" fmla="*/ 0 h 8"/>
              <a:gd name="T32" fmla="*/ 4 w 4"/>
              <a:gd name="T33" fmla="*/ 0 h 8"/>
              <a:gd name="T34" fmla="*/ 4 w 4"/>
              <a:gd name="T35" fmla="*/ 0 h 8"/>
              <a:gd name="T36" fmla="*/ 4 w 4"/>
              <a:gd name="T37" fmla="*/ 0 h 8"/>
              <a:gd name="T38" fmla="*/ 4 w 4"/>
              <a:gd name="T3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8">
                <a:moveTo>
                  <a:pt x="4" y="0"/>
                </a:moveTo>
                <a:lnTo>
                  <a:pt x="4" y="0"/>
                </a:lnTo>
                <a:lnTo>
                  <a:pt x="4" y="0"/>
                </a:lnTo>
                <a:lnTo>
                  <a:pt x="4" y="0"/>
                </a:lnTo>
                <a:lnTo>
                  <a:pt x="4" y="4"/>
                </a:lnTo>
                <a:lnTo>
                  <a:pt x="4" y="4"/>
                </a:lnTo>
                <a:lnTo>
                  <a:pt x="0" y="4"/>
                </a:lnTo>
                <a:lnTo>
                  <a:pt x="0" y="4"/>
                </a:lnTo>
                <a:lnTo>
                  <a:pt x="0" y="8"/>
                </a:lnTo>
                <a:lnTo>
                  <a:pt x="0" y="8"/>
                </a:lnTo>
                <a:lnTo>
                  <a:pt x="0" y="4"/>
                </a:lnTo>
                <a:lnTo>
                  <a:pt x="0" y="4"/>
                </a:lnTo>
                <a:lnTo>
                  <a:pt x="0" y="4"/>
                </a:lnTo>
                <a:lnTo>
                  <a:pt x="0" y="4"/>
                </a:lnTo>
                <a:lnTo>
                  <a:pt x="4" y="4"/>
                </a:lnTo>
                <a:lnTo>
                  <a:pt x="4" y="0"/>
                </a:lnTo>
                <a:lnTo>
                  <a:pt x="4" y="0"/>
                </a:lnTo>
                <a:lnTo>
                  <a:pt x="4" y="0"/>
                </a:lnTo>
                <a:lnTo>
                  <a:pt x="4" y="0"/>
                </a:lnTo>
                <a:lnTo>
                  <a:pt x="4" y="0"/>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0" name="Freeform 27"/>
          <p:cNvSpPr>
            <a:spLocks/>
          </p:cNvSpPr>
          <p:nvPr/>
        </p:nvSpPr>
        <p:spPr bwMode="auto">
          <a:xfrm>
            <a:off x="4931569" y="2769393"/>
            <a:ext cx="111919" cy="54769"/>
          </a:xfrm>
          <a:custGeom>
            <a:avLst/>
            <a:gdLst>
              <a:gd name="T0" fmla="*/ 34 w 94"/>
              <a:gd name="T1" fmla="*/ 40 h 46"/>
              <a:gd name="T2" fmla="*/ 30 w 94"/>
              <a:gd name="T3" fmla="*/ 40 h 46"/>
              <a:gd name="T4" fmla="*/ 26 w 94"/>
              <a:gd name="T5" fmla="*/ 40 h 46"/>
              <a:gd name="T6" fmla="*/ 22 w 94"/>
              <a:gd name="T7" fmla="*/ 36 h 46"/>
              <a:gd name="T8" fmla="*/ 26 w 94"/>
              <a:gd name="T9" fmla="*/ 32 h 46"/>
              <a:gd name="T10" fmla="*/ 22 w 94"/>
              <a:gd name="T11" fmla="*/ 24 h 46"/>
              <a:gd name="T12" fmla="*/ 22 w 94"/>
              <a:gd name="T13" fmla="*/ 20 h 46"/>
              <a:gd name="T14" fmla="*/ 18 w 94"/>
              <a:gd name="T15" fmla="*/ 14 h 46"/>
              <a:gd name="T16" fmla="*/ 18 w 94"/>
              <a:gd name="T17" fmla="*/ 14 h 46"/>
              <a:gd name="T18" fmla="*/ 14 w 94"/>
              <a:gd name="T19" fmla="*/ 10 h 46"/>
              <a:gd name="T20" fmla="*/ 12 w 94"/>
              <a:gd name="T21" fmla="*/ 10 h 46"/>
              <a:gd name="T22" fmla="*/ 12 w 94"/>
              <a:gd name="T23" fmla="*/ 8 h 46"/>
              <a:gd name="T24" fmla="*/ 4 w 94"/>
              <a:gd name="T25" fmla="*/ 4 h 46"/>
              <a:gd name="T26" fmla="*/ 0 w 94"/>
              <a:gd name="T27" fmla="*/ 4 h 46"/>
              <a:gd name="T28" fmla="*/ 0 w 94"/>
              <a:gd name="T29" fmla="*/ 0 h 46"/>
              <a:gd name="T30" fmla="*/ 4 w 94"/>
              <a:gd name="T31" fmla="*/ 0 h 46"/>
              <a:gd name="T32" fmla="*/ 8 w 94"/>
              <a:gd name="T33" fmla="*/ 0 h 46"/>
              <a:gd name="T34" fmla="*/ 12 w 94"/>
              <a:gd name="T35" fmla="*/ 0 h 46"/>
              <a:gd name="T36" fmla="*/ 12 w 94"/>
              <a:gd name="T37" fmla="*/ 0 h 46"/>
              <a:gd name="T38" fmla="*/ 14 w 94"/>
              <a:gd name="T39" fmla="*/ 4 h 46"/>
              <a:gd name="T40" fmla="*/ 22 w 94"/>
              <a:gd name="T41" fmla="*/ 8 h 46"/>
              <a:gd name="T42" fmla="*/ 30 w 94"/>
              <a:gd name="T43" fmla="*/ 4 h 46"/>
              <a:gd name="T44" fmla="*/ 34 w 94"/>
              <a:gd name="T45" fmla="*/ 8 h 46"/>
              <a:gd name="T46" fmla="*/ 38 w 94"/>
              <a:gd name="T47" fmla="*/ 8 h 46"/>
              <a:gd name="T48" fmla="*/ 44 w 94"/>
              <a:gd name="T49" fmla="*/ 10 h 46"/>
              <a:gd name="T50" fmla="*/ 48 w 94"/>
              <a:gd name="T51" fmla="*/ 10 h 46"/>
              <a:gd name="T52" fmla="*/ 52 w 94"/>
              <a:gd name="T53" fmla="*/ 14 h 46"/>
              <a:gd name="T54" fmla="*/ 52 w 94"/>
              <a:gd name="T55" fmla="*/ 14 h 46"/>
              <a:gd name="T56" fmla="*/ 56 w 94"/>
              <a:gd name="T57" fmla="*/ 18 h 46"/>
              <a:gd name="T58" fmla="*/ 64 w 94"/>
              <a:gd name="T59" fmla="*/ 14 h 46"/>
              <a:gd name="T60" fmla="*/ 64 w 94"/>
              <a:gd name="T61" fmla="*/ 14 h 46"/>
              <a:gd name="T62" fmla="*/ 68 w 94"/>
              <a:gd name="T63" fmla="*/ 14 h 46"/>
              <a:gd name="T64" fmla="*/ 70 w 94"/>
              <a:gd name="T65" fmla="*/ 14 h 46"/>
              <a:gd name="T66" fmla="*/ 70 w 94"/>
              <a:gd name="T67" fmla="*/ 14 h 46"/>
              <a:gd name="T68" fmla="*/ 74 w 94"/>
              <a:gd name="T69" fmla="*/ 18 h 46"/>
              <a:gd name="T70" fmla="*/ 74 w 94"/>
              <a:gd name="T71" fmla="*/ 18 h 46"/>
              <a:gd name="T72" fmla="*/ 78 w 94"/>
              <a:gd name="T73" fmla="*/ 18 h 46"/>
              <a:gd name="T74" fmla="*/ 78 w 94"/>
              <a:gd name="T75" fmla="*/ 20 h 46"/>
              <a:gd name="T76" fmla="*/ 86 w 94"/>
              <a:gd name="T77" fmla="*/ 28 h 46"/>
              <a:gd name="T78" fmla="*/ 90 w 94"/>
              <a:gd name="T79" fmla="*/ 32 h 46"/>
              <a:gd name="T80" fmla="*/ 90 w 94"/>
              <a:gd name="T81" fmla="*/ 32 h 46"/>
              <a:gd name="T82" fmla="*/ 86 w 94"/>
              <a:gd name="T83" fmla="*/ 32 h 46"/>
              <a:gd name="T84" fmla="*/ 90 w 94"/>
              <a:gd name="T85" fmla="*/ 40 h 46"/>
              <a:gd name="T86" fmla="*/ 94 w 94"/>
              <a:gd name="T87" fmla="*/ 44 h 46"/>
              <a:gd name="T88" fmla="*/ 94 w 94"/>
              <a:gd name="T89" fmla="*/ 46 h 46"/>
              <a:gd name="T90" fmla="*/ 90 w 94"/>
              <a:gd name="T91" fmla="*/ 44 h 46"/>
              <a:gd name="T92" fmla="*/ 86 w 94"/>
              <a:gd name="T93" fmla="*/ 44 h 46"/>
              <a:gd name="T94" fmla="*/ 82 w 94"/>
              <a:gd name="T95" fmla="*/ 44 h 46"/>
              <a:gd name="T96" fmla="*/ 78 w 94"/>
              <a:gd name="T97" fmla="*/ 44 h 46"/>
              <a:gd name="T98" fmla="*/ 74 w 94"/>
              <a:gd name="T99" fmla="*/ 40 h 46"/>
              <a:gd name="T100" fmla="*/ 70 w 94"/>
              <a:gd name="T101" fmla="*/ 44 h 46"/>
              <a:gd name="T102" fmla="*/ 68 w 94"/>
              <a:gd name="T103" fmla="*/ 44 h 46"/>
              <a:gd name="T104" fmla="*/ 60 w 94"/>
              <a:gd name="T105" fmla="*/ 44 h 46"/>
              <a:gd name="T106" fmla="*/ 56 w 94"/>
              <a:gd name="T107" fmla="*/ 44 h 46"/>
              <a:gd name="T108" fmla="*/ 52 w 94"/>
              <a:gd name="T109" fmla="*/ 46 h 46"/>
              <a:gd name="T110" fmla="*/ 48 w 94"/>
              <a:gd name="T111" fmla="*/ 46 h 46"/>
              <a:gd name="T112" fmla="*/ 48 w 94"/>
              <a:gd name="T113" fmla="*/ 44 h 46"/>
              <a:gd name="T114" fmla="*/ 42 w 94"/>
              <a:gd name="T115" fmla="*/ 40 h 46"/>
              <a:gd name="T116" fmla="*/ 38 w 94"/>
              <a:gd name="T117" fmla="*/ 3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4" h="46">
                <a:moveTo>
                  <a:pt x="38" y="36"/>
                </a:moveTo>
                <a:lnTo>
                  <a:pt x="38" y="40"/>
                </a:lnTo>
                <a:lnTo>
                  <a:pt x="34" y="40"/>
                </a:lnTo>
                <a:lnTo>
                  <a:pt x="34" y="40"/>
                </a:lnTo>
                <a:lnTo>
                  <a:pt x="34" y="40"/>
                </a:lnTo>
                <a:lnTo>
                  <a:pt x="34" y="40"/>
                </a:lnTo>
                <a:lnTo>
                  <a:pt x="34" y="40"/>
                </a:lnTo>
                <a:lnTo>
                  <a:pt x="30" y="40"/>
                </a:lnTo>
                <a:lnTo>
                  <a:pt x="30" y="40"/>
                </a:lnTo>
                <a:lnTo>
                  <a:pt x="30" y="40"/>
                </a:lnTo>
                <a:lnTo>
                  <a:pt x="26" y="40"/>
                </a:lnTo>
                <a:lnTo>
                  <a:pt x="26" y="40"/>
                </a:lnTo>
                <a:lnTo>
                  <a:pt x="26" y="40"/>
                </a:lnTo>
                <a:lnTo>
                  <a:pt x="26" y="40"/>
                </a:lnTo>
                <a:lnTo>
                  <a:pt x="26" y="40"/>
                </a:lnTo>
                <a:lnTo>
                  <a:pt x="22" y="40"/>
                </a:lnTo>
                <a:lnTo>
                  <a:pt x="22" y="40"/>
                </a:lnTo>
                <a:lnTo>
                  <a:pt x="22" y="40"/>
                </a:lnTo>
                <a:lnTo>
                  <a:pt x="22" y="36"/>
                </a:lnTo>
                <a:lnTo>
                  <a:pt x="22" y="36"/>
                </a:lnTo>
                <a:lnTo>
                  <a:pt x="22" y="36"/>
                </a:lnTo>
                <a:lnTo>
                  <a:pt x="22" y="36"/>
                </a:lnTo>
                <a:lnTo>
                  <a:pt x="22" y="32"/>
                </a:lnTo>
                <a:lnTo>
                  <a:pt x="26" y="32"/>
                </a:lnTo>
                <a:lnTo>
                  <a:pt x="26" y="32"/>
                </a:lnTo>
                <a:lnTo>
                  <a:pt x="26" y="32"/>
                </a:lnTo>
                <a:lnTo>
                  <a:pt x="22" y="28"/>
                </a:lnTo>
                <a:lnTo>
                  <a:pt x="22" y="24"/>
                </a:lnTo>
                <a:lnTo>
                  <a:pt x="22" y="24"/>
                </a:lnTo>
                <a:lnTo>
                  <a:pt x="22" y="24"/>
                </a:lnTo>
                <a:lnTo>
                  <a:pt x="22" y="24"/>
                </a:lnTo>
                <a:lnTo>
                  <a:pt x="22" y="24"/>
                </a:lnTo>
                <a:lnTo>
                  <a:pt x="22" y="20"/>
                </a:lnTo>
                <a:lnTo>
                  <a:pt x="22" y="20"/>
                </a:lnTo>
                <a:lnTo>
                  <a:pt x="22" y="20"/>
                </a:lnTo>
                <a:lnTo>
                  <a:pt x="22" y="18"/>
                </a:lnTo>
                <a:lnTo>
                  <a:pt x="22" y="18"/>
                </a:lnTo>
                <a:lnTo>
                  <a:pt x="22" y="18"/>
                </a:lnTo>
                <a:lnTo>
                  <a:pt x="18" y="18"/>
                </a:lnTo>
                <a:lnTo>
                  <a:pt x="18" y="14"/>
                </a:lnTo>
                <a:lnTo>
                  <a:pt x="18" y="14"/>
                </a:lnTo>
                <a:lnTo>
                  <a:pt x="18" y="14"/>
                </a:lnTo>
                <a:lnTo>
                  <a:pt x="18" y="14"/>
                </a:lnTo>
                <a:lnTo>
                  <a:pt x="18" y="14"/>
                </a:lnTo>
                <a:lnTo>
                  <a:pt x="18" y="14"/>
                </a:lnTo>
                <a:lnTo>
                  <a:pt x="14" y="14"/>
                </a:lnTo>
                <a:lnTo>
                  <a:pt x="14" y="14"/>
                </a:lnTo>
                <a:lnTo>
                  <a:pt x="14" y="14"/>
                </a:lnTo>
                <a:lnTo>
                  <a:pt x="14" y="14"/>
                </a:lnTo>
                <a:lnTo>
                  <a:pt x="14" y="10"/>
                </a:lnTo>
                <a:lnTo>
                  <a:pt x="14" y="10"/>
                </a:lnTo>
                <a:lnTo>
                  <a:pt x="14" y="10"/>
                </a:lnTo>
                <a:lnTo>
                  <a:pt x="14" y="10"/>
                </a:lnTo>
                <a:lnTo>
                  <a:pt x="12" y="10"/>
                </a:lnTo>
                <a:lnTo>
                  <a:pt x="12" y="10"/>
                </a:lnTo>
                <a:lnTo>
                  <a:pt x="12" y="10"/>
                </a:lnTo>
                <a:lnTo>
                  <a:pt x="12" y="8"/>
                </a:lnTo>
                <a:lnTo>
                  <a:pt x="12" y="8"/>
                </a:lnTo>
                <a:lnTo>
                  <a:pt x="12" y="8"/>
                </a:lnTo>
                <a:lnTo>
                  <a:pt x="12" y="8"/>
                </a:lnTo>
                <a:lnTo>
                  <a:pt x="12" y="8"/>
                </a:lnTo>
                <a:lnTo>
                  <a:pt x="8" y="8"/>
                </a:lnTo>
                <a:lnTo>
                  <a:pt x="4" y="8"/>
                </a:lnTo>
                <a:lnTo>
                  <a:pt x="4" y="4"/>
                </a:lnTo>
                <a:lnTo>
                  <a:pt x="4" y="4"/>
                </a:lnTo>
                <a:lnTo>
                  <a:pt x="4" y="4"/>
                </a:lnTo>
                <a:lnTo>
                  <a:pt x="0" y="4"/>
                </a:lnTo>
                <a:lnTo>
                  <a:pt x="0" y="4"/>
                </a:lnTo>
                <a:lnTo>
                  <a:pt x="0" y="4"/>
                </a:lnTo>
                <a:lnTo>
                  <a:pt x="0" y="4"/>
                </a:lnTo>
                <a:lnTo>
                  <a:pt x="0" y="0"/>
                </a:lnTo>
                <a:lnTo>
                  <a:pt x="0" y="0"/>
                </a:lnTo>
                <a:lnTo>
                  <a:pt x="0" y="0"/>
                </a:lnTo>
                <a:lnTo>
                  <a:pt x="0" y="0"/>
                </a:lnTo>
                <a:lnTo>
                  <a:pt x="0" y="0"/>
                </a:lnTo>
                <a:lnTo>
                  <a:pt x="4" y="0"/>
                </a:lnTo>
                <a:lnTo>
                  <a:pt x="4" y="0"/>
                </a:lnTo>
                <a:lnTo>
                  <a:pt x="4" y="0"/>
                </a:lnTo>
                <a:lnTo>
                  <a:pt x="4" y="0"/>
                </a:lnTo>
                <a:lnTo>
                  <a:pt x="4" y="0"/>
                </a:lnTo>
                <a:lnTo>
                  <a:pt x="8" y="0"/>
                </a:lnTo>
                <a:lnTo>
                  <a:pt x="8" y="0"/>
                </a:lnTo>
                <a:lnTo>
                  <a:pt x="8" y="0"/>
                </a:lnTo>
                <a:lnTo>
                  <a:pt x="8" y="0"/>
                </a:lnTo>
                <a:lnTo>
                  <a:pt x="8" y="0"/>
                </a:lnTo>
                <a:lnTo>
                  <a:pt x="8" y="0"/>
                </a:lnTo>
                <a:lnTo>
                  <a:pt x="8" y="0"/>
                </a:lnTo>
                <a:lnTo>
                  <a:pt x="8" y="0"/>
                </a:lnTo>
                <a:lnTo>
                  <a:pt x="12" y="0"/>
                </a:lnTo>
                <a:lnTo>
                  <a:pt x="12" y="0"/>
                </a:lnTo>
                <a:lnTo>
                  <a:pt x="12" y="0"/>
                </a:lnTo>
                <a:lnTo>
                  <a:pt x="12" y="0"/>
                </a:lnTo>
                <a:lnTo>
                  <a:pt x="12" y="0"/>
                </a:lnTo>
                <a:lnTo>
                  <a:pt x="12" y="0"/>
                </a:lnTo>
                <a:lnTo>
                  <a:pt x="12" y="0"/>
                </a:lnTo>
                <a:lnTo>
                  <a:pt x="14" y="4"/>
                </a:lnTo>
                <a:lnTo>
                  <a:pt x="14" y="4"/>
                </a:lnTo>
                <a:lnTo>
                  <a:pt x="14" y="4"/>
                </a:lnTo>
                <a:lnTo>
                  <a:pt x="14" y="4"/>
                </a:lnTo>
                <a:lnTo>
                  <a:pt x="14" y="4"/>
                </a:lnTo>
                <a:lnTo>
                  <a:pt x="14" y="4"/>
                </a:lnTo>
                <a:lnTo>
                  <a:pt x="14" y="4"/>
                </a:lnTo>
                <a:lnTo>
                  <a:pt x="18" y="4"/>
                </a:lnTo>
                <a:lnTo>
                  <a:pt x="22" y="4"/>
                </a:lnTo>
                <a:lnTo>
                  <a:pt x="22" y="8"/>
                </a:lnTo>
                <a:lnTo>
                  <a:pt x="30" y="8"/>
                </a:lnTo>
                <a:lnTo>
                  <a:pt x="30" y="8"/>
                </a:lnTo>
                <a:lnTo>
                  <a:pt x="30" y="8"/>
                </a:lnTo>
                <a:lnTo>
                  <a:pt x="30" y="4"/>
                </a:lnTo>
                <a:lnTo>
                  <a:pt x="30" y="4"/>
                </a:lnTo>
                <a:lnTo>
                  <a:pt x="34" y="4"/>
                </a:lnTo>
                <a:lnTo>
                  <a:pt x="34" y="4"/>
                </a:lnTo>
                <a:lnTo>
                  <a:pt x="34" y="4"/>
                </a:lnTo>
                <a:lnTo>
                  <a:pt x="34" y="8"/>
                </a:lnTo>
                <a:lnTo>
                  <a:pt x="34" y="8"/>
                </a:lnTo>
                <a:lnTo>
                  <a:pt x="34" y="8"/>
                </a:lnTo>
                <a:lnTo>
                  <a:pt x="38" y="8"/>
                </a:lnTo>
                <a:lnTo>
                  <a:pt x="38" y="8"/>
                </a:lnTo>
                <a:lnTo>
                  <a:pt x="38" y="8"/>
                </a:lnTo>
                <a:lnTo>
                  <a:pt x="38" y="8"/>
                </a:lnTo>
                <a:lnTo>
                  <a:pt x="38" y="8"/>
                </a:lnTo>
                <a:lnTo>
                  <a:pt x="42" y="8"/>
                </a:lnTo>
                <a:lnTo>
                  <a:pt x="42" y="8"/>
                </a:lnTo>
                <a:lnTo>
                  <a:pt x="42" y="8"/>
                </a:lnTo>
                <a:lnTo>
                  <a:pt x="44" y="10"/>
                </a:lnTo>
                <a:lnTo>
                  <a:pt x="44" y="10"/>
                </a:lnTo>
                <a:lnTo>
                  <a:pt x="44" y="10"/>
                </a:lnTo>
                <a:lnTo>
                  <a:pt x="48" y="10"/>
                </a:lnTo>
                <a:lnTo>
                  <a:pt x="48" y="10"/>
                </a:lnTo>
                <a:lnTo>
                  <a:pt x="48" y="10"/>
                </a:lnTo>
                <a:lnTo>
                  <a:pt x="48" y="10"/>
                </a:lnTo>
                <a:lnTo>
                  <a:pt x="48" y="10"/>
                </a:lnTo>
                <a:lnTo>
                  <a:pt x="48" y="14"/>
                </a:lnTo>
                <a:lnTo>
                  <a:pt x="52" y="14"/>
                </a:lnTo>
                <a:lnTo>
                  <a:pt x="52" y="14"/>
                </a:lnTo>
                <a:lnTo>
                  <a:pt x="52" y="14"/>
                </a:lnTo>
                <a:lnTo>
                  <a:pt x="52" y="14"/>
                </a:lnTo>
                <a:lnTo>
                  <a:pt x="52" y="14"/>
                </a:lnTo>
                <a:lnTo>
                  <a:pt x="52" y="14"/>
                </a:lnTo>
                <a:lnTo>
                  <a:pt x="52" y="14"/>
                </a:lnTo>
                <a:lnTo>
                  <a:pt x="52" y="14"/>
                </a:lnTo>
                <a:lnTo>
                  <a:pt x="52" y="14"/>
                </a:lnTo>
                <a:lnTo>
                  <a:pt x="52" y="18"/>
                </a:lnTo>
                <a:lnTo>
                  <a:pt x="52" y="18"/>
                </a:lnTo>
                <a:lnTo>
                  <a:pt x="56" y="18"/>
                </a:lnTo>
                <a:lnTo>
                  <a:pt x="60" y="18"/>
                </a:lnTo>
                <a:lnTo>
                  <a:pt x="60" y="18"/>
                </a:lnTo>
                <a:lnTo>
                  <a:pt x="60" y="18"/>
                </a:lnTo>
                <a:lnTo>
                  <a:pt x="60" y="14"/>
                </a:lnTo>
                <a:lnTo>
                  <a:pt x="64" y="14"/>
                </a:lnTo>
                <a:lnTo>
                  <a:pt x="64" y="14"/>
                </a:lnTo>
                <a:lnTo>
                  <a:pt x="64" y="14"/>
                </a:lnTo>
                <a:lnTo>
                  <a:pt x="64" y="14"/>
                </a:lnTo>
                <a:lnTo>
                  <a:pt x="64" y="14"/>
                </a:lnTo>
                <a:lnTo>
                  <a:pt x="64" y="14"/>
                </a:lnTo>
                <a:lnTo>
                  <a:pt x="64" y="14"/>
                </a:lnTo>
                <a:lnTo>
                  <a:pt x="68" y="14"/>
                </a:lnTo>
                <a:lnTo>
                  <a:pt x="68" y="14"/>
                </a:lnTo>
                <a:lnTo>
                  <a:pt x="68" y="14"/>
                </a:lnTo>
                <a:lnTo>
                  <a:pt x="68" y="14"/>
                </a:lnTo>
                <a:lnTo>
                  <a:pt x="68" y="14"/>
                </a:lnTo>
                <a:lnTo>
                  <a:pt x="68" y="14"/>
                </a:lnTo>
                <a:lnTo>
                  <a:pt x="68" y="14"/>
                </a:lnTo>
                <a:lnTo>
                  <a:pt x="70" y="14"/>
                </a:lnTo>
                <a:lnTo>
                  <a:pt x="70" y="14"/>
                </a:lnTo>
                <a:lnTo>
                  <a:pt x="70" y="14"/>
                </a:lnTo>
                <a:lnTo>
                  <a:pt x="70" y="14"/>
                </a:lnTo>
                <a:lnTo>
                  <a:pt x="70" y="14"/>
                </a:lnTo>
                <a:lnTo>
                  <a:pt x="70" y="14"/>
                </a:lnTo>
                <a:lnTo>
                  <a:pt x="70" y="14"/>
                </a:lnTo>
                <a:lnTo>
                  <a:pt x="70" y="14"/>
                </a:lnTo>
                <a:lnTo>
                  <a:pt x="70" y="14"/>
                </a:lnTo>
                <a:lnTo>
                  <a:pt x="70" y="14"/>
                </a:lnTo>
                <a:lnTo>
                  <a:pt x="74" y="14"/>
                </a:lnTo>
                <a:lnTo>
                  <a:pt x="74" y="18"/>
                </a:lnTo>
                <a:lnTo>
                  <a:pt x="74" y="18"/>
                </a:lnTo>
                <a:lnTo>
                  <a:pt x="74" y="18"/>
                </a:lnTo>
                <a:lnTo>
                  <a:pt x="74" y="18"/>
                </a:lnTo>
                <a:lnTo>
                  <a:pt x="74" y="18"/>
                </a:lnTo>
                <a:lnTo>
                  <a:pt x="74" y="18"/>
                </a:lnTo>
                <a:lnTo>
                  <a:pt x="78" y="18"/>
                </a:lnTo>
                <a:lnTo>
                  <a:pt x="78" y="18"/>
                </a:lnTo>
                <a:lnTo>
                  <a:pt x="78" y="18"/>
                </a:lnTo>
                <a:lnTo>
                  <a:pt x="78" y="18"/>
                </a:lnTo>
                <a:lnTo>
                  <a:pt x="78" y="18"/>
                </a:lnTo>
                <a:lnTo>
                  <a:pt x="82" y="18"/>
                </a:lnTo>
                <a:lnTo>
                  <a:pt x="82" y="18"/>
                </a:lnTo>
                <a:lnTo>
                  <a:pt x="82" y="18"/>
                </a:lnTo>
                <a:lnTo>
                  <a:pt x="82" y="20"/>
                </a:lnTo>
                <a:lnTo>
                  <a:pt x="78" y="20"/>
                </a:lnTo>
                <a:lnTo>
                  <a:pt x="78" y="20"/>
                </a:lnTo>
                <a:lnTo>
                  <a:pt x="78" y="24"/>
                </a:lnTo>
                <a:lnTo>
                  <a:pt x="78" y="24"/>
                </a:lnTo>
                <a:lnTo>
                  <a:pt x="78" y="24"/>
                </a:lnTo>
                <a:lnTo>
                  <a:pt x="86" y="28"/>
                </a:lnTo>
                <a:lnTo>
                  <a:pt x="86" y="28"/>
                </a:lnTo>
                <a:lnTo>
                  <a:pt x="86" y="28"/>
                </a:lnTo>
                <a:lnTo>
                  <a:pt x="90" y="28"/>
                </a:lnTo>
                <a:lnTo>
                  <a:pt x="90" y="28"/>
                </a:lnTo>
                <a:lnTo>
                  <a:pt x="90" y="32"/>
                </a:lnTo>
                <a:lnTo>
                  <a:pt x="90" y="32"/>
                </a:lnTo>
                <a:lnTo>
                  <a:pt x="90" y="32"/>
                </a:lnTo>
                <a:lnTo>
                  <a:pt x="90" y="32"/>
                </a:lnTo>
                <a:lnTo>
                  <a:pt x="90" y="32"/>
                </a:lnTo>
                <a:lnTo>
                  <a:pt x="90" y="32"/>
                </a:lnTo>
                <a:lnTo>
                  <a:pt x="90" y="32"/>
                </a:lnTo>
                <a:lnTo>
                  <a:pt x="90" y="32"/>
                </a:lnTo>
                <a:lnTo>
                  <a:pt x="86" y="32"/>
                </a:lnTo>
                <a:lnTo>
                  <a:pt x="86" y="32"/>
                </a:lnTo>
                <a:lnTo>
                  <a:pt x="86" y="32"/>
                </a:lnTo>
                <a:lnTo>
                  <a:pt x="86" y="36"/>
                </a:lnTo>
                <a:lnTo>
                  <a:pt x="86" y="36"/>
                </a:lnTo>
                <a:lnTo>
                  <a:pt x="86" y="36"/>
                </a:lnTo>
                <a:lnTo>
                  <a:pt x="86" y="36"/>
                </a:lnTo>
                <a:lnTo>
                  <a:pt x="90" y="40"/>
                </a:lnTo>
                <a:lnTo>
                  <a:pt x="90" y="40"/>
                </a:lnTo>
                <a:lnTo>
                  <a:pt x="94" y="40"/>
                </a:lnTo>
                <a:lnTo>
                  <a:pt x="94" y="40"/>
                </a:lnTo>
                <a:lnTo>
                  <a:pt x="94" y="40"/>
                </a:lnTo>
                <a:lnTo>
                  <a:pt x="94" y="44"/>
                </a:lnTo>
                <a:lnTo>
                  <a:pt x="94" y="44"/>
                </a:lnTo>
                <a:lnTo>
                  <a:pt x="94" y="44"/>
                </a:lnTo>
                <a:lnTo>
                  <a:pt x="94" y="44"/>
                </a:lnTo>
                <a:lnTo>
                  <a:pt x="94" y="46"/>
                </a:lnTo>
                <a:lnTo>
                  <a:pt x="94" y="46"/>
                </a:lnTo>
                <a:lnTo>
                  <a:pt x="90" y="46"/>
                </a:lnTo>
                <a:lnTo>
                  <a:pt x="90" y="46"/>
                </a:lnTo>
                <a:lnTo>
                  <a:pt x="90" y="46"/>
                </a:lnTo>
                <a:lnTo>
                  <a:pt x="90" y="46"/>
                </a:lnTo>
                <a:lnTo>
                  <a:pt x="90" y="44"/>
                </a:lnTo>
                <a:lnTo>
                  <a:pt x="90" y="44"/>
                </a:lnTo>
                <a:lnTo>
                  <a:pt x="86" y="44"/>
                </a:lnTo>
                <a:lnTo>
                  <a:pt x="86" y="44"/>
                </a:lnTo>
                <a:lnTo>
                  <a:pt x="86" y="44"/>
                </a:lnTo>
                <a:lnTo>
                  <a:pt x="86" y="44"/>
                </a:lnTo>
                <a:lnTo>
                  <a:pt x="86" y="44"/>
                </a:lnTo>
                <a:lnTo>
                  <a:pt x="86" y="44"/>
                </a:lnTo>
                <a:lnTo>
                  <a:pt x="82" y="44"/>
                </a:lnTo>
                <a:lnTo>
                  <a:pt x="82" y="44"/>
                </a:lnTo>
                <a:lnTo>
                  <a:pt x="82" y="44"/>
                </a:lnTo>
                <a:lnTo>
                  <a:pt x="82" y="44"/>
                </a:lnTo>
                <a:lnTo>
                  <a:pt x="82" y="44"/>
                </a:lnTo>
                <a:lnTo>
                  <a:pt x="82" y="44"/>
                </a:lnTo>
                <a:lnTo>
                  <a:pt x="82" y="44"/>
                </a:lnTo>
                <a:lnTo>
                  <a:pt x="78" y="44"/>
                </a:lnTo>
                <a:lnTo>
                  <a:pt x="78" y="44"/>
                </a:lnTo>
                <a:lnTo>
                  <a:pt x="78" y="40"/>
                </a:lnTo>
                <a:lnTo>
                  <a:pt x="78" y="40"/>
                </a:lnTo>
                <a:lnTo>
                  <a:pt x="74" y="40"/>
                </a:lnTo>
                <a:lnTo>
                  <a:pt x="74" y="40"/>
                </a:lnTo>
                <a:lnTo>
                  <a:pt x="74" y="40"/>
                </a:lnTo>
                <a:lnTo>
                  <a:pt x="74" y="40"/>
                </a:lnTo>
                <a:lnTo>
                  <a:pt x="70" y="40"/>
                </a:lnTo>
                <a:lnTo>
                  <a:pt x="70" y="40"/>
                </a:lnTo>
                <a:lnTo>
                  <a:pt x="70" y="44"/>
                </a:lnTo>
                <a:lnTo>
                  <a:pt x="70" y="44"/>
                </a:lnTo>
                <a:lnTo>
                  <a:pt x="70" y="44"/>
                </a:lnTo>
                <a:lnTo>
                  <a:pt x="68" y="44"/>
                </a:lnTo>
                <a:lnTo>
                  <a:pt x="68" y="44"/>
                </a:lnTo>
                <a:lnTo>
                  <a:pt x="68" y="44"/>
                </a:lnTo>
                <a:lnTo>
                  <a:pt x="68" y="44"/>
                </a:lnTo>
                <a:lnTo>
                  <a:pt x="64" y="44"/>
                </a:lnTo>
                <a:lnTo>
                  <a:pt x="64" y="44"/>
                </a:lnTo>
                <a:lnTo>
                  <a:pt x="64" y="44"/>
                </a:lnTo>
                <a:lnTo>
                  <a:pt x="60" y="44"/>
                </a:lnTo>
                <a:lnTo>
                  <a:pt x="60" y="44"/>
                </a:lnTo>
                <a:lnTo>
                  <a:pt x="60" y="44"/>
                </a:lnTo>
                <a:lnTo>
                  <a:pt x="60" y="44"/>
                </a:lnTo>
                <a:lnTo>
                  <a:pt x="56" y="44"/>
                </a:lnTo>
                <a:lnTo>
                  <a:pt x="56" y="44"/>
                </a:lnTo>
                <a:lnTo>
                  <a:pt x="56" y="44"/>
                </a:lnTo>
                <a:lnTo>
                  <a:pt x="52" y="44"/>
                </a:lnTo>
                <a:lnTo>
                  <a:pt x="52" y="44"/>
                </a:lnTo>
                <a:lnTo>
                  <a:pt x="52" y="46"/>
                </a:lnTo>
                <a:lnTo>
                  <a:pt x="52" y="46"/>
                </a:lnTo>
                <a:lnTo>
                  <a:pt x="52" y="46"/>
                </a:lnTo>
                <a:lnTo>
                  <a:pt x="52" y="46"/>
                </a:lnTo>
                <a:lnTo>
                  <a:pt x="48" y="46"/>
                </a:lnTo>
                <a:lnTo>
                  <a:pt x="48" y="46"/>
                </a:lnTo>
                <a:lnTo>
                  <a:pt x="48" y="46"/>
                </a:lnTo>
                <a:lnTo>
                  <a:pt x="48" y="46"/>
                </a:lnTo>
                <a:lnTo>
                  <a:pt x="48" y="46"/>
                </a:lnTo>
                <a:lnTo>
                  <a:pt x="48" y="44"/>
                </a:lnTo>
                <a:lnTo>
                  <a:pt x="48" y="44"/>
                </a:lnTo>
                <a:lnTo>
                  <a:pt x="48" y="44"/>
                </a:lnTo>
                <a:lnTo>
                  <a:pt x="48" y="44"/>
                </a:lnTo>
                <a:lnTo>
                  <a:pt x="44" y="44"/>
                </a:lnTo>
                <a:lnTo>
                  <a:pt x="44" y="44"/>
                </a:lnTo>
                <a:lnTo>
                  <a:pt x="42" y="40"/>
                </a:lnTo>
                <a:lnTo>
                  <a:pt x="42" y="40"/>
                </a:lnTo>
                <a:lnTo>
                  <a:pt x="42" y="40"/>
                </a:lnTo>
                <a:lnTo>
                  <a:pt x="42" y="36"/>
                </a:lnTo>
                <a:lnTo>
                  <a:pt x="38" y="36"/>
                </a:lnTo>
                <a:lnTo>
                  <a:pt x="38" y="36"/>
                </a:lnTo>
                <a:lnTo>
                  <a:pt x="38" y="36"/>
                </a:lnTo>
                <a:lnTo>
                  <a:pt x="38" y="36"/>
                </a:lnTo>
                <a:lnTo>
                  <a:pt x="38" y="36"/>
                </a:lnTo>
                <a:lnTo>
                  <a:pt x="38" y="36"/>
                </a:lnTo>
                <a:close/>
              </a:path>
            </a:pathLst>
          </a:custGeom>
          <a:solidFill>
            <a:srgbClr val="A0DCFF"/>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1" name="Freeform 28"/>
          <p:cNvSpPr>
            <a:spLocks noEditPoints="1"/>
          </p:cNvSpPr>
          <p:nvPr/>
        </p:nvSpPr>
        <p:spPr bwMode="auto">
          <a:xfrm>
            <a:off x="5860256" y="3576637"/>
            <a:ext cx="771525" cy="345281"/>
          </a:xfrm>
          <a:custGeom>
            <a:avLst/>
            <a:gdLst>
              <a:gd name="T0" fmla="*/ 316 w 648"/>
              <a:gd name="T1" fmla="*/ 34 h 290"/>
              <a:gd name="T2" fmla="*/ 122 w 648"/>
              <a:gd name="T3" fmla="*/ 108 h 290"/>
              <a:gd name="T4" fmla="*/ 434 w 648"/>
              <a:gd name="T5" fmla="*/ 138 h 290"/>
              <a:gd name="T6" fmla="*/ 550 w 648"/>
              <a:gd name="T7" fmla="*/ 204 h 290"/>
              <a:gd name="T8" fmla="*/ 520 w 648"/>
              <a:gd name="T9" fmla="*/ 222 h 290"/>
              <a:gd name="T10" fmla="*/ 398 w 648"/>
              <a:gd name="T11" fmla="*/ 276 h 290"/>
              <a:gd name="T12" fmla="*/ 152 w 648"/>
              <a:gd name="T13" fmla="*/ 156 h 290"/>
              <a:gd name="T14" fmla="*/ 106 w 648"/>
              <a:gd name="T15" fmla="*/ 178 h 290"/>
              <a:gd name="T16" fmla="*/ 50 w 648"/>
              <a:gd name="T17" fmla="*/ 78 h 290"/>
              <a:gd name="T18" fmla="*/ 22 w 648"/>
              <a:gd name="T19" fmla="*/ 10 h 290"/>
              <a:gd name="T20" fmla="*/ 84 w 648"/>
              <a:gd name="T21" fmla="*/ 64 h 290"/>
              <a:gd name="T22" fmla="*/ 118 w 648"/>
              <a:gd name="T23" fmla="*/ 108 h 290"/>
              <a:gd name="T24" fmla="*/ 276 w 648"/>
              <a:gd name="T25" fmla="*/ 70 h 290"/>
              <a:gd name="T26" fmla="*/ 312 w 648"/>
              <a:gd name="T27" fmla="*/ 48 h 290"/>
              <a:gd name="T28" fmla="*/ 316 w 648"/>
              <a:gd name="T29" fmla="*/ 116 h 290"/>
              <a:gd name="T30" fmla="*/ 278 w 648"/>
              <a:gd name="T31" fmla="*/ 170 h 290"/>
              <a:gd name="T32" fmla="*/ 212 w 648"/>
              <a:gd name="T33" fmla="*/ 150 h 290"/>
              <a:gd name="T34" fmla="*/ 200 w 648"/>
              <a:gd name="T35" fmla="*/ 70 h 290"/>
              <a:gd name="T36" fmla="*/ 18 w 648"/>
              <a:gd name="T37" fmla="*/ 64 h 290"/>
              <a:gd name="T38" fmla="*/ 464 w 648"/>
              <a:gd name="T39" fmla="*/ 66 h 290"/>
              <a:gd name="T40" fmla="*/ 468 w 648"/>
              <a:gd name="T41" fmla="*/ 116 h 290"/>
              <a:gd name="T42" fmla="*/ 386 w 648"/>
              <a:gd name="T43" fmla="*/ 156 h 290"/>
              <a:gd name="T44" fmla="*/ 358 w 648"/>
              <a:gd name="T45" fmla="*/ 160 h 290"/>
              <a:gd name="T46" fmla="*/ 334 w 648"/>
              <a:gd name="T47" fmla="*/ 152 h 290"/>
              <a:gd name="T48" fmla="*/ 358 w 648"/>
              <a:gd name="T49" fmla="*/ 90 h 290"/>
              <a:gd name="T50" fmla="*/ 412 w 648"/>
              <a:gd name="T51" fmla="*/ 92 h 290"/>
              <a:gd name="T52" fmla="*/ 368 w 648"/>
              <a:gd name="T53" fmla="*/ 122 h 290"/>
              <a:gd name="T54" fmla="*/ 36 w 648"/>
              <a:gd name="T55" fmla="*/ 82 h 290"/>
              <a:gd name="T56" fmla="*/ 114 w 648"/>
              <a:gd name="T57" fmla="*/ 90 h 290"/>
              <a:gd name="T58" fmla="*/ 134 w 648"/>
              <a:gd name="T59" fmla="*/ 100 h 290"/>
              <a:gd name="T60" fmla="*/ 498 w 648"/>
              <a:gd name="T61" fmla="*/ 104 h 290"/>
              <a:gd name="T62" fmla="*/ 130 w 648"/>
              <a:gd name="T63" fmla="*/ 112 h 290"/>
              <a:gd name="T64" fmla="*/ 576 w 648"/>
              <a:gd name="T65" fmla="*/ 182 h 290"/>
              <a:gd name="T66" fmla="*/ 528 w 648"/>
              <a:gd name="T67" fmla="*/ 156 h 290"/>
              <a:gd name="T68" fmla="*/ 516 w 648"/>
              <a:gd name="T69" fmla="*/ 116 h 290"/>
              <a:gd name="T70" fmla="*/ 572 w 648"/>
              <a:gd name="T71" fmla="*/ 156 h 290"/>
              <a:gd name="T72" fmla="*/ 648 w 648"/>
              <a:gd name="T73" fmla="*/ 212 h 290"/>
              <a:gd name="T74" fmla="*/ 502 w 648"/>
              <a:gd name="T75" fmla="*/ 108 h 290"/>
              <a:gd name="T76" fmla="*/ 58 w 648"/>
              <a:gd name="T77" fmla="*/ 130 h 290"/>
              <a:gd name="T78" fmla="*/ 394 w 648"/>
              <a:gd name="T79" fmla="*/ 122 h 290"/>
              <a:gd name="T80" fmla="*/ 156 w 648"/>
              <a:gd name="T81" fmla="*/ 146 h 290"/>
              <a:gd name="T82" fmla="*/ 420 w 648"/>
              <a:gd name="T83" fmla="*/ 134 h 290"/>
              <a:gd name="T84" fmla="*/ 70 w 648"/>
              <a:gd name="T85" fmla="*/ 150 h 290"/>
              <a:gd name="T86" fmla="*/ 484 w 648"/>
              <a:gd name="T87" fmla="*/ 160 h 290"/>
              <a:gd name="T88" fmla="*/ 164 w 648"/>
              <a:gd name="T89" fmla="*/ 152 h 290"/>
              <a:gd name="T90" fmla="*/ 458 w 648"/>
              <a:gd name="T91" fmla="*/ 156 h 290"/>
              <a:gd name="T92" fmla="*/ 386 w 648"/>
              <a:gd name="T93" fmla="*/ 196 h 290"/>
              <a:gd name="T94" fmla="*/ 104 w 648"/>
              <a:gd name="T95" fmla="*/ 196 h 290"/>
              <a:gd name="T96" fmla="*/ 182 w 648"/>
              <a:gd name="T97" fmla="*/ 234 h 290"/>
              <a:gd name="T98" fmla="*/ 186 w 648"/>
              <a:gd name="T99" fmla="*/ 212 h 290"/>
              <a:gd name="T100" fmla="*/ 268 w 648"/>
              <a:gd name="T101" fmla="*/ 234 h 290"/>
              <a:gd name="T102" fmla="*/ 558 w 648"/>
              <a:gd name="T103" fmla="*/ 212 h 290"/>
              <a:gd name="T104" fmla="*/ 260 w 648"/>
              <a:gd name="T105" fmla="*/ 226 h 290"/>
              <a:gd name="T106" fmla="*/ 602 w 648"/>
              <a:gd name="T107" fmla="*/ 238 h 290"/>
              <a:gd name="T108" fmla="*/ 378 w 648"/>
              <a:gd name="T109" fmla="*/ 252 h 290"/>
              <a:gd name="T110" fmla="*/ 334 w 648"/>
              <a:gd name="T111" fmla="*/ 252 h 290"/>
              <a:gd name="T112" fmla="*/ 334 w 648"/>
              <a:gd name="T113" fmla="*/ 246 h 290"/>
              <a:gd name="T114" fmla="*/ 298 w 648"/>
              <a:gd name="T115" fmla="*/ 250 h 290"/>
              <a:gd name="T116" fmla="*/ 342 w 648"/>
              <a:gd name="T117" fmla="*/ 264 h 290"/>
              <a:gd name="T118" fmla="*/ 398 w 648"/>
              <a:gd name="T119" fmla="*/ 280 h 290"/>
              <a:gd name="T120" fmla="*/ 412 w 648"/>
              <a:gd name="T121" fmla="*/ 242 h 290"/>
              <a:gd name="T122" fmla="*/ 402 w 648"/>
              <a:gd name="T123" fmla="*/ 268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48" h="290">
                <a:moveTo>
                  <a:pt x="114" y="92"/>
                </a:moveTo>
                <a:lnTo>
                  <a:pt x="110" y="92"/>
                </a:lnTo>
                <a:lnTo>
                  <a:pt x="110" y="90"/>
                </a:lnTo>
                <a:lnTo>
                  <a:pt x="114" y="90"/>
                </a:lnTo>
                <a:lnTo>
                  <a:pt x="114" y="92"/>
                </a:lnTo>
                <a:lnTo>
                  <a:pt x="114" y="92"/>
                </a:lnTo>
                <a:lnTo>
                  <a:pt x="114" y="92"/>
                </a:lnTo>
                <a:close/>
                <a:moveTo>
                  <a:pt x="460" y="156"/>
                </a:moveTo>
                <a:lnTo>
                  <a:pt x="458" y="156"/>
                </a:lnTo>
                <a:lnTo>
                  <a:pt x="460" y="156"/>
                </a:lnTo>
                <a:lnTo>
                  <a:pt x="460" y="156"/>
                </a:lnTo>
                <a:lnTo>
                  <a:pt x="460" y="156"/>
                </a:lnTo>
                <a:close/>
                <a:moveTo>
                  <a:pt x="302" y="160"/>
                </a:moveTo>
                <a:lnTo>
                  <a:pt x="302" y="164"/>
                </a:lnTo>
                <a:lnTo>
                  <a:pt x="298" y="164"/>
                </a:lnTo>
                <a:lnTo>
                  <a:pt x="302" y="160"/>
                </a:lnTo>
                <a:lnTo>
                  <a:pt x="302" y="160"/>
                </a:lnTo>
                <a:lnTo>
                  <a:pt x="302" y="160"/>
                </a:lnTo>
                <a:close/>
                <a:moveTo>
                  <a:pt x="446" y="34"/>
                </a:moveTo>
                <a:lnTo>
                  <a:pt x="446" y="30"/>
                </a:lnTo>
                <a:lnTo>
                  <a:pt x="446" y="26"/>
                </a:lnTo>
                <a:lnTo>
                  <a:pt x="450" y="30"/>
                </a:lnTo>
                <a:lnTo>
                  <a:pt x="446" y="30"/>
                </a:lnTo>
                <a:lnTo>
                  <a:pt x="446" y="34"/>
                </a:lnTo>
                <a:lnTo>
                  <a:pt x="446" y="34"/>
                </a:lnTo>
                <a:lnTo>
                  <a:pt x="446" y="34"/>
                </a:lnTo>
                <a:close/>
                <a:moveTo>
                  <a:pt x="320" y="30"/>
                </a:moveTo>
                <a:lnTo>
                  <a:pt x="320" y="34"/>
                </a:lnTo>
                <a:lnTo>
                  <a:pt x="324" y="34"/>
                </a:lnTo>
                <a:lnTo>
                  <a:pt x="320" y="34"/>
                </a:lnTo>
                <a:lnTo>
                  <a:pt x="320" y="30"/>
                </a:lnTo>
                <a:lnTo>
                  <a:pt x="320" y="30"/>
                </a:lnTo>
                <a:lnTo>
                  <a:pt x="320" y="30"/>
                </a:lnTo>
                <a:close/>
                <a:moveTo>
                  <a:pt x="316" y="34"/>
                </a:moveTo>
                <a:lnTo>
                  <a:pt x="320" y="34"/>
                </a:lnTo>
                <a:lnTo>
                  <a:pt x="316" y="34"/>
                </a:lnTo>
                <a:lnTo>
                  <a:pt x="316" y="34"/>
                </a:lnTo>
                <a:lnTo>
                  <a:pt x="316" y="34"/>
                </a:lnTo>
                <a:close/>
                <a:moveTo>
                  <a:pt x="446" y="36"/>
                </a:moveTo>
                <a:lnTo>
                  <a:pt x="442" y="34"/>
                </a:lnTo>
                <a:lnTo>
                  <a:pt x="446" y="34"/>
                </a:lnTo>
                <a:lnTo>
                  <a:pt x="446" y="36"/>
                </a:lnTo>
                <a:lnTo>
                  <a:pt x="446" y="36"/>
                </a:lnTo>
                <a:lnTo>
                  <a:pt x="446" y="36"/>
                </a:lnTo>
                <a:close/>
                <a:moveTo>
                  <a:pt x="434" y="44"/>
                </a:moveTo>
                <a:lnTo>
                  <a:pt x="430" y="44"/>
                </a:lnTo>
                <a:lnTo>
                  <a:pt x="430" y="40"/>
                </a:lnTo>
                <a:lnTo>
                  <a:pt x="430" y="36"/>
                </a:lnTo>
                <a:lnTo>
                  <a:pt x="430" y="40"/>
                </a:lnTo>
                <a:lnTo>
                  <a:pt x="434" y="44"/>
                </a:lnTo>
                <a:lnTo>
                  <a:pt x="434" y="44"/>
                </a:lnTo>
                <a:lnTo>
                  <a:pt x="434" y="44"/>
                </a:lnTo>
                <a:close/>
                <a:moveTo>
                  <a:pt x="312" y="40"/>
                </a:moveTo>
                <a:lnTo>
                  <a:pt x="316" y="44"/>
                </a:lnTo>
                <a:lnTo>
                  <a:pt x="312" y="44"/>
                </a:lnTo>
                <a:lnTo>
                  <a:pt x="312" y="40"/>
                </a:lnTo>
                <a:lnTo>
                  <a:pt x="312" y="40"/>
                </a:lnTo>
                <a:lnTo>
                  <a:pt x="312" y="40"/>
                </a:lnTo>
                <a:close/>
                <a:moveTo>
                  <a:pt x="316" y="44"/>
                </a:moveTo>
                <a:lnTo>
                  <a:pt x="320" y="44"/>
                </a:lnTo>
                <a:lnTo>
                  <a:pt x="316" y="48"/>
                </a:lnTo>
                <a:lnTo>
                  <a:pt x="316" y="44"/>
                </a:lnTo>
                <a:lnTo>
                  <a:pt x="316" y="44"/>
                </a:lnTo>
                <a:lnTo>
                  <a:pt x="316" y="44"/>
                </a:lnTo>
                <a:close/>
                <a:moveTo>
                  <a:pt x="488" y="108"/>
                </a:moveTo>
                <a:lnTo>
                  <a:pt x="484" y="104"/>
                </a:lnTo>
                <a:lnTo>
                  <a:pt x="484" y="100"/>
                </a:lnTo>
                <a:lnTo>
                  <a:pt x="488" y="104"/>
                </a:lnTo>
                <a:lnTo>
                  <a:pt x="488" y="108"/>
                </a:lnTo>
                <a:lnTo>
                  <a:pt x="488" y="108"/>
                </a:lnTo>
                <a:lnTo>
                  <a:pt x="488" y="108"/>
                </a:lnTo>
                <a:close/>
                <a:moveTo>
                  <a:pt x="122" y="108"/>
                </a:moveTo>
                <a:lnTo>
                  <a:pt x="118" y="108"/>
                </a:lnTo>
                <a:lnTo>
                  <a:pt x="122" y="108"/>
                </a:lnTo>
                <a:lnTo>
                  <a:pt x="122" y="108"/>
                </a:lnTo>
                <a:lnTo>
                  <a:pt x="122" y="108"/>
                </a:lnTo>
                <a:close/>
                <a:moveTo>
                  <a:pt x="454" y="108"/>
                </a:moveTo>
                <a:lnTo>
                  <a:pt x="454" y="112"/>
                </a:lnTo>
                <a:lnTo>
                  <a:pt x="450" y="112"/>
                </a:lnTo>
                <a:lnTo>
                  <a:pt x="450" y="108"/>
                </a:lnTo>
                <a:lnTo>
                  <a:pt x="454" y="108"/>
                </a:lnTo>
                <a:lnTo>
                  <a:pt x="454" y="108"/>
                </a:lnTo>
                <a:lnTo>
                  <a:pt x="454" y="108"/>
                </a:lnTo>
                <a:close/>
                <a:moveTo>
                  <a:pt x="378" y="108"/>
                </a:moveTo>
                <a:lnTo>
                  <a:pt x="374" y="108"/>
                </a:lnTo>
                <a:lnTo>
                  <a:pt x="378" y="108"/>
                </a:lnTo>
                <a:lnTo>
                  <a:pt x="378" y="108"/>
                </a:lnTo>
                <a:lnTo>
                  <a:pt x="378" y="108"/>
                </a:lnTo>
                <a:close/>
                <a:moveTo>
                  <a:pt x="378" y="112"/>
                </a:moveTo>
                <a:lnTo>
                  <a:pt x="374" y="112"/>
                </a:lnTo>
                <a:lnTo>
                  <a:pt x="374" y="108"/>
                </a:lnTo>
                <a:lnTo>
                  <a:pt x="378" y="108"/>
                </a:lnTo>
                <a:lnTo>
                  <a:pt x="378" y="112"/>
                </a:lnTo>
                <a:lnTo>
                  <a:pt x="378" y="112"/>
                </a:lnTo>
                <a:lnTo>
                  <a:pt x="378" y="112"/>
                </a:lnTo>
                <a:close/>
                <a:moveTo>
                  <a:pt x="454" y="112"/>
                </a:moveTo>
                <a:lnTo>
                  <a:pt x="454" y="116"/>
                </a:lnTo>
                <a:lnTo>
                  <a:pt x="454" y="112"/>
                </a:lnTo>
                <a:lnTo>
                  <a:pt x="454" y="112"/>
                </a:lnTo>
                <a:lnTo>
                  <a:pt x="454" y="112"/>
                </a:lnTo>
                <a:close/>
                <a:moveTo>
                  <a:pt x="562" y="120"/>
                </a:moveTo>
                <a:lnTo>
                  <a:pt x="562" y="122"/>
                </a:lnTo>
                <a:lnTo>
                  <a:pt x="562" y="120"/>
                </a:lnTo>
                <a:lnTo>
                  <a:pt x="562" y="120"/>
                </a:lnTo>
                <a:lnTo>
                  <a:pt x="562" y="120"/>
                </a:lnTo>
                <a:close/>
                <a:moveTo>
                  <a:pt x="434" y="138"/>
                </a:moveTo>
                <a:lnTo>
                  <a:pt x="434" y="142"/>
                </a:lnTo>
                <a:lnTo>
                  <a:pt x="434" y="146"/>
                </a:lnTo>
                <a:lnTo>
                  <a:pt x="434" y="142"/>
                </a:lnTo>
                <a:lnTo>
                  <a:pt x="434" y="138"/>
                </a:lnTo>
                <a:lnTo>
                  <a:pt x="434" y="138"/>
                </a:lnTo>
                <a:lnTo>
                  <a:pt x="434" y="138"/>
                </a:lnTo>
                <a:close/>
                <a:moveTo>
                  <a:pt x="472" y="164"/>
                </a:moveTo>
                <a:lnTo>
                  <a:pt x="476" y="164"/>
                </a:lnTo>
                <a:lnTo>
                  <a:pt x="472" y="164"/>
                </a:lnTo>
                <a:lnTo>
                  <a:pt x="472" y="164"/>
                </a:lnTo>
                <a:lnTo>
                  <a:pt x="472" y="164"/>
                </a:lnTo>
                <a:close/>
                <a:moveTo>
                  <a:pt x="540" y="170"/>
                </a:moveTo>
                <a:lnTo>
                  <a:pt x="540" y="174"/>
                </a:lnTo>
                <a:lnTo>
                  <a:pt x="544" y="174"/>
                </a:lnTo>
                <a:lnTo>
                  <a:pt x="540" y="174"/>
                </a:lnTo>
                <a:lnTo>
                  <a:pt x="540" y="170"/>
                </a:lnTo>
                <a:lnTo>
                  <a:pt x="540" y="170"/>
                </a:lnTo>
                <a:lnTo>
                  <a:pt x="540" y="170"/>
                </a:lnTo>
                <a:close/>
                <a:moveTo>
                  <a:pt x="536" y="194"/>
                </a:moveTo>
                <a:lnTo>
                  <a:pt x="536" y="196"/>
                </a:lnTo>
                <a:lnTo>
                  <a:pt x="536" y="200"/>
                </a:lnTo>
                <a:lnTo>
                  <a:pt x="532" y="204"/>
                </a:lnTo>
                <a:lnTo>
                  <a:pt x="532" y="200"/>
                </a:lnTo>
                <a:lnTo>
                  <a:pt x="536" y="196"/>
                </a:lnTo>
                <a:lnTo>
                  <a:pt x="536" y="194"/>
                </a:lnTo>
                <a:lnTo>
                  <a:pt x="536" y="194"/>
                </a:lnTo>
                <a:lnTo>
                  <a:pt x="536" y="194"/>
                </a:lnTo>
                <a:close/>
                <a:moveTo>
                  <a:pt x="532" y="200"/>
                </a:moveTo>
                <a:lnTo>
                  <a:pt x="532" y="204"/>
                </a:lnTo>
                <a:lnTo>
                  <a:pt x="528" y="204"/>
                </a:lnTo>
                <a:lnTo>
                  <a:pt x="528" y="200"/>
                </a:lnTo>
                <a:lnTo>
                  <a:pt x="528" y="196"/>
                </a:lnTo>
                <a:lnTo>
                  <a:pt x="532" y="196"/>
                </a:lnTo>
                <a:lnTo>
                  <a:pt x="532" y="200"/>
                </a:lnTo>
                <a:lnTo>
                  <a:pt x="532" y="200"/>
                </a:lnTo>
                <a:lnTo>
                  <a:pt x="532" y="200"/>
                </a:lnTo>
                <a:close/>
                <a:moveTo>
                  <a:pt x="550" y="204"/>
                </a:moveTo>
                <a:lnTo>
                  <a:pt x="550" y="208"/>
                </a:lnTo>
                <a:lnTo>
                  <a:pt x="554" y="208"/>
                </a:lnTo>
                <a:lnTo>
                  <a:pt x="554" y="212"/>
                </a:lnTo>
                <a:lnTo>
                  <a:pt x="550" y="208"/>
                </a:lnTo>
                <a:lnTo>
                  <a:pt x="550" y="204"/>
                </a:lnTo>
                <a:lnTo>
                  <a:pt x="550" y="204"/>
                </a:lnTo>
                <a:lnTo>
                  <a:pt x="550" y="204"/>
                </a:lnTo>
                <a:close/>
                <a:moveTo>
                  <a:pt x="554" y="208"/>
                </a:moveTo>
                <a:lnTo>
                  <a:pt x="558" y="212"/>
                </a:lnTo>
                <a:lnTo>
                  <a:pt x="554" y="212"/>
                </a:lnTo>
                <a:lnTo>
                  <a:pt x="554" y="208"/>
                </a:lnTo>
                <a:lnTo>
                  <a:pt x="554" y="208"/>
                </a:lnTo>
                <a:lnTo>
                  <a:pt x="554" y="208"/>
                </a:lnTo>
                <a:close/>
                <a:moveTo>
                  <a:pt x="562" y="208"/>
                </a:moveTo>
                <a:lnTo>
                  <a:pt x="562" y="212"/>
                </a:lnTo>
                <a:lnTo>
                  <a:pt x="562" y="208"/>
                </a:lnTo>
                <a:lnTo>
                  <a:pt x="562" y="208"/>
                </a:lnTo>
                <a:lnTo>
                  <a:pt x="562" y="208"/>
                </a:lnTo>
                <a:close/>
                <a:moveTo>
                  <a:pt x="558" y="216"/>
                </a:moveTo>
                <a:lnTo>
                  <a:pt x="558" y="220"/>
                </a:lnTo>
                <a:lnTo>
                  <a:pt x="558" y="216"/>
                </a:lnTo>
                <a:lnTo>
                  <a:pt x="558" y="216"/>
                </a:lnTo>
                <a:lnTo>
                  <a:pt x="558" y="216"/>
                </a:lnTo>
                <a:close/>
                <a:moveTo>
                  <a:pt x="614" y="216"/>
                </a:moveTo>
                <a:lnTo>
                  <a:pt x="614" y="220"/>
                </a:lnTo>
                <a:lnTo>
                  <a:pt x="618" y="220"/>
                </a:lnTo>
                <a:lnTo>
                  <a:pt x="614" y="220"/>
                </a:lnTo>
                <a:lnTo>
                  <a:pt x="614" y="216"/>
                </a:lnTo>
                <a:lnTo>
                  <a:pt x="614" y="216"/>
                </a:lnTo>
                <a:lnTo>
                  <a:pt x="614" y="216"/>
                </a:lnTo>
                <a:close/>
                <a:moveTo>
                  <a:pt x="472" y="222"/>
                </a:moveTo>
                <a:lnTo>
                  <a:pt x="472" y="226"/>
                </a:lnTo>
                <a:lnTo>
                  <a:pt x="472" y="222"/>
                </a:lnTo>
                <a:lnTo>
                  <a:pt x="472" y="222"/>
                </a:lnTo>
                <a:lnTo>
                  <a:pt x="472" y="222"/>
                </a:lnTo>
                <a:close/>
                <a:moveTo>
                  <a:pt x="520" y="222"/>
                </a:moveTo>
                <a:lnTo>
                  <a:pt x="520" y="226"/>
                </a:lnTo>
                <a:lnTo>
                  <a:pt x="520" y="222"/>
                </a:lnTo>
                <a:lnTo>
                  <a:pt x="516" y="222"/>
                </a:lnTo>
                <a:lnTo>
                  <a:pt x="520" y="222"/>
                </a:lnTo>
                <a:lnTo>
                  <a:pt x="520" y="222"/>
                </a:lnTo>
                <a:lnTo>
                  <a:pt x="520" y="222"/>
                </a:lnTo>
                <a:close/>
                <a:moveTo>
                  <a:pt x="364" y="226"/>
                </a:moveTo>
                <a:lnTo>
                  <a:pt x="360" y="226"/>
                </a:lnTo>
                <a:lnTo>
                  <a:pt x="364" y="226"/>
                </a:lnTo>
                <a:lnTo>
                  <a:pt x="364" y="226"/>
                </a:lnTo>
                <a:lnTo>
                  <a:pt x="364" y="226"/>
                </a:lnTo>
                <a:close/>
                <a:moveTo>
                  <a:pt x="506" y="230"/>
                </a:moveTo>
                <a:lnTo>
                  <a:pt x="510" y="226"/>
                </a:lnTo>
                <a:lnTo>
                  <a:pt x="510" y="230"/>
                </a:lnTo>
                <a:lnTo>
                  <a:pt x="506" y="230"/>
                </a:lnTo>
                <a:lnTo>
                  <a:pt x="506" y="230"/>
                </a:lnTo>
                <a:lnTo>
                  <a:pt x="506" y="230"/>
                </a:lnTo>
                <a:close/>
                <a:moveTo>
                  <a:pt x="458" y="230"/>
                </a:moveTo>
                <a:lnTo>
                  <a:pt x="454" y="234"/>
                </a:lnTo>
                <a:lnTo>
                  <a:pt x="454" y="230"/>
                </a:lnTo>
                <a:lnTo>
                  <a:pt x="458" y="230"/>
                </a:lnTo>
                <a:lnTo>
                  <a:pt x="458" y="230"/>
                </a:lnTo>
                <a:lnTo>
                  <a:pt x="458" y="230"/>
                </a:lnTo>
                <a:close/>
                <a:moveTo>
                  <a:pt x="502" y="246"/>
                </a:moveTo>
                <a:lnTo>
                  <a:pt x="506" y="242"/>
                </a:lnTo>
                <a:lnTo>
                  <a:pt x="510" y="242"/>
                </a:lnTo>
                <a:lnTo>
                  <a:pt x="506" y="242"/>
                </a:lnTo>
                <a:lnTo>
                  <a:pt x="506" y="246"/>
                </a:lnTo>
                <a:lnTo>
                  <a:pt x="502" y="246"/>
                </a:lnTo>
                <a:lnTo>
                  <a:pt x="502" y="246"/>
                </a:lnTo>
                <a:lnTo>
                  <a:pt x="502" y="246"/>
                </a:lnTo>
                <a:close/>
                <a:moveTo>
                  <a:pt x="290" y="252"/>
                </a:moveTo>
                <a:lnTo>
                  <a:pt x="286" y="252"/>
                </a:lnTo>
                <a:lnTo>
                  <a:pt x="286" y="250"/>
                </a:lnTo>
                <a:lnTo>
                  <a:pt x="290" y="250"/>
                </a:lnTo>
                <a:lnTo>
                  <a:pt x="290" y="252"/>
                </a:lnTo>
                <a:lnTo>
                  <a:pt x="290" y="252"/>
                </a:lnTo>
                <a:lnTo>
                  <a:pt x="290" y="252"/>
                </a:lnTo>
                <a:close/>
                <a:moveTo>
                  <a:pt x="398" y="276"/>
                </a:moveTo>
                <a:lnTo>
                  <a:pt x="402" y="276"/>
                </a:lnTo>
                <a:lnTo>
                  <a:pt x="398" y="280"/>
                </a:lnTo>
                <a:lnTo>
                  <a:pt x="398" y="276"/>
                </a:lnTo>
                <a:lnTo>
                  <a:pt x="398" y="276"/>
                </a:lnTo>
                <a:lnTo>
                  <a:pt x="398" y="276"/>
                </a:lnTo>
                <a:close/>
                <a:moveTo>
                  <a:pt x="4" y="4"/>
                </a:moveTo>
                <a:lnTo>
                  <a:pt x="0" y="4"/>
                </a:lnTo>
                <a:lnTo>
                  <a:pt x="0" y="0"/>
                </a:lnTo>
                <a:lnTo>
                  <a:pt x="4" y="0"/>
                </a:lnTo>
                <a:lnTo>
                  <a:pt x="4" y="4"/>
                </a:lnTo>
                <a:lnTo>
                  <a:pt x="4" y="4"/>
                </a:lnTo>
                <a:lnTo>
                  <a:pt x="4" y="4"/>
                </a:lnTo>
                <a:close/>
                <a:moveTo>
                  <a:pt x="118" y="116"/>
                </a:moveTo>
                <a:lnTo>
                  <a:pt x="118" y="120"/>
                </a:lnTo>
                <a:lnTo>
                  <a:pt x="122" y="120"/>
                </a:lnTo>
                <a:lnTo>
                  <a:pt x="126" y="120"/>
                </a:lnTo>
                <a:lnTo>
                  <a:pt x="130" y="120"/>
                </a:lnTo>
                <a:lnTo>
                  <a:pt x="130" y="122"/>
                </a:lnTo>
                <a:lnTo>
                  <a:pt x="130" y="126"/>
                </a:lnTo>
                <a:lnTo>
                  <a:pt x="130" y="130"/>
                </a:lnTo>
                <a:lnTo>
                  <a:pt x="134" y="130"/>
                </a:lnTo>
                <a:lnTo>
                  <a:pt x="134" y="134"/>
                </a:lnTo>
                <a:lnTo>
                  <a:pt x="130" y="134"/>
                </a:lnTo>
                <a:lnTo>
                  <a:pt x="134" y="134"/>
                </a:lnTo>
                <a:lnTo>
                  <a:pt x="136" y="138"/>
                </a:lnTo>
                <a:lnTo>
                  <a:pt x="136" y="142"/>
                </a:lnTo>
                <a:lnTo>
                  <a:pt x="134" y="142"/>
                </a:lnTo>
                <a:lnTo>
                  <a:pt x="134" y="146"/>
                </a:lnTo>
                <a:lnTo>
                  <a:pt x="134" y="150"/>
                </a:lnTo>
                <a:lnTo>
                  <a:pt x="134" y="146"/>
                </a:lnTo>
                <a:lnTo>
                  <a:pt x="136" y="146"/>
                </a:lnTo>
                <a:lnTo>
                  <a:pt x="136" y="142"/>
                </a:lnTo>
                <a:lnTo>
                  <a:pt x="140" y="142"/>
                </a:lnTo>
                <a:lnTo>
                  <a:pt x="144" y="142"/>
                </a:lnTo>
                <a:lnTo>
                  <a:pt x="148" y="142"/>
                </a:lnTo>
                <a:lnTo>
                  <a:pt x="148" y="146"/>
                </a:lnTo>
                <a:lnTo>
                  <a:pt x="148" y="150"/>
                </a:lnTo>
                <a:lnTo>
                  <a:pt x="148" y="152"/>
                </a:lnTo>
                <a:lnTo>
                  <a:pt x="152" y="152"/>
                </a:lnTo>
                <a:lnTo>
                  <a:pt x="156" y="156"/>
                </a:lnTo>
                <a:lnTo>
                  <a:pt x="152" y="156"/>
                </a:lnTo>
                <a:lnTo>
                  <a:pt x="152" y="160"/>
                </a:lnTo>
                <a:lnTo>
                  <a:pt x="152" y="164"/>
                </a:lnTo>
                <a:lnTo>
                  <a:pt x="152" y="166"/>
                </a:lnTo>
                <a:lnTo>
                  <a:pt x="152" y="170"/>
                </a:lnTo>
                <a:lnTo>
                  <a:pt x="152" y="174"/>
                </a:lnTo>
                <a:lnTo>
                  <a:pt x="152" y="178"/>
                </a:lnTo>
                <a:lnTo>
                  <a:pt x="152" y="182"/>
                </a:lnTo>
                <a:lnTo>
                  <a:pt x="152" y="186"/>
                </a:lnTo>
                <a:lnTo>
                  <a:pt x="152" y="190"/>
                </a:lnTo>
                <a:lnTo>
                  <a:pt x="152" y="196"/>
                </a:lnTo>
                <a:lnTo>
                  <a:pt x="152" y="200"/>
                </a:lnTo>
                <a:lnTo>
                  <a:pt x="148" y="200"/>
                </a:lnTo>
                <a:lnTo>
                  <a:pt x="148" y="204"/>
                </a:lnTo>
                <a:lnTo>
                  <a:pt x="148" y="200"/>
                </a:lnTo>
                <a:lnTo>
                  <a:pt x="144" y="196"/>
                </a:lnTo>
                <a:lnTo>
                  <a:pt x="144" y="194"/>
                </a:lnTo>
                <a:lnTo>
                  <a:pt x="140" y="194"/>
                </a:lnTo>
                <a:lnTo>
                  <a:pt x="140" y="196"/>
                </a:lnTo>
                <a:lnTo>
                  <a:pt x="140" y="200"/>
                </a:lnTo>
                <a:lnTo>
                  <a:pt x="136" y="200"/>
                </a:lnTo>
                <a:lnTo>
                  <a:pt x="136" y="196"/>
                </a:lnTo>
                <a:lnTo>
                  <a:pt x="134" y="196"/>
                </a:lnTo>
                <a:lnTo>
                  <a:pt x="134" y="200"/>
                </a:lnTo>
                <a:lnTo>
                  <a:pt x="134" y="204"/>
                </a:lnTo>
                <a:lnTo>
                  <a:pt x="134" y="200"/>
                </a:lnTo>
                <a:lnTo>
                  <a:pt x="130" y="200"/>
                </a:lnTo>
                <a:lnTo>
                  <a:pt x="130" y="196"/>
                </a:lnTo>
                <a:lnTo>
                  <a:pt x="126" y="196"/>
                </a:lnTo>
                <a:lnTo>
                  <a:pt x="126" y="194"/>
                </a:lnTo>
                <a:lnTo>
                  <a:pt x="122" y="190"/>
                </a:lnTo>
                <a:lnTo>
                  <a:pt x="122" y="186"/>
                </a:lnTo>
                <a:lnTo>
                  <a:pt x="118" y="186"/>
                </a:lnTo>
                <a:lnTo>
                  <a:pt x="114" y="186"/>
                </a:lnTo>
                <a:lnTo>
                  <a:pt x="114" y="182"/>
                </a:lnTo>
                <a:lnTo>
                  <a:pt x="110" y="182"/>
                </a:lnTo>
                <a:lnTo>
                  <a:pt x="110" y="178"/>
                </a:lnTo>
                <a:lnTo>
                  <a:pt x="106" y="178"/>
                </a:lnTo>
                <a:lnTo>
                  <a:pt x="106" y="174"/>
                </a:lnTo>
                <a:lnTo>
                  <a:pt x="104" y="174"/>
                </a:lnTo>
                <a:lnTo>
                  <a:pt x="104" y="170"/>
                </a:lnTo>
                <a:lnTo>
                  <a:pt x="100" y="170"/>
                </a:lnTo>
                <a:lnTo>
                  <a:pt x="100" y="166"/>
                </a:lnTo>
                <a:lnTo>
                  <a:pt x="100" y="164"/>
                </a:lnTo>
                <a:lnTo>
                  <a:pt x="96" y="164"/>
                </a:lnTo>
                <a:lnTo>
                  <a:pt x="96" y="160"/>
                </a:lnTo>
                <a:lnTo>
                  <a:pt x="92" y="156"/>
                </a:lnTo>
                <a:lnTo>
                  <a:pt x="88" y="156"/>
                </a:lnTo>
                <a:lnTo>
                  <a:pt x="88" y="152"/>
                </a:lnTo>
                <a:lnTo>
                  <a:pt x="88" y="150"/>
                </a:lnTo>
                <a:lnTo>
                  <a:pt x="84" y="150"/>
                </a:lnTo>
                <a:lnTo>
                  <a:pt x="84" y="146"/>
                </a:lnTo>
                <a:lnTo>
                  <a:pt x="80" y="146"/>
                </a:lnTo>
                <a:lnTo>
                  <a:pt x="80" y="142"/>
                </a:lnTo>
                <a:lnTo>
                  <a:pt x="80" y="138"/>
                </a:lnTo>
                <a:lnTo>
                  <a:pt x="80" y="134"/>
                </a:lnTo>
                <a:lnTo>
                  <a:pt x="78" y="130"/>
                </a:lnTo>
                <a:lnTo>
                  <a:pt x="78" y="126"/>
                </a:lnTo>
                <a:lnTo>
                  <a:pt x="74" y="122"/>
                </a:lnTo>
                <a:lnTo>
                  <a:pt x="74" y="120"/>
                </a:lnTo>
                <a:lnTo>
                  <a:pt x="74" y="116"/>
                </a:lnTo>
                <a:lnTo>
                  <a:pt x="70" y="116"/>
                </a:lnTo>
                <a:lnTo>
                  <a:pt x="70" y="112"/>
                </a:lnTo>
                <a:lnTo>
                  <a:pt x="66" y="112"/>
                </a:lnTo>
                <a:lnTo>
                  <a:pt x="66" y="108"/>
                </a:lnTo>
                <a:lnTo>
                  <a:pt x="66" y="104"/>
                </a:lnTo>
                <a:lnTo>
                  <a:pt x="62" y="100"/>
                </a:lnTo>
                <a:lnTo>
                  <a:pt x="58" y="96"/>
                </a:lnTo>
                <a:lnTo>
                  <a:pt x="58" y="100"/>
                </a:lnTo>
                <a:lnTo>
                  <a:pt x="54" y="96"/>
                </a:lnTo>
                <a:lnTo>
                  <a:pt x="54" y="92"/>
                </a:lnTo>
                <a:lnTo>
                  <a:pt x="54" y="90"/>
                </a:lnTo>
                <a:lnTo>
                  <a:pt x="54" y="86"/>
                </a:lnTo>
                <a:lnTo>
                  <a:pt x="50" y="82"/>
                </a:lnTo>
                <a:lnTo>
                  <a:pt x="50" y="78"/>
                </a:lnTo>
                <a:lnTo>
                  <a:pt x="50" y="74"/>
                </a:lnTo>
                <a:lnTo>
                  <a:pt x="50" y="70"/>
                </a:lnTo>
                <a:lnTo>
                  <a:pt x="48" y="70"/>
                </a:lnTo>
                <a:lnTo>
                  <a:pt x="48" y="66"/>
                </a:lnTo>
                <a:lnTo>
                  <a:pt x="44" y="66"/>
                </a:lnTo>
                <a:lnTo>
                  <a:pt x="40" y="66"/>
                </a:lnTo>
                <a:lnTo>
                  <a:pt x="40" y="64"/>
                </a:lnTo>
                <a:lnTo>
                  <a:pt x="36" y="64"/>
                </a:lnTo>
                <a:lnTo>
                  <a:pt x="36" y="60"/>
                </a:lnTo>
                <a:lnTo>
                  <a:pt x="36" y="56"/>
                </a:lnTo>
                <a:lnTo>
                  <a:pt x="34" y="56"/>
                </a:lnTo>
                <a:lnTo>
                  <a:pt x="34" y="52"/>
                </a:lnTo>
                <a:lnTo>
                  <a:pt x="30" y="52"/>
                </a:lnTo>
                <a:lnTo>
                  <a:pt x="30" y="48"/>
                </a:lnTo>
                <a:lnTo>
                  <a:pt x="26" y="44"/>
                </a:lnTo>
                <a:lnTo>
                  <a:pt x="26" y="40"/>
                </a:lnTo>
                <a:lnTo>
                  <a:pt x="22" y="36"/>
                </a:lnTo>
                <a:lnTo>
                  <a:pt x="18" y="36"/>
                </a:lnTo>
                <a:lnTo>
                  <a:pt x="18" y="34"/>
                </a:lnTo>
                <a:lnTo>
                  <a:pt x="14" y="34"/>
                </a:lnTo>
                <a:lnTo>
                  <a:pt x="14" y="30"/>
                </a:lnTo>
                <a:lnTo>
                  <a:pt x="10" y="30"/>
                </a:lnTo>
                <a:lnTo>
                  <a:pt x="10" y="26"/>
                </a:lnTo>
                <a:lnTo>
                  <a:pt x="8" y="26"/>
                </a:lnTo>
                <a:lnTo>
                  <a:pt x="8" y="22"/>
                </a:lnTo>
                <a:lnTo>
                  <a:pt x="4" y="18"/>
                </a:lnTo>
                <a:lnTo>
                  <a:pt x="4" y="14"/>
                </a:lnTo>
                <a:lnTo>
                  <a:pt x="0" y="10"/>
                </a:lnTo>
                <a:lnTo>
                  <a:pt x="0" y="6"/>
                </a:lnTo>
                <a:lnTo>
                  <a:pt x="4" y="6"/>
                </a:lnTo>
                <a:lnTo>
                  <a:pt x="8" y="6"/>
                </a:lnTo>
                <a:lnTo>
                  <a:pt x="10" y="6"/>
                </a:lnTo>
                <a:lnTo>
                  <a:pt x="10" y="10"/>
                </a:lnTo>
                <a:lnTo>
                  <a:pt x="14" y="10"/>
                </a:lnTo>
                <a:lnTo>
                  <a:pt x="18" y="14"/>
                </a:lnTo>
                <a:lnTo>
                  <a:pt x="22" y="14"/>
                </a:lnTo>
                <a:lnTo>
                  <a:pt x="22" y="10"/>
                </a:lnTo>
                <a:lnTo>
                  <a:pt x="26" y="10"/>
                </a:lnTo>
                <a:lnTo>
                  <a:pt x="30" y="14"/>
                </a:lnTo>
                <a:lnTo>
                  <a:pt x="34" y="14"/>
                </a:lnTo>
                <a:lnTo>
                  <a:pt x="34" y="10"/>
                </a:lnTo>
                <a:lnTo>
                  <a:pt x="34" y="14"/>
                </a:lnTo>
                <a:lnTo>
                  <a:pt x="36" y="14"/>
                </a:lnTo>
                <a:lnTo>
                  <a:pt x="36" y="18"/>
                </a:lnTo>
                <a:lnTo>
                  <a:pt x="40" y="18"/>
                </a:lnTo>
                <a:lnTo>
                  <a:pt x="40" y="22"/>
                </a:lnTo>
                <a:lnTo>
                  <a:pt x="40" y="26"/>
                </a:lnTo>
                <a:lnTo>
                  <a:pt x="44" y="26"/>
                </a:lnTo>
                <a:lnTo>
                  <a:pt x="44" y="30"/>
                </a:lnTo>
                <a:lnTo>
                  <a:pt x="44" y="34"/>
                </a:lnTo>
                <a:lnTo>
                  <a:pt x="48" y="34"/>
                </a:lnTo>
                <a:lnTo>
                  <a:pt x="48" y="36"/>
                </a:lnTo>
                <a:lnTo>
                  <a:pt x="50" y="36"/>
                </a:lnTo>
                <a:lnTo>
                  <a:pt x="50" y="40"/>
                </a:lnTo>
                <a:lnTo>
                  <a:pt x="54" y="40"/>
                </a:lnTo>
                <a:lnTo>
                  <a:pt x="58" y="40"/>
                </a:lnTo>
                <a:lnTo>
                  <a:pt x="62" y="48"/>
                </a:lnTo>
                <a:lnTo>
                  <a:pt x="66" y="48"/>
                </a:lnTo>
                <a:lnTo>
                  <a:pt x="66" y="52"/>
                </a:lnTo>
                <a:lnTo>
                  <a:pt x="66" y="56"/>
                </a:lnTo>
                <a:lnTo>
                  <a:pt x="70" y="60"/>
                </a:lnTo>
                <a:lnTo>
                  <a:pt x="70" y="56"/>
                </a:lnTo>
                <a:lnTo>
                  <a:pt x="66" y="56"/>
                </a:lnTo>
                <a:lnTo>
                  <a:pt x="70" y="56"/>
                </a:lnTo>
                <a:lnTo>
                  <a:pt x="70" y="60"/>
                </a:lnTo>
                <a:lnTo>
                  <a:pt x="70" y="56"/>
                </a:lnTo>
                <a:lnTo>
                  <a:pt x="74" y="60"/>
                </a:lnTo>
                <a:lnTo>
                  <a:pt x="74" y="64"/>
                </a:lnTo>
                <a:lnTo>
                  <a:pt x="78" y="66"/>
                </a:lnTo>
                <a:lnTo>
                  <a:pt x="80" y="66"/>
                </a:lnTo>
                <a:lnTo>
                  <a:pt x="80" y="70"/>
                </a:lnTo>
                <a:lnTo>
                  <a:pt x="80" y="66"/>
                </a:lnTo>
                <a:lnTo>
                  <a:pt x="80" y="64"/>
                </a:lnTo>
                <a:lnTo>
                  <a:pt x="84" y="64"/>
                </a:lnTo>
                <a:lnTo>
                  <a:pt x="80" y="64"/>
                </a:lnTo>
                <a:lnTo>
                  <a:pt x="84" y="64"/>
                </a:lnTo>
                <a:lnTo>
                  <a:pt x="84" y="66"/>
                </a:lnTo>
                <a:lnTo>
                  <a:pt x="88" y="66"/>
                </a:lnTo>
                <a:lnTo>
                  <a:pt x="88" y="70"/>
                </a:lnTo>
                <a:lnTo>
                  <a:pt x="88" y="74"/>
                </a:lnTo>
                <a:lnTo>
                  <a:pt x="92" y="74"/>
                </a:lnTo>
                <a:lnTo>
                  <a:pt x="96" y="74"/>
                </a:lnTo>
                <a:lnTo>
                  <a:pt x="96" y="78"/>
                </a:lnTo>
                <a:lnTo>
                  <a:pt x="100" y="78"/>
                </a:lnTo>
                <a:lnTo>
                  <a:pt x="100" y="82"/>
                </a:lnTo>
                <a:lnTo>
                  <a:pt x="100" y="86"/>
                </a:lnTo>
                <a:lnTo>
                  <a:pt x="104" y="90"/>
                </a:lnTo>
                <a:lnTo>
                  <a:pt x="106" y="90"/>
                </a:lnTo>
                <a:lnTo>
                  <a:pt x="110" y="90"/>
                </a:lnTo>
                <a:lnTo>
                  <a:pt x="110" y="92"/>
                </a:lnTo>
                <a:lnTo>
                  <a:pt x="110" y="96"/>
                </a:lnTo>
                <a:lnTo>
                  <a:pt x="106" y="96"/>
                </a:lnTo>
                <a:lnTo>
                  <a:pt x="104" y="100"/>
                </a:lnTo>
                <a:lnTo>
                  <a:pt x="104" y="96"/>
                </a:lnTo>
                <a:lnTo>
                  <a:pt x="104" y="100"/>
                </a:lnTo>
                <a:lnTo>
                  <a:pt x="106" y="100"/>
                </a:lnTo>
                <a:lnTo>
                  <a:pt x="106" y="96"/>
                </a:lnTo>
                <a:lnTo>
                  <a:pt x="110" y="96"/>
                </a:lnTo>
                <a:lnTo>
                  <a:pt x="114" y="96"/>
                </a:lnTo>
                <a:lnTo>
                  <a:pt x="114" y="92"/>
                </a:lnTo>
                <a:lnTo>
                  <a:pt x="118" y="92"/>
                </a:lnTo>
                <a:lnTo>
                  <a:pt x="122" y="96"/>
                </a:lnTo>
                <a:lnTo>
                  <a:pt x="122" y="100"/>
                </a:lnTo>
                <a:lnTo>
                  <a:pt x="122" y="104"/>
                </a:lnTo>
                <a:lnTo>
                  <a:pt x="118" y="104"/>
                </a:lnTo>
                <a:lnTo>
                  <a:pt x="114" y="104"/>
                </a:lnTo>
                <a:lnTo>
                  <a:pt x="114" y="108"/>
                </a:lnTo>
                <a:lnTo>
                  <a:pt x="118" y="104"/>
                </a:lnTo>
                <a:lnTo>
                  <a:pt x="118" y="108"/>
                </a:lnTo>
                <a:lnTo>
                  <a:pt x="114" y="108"/>
                </a:lnTo>
                <a:lnTo>
                  <a:pt x="118" y="108"/>
                </a:lnTo>
                <a:lnTo>
                  <a:pt x="118" y="112"/>
                </a:lnTo>
                <a:lnTo>
                  <a:pt x="114" y="112"/>
                </a:lnTo>
                <a:lnTo>
                  <a:pt x="114" y="116"/>
                </a:lnTo>
                <a:lnTo>
                  <a:pt x="118" y="116"/>
                </a:lnTo>
                <a:lnTo>
                  <a:pt x="118" y="116"/>
                </a:lnTo>
                <a:lnTo>
                  <a:pt x="118" y="116"/>
                </a:lnTo>
                <a:close/>
                <a:moveTo>
                  <a:pt x="204" y="66"/>
                </a:moveTo>
                <a:lnTo>
                  <a:pt x="204" y="70"/>
                </a:lnTo>
                <a:lnTo>
                  <a:pt x="204" y="74"/>
                </a:lnTo>
                <a:lnTo>
                  <a:pt x="208" y="78"/>
                </a:lnTo>
                <a:lnTo>
                  <a:pt x="208" y="82"/>
                </a:lnTo>
                <a:lnTo>
                  <a:pt x="212" y="82"/>
                </a:lnTo>
                <a:lnTo>
                  <a:pt x="216" y="86"/>
                </a:lnTo>
                <a:lnTo>
                  <a:pt x="216" y="90"/>
                </a:lnTo>
                <a:lnTo>
                  <a:pt x="220" y="90"/>
                </a:lnTo>
                <a:lnTo>
                  <a:pt x="220" y="86"/>
                </a:lnTo>
                <a:lnTo>
                  <a:pt x="222" y="86"/>
                </a:lnTo>
                <a:lnTo>
                  <a:pt x="226" y="86"/>
                </a:lnTo>
                <a:lnTo>
                  <a:pt x="230" y="86"/>
                </a:lnTo>
                <a:lnTo>
                  <a:pt x="234" y="86"/>
                </a:lnTo>
                <a:lnTo>
                  <a:pt x="238" y="86"/>
                </a:lnTo>
                <a:lnTo>
                  <a:pt x="238" y="82"/>
                </a:lnTo>
                <a:lnTo>
                  <a:pt x="242" y="82"/>
                </a:lnTo>
                <a:lnTo>
                  <a:pt x="242" y="78"/>
                </a:lnTo>
                <a:lnTo>
                  <a:pt x="246" y="74"/>
                </a:lnTo>
                <a:lnTo>
                  <a:pt x="248" y="74"/>
                </a:lnTo>
                <a:lnTo>
                  <a:pt x="252" y="74"/>
                </a:lnTo>
                <a:lnTo>
                  <a:pt x="252" y="78"/>
                </a:lnTo>
                <a:lnTo>
                  <a:pt x="256" y="78"/>
                </a:lnTo>
                <a:lnTo>
                  <a:pt x="260" y="82"/>
                </a:lnTo>
                <a:lnTo>
                  <a:pt x="264" y="82"/>
                </a:lnTo>
                <a:lnTo>
                  <a:pt x="264" y="78"/>
                </a:lnTo>
                <a:lnTo>
                  <a:pt x="268" y="78"/>
                </a:lnTo>
                <a:lnTo>
                  <a:pt x="272" y="78"/>
                </a:lnTo>
                <a:lnTo>
                  <a:pt x="276" y="78"/>
                </a:lnTo>
                <a:lnTo>
                  <a:pt x="276" y="74"/>
                </a:lnTo>
                <a:lnTo>
                  <a:pt x="276" y="70"/>
                </a:lnTo>
                <a:lnTo>
                  <a:pt x="278" y="70"/>
                </a:lnTo>
                <a:lnTo>
                  <a:pt x="278" y="66"/>
                </a:lnTo>
                <a:lnTo>
                  <a:pt x="278" y="64"/>
                </a:lnTo>
                <a:lnTo>
                  <a:pt x="282" y="60"/>
                </a:lnTo>
                <a:lnTo>
                  <a:pt x="282" y="52"/>
                </a:lnTo>
                <a:lnTo>
                  <a:pt x="286" y="52"/>
                </a:lnTo>
                <a:lnTo>
                  <a:pt x="286" y="48"/>
                </a:lnTo>
                <a:lnTo>
                  <a:pt x="286" y="44"/>
                </a:lnTo>
                <a:lnTo>
                  <a:pt x="290" y="44"/>
                </a:lnTo>
                <a:lnTo>
                  <a:pt x="290" y="40"/>
                </a:lnTo>
                <a:lnTo>
                  <a:pt x="290" y="36"/>
                </a:lnTo>
                <a:lnTo>
                  <a:pt x="290" y="34"/>
                </a:lnTo>
                <a:lnTo>
                  <a:pt x="290" y="30"/>
                </a:lnTo>
                <a:lnTo>
                  <a:pt x="294" y="30"/>
                </a:lnTo>
                <a:lnTo>
                  <a:pt x="294" y="26"/>
                </a:lnTo>
                <a:lnTo>
                  <a:pt x="294" y="30"/>
                </a:lnTo>
                <a:lnTo>
                  <a:pt x="298" y="30"/>
                </a:lnTo>
                <a:lnTo>
                  <a:pt x="302" y="30"/>
                </a:lnTo>
                <a:lnTo>
                  <a:pt x="304" y="30"/>
                </a:lnTo>
                <a:lnTo>
                  <a:pt x="308" y="30"/>
                </a:lnTo>
                <a:lnTo>
                  <a:pt x="312" y="30"/>
                </a:lnTo>
                <a:lnTo>
                  <a:pt x="316" y="30"/>
                </a:lnTo>
                <a:lnTo>
                  <a:pt x="316" y="34"/>
                </a:lnTo>
                <a:lnTo>
                  <a:pt x="316" y="30"/>
                </a:lnTo>
                <a:lnTo>
                  <a:pt x="312" y="34"/>
                </a:lnTo>
                <a:lnTo>
                  <a:pt x="316" y="34"/>
                </a:lnTo>
                <a:lnTo>
                  <a:pt x="316" y="36"/>
                </a:lnTo>
                <a:lnTo>
                  <a:pt x="320" y="36"/>
                </a:lnTo>
                <a:lnTo>
                  <a:pt x="320" y="40"/>
                </a:lnTo>
                <a:lnTo>
                  <a:pt x="316" y="40"/>
                </a:lnTo>
                <a:lnTo>
                  <a:pt x="312" y="40"/>
                </a:lnTo>
                <a:lnTo>
                  <a:pt x="308" y="40"/>
                </a:lnTo>
                <a:lnTo>
                  <a:pt x="312" y="40"/>
                </a:lnTo>
                <a:lnTo>
                  <a:pt x="312" y="44"/>
                </a:lnTo>
                <a:lnTo>
                  <a:pt x="316" y="44"/>
                </a:lnTo>
                <a:lnTo>
                  <a:pt x="312" y="44"/>
                </a:lnTo>
                <a:lnTo>
                  <a:pt x="312" y="48"/>
                </a:lnTo>
                <a:lnTo>
                  <a:pt x="316" y="48"/>
                </a:lnTo>
                <a:lnTo>
                  <a:pt x="320" y="52"/>
                </a:lnTo>
                <a:lnTo>
                  <a:pt x="320" y="56"/>
                </a:lnTo>
                <a:lnTo>
                  <a:pt x="320" y="60"/>
                </a:lnTo>
                <a:lnTo>
                  <a:pt x="324" y="60"/>
                </a:lnTo>
                <a:lnTo>
                  <a:pt x="324" y="64"/>
                </a:lnTo>
                <a:lnTo>
                  <a:pt x="324" y="66"/>
                </a:lnTo>
                <a:lnTo>
                  <a:pt x="320" y="66"/>
                </a:lnTo>
                <a:lnTo>
                  <a:pt x="320" y="70"/>
                </a:lnTo>
                <a:lnTo>
                  <a:pt x="324" y="74"/>
                </a:lnTo>
                <a:lnTo>
                  <a:pt x="328" y="74"/>
                </a:lnTo>
                <a:lnTo>
                  <a:pt x="328" y="78"/>
                </a:lnTo>
                <a:lnTo>
                  <a:pt x="332" y="78"/>
                </a:lnTo>
                <a:lnTo>
                  <a:pt x="334" y="82"/>
                </a:lnTo>
                <a:lnTo>
                  <a:pt x="334" y="86"/>
                </a:lnTo>
                <a:lnTo>
                  <a:pt x="338" y="86"/>
                </a:lnTo>
                <a:lnTo>
                  <a:pt x="334" y="86"/>
                </a:lnTo>
                <a:lnTo>
                  <a:pt x="334" y="90"/>
                </a:lnTo>
                <a:lnTo>
                  <a:pt x="332" y="90"/>
                </a:lnTo>
                <a:lnTo>
                  <a:pt x="328" y="90"/>
                </a:lnTo>
                <a:lnTo>
                  <a:pt x="324" y="86"/>
                </a:lnTo>
                <a:lnTo>
                  <a:pt x="324" y="82"/>
                </a:lnTo>
                <a:lnTo>
                  <a:pt x="320" y="82"/>
                </a:lnTo>
                <a:lnTo>
                  <a:pt x="320" y="86"/>
                </a:lnTo>
                <a:lnTo>
                  <a:pt x="324" y="86"/>
                </a:lnTo>
                <a:lnTo>
                  <a:pt x="324" y="90"/>
                </a:lnTo>
                <a:lnTo>
                  <a:pt x="320" y="90"/>
                </a:lnTo>
                <a:lnTo>
                  <a:pt x="320" y="92"/>
                </a:lnTo>
                <a:lnTo>
                  <a:pt x="316" y="92"/>
                </a:lnTo>
                <a:lnTo>
                  <a:pt x="316" y="96"/>
                </a:lnTo>
                <a:lnTo>
                  <a:pt x="316" y="100"/>
                </a:lnTo>
                <a:lnTo>
                  <a:pt x="316" y="104"/>
                </a:lnTo>
                <a:lnTo>
                  <a:pt x="316" y="108"/>
                </a:lnTo>
                <a:lnTo>
                  <a:pt x="316" y="112"/>
                </a:lnTo>
                <a:lnTo>
                  <a:pt x="316" y="108"/>
                </a:lnTo>
                <a:lnTo>
                  <a:pt x="316" y="112"/>
                </a:lnTo>
                <a:lnTo>
                  <a:pt x="316" y="116"/>
                </a:lnTo>
                <a:lnTo>
                  <a:pt x="312" y="116"/>
                </a:lnTo>
                <a:lnTo>
                  <a:pt x="312" y="120"/>
                </a:lnTo>
                <a:lnTo>
                  <a:pt x="308" y="120"/>
                </a:lnTo>
                <a:lnTo>
                  <a:pt x="308" y="122"/>
                </a:lnTo>
                <a:lnTo>
                  <a:pt x="304" y="122"/>
                </a:lnTo>
                <a:lnTo>
                  <a:pt x="304" y="120"/>
                </a:lnTo>
                <a:lnTo>
                  <a:pt x="304" y="122"/>
                </a:lnTo>
                <a:lnTo>
                  <a:pt x="304" y="126"/>
                </a:lnTo>
                <a:lnTo>
                  <a:pt x="302" y="126"/>
                </a:lnTo>
                <a:lnTo>
                  <a:pt x="302" y="130"/>
                </a:lnTo>
                <a:lnTo>
                  <a:pt x="298" y="130"/>
                </a:lnTo>
                <a:lnTo>
                  <a:pt x="298" y="134"/>
                </a:lnTo>
                <a:lnTo>
                  <a:pt x="302" y="134"/>
                </a:lnTo>
                <a:lnTo>
                  <a:pt x="302" y="138"/>
                </a:lnTo>
                <a:lnTo>
                  <a:pt x="298" y="138"/>
                </a:lnTo>
                <a:lnTo>
                  <a:pt x="302" y="142"/>
                </a:lnTo>
                <a:lnTo>
                  <a:pt x="302" y="138"/>
                </a:lnTo>
                <a:lnTo>
                  <a:pt x="302" y="142"/>
                </a:lnTo>
                <a:lnTo>
                  <a:pt x="304" y="142"/>
                </a:lnTo>
                <a:lnTo>
                  <a:pt x="302" y="142"/>
                </a:lnTo>
                <a:lnTo>
                  <a:pt x="302" y="146"/>
                </a:lnTo>
                <a:lnTo>
                  <a:pt x="298" y="146"/>
                </a:lnTo>
                <a:lnTo>
                  <a:pt x="302" y="150"/>
                </a:lnTo>
                <a:lnTo>
                  <a:pt x="302" y="152"/>
                </a:lnTo>
                <a:lnTo>
                  <a:pt x="298" y="152"/>
                </a:lnTo>
                <a:lnTo>
                  <a:pt x="298" y="150"/>
                </a:lnTo>
                <a:lnTo>
                  <a:pt x="298" y="152"/>
                </a:lnTo>
                <a:lnTo>
                  <a:pt x="298" y="156"/>
                </a:lnTo>
                <a:lnTo>
                  <a:pt x="298" y="160"/>
                </a:lnTo>
                <a:lnTo>
                  <a:pt x="294" y="160"/>
                </a:lnTo>
                <a:lnTo>
                  <a:pt x="294" y="164"/>
                </a:lnTo>
                <a:lnTo>
                  <a:pt x="290" y="164"/>
                </a:lnTo>
                <a:lnTo>
                  <a:pt x="290" y="166"/>
                </a:lnTo>
                <a:lnTo>
                  <a:pt x="286" y="166"/>
                </a:lnTo>
                <a:lnTo>
                  <a:pt x="282" y="166"/>
                </a:lnTo>
                <a:lnTo>
                  <a:pt x="282" y="170"/>
                </a:lnTo>
                <a:lnTo>
                  <a:pt x="278" y="170"/>
                </a:lnTo>
                <a:lnTo>
                  <a:pt x="276" y="174"/>
                </a:lnTo>
                <a:lnTo>
                  <a:pt x="276" y="170"/>
                </a:lnTo>
                <a:lnTo>
                  <a:pt x="276" y="166"/>
                </a:lnTo>
                <a:lnTo>
                  <a:pt x="276" y="164"/>
                </a:lnTo>
                <a:lnTo>
                  <a:pt x="272" y="164"/>
                </a:lnTo>
                <a:lnTo>
                  <a:pt x="272" y="160"/>
                </a:lnTo>
                <a:lnTo>
                  <a:pt x="268" y="160"/>
                </a:lnTo>
                <a:lnTo>
                  <a:pt x="264" y="160"/>
                </a:lnTo>
                <a:lnTo>
                  <a:pt x="260" y="160"/>
                </a:lnTo>
                <a:lnTo>
                  <a:pt x="260" y="156"/>
                </a:lnTo>
                <a:lnTo>
                  <a:pt x="256" y="156"/>
                </a:lnTo>
                <a:lnTo>
                  <a:pt x="252" y="156"/>
                </a:lnTo>
                <a:lnTo>
                  <a:pt x="252" y="152"/>
                </a:lnTo>
                <a:lnTo>
                  <a:pt x="252" y="156"/>
                </a:lnTo>
                <a:lnTo>
                  <a:pt x="248" y="160"/>
                </a:lnTo>
                <a:lnTo>
                  <a:pt x="246" y="160"/>
                </a:lnTo>
                <a:lnTo>
                  <a:pt x="242" y="160"/>
                </a:lnTo>
                <a:lnTo>
                  <a:pt x="238" y="160"/>
                </a:lnTo>
                <a:lnTo>
                  <a:pt x="238" y="164"/>
                </a:lnTo>
                <a:lnTo>
                  <a:pt x="234" y="164"/>
                </a:lnTo>
                <a:lnTo>
                  <a:pt x="234" y="160"/>
                </a:lnTo>
                <a:lnTo>
                  <a:pt x="234" y="156"/>
                </a:lnTo>
                <a:lnTo>
                  <a:pt x="234" y="152"/>
                </a:lnTo>
                <a:lnTo>
                  <a:pt x="234" y="150"/>
                </a:lnTo>
                <a:lnTo>
                  <a:pt x="234" y="152"/>
                </a:lnTo>
                <a:lnTo>
                  <a:pt x="230" y="152"/>
                </a:lnTo>
                <a:lnTo>
                  <a:pt x="226" y="152"/>
                </a:lnTo>
                <a:lnTo>
                  <a:pt x="226" y="156"/>
                </a:lnTo>
                <a:lnTo>
                  <a:pt x="222" y="156"/>
                </a:lnTo>
                <a:lnTo>
                  <a:pt x="220" y="152"/>
                </a:lnTo>
                <a:lnTo>
                  <a:pt x="222" y="152"/>
                </a:lnTo>
                <a:lnTo>
                  <a:pt x="220" y="152"/>
                </a:lnTo>
                <a:lnTo>
                  <a:pt x="220" y="156"/>
                </a:lnTo>
                <a:lnTo>
                  <a:pt x="220" y="152"/>
                </a:lnTo>
                <a:lnTo>
                  <a:pt x="216" y="152"/>
                </a:lnTo>
                <a:lnTo>
                  <a:pt x="212" y="152"/>
                </a:lnTo>
                <a:lnTo>
                  <a:pt x="212" y="150"/>
                </a:lnTo>
                <a:lnTo>
                  <a:pt x="212" y="146"/>
                </a:lnTo>
                <a:lnTo>
                  <a:pt x="212" y="142"/>
                </a:lnTo>
                <a:lnTo>
                  <a:pt x="212" y="138"/>
                </a:lnTo>
                <a:lnTo>
                  <a:pt x="212" y="134"/>
                </a:lnTo>
                <a:lnTo>
                  <a:pt x="208" y="134"/>
                </a:lnTo>
                <a:lnTo>
                  <a:pt x="208" y="130"/>
                </a:lnTo>
                <a:lnTo>
                  <a:pt x="212" y="130"/>
                </a:lnTo>
                <a:lnTo>
                  <a:pt x="212" y="126"/>
                </a:lnTo>
                <a:lnTo>
                  <a:pt x="212" y="122"/>
                </a:lnTo>
                <a:lnTo>
                  <a:pt x="208" y="122"/>
                </a:lnTo>
                <a:lnTo>
                  <a:pt x="208" y="120"/>
                </a:lnTo>
                <a:lnTo>
                  <a:pt x="204" y="120"/>
                </a:lnTo>
                <a:lnTo>
                  <a:pt x="200" y="116"/>
                </a:lnTo>
                <a:lnTo>
                  <a:pt x="200" y="120"/>
                </a:lnTo>
                <a:lnTo>
                  <a:pt x="200" y="116"/>
                </a:lnTo>
                <a:lnTo>
                  <a:pt x="204" y="116"/>
                </a:lnTo>
                <a:lnTo>
                  <a:pt x="200" y="112"/>
                </a:lnTo>
                <a:lnTo>
                  <a:pt x="196" y="112"/>
                </a:lnTo>
                <a:lnTo>
                  <a:pt x="196" y="108"/>
                </a:lnTo>
                <a:lnTo>
                  <a:pt x="196" y="104"/>
                </a:lnTo>
                <a:lnTo>
                  <a:pt x="196" y="100"/>
                </a:lnTo>
                <a:lnTo>
                  <a:pt x="196" y="96"/>
                </a:lnTo>
                <a:lnTo>
                  <a:pt x="192" y="96"/>
                </a:lnTo>
                <a:lnTo>
                  <a:pt x="192" y="92"/>
                </a:lnTo>
                <a:lnTo>
                  <a:pt x="192" y="90"/>
                </a:lnTo>
                <a:lnTo>
                  <a:pt x="192" y="86"/>
                </a:lnTo>
                <a:lnTo>
                  <a:pt x="196" y="86"/>
                </a:lnTo>
                <a:lnTo>
                  <a:pt x="192" y="86"/>
                </a:lnTo>
                <a:lnTo>
                  <a:pt x="192" y="82"/>
                </a:lnTo>
                <a:lnTo>
                  <a:pt x="196" y="82"/>
                </a:lnTo>
                <a:lnTo>
                  <a:pt x="200" y="78"/>
                </a:lnTo>
                <a:lnTo>
                  <a:pt x="196" y="78"/>
                </a:lnTo>
                <a:lnTo>
                  <a:pt x="196" y="82"/>
                </a:lnTo>
                <a:lnTo>
                  <a:pt x="196" y="78"/>
                </a:lnTo>
                <a:lnTo>
                  <a:pt x="196" y="74"/>
                </a:lnTo>
                <a:lnTo>
                  <a:pt x="200" y="74"/>
                </a:lnTo>
                <a:lnTo>
                  <a:pt x="200" y="70"/>
                </a:lnTo>
                <a:lnTo>
                  <a:pt x="204" y="66"/>
                </a:lnTo>
                <a:lnTo>
                  <a:pt x="204" y="66"/>
                </a:lnTo>
                <a:lnTo>
                  <a:pt x="204" y="66"/>
                </a:lnTo>
                <a:close/>
                <a:moveTo>
                  <a:pt x="182" y="36"/>
                </a:moveTo>
                <a:lnTo>
                  <a:pt x="182" y="34"/>
                </a:lnTo>
                <a:lnTo>
                  <a:pt x="182" y="30"/>
                </a:lnTo>
                <a:lnTo>
                  <a:pt x="186" y="30"/>
                </a:lnTo>
                <a:lnTo>
                  <a:pt x="186" y="34"/>
                </a:lnTo>
                <a:lnTo>
                  <a:pt x="186" y="36"/>
                </a:lnTo>
                <a:lnTo>
                  <a:pt x="186" y="40"/>
                </a:lnTo>
                <a:lnTo>
                  <a:pt x="182" y="40"/>
                </a:lnTo>
                <a:lnTo>
                  <a:pt x="182" y="36"/>
                </a:lnTo>
                <a:lnTo>
                  <a:pt x="186" y="36"/>
                </a:lnTo>
                <a:lnTo>
                  <a:pt x="182" y="36"/>
                </a:lnTo>
                <a:lnTo>
                  <a:pt x="182" y="36"/>
                </a:lnTo>
                <a:lnTo>
                  <a:pt x="182" y="36"/>
                </a:lnTo>
                <a:close/>
                <a:moveTo>
                  <a:pt x="148" y="52"/>
                </a:moveTo>
                <a:lnTo>
                  <a:pt x="148" y="48"/>
                </a:lnTo>
                <a:lnTo>
                  <a:pt x="152" y="52"/>
                </a:lnTo>
                <a:lnTo>
                  <a:pt x="148" y="52"/>
                </a:lnTo>
                <a:lnTo>
                  <a:pt x="148" y="56"/>
                </a:lnTo>
                <a:lnTo>
                  <a:pt x="148" y="52"/>
                </a:lnTo>
                <a:lnTo>
                  <a:pt x="148" y="52"/>
                </a:lnTo>
                <a:lnTo>
                  <a:pt x="148" y="52"/>
                </a:lnTo>
                <a:close/>
                <a:moveTo>
                  <a:pt x="18" y="64"/>
                </a:moveTo>
                <a:lnTo>
                  <a:pt x="14" y="64"/>
                </a:lnTo>
                <a:lnTo>
                  <a:pt x="14" y="60"/>
                </a:lnTo>
                <a:lnTo>
                  <a:pt x="10" y="60"/>
                </a:lnTo>
                <a:lnTo>
                  <a:pt x="10" y="56"/>
                </a:lnTo>
                <a:lnTo>
                  <a:pt x="8" y="56"/>
                </a:lnTo>
                <a:lnTo>
                  <a:pt x="10" y="52"/>
                </a:lnTo>
                <a:lnTo>
                  <a:pt x="10" y="56"/>
                </a:lnTo>
                <a:lnTo>
                  <a:pt x="14" y="56"/>
                </a:lnTo>
                <a:lnTo>
                  <a:pt x="14" y="60"/>
                </a:lnTo>
                <a:lnTo>
                  <a:pt x="18" y="60"/>
                </a:lnTo>
                <a:lnTo>
                  <a:pt x="18" y="64"/>
                </a:lnTo>
                <a:lnTo>
                  <a:pt x="18" y="64"/>
                </a:lnTo>
                <a:lnTo>
                  <a:pt x="18" y="64"/>
                </a:lnTo>
                <a:close/>
                <a:moveTo>
                  <a:pt x="468" y="66"/>
                </a:moveTo>
                <a:lnTo>
                  <a:pt x="468" y="64"/>
                </a:lnTo>
                <a:lnTo>
                  <a:pt x="468" y="60"/>
                </a:lnTo>
                <a:lnTo>
                  <a:pt x="472" y="56"/>
                </a:lnTo>
                <a:lnTo>
                  <a:pt x="472" y="60"/>
                </a:lnTo>
                <a:lnTo>
                  <a:pt x="472" y="64"/>
                </a:lnTo>
                <a:lnTo>
                  <a:pt x="472" y="66"/>
                </a:lnTo>
                <a:lnTo>
                  <a:pt x="468" y="66"/>
                </a:lnTo>
                <a:lnTo>
                  <a:pt x="468" y="66"/>
                </a:lnTo>
                <a:lnTo>
                  <a:pt x="468" y="66"/>
                </a:lnTo>
                <a:close/>
                <a:moveTo>
                  <a:pt x="30" y="66"/>
                </a:moveTo>
                <a:lnTo>
                  <a:pt x="30" y="64"/>
                </a:lnTo>
                <a:lnTo>
                  <a:pt x="26" y="64"/>
                </a:lnTo>
                <a:lnTo>
                  <a:pt x="30" y="64"/>
                </a:lnTo>
                <a:lnTo>
                  <a:pt x="30" y="66"/>
                </a:lnTo>
                <a:lnTo>
                  <a:pt x="30" y="66"/>
                </a:lnTo>
                <a:lnTo>
                  <a:pt x="30" y="66"/>
                </a:lnTo>
                <a:close/>
                <a:moveTo>
                  <a:pt x="460" y="112"/>
                </a:moveTo>
                <a:lnTo>
                  <a:pt x="460" y="108"/>
                </a:lnTo>
                <a:lnTo>
                  <a:pt x="458" y="104"/>
                </a:lnTo>
                <a:lnTo>
                  <a:pt x="460" y="104"/>
                </a:lnTo>
                <a:lnTo>
                  <a:pt x="460" y="100"/>
                </a:lnTo>
                <a:lnTo>
                  <a:pt x="458" y="96"/>
                </a:lnTo>
                <a:lnTo>
                  <a:pt x="458" y="92"/>
                </a:lnTo>
                <a:lnTo>
                  <a:pt x="458" y="90"/>
                </a:lnTo>
                <a:lnTo>
                  <a:pt x="458" y="86"/>
                </a:lnTo>
                <a:lnTo>
                  <a:pt x="454" y="86"/>
                </a:lnTo>
                <a:lnTo>
                  <a:pt x="454" y="82"/>
                </a:lnTo>
                <a:lnTo>
                  <a:pt x="458" y="82"/>
                </a:lnTo>
                <a:lnTo>
                  <a:pt x="458" y="78"/>
                </a:lnTo>
                <a:lnTo>
                  <a:pt x="458" y="74"/>
                </a:lnTo>
                <a:lnTo>
                  <a:pt x="458" y="70"/>
                </a:lnTo>
                <a:lnTo>
                  <a:pt x="460" y="70"/>
                </a:lnTo>
                <a:lnTo>
                  <a:pt x="460" y="66"/>
                </a:lnTo>
                <a:lnTo>
                  <a:pt x="464" y="64"/>
                </a:lnTo>
                <a:lnTo>
                  <a:pt x="464" y="66"/>
                </a:lnTo>
                <a:lnTo>
                  <a:pt x="460" y="70"/>
                </a:lnTo>
                <a:lnTo>
                  <a:pt x="464" y="70"/>
                </a:lnTo>
                <a:lnTo>
                  <a:pt x="464" y="74"/>
                </a:lnTo>
                <a:lnTo>
                  <a:pt x="464" y="78"/>
                </a:lnTo>
                <a:lnTo>
                  <a:pt x="460" y="82"/>
                </a:lnTo>
                <a:lnTo>
                  <a:pt x="458" y="86"/>
                </a:lnTo>
                <a:lnTo>
                  <a:pt x="460" y="90"/>
                </a:lnTo>
                <a:lnTo>
                  <a:pt x="460" y="86"/>
                </a:lnTo>
                <a:lnTo>
                  <a:pt x="464" y="86"/>
                </a:lnTo>
                <a:lnTo>
                  <a:pt x="464" y="82"/>
                </a:lnTo>
                <a:lnTo>
                  <a:pt x="464" y="78"/>
                </a:lnTo>
                <a:lnTo>
                  <a:pt x="468" y="78"/>
                </a:lnTo>
                <a:lnTo>
                  <a:pt x="468" y="74"/>
                </a:lnTo>
                <a:lnTo>
                  <a:pt x="472" y="74"/>
                </a:lnTo>
                <a:lnTo>
                  <a:pt x="472" y="82"/>
                </a:lnTo>
                <a:lnTo>
                  <a:pt x="472" y="86"/>
                </a:lnTo>
                <a:lnTo>
                  <a:pt x="468" y="86"/>
                </a:lnTo>
                <a:lnTo>
                  <a:pt x="468" y="90"/>
                </a:lnTo>
                <a:lnTo>
                  <a:pt x="468" y="92"/>
                </a:lnTo>
                <a:lnTo>
                  <a:pt x="472" y="92"/>
                </a:lnTo>
                <a:lnTo>
                  <a:pt x="472" y="96"/>
                </a:lnTo>
                <a:lnTo>
                  <a:pt x="476" y="96"/>
                </a:lnTo>
                <a:lnTo>
                  <a:pt x="476" y="100"/>
                </a:lnTo>
                <a:lnTo>
                  <a:pt x="476" y="96"/>
                </a:lnTo>
                <a:lnTo>
                  <a:pt x="472" y="96"/>
                </a:lnTo>
                <a:lnTo>
                  <a:pt x="468" y="96"/>
                </a:lnTo>
                <a:lnTo>
                  <a:pt x="464" y="96"/>
                </a:lnTo>
                <a:lnTo>
                  <a:pt x="464" y="92"/>
                </a:lnTo>
                <a:lnTo>
                  <a:pt x="460" y="92"/>
                </a:lnTo>
                <a:lnTo>
                  <a:pt x="460" y="96"/>
                </a:lnTo>
                <a:lnTo>
                  <a:pt x="460" y="100"/>
                </a:lnTo>
                <a:lnTo>
                  <a:pt x="460" y="104"/>
                </a:lnTo>
                <a:lnTo>
                  <a:pt x="464" y="108"/>
                </a:lnTo>
                <a:lnTo>
                  <a:pt x="464" y="112"/>
                </a:lnTo>
                <a:lnTo>
                  <a:pt x="468" y="116"/>
                </a:lnTo>
                <a:lnTo>
                  <a:pt x="468" y="120"/>
                </a:lnTo>
                <a:lnTo>
                  <a:pt x="468" y="116"/>
                </a:lnTo>
                <a:lnTo>
                  <a:pt x="464" y="116"/>
                </a:lnTo>
                <a:lnTo>
                  <a:pt x="464" y="112"/>
                </a:lnTo>
                <a:lnTo>
                  <a:pt x="460" y="112"/>
                </a:lnTo>
                <a:lnTo>
                  <a:pt x="460" y="112"/>
                </a:lnTo>
                <a:lnTo>
                  <a:pt x="460" y="112"/>
                </a:lnTo>
                <a:close/>
                <a:moveTo>
                  <a:pt x="92" y="70"/>
                </a:moveTo>
                <a:lnTo>
                  <a:pt x="92" y="74"/>
                </a:lnTo>
                <a:lnTo>
                  <a:pt x="88" y="74"/>
                </a:lnTo>
                <a:lnTo>
                  <a:pt x="88" y="70"/>
                </a:lnTo>
                <a:lnTo>
                  <a:pt x="88" y="66"/>
                </a:lnTo>
                <a:lnTo>
                  <a:pt x="92" y="66"/>
                </a:lnTo>
                <a:lnTo>
                  <a:pt x="92" y="70"/>
                </a:lnTo>
                <a:lnTo>
                  <a:pt x="92" y="70"/>
                </a:lnTo>
                <a:lnTo>
                  <a:pt x="92" y="70"/>
                </a:lnTo>
                <a:close/>
                <a:moveTo>
                  <a:pt x="398" y="120"/>
                </a:moveTo>
                <a:lnTo>
                  <a:pt x="394" y="120"/>
                </a:lnTo>
                <a:lnTo>
                  <a:pt x="390" y="120"/>
                </a:lnTo>
                <a:lnTo>
                  <a:pt x="390" y="122"/>
                </a:lnTo>
                <a:lnTo>
                  <a:pt x="386" y="122"/>
                </a:lnTo>
                <a:lnTo>
                  <a:pt x="386" y="126"/>
                </a:lnTo>
                <a:lnTo>
                  <a:pt x="382" y="126"/>
                </a:lnTo>
                <a:lnTo>
                  <a:pt x="382" y="130"/>
                </a:lnTo>
                <a:lnTo>
                  <a:pt x="378" y="130"/>
                </a:lnTo>
                <a:lnTo>
                  <a:pt x="374" y="130"/>
                </a:lnTo>
                <a:lnTo>
                  <a:pt x="374" y="134"/>
                </a:lnTo>
                <a:lnTo>
                  <a:pt x="372" y="134"/>
                </a:lnTo>
                <a:lnTo>
                  <a:pt x="368" y="134"/>
                </a:lnTo>
                <a:lnTo>
                  <a:pt x="368" y="138"/>
                </a:lnTo>
                <a:lnTo>
                  <a:pt x="372" y="138"/>
                </a:lnTo>
                <a:lnTo>
                  <a:pt x="374" y="138"/>
                </a:lnTo>
                <a:lnTo>
                  <a:pt x="374" y="142"/>
                </a:lnTo>
                <a:lnTo>
                  <a:pt x="378" y="146"/>
                </a:lnTo>
                <a:lnTo>
                  <a:pt x="378" y="150"/>
                </a:lnTo>
                <a:lnTo>
                  <a:pt x="382" y="150"/>
                </a:lnTo>
                <a:lnTo>
                  <a:pt x="382" y="152"/>
                </a:lnTo>
                <a:lnTo>
                  <a:pt x="382" y="156"/>
                </a:lnTo>
                <a:lnTo>
                  <a:pt x="386" y="156"/>
                </a:lnTo>
                <a:lnTo>
                  <a:pt x="382" y="156"/>
                </a:lnTo>
                <a:lnTo>
                  <a:pt x="382" y="160"/>
                </a:lnTo>
                <a:lnTo>
                  <a:pt x="382" y="164"/>
                </a:lnTo>
                <a:lnTo>
                  <a:pt x="382" y="166"/>
                </a:lnTo>
                <a:lnTo>
                  <a:pt x="386" y="166"/>
                </a:lnTo>
                <a:lnTo>
                  <a:pt x="386" y="170"/>
                </a:lnTo>
                <a:lnTo>
                  <a:pt x="390" y="170"/>
                </a:lnTo>
                <a:lnTo>
                  <a:pt x="390" y="174"/>
                </a:lnTo>
                <a:lnTo>
                  <a:pt x="390" y="170"/>
                </a:lnTo>
                <a:lnTo>
                  <a:pt x="390" y="174"/>
                </a:lnTo>
                <a:lnTo>
                  <a:pt x="390" y="178"/>
                </a:lnTo>
                <a:lnTo>
                  <a:pt x="386" y="178"/>
                </a:lnTo>
                <a:lnTo>
                  <a:pt x="382" y="178"/>
                </a:lnTo>
                <a:lnTo>
                  <a:pt x="378" y="178"/>
                </a:lnTo>
                <a:lnTo>
                  <a:pt x="378" y="182"/>
                </a:lnTo>
                <a:lnTo>
                  <a:pt x="378" y="186"/>
                </a:lnTo>
                <a:lnTo>
                  <a:pt x="374" y="186"/>
                </a:lnTo>
                <a:lnTo>
                  <a:pt x="372" y="182"/>
                </a:lnTo>
                <a:lnTo>
                  <a:pt x="372" y="178"/>
                </a:lnTo>
                <a:lnTo>
                  <a:pt x="372" y="174"/>
                </a:lnTo>
                <a:lnTo>
                  <a:pt x="374" y="174"/>
                </a:lnTo>
                <a:lnTo>
                  <a:pt x="374" y="170"/>
                </a:lnTo>
                <a:lnTo>
                  <a:pt x="372" y="170"/>
                </a:lnTo>
                <a:lnTo>
                  <a:pt x="368" y="170"/>
                </a:lnTo>
                <a:lnTo>
                  <a:pt x="368" y="166"/>
                </a:lnTo>
                <a:lnTo>
                  <a:pt x="364" y="164"/>
                </a:lnTo>
                <a:lnTo>
                  <a:pt x="364" y="160"/>
                </a:lnTo>
                <a:lnTo>
                  <a:pt x="364" y="156"/>
                </a:lnTo>
                <a:lnTo>
                  <a:pt x="364" y="152"/>
                </a:lnTo>
                <a:lnTo>
                  <a:pt x="364" y="150"/>
                </a:lnTo>
                <a:lnTo>
                  <a:pt x="360" y="146"/>
                </a:lnTo>
                <a:lnTo>
                  <a:pt x="360" y="150"/>
                </a:lnTo>
                <a:lnTo>
                  <a:pt x="358" y="152"/>
                </a:lnTo>
                <a:lnTo>
                  <a:pt x="354" y="152"/>
                </a:lnTo>
                <a:lnTo>
                  <a:pt x="354" y="156"/>
                </a:lnTo>
                <a:lnTo>
                  <a:pt x="358" y="156"/>
                </a:lnTo>
                <a:lnTo>
                  <a:pt x="358" y="160"/>
                </a:lnTo>
                <a:lnTo>
                  <a:pt x="358" y="164"/>
                </a:lnTo>
                <a:lnTo>
                  <a:pt x="358" y="166"/>
                </a:lnTo>
                <a:lnTo>
                  <a:pt x="358" y="170"/>
                </a:lnTo>
                <a:lnTo>
                  <a:pt x="358" y="174"/>
                </a:lnTo>
                <a:lnTo>
                  <a:pt x="358" y="178"/>
                </a:lnTo>
                <a:lnTo>
                  <a:pt x="358" y="182"/>
                </a:lnTo>
                <a:lnTo>
                  <a:pt x="358" y="186"/>
                </a:lnTo>
                <a:lnTo>
                  <a:pt x="354" y="190"/>
                </a:lnTo>
                <a:lnTo>
                  <a:pt x="358" y="194"/>
                </a:lnTo>
                <a:lnTo>
                  <a:pt x="358" y="196"/>
                </a:lnTo>
                <a:lnTo>
                  <a:pt x="354" y="196"/>
                </a:lnTo>
                <a:lnTo>
                  <a:pt x="350" y="196"/>
                </a:lnTo>
                <a:lnTo>
                  <a:pt x="350" y="200"/>
                </a:lnTo>
                <a:lnTo>
                  <a:pt x="346" y="200"/>
                </a:lnTo>
                <a:lnTo>
                  <a:pt x="346" y="196"/>
                </a:lnTo>
                <a:lnTo>
                  <a:pt x="342" y="196"/>
                </a:lnTo>
                <a:lnTo>
                  <a:pt x="342" y="194"/>
                </a:lnTo>
                <a:lnTo>
                  <a:pt x="342" y="190"/>
                </a:lnTo>
                <a:lnTo>
                  <a:pt x="346" y="186"/>
                </a:lnTo>
                <a:lnTo>
                  <a:pt x="342" y="186"/>
                </a:lnTo>
                <a:lnTo>
                  <a:pt x="342" y="182"/>
                </a:lnTo>
                <a:lnTo>
                  <a:pt x="346" y="182"/>
                </a:lnTo>
                <a:lnTo>
                  <a:pt x="346" y="178"/>
                </a:lnTo>
                <a:lnTo>
                  <a:pt x="346" y="174"/>
                </a:lnTo>
                <a:lnTo>
                  <a:pt x="346" y="170"/>
                </a:lnTo>
                <a:lnTo>
                  <a:pt x="346" y="166"/>
                </a:lnTo>
                <a:lnTo>
                  <a:pt x="342" y="164"/>
                </a:lnTo>
                <a:lnTo>
                  <a:pt x="346" y="164"/>
                </a:lnTo>
                <a:lnTo>
                  <a:pt x="342" y="160"/>
                </a:lnTo>
                <a:lnTo>
                  <a:pt x="338" y="160"/>
                </a:lnTo>
                <a:lnTo>
                  <a:pt x="338" y="164"/>
                </a:lnTo>
                <a:lnTo>
                  <a:pt x="338" y="160"/>
                </a:lnTo>
                <a:lnTo>
                  <a:pt x="338" y="164"/>
                </a:lnTo>
                <a:lnTo>
                  <a:pt x="334" y="164"/>
                </a:lnTo>
                <a:lnTo>
                  <a:pt x="334" y="160"/>
                </a:lnTo>
                <a:lnTo>
                  <a:pt x="334" y="156"/>
                </a:lnTo>
                <a:lnTo>
                  <a:pt x="334" y="152"/>
                </a:lnTo>
                <a:lnTo>
                  <a:pt x="334" y="150"/>
                </a:lnTo>
                <a:lnTo>
                  <a:pt x="338" y="146"/>
                </a:lnTo>
                <a:lnTo>
                  <a:pt x="338" y="142"/>
                </a:lnTo>
                <a:lnTo>
                  <a:pt x="338" y="138"/>
                </a:lnTo>
                <a:lnTo>
                  <a:pt x="342" y="138"/>
                </a:lnTo>
                <a:lnTo>
                  <a:pt x="342" y="134"/>
                </a:lnTo>
                <a:lnTo>
                  <a:pt x="342" y="138"/>
                </a:lnTo>
                <a:lnTo>
                  <a:pt x="342" y="134"/>
                </a:lnTo>
                <a:lnTo>
                  <a:pt x="342" y="130"/>
                </a:lnTo>
                <a:lnTo>
                  <a:pt x="342" y="126"/>
                </a:lnTo>
                <a:lnTo>
                  <a:pt x="342" y="122"/>
                </a:lnTo>
                <a:lnTo>
                  <a:pt x="342" y="120"/>
                </a:lnTo>
                <a:lnTo>
                  <a:pt x="346" y="120"/>
                </a:lnTo>
                <a:lnTo>
                  <a:pt x="346" y="116"/>
                </a:lnTo>
                <a:lnTo>
                  <a:pt x="346" y="112"/>
                </a:lnTo>
                <a:lnTo>
                  <a:pt x="350" y="116"/>
                </a:lnTo>
                <a:lnTo>
                  <a:pt x="350" y="120"/>
                </a:lnTo>
                <a:lnTo>
                  <a:pt x="350" y="116"/>
                </a:lnTo>
                <a:lnTo>
                  <a:pt x="350" y="112"/>
                </a:lnTo>
                <a:lnTo>
                  <a:pt x="346" y="112"/>
                </a:lnTo>
                <a:lnTo>
                  <a:pt x="346" y="108"/>
                </a:lnTo>
                <a:lnTo>
                  <a:pt x="350" y="108"/>
                </a:lnTo>
                <a:lnTo>
                  <a:pt x="350" y="104"/>
                </a:lnTo>
                <a:lnTo>
                  <a:pt x="346" y="104"/>
                </a:lnTo>
                <a:lnTo>
                  <a:pt x="346" y="100"/>
                </a:lnTo>
                <a:lnTo>
                  <a:pt x="346" y="104"/>
                </a:lnTo>
                <a:lnTo>
                  <a:pt x="350" y="104"/>
                </a:lnTo>
                <a:lnTo>
                  <a:pt x="350" y="100"/>
                </a:lnTo>
                <a:lnTo>
                  <a:pt x="350" y="96"/>
                </a:lnTo>
                <a:lnTo>
                  <a:pt x="350" y="92"/>
                </a:lnTo>
                <a:lnTo>
                  <a:pt x="354" y="92"/>
                </a:lnTo>
                <a:lnTo>
                  <a:pt x="350" y="92"/>
                </a:lnTo>
                <a:lnTo>
                  <a:pt x="350" y="90"/>
                </a:lnTo>
                <a:lnTo>
                  <a:pt x="354" y="90"/>
                </a:lnTo>
                <a:lnTo>
                  <a:pt x="354" y="86"/>
                </a:lnTo>
                <a:lnTo>
                  <a:pt x="358" y="86"/>
                </a:lnTo>
                <a:lnTo>
                  <a:pt x="358" y="90"/>
                </a:lnTo>
                <a:lnTo>
                  <a:pt x="360" y="90"/>
                </a:lnTo>
                <a:lnTo>
                  <a:pt x="360" y="86"/>
                </a:lnTo>
                <a:lnTo>
                  <a:pt x="364" y="82"/>
                </a:lnTo>
                <a:lnTo>
                  <a:pt x="360" y="82"/>
                </a:lnTo>
                <a:lnTo>
                  <a:pt x="364" y="78"/>
                </a:lnTo>
                <a:lnTo>
                  <a:pt x="368" y="78"/>
                </a:lnTo>
                <a:lnTo>
                  <a:pt x="368" y="82"/>
                </a:lnTo>
                <a:lnTo>
                  <a:pt x="372" y="82"/>
                </a:lnTo>
                <a:lnTo>
                  <a:pt x="372" y="86"/>
                </a:lnTo>
                <a:lnTo>
                  <a:pt x="374" y="86"/>
                </a:lnTo>
                <a:lnTo>
                  <a:pt x="378" y="82"/>
                </a:lnTo>
                <a:lnTo>
                  <a:pt x="378" y="86"/>
                </a:lnTo>
                <a:lnTo>
                  <a:pt x="382" y="86"/>
                </a:lnTo>
                <a:lnTo>
                  <a:pt x="386" y="86"/>
                </a:lnTo>
                <a:lnTo>
                  <a:pt x="390" y="86"/>
                </a:lnTo>
                <a:lnTo>
                  <a:pt x="390" y="90"/>
                </a:lnTo>
                <a:lnTo>
                  <a:pt x="394" y="86"/>
                </a:lnTo>
                <a:lnTo>
                  <a:pt x="398" y="86"/>
                </a:lnTo>
                <a:lnTo>
                  <a:pt x="402" y="86"/>
                </a:lnTo>
                <a:lnTo>
                  <a:pt x="402" y="90"/>
                </a:lnTo>
                <a:lnTo>
                  <a:pt x="402" y="86"/>
                </a:lnTo>
                <a:lnTo>
                  <a:pt x="404" y="90"/>
                </a:lnTo>
                <a:lnTo>
                  <a:pt x="408" y="86"/>
                </a:lnTo>
                <a:lnTo>
                  <a:pt x="412" y="86"/>
                </a:lnTo>
                <a:lnTo>
                  <a:pt x="412" y="82"/>
                </a:lnTo>
                <a:lnTo>
                  <a:pt x="416" y="82"/>
                </a:lnTo>
                <a:lnTo>
                  <a:pt x="416" y="78"/>
                </a:lnTo>
                <a:lnTo>
                  <a:pt x="420" y="78"/>
                </a:lnTo>
                <a:lnTo>
                  <a:pt x="420" y="74"/>
                </a:lnTo>
                <a:lnTo>
                  <a:pt x="424" y="74"/>
                </a:lnTo>
                <a:lnTo>
                  <a:pt x="424" y="78"/>
                </a:lnTo>
                <a:lnTo>
                  <a:pt x="424" y="82"/>
                </a:lnTo>
                <a:lnTo>
                  <a:pt x="420" y="82"/>
                </a:lnTo>
                <a:lnTo>
                  <a:pt x="420" y="86"/>
                </a:lnTo>
                <a:lnTo>
                  <a:pt x="416" y="90"/>
                </a:lnTo>
                <a:lnTo>
                  <a:pt x="416" y="92"/>
                </a:lnTo>
                <a:lnTo>
                  <a:pt x="412" y="92"/>
                </a:lnTo>
                <a:lnTo>
                  <a:pt x="412" y="96"/>
                </a:lnTo>
                <a:lnTo>
                  <a:pt x="408" y="96"/>
                </a:lnTo>
                <a:lnTo>
                  <a:pt x="404" y="96"/>
                </a:lnTo>
                <a:lnTo>
                  <a:pt x="402" y="96"/>
                </a:lnTo>
                <a:lnTo>
                  <a:pt x="398" y="96"/>
                </a:lnTo>
                <a:lnTo>
                  <a:pt x="394" y="96"/>
                </a:lnTo>
                <a:lnTo>
                  <a:pt x="394" y="92"/>
                </a:lnTo>
                <a:lnTo>
                  <a:pt x="390" y="92"/>
                </a:lnTo>
                <a:lnTo>
                  <a:pt x="386" y="92"/>
                </a:lnTo>
                <a:lnTo>
                  <a:pt x="382" y="92"/>
                </a:lnTo>
                <a:lnTo>
                  <a:pt x="378" y="92"/>
                </a:lnTo>
                <a:lnTo>
                  <a:pt x="378" y="96"/>
                </a:lnTo>
                <a:lnTo>
                  <a:pt x="374" y="96"/>
                </a:lnTo>
                <a:lnTo>
                  <a:pt x="374" y="92"/>
                </a:lnTo>
                <a:lnTo>
                  <a:pt x="372" y="92"/>
                </a:lnTo>
                <a:lnTo>
                  <a:pt x="368" y="92"/>
                </a:lnTo>
                <a:lnTo>
                  <a:pt x="368" y="96"/>
                </a:lnTo>
                <a:lnTo>
                  <a:pt x="364" y="96"/>
                </a:lnTo>
                <a:lnTo>
                  <a:pt x="364" y="92"/>
                </a:lnTo>
                <a:lnTo>
                  <a:pt x="360" y="92"/>
                </a:lnTo>
                <a:lnTo>
                  <a:pt x="358" y="92"/>
                </a:lnTo>
                <a:lnTo>
                  <a:pt x="358" y="96"/>
                </a:lnTo>
                <a:lnTo>
                  <a:pt x="354" y="96"/>
                </a:lnTo>
                <a:lnTo>
                  <a:pt x="354" y="100"/>
                </a:lnTo>
                <a:lnTo>
                  <a:pt x="354" y="104"/>
                </a:lnTo>
                <a:lnTo>
                  <a:pt x="350" y="104"/>
                </a:lnTo>
                <a:lnTo>
                  <a:pt x="350" y="108"/>
                </a:lnTo>
                <a:lnTo>
                  <a:pt x="354" y="112"/>
                </a:lnTo>
                <a:lnTo>
                  <a:pt x="354" y="116"/>
                </a:lnTo>
                <a:lnTo>
                  <a:pt x="354" y="120"/>
                </a:lnTo>
                <a:lnTo>
                  <a:pt x="358" y="120"/>
                </a:lnTo>
                <a:lnTo>
                  <a:pt x="360" y="120"/>
                </a:lnTo>
                <a:lnTo>
                  <a:pt x="360" y="122"/>
                </a:lnTo>
                <a:lnTo>
                  <a:pt x="360" y="126"/>
                </a:lnTo>
                <a:lnTo>
                  <a:pt x="364" y="126"/>
                </a:lnTo>
                <a:lnTo>
                  <a:pt x="368" y="126"/>
                </a:lnTo>
                <a:lnTo>
                  <a:pt x="368" y="122"/>
                </a:lnTo>
                <a:lnTo>
                  <a:pt x="372" y="120"/>
                </a:lnTo>
                <a:lnTo>
                  <a:pt x="372" y="116"/>
                </a:lnTo>
                <a:lnTo>
                  <a:pt x="374" y="116"/>
                </a:lnTo>
                <a:lnTo>
                  <a:pt x="374" y="120"/>
                </a:lnTo>
                <a:lnTo>
                  <a:pt x="378" y="120"/>
                </a:lnTo>
                <a:lnTo>
                  <a:pt x="382" y="120"/>
                </a:lnTo>
                <a:lnTo>
                  <a:pt x="382" y="116"/>
                </a:lnTo>
                <a:lnTo>
                  <a:pt x="386" y="116"/>
                </a:lnTo>
                <a:lnTo>
                  <a:pt x="390" y="116"/>
                </a:lnTo>
                <a:lnTo>
                  <a:pt x="394" y="116"/>
                </a:lnTo>
                <a:lnTo>
                  <a:pt x="390" y="116"/>
                </a:lnTo>
                <a:lnTo>
                  <a:pt x="390" y="112"/>
                </a:lnTo>
                <a:lnTo>
                  <a:pt x="394" y="112"/>
                </a:lnTo>
                <a:lnTo>
                  <a:pt x="398" y="112"/>
                </a:lnTo>
                <a:lnTo>
                  <a:pt x="398" y="116"/>
                </a:lnTo>
                <a:lnTo>
                  <a:pt x="398" y="120"/>
                </a:lnTo>
                <a:lnTo>
                  <a:pt x="398" y="120"/>
                </a:lnTo>
                <a:lnTo>
                  <a:pt x="398" y="120"/>
                </a:lnTo>
                <a:close/>
                <a:moveTo>
                  <a:pt x="104" y="78"/>
                </a:moveTo>
                <a:lnTo>
                  <a:pt x="104" y="82"/>
                </a:lnTo>
                <a:lnTo>
                  <a:pt x="104" y="78"/>
                </a:lnTo>
                <a:lnTo>
                  <a:pt x="100" y="78"/>
                </a:lnTo>
                <a:lnTo>
                  <a:pt x="96" y="78"/>
                </a:lnTo>
                <a:lnTo>
                  <a:pt x="96" y="74"/>
                </a:lnTo>
                <a:lnTo>
                  <a:pt x="100" y="74"/>
                </a:lnTo>
                <a:lnTo>
                  <a:pt x="104" y="78"/>
                </a:lnTo>
                <a:lnTo>
                  <a:pt x="104" y="78"/>
                </a:lnTo>
                <a:lnTo>
                  <a:pt x="104" y="78"/>
                </a:lnTo>
                <a:close/>
                <a:moveTo>
                  <a:pt x="36" y="92"/>
                </a:moveTo>
                <a:lnTo>
                  <a:pt x="36" y="90"/>
                </a:lnTo>
                <a:lnTo>
                  <a:pt x="34" y="90"/>
                </a:lnTo>
                <a:lnTo>
                  <a:pt x="34" y="86"/>
                </a:lnTo>
                <a:lnTo>
                  <a:pt x="30" y="86"/>
                </a:lnTo>
                <a:lnTo>
                  <a:pt x="30" y="82"/>
                </a:lnTo>
                <a:lnTo>
                  <a:pt x="30" y="78"/>
                </a:lnTo>
                <a:lnTo>
                  <a:pt x="34" y="78"/>
                </a:lnTo>
                <a:lnTo>
                  <a:pt x="36" y="82"/>
                </a:lnTo>
                <a:lnTo>
                  <a:pt x="40" y="86"/>
                </a:lnTo>
                <a:lnTo>
                  <a:pt x="36" y="90"/>
                </a:lnTo>
                <a:lnTo>
                  <a:pt x="36" y="92"/>
                </a:lnTo>
                <a:lnTo>
                  <a:pt x="36" y="92"/>
                </a:lnTo>
                <a:lnTo>
                  <a:pt x="36" y="92"/>
                </a:lnTo>
                <a:close/>
                <a:moveTo>
                  <a:pt x="104" y="82"/>
                </a:moveTo>
                <a:lnTo>
                  <a:pt x="104" y="86"/>
                </a:lnTo>
                <a:lnTo>
                  <a:pt x="100" y="86"/>
                </a:lnTo>
                <a:lnTo>
                  <a:pt x="100" y="82"/>
                </a:lnTo>
                <a:lnTo>
                  <a:pt x="100" y="78"/>
                </a:lnTo>
                <a:lnTo>
                  <a:pt x="104" y="82"/>
                </a:lnTo>
                <a:lnTo>
                  <a:pt x="104" y="82"/>
                </a:lnTo>
                <a:lnTo>
                  <a:pt x="104" y="82"/>
                </a:lnTo>
                <a:close/>
                <a:moveTo>
                  <a:pt x="134" y="86"/>
                </a:moveTo>
                <a:lnTo>
                  <a:pt x="134" y="90"/>
                </a:lnTo>
                <a:lnTo>
                  <a:pt x="134" y="86"/>
                </a:lnTo>
                <a:lnTo>
                  <a:pt x="130" y="86"/>
                </a:lnTo>
                <a:lnTo>
                  <a:pt x="130" y="82"/>
                </a:lnTo>
                <a:lnTo>
                  <a:pt x="134" y="82"/>
                </a:lnTo>
                <a:lnTo>
                  <a:pt x="134" y="86"/>
                </a:lnTo>
                <a:lnTo>
                  <a:pt x="134" y="86"/>
                </a:lnTo>
                <a:lnTo>
                  <a:pt x="134" y="86"/>
                </a:lnTo>
                <a:close/>
                <a:moveTo>
                  <a:pt x="126" y="82"/>
                </a:moveTo>
                <a:lnTo>
                  <a:pt x="126" y="86"/>
                </a:lnTo>
                <a:lnTo>
                  <a:pt x="122" y="86"/>
                </a:lnTo>
                <a:lnTo>
                  <a:pt x="122" y="82"/>
                </a:lnTo>
                <a:lnTo>
                  <a:pt x="126" y="82"/>
                </a:lnTo>
                <a:lnTo>
                  <a:pt x="126" y="82"/>
                </a:lnTo>
                <a:lnTo>
                  <a:pt x="126" y="82"/>
                </a:lnTo>
                <a:close/>
                <a:moveTo>
                  <a:pt x="110" y="90"/>
                </a:moveTo>
                <a:lnTo>
                  <a:pt x="110" y="86"/>
                </a:lnTo>
                <a:lnTo>
                  <a:pt x="106" y="86"/>
                </a:lnTo>
                <a:lnTo>
                  <a:pt x="106" y="82"/>
                </a:lnTo>
                <a:lnTo>
                  <a:pt x="110" y="82"/>
                </a:lnTo>
                <a:lnTo>
                  <a:pt x="110" y="86"/>
                </a:lnTo>
                <a:lnTo>
                  <a:pt x="114" y="86"/>
                </a:lnTo>
                <a:lnTo>
                  <a:pt x="114" y="90"/>
                </a:lnTo>
                <a:lnTo>
                  <a:pt x="110" y="90"/>
                </a:lnTo>
                <a:lnTo>
                  <a:pt x="110" y="90"/>
                </a:lnTo>
                <a:lnTo>
                  <a:pt x="110" y="90"/>
                </a:lnTo>
                <a:close/>
                <a:moveTo>
                  <a:pt x="110" y="90"/>
                </a:moveTo>
                <a:lnTo>
                  <a:pt x="106" y="90"/>
                </a:lnTo>
                <a:lnTo>
                  <a:pt x="104" y="90"/>
                </a:lnTo>
                <a:lnTo>
                  <a:pt x="104" y="86"/>
                </a:lnTo>
                <a:lnTo>
                  <a:pt x="104" y="82"/>
                </a:lnTo>
                <a:lnTo>
                  <a:pt x="104" y="86"/>
                </a:lnTo>
                <a:lnTo>
                  <a:pt x="106" y="86"/>
                </a:lnTo>
                <a:lnTo>
                  <a:pt x="110" y="86"/>
                </a:lnTo>
                <a:lnTo>
                  <a:pt x="110" y="90"/>
                </a:lnTo>
                <a:lnTo>
                  <a:pt x="110" y="90"/>
                </a:lnTo>
                <a:lnTo>
                  <a:pt x="110" y="90"/>
                </a:lnTo>
                <a:close/>
                <a:moveTo>
                  <a:pt x="118" y="86"/>
                </a:moveTo>
                <a:lnTo>
                  <a:pt x="114" y="86"/>
                </a:lnTo>
                <a:lnTo>
                  <a:pt x="114" y="82"/>
                </a:lnTo>
                <a:lnTo>
                  <a:pt x="114" y="86"/>
                </a:lnTo>
                <a:lnTo>
                  <a:pt x="118" y="86"/>
                </a:lnTo>
                <a:lnTo>
                  <a:pt x="118" y="86"/>
                </a:lnTo>
                <a:lnTo>
                  <a:pt x="118" y="86"/>
                </a:lnTo>
                <a:close/>
                <a:moveTo>
                  <a:pt x="126" y="90"/>
                </a:moveTo>
                <a:lnTo>
                  <a:pt x="126" y="86"/>
                </a:lnTo>
                <a:lnTo>
                  <a:pt x="130" y="90"/>
                </a:lnTo>
                <a:lnTo>
                  <a:pt x="126" y="90"/>
                </a:lnTo>
                <a:lnTo>
                  <a:pt x="126" y="90"/>
                </a:lnTo>
                <a:lnTo>
                  <a:pt x="126" y="90"/>
                </a:lnTo>
                <a:close/>
                <a:moveTo>
                  <a:pt x="118" y="90"/>
                </a:moveTo>
                <a:lnTo>
                  <a:pt x="118" y="92"/>
                </a:lnTo>
                <a:lnTo>
                  <a:pt x="114" y="92"/>
                </a:lnTo>
                <a:lnTo>
                  <a:pt x="114" y="90"/>
                </a:lnTo>
                <a:lnTo>
                  <a:pt x="114" y="86"/>
                </a:lnTo>
                <a:lnTo>
                  <a:pt x="114" y="90"/>
                </a:lnTo>
                <a:lnTo>
                  <a:pt x="118" y="90"/>
                </a:lnTo>
                <a:lnTo>
                  <a:pt x="118" y="90"/>
                </a:lnTo>
                <a:lnTo>
                  <a:pt x="118" y="90"/>
                </a:lnTo>
                <a:close/>
                <a:moveTo>
                  <a:pt x="134" y="100"/>
                </a:moveTo>
                <a:lnTo>
                  <a:pt x="134" y="96"/>
                </a:lnTo>
                <a:lnTo>
                  <a:pt x="134" y="100"/>
                </a:lnTo>
                <a:lnTo>
                  <a:pt x="134" y="100"/>
                </a:lnTo>
                <a:lnTo>
                  <a:pt x="134" y="100"/>
                </a:lnTo>
                <a:close/>
                <a:moveTo>
                  <a:pt x="50" y="100"/>
                </a:moveTo>
                <a:lnTo>
                  <a:pt x="48" y="100"/>
                </a:lnTo>
                <a:lnTo>
                  <a:pt x="50" y="100"/>
                </a:lnTo>
                <a:lnTo>
                  <a:pt x="50" y="100"/>
                </a:lnTo>
                <a:lnTo>
                  <a:pt x="50" y="100"/>
                </a:lnTo>
                <a:close/>
                <a:moveTo>
                  <a:pt x="136" y="108"/>
                </a:moveTo>
                <a:lnTo>
                  <a:pt x="134" y="108"/>
                </a:lnTo>
                <a:lnTo>
                  <a:pt x="134" y="104"/>
                </a:lnTo>
                <a:lnTo>
                  <a:pt x="134" y="108"/>
                </a:lnTo>
                <a:lnTo>
                  <a:pt x="130" y="108"/>
                </a:lnTo>
                <a:lnTo>
                  <a:pt x="130" y="104"/>
                </a:lnTo>
                <a:lnTo>
                  <a:pt x="134" y="104"/>
                </a:lnTo>
                <a:lnTo>
                  <a:pt x="134" y="100"/>
                </a:lnTo>
                <a:lnTo>
                  <a:pt x="134" y="104"/>
                </a:lnTo>
                <a:lnTo>
                  <a:pt x="136" y="104"/>
                </a:lnTo>
                <a:lnTo>
                  <a:pt x="136" y="108"/>
                </a:lnTo>
                <a:lnTo>
                  <a:pt x="136" y="108"/>
                </a:lnTo>
                <a:lnTo>
                  <a:pt x="136" y="108"/>
                </a:lnTo>
                <a:close/>
                <a:moveTo>
                  <a:pt x="48" y="108"/>
                </a:moveTo>
                <a:lnTo>
                  <a:pt x="44" y="104"/>
                </a:lnTo>
                <a:lnTo>
                  <a:pt x="44" y="100"/>
                </a:lnTo>
                <a:lnTo>
                  <a:pt x="44" y="104"/>
                </a:lnTo>
                <a:lnTo>
                  <a:pt x="48" y="104"/>
                </a:lnTo>
                <a:lnTo>
                  <a:pt x="48" y="108"/>
                </a:lnTo>
                <a:lnTo>
                  <a:pt x="48" y="108"/>
                </a:lnTo>
                <a:lnTo>
                  <a:pt x="48" y="108"/>
                </a:lnTo>
                <a:close/>
                <a:moveTo>
                  <a:pt x="502" y="112"/>
                </a:moveTo>
                <a:lnTo>
                  <a:pt x="502" y="108"/>
                </a:lnTo>
                <a:lnTo>
                  <a:pt x="498" y="108"/>
                </a:lnTo>
                <a:lnTo>
                  <a:pt x="494" y="108"/>
                </a:lnTo>
                <a:lnTo>
                  <a:pt x="494" y="104"/>
                </a:lnTo>
                <a:lnTo>
                  <a:pt x="498" y="108"/>
                </a:lnTo>
                <a:lnTo>
                  <a:pt x="498" y="104"/>
                </a:lnTo>
                <a:lnTo>
                  <a:pt x="494" y="104"/>
                </a:lnTo>
                <a:lnTo>
                  <a:pt x="498" y="104"/>
                </a:lnTo>
                <a:lnTo>
                  <a:pt x="502" y="104"/>
                </a:lnTo>
                <a:lnTo>
                  <a:pt x="506" y="104"/>
                </a:lnTo>
                <a:lnTo>
                  <a:pt x="510" y="104"/>
                </a:lnTo>
                <a:lnTo>
                  <a:pt x="510" y="108"/>
                </a:lnTo>
                <a:lnTo>
                  <a:pt x="506" y="108"/>
                </a:lnTo>
                <a:lnTo>
                  <a:pt x="502" y="104"/>
                </a:lnTo>
                <a:lnTo>
                  <a:pt x="502" y="108"/>
                </a:lnTo>
                <a:lnTo>
                  <a:pt x="506" y="108"/>
                </a:lnTo>
                <a:lnTo>
                  <a:pt x="506" y="112"/>
                </a:lnTo>
                <a:lnTo>
                  <a:pt x="502" y="112"/>
                </a:lnTo>
                <a:lnTo>
                  <a:pt x="502" y="112"/>
                </a:lnTo>
                <a:lnTo>
                  <a:pt x="502" y="112"/>
                </a:lnTo>
                <a:close/>
                <a:moveTo>
                  <a:pt x="48" y="112"/>
                </a:moveTo>
                <a:lnTo>
                  <a:pt x="44" y="112"/>
                </a:lnTo>
                <a:lnTo>
                  <a:pt x="44" y="108"/>
                </a:lnTo>
                <a:lnTo>
                  <a:pt x="48" y="108"/>
                </a:lnTo>
                <a:lnTo>
                  <a:pt x="48" y="112"/>
                </a:lnTo>
                <a:lnTo>
                  <a:pt x="48" y="112"/>
                </a:lnTo>
                <a:lnTo>
                  <a:pt x="48" y="112"/>
                </a:lnTo>
                <a:close/>
                <a:moveTo>
                  <a:pt x="458" y="108"/>
                </a:moveTo>
                <a:lnTo>
                  <a:pt x="460" y="112"/>
                </a:lnTo>
                <a:lnTo>
                  <a:pt x="458" y="112"/>
                </a:lnTo>
                <a:lnTo>
                  <a:pt x="458" y="116"/>
                </a:lnTo>
                <a:lnTo>
                  <a:pt x="460" y="116"/>
                </a:lnTo>
                <a:lnTo>
                  <a:pt x="460" y="120"/>
                </a:lnTo>
                <a:lnTo>
                  <a:pt x="460" y="116"/>
                </a:lnTo>
                <a:lnTo>
                  <a:pt x="458" y="116"/>
                </a:lnTo>
                <a:lnTo>
                  <a:pt x="454" y="112"/>
                </a:lnTo>
                <a:lnTo>
                  <a:pt x="454" y="108"/>
                </a:lnTo>
                <a:lnTo>
                  <a:pt x="458" y="108"/>
                </a:lnTo>
                <a:lnTo>
                  <a:pt x="458" y="108"/>
                </a:lnTo>
                <a:lnTo>
                  <a:pt x="458" y="108"/>
                </a:lnTo>
                <a:close/>
                <a:moveTo>
                  <a:pt x="134" y="108"/>
                </a:moveTo>
                <a:lnTo>
                  <a:pt x="134" y="112"/>
                </a:lnTo>
                <a:lnTo>
                  <a:pt x="130" y="112"/>
                </a:lnTo>
                <a:lnTo>
                  <a:pt x="130" y="108"/>
                </a:lnTo>
                <a:lnTo>
                  <a:pt x="134" y="108"/>
                </a:lnTo>
                <a:lnTo>
                  <a:pt x="134" y="108"/>
                </a:lnTo>
                <a:lnTo>
                  <a:pt x="134" y="108"/>
                </a:lnTo>
                <a:close/>
                <a:moveTo>
                  <a:pt x="622" y="226"/>
                </a:moveTo>
                <a:lnTo>
                  <a:pt x="622" y="222"/>
                </a:lnTo>
                <a:lnTo>
                  <a:pt x="622" y="226"/>
                </a:lnTo>
                <a:lnTo>
                  <a:pt x="618" y="222"/>
                </a:lnTo>
                <a:lnTo>
                  <a:pt x="614" y="220"/>
                </a:lnTo>
                <a:lnTo>
                  <a:pt x="618" y="220"/>
                </a:lnTo>
                <a:lnTo>
                  <a:pt x="622" y="220"/>
                </a:lnTo>
                <a:lnTo>
                  <a:pt x="622" y="222"/>
                </a:lnTo>
                <a:lnTo>
                  <a:pt x="622" y="220"/>
                </a:lnTo>
                <a:lnTo>
                  <a:pt x="618" y="220"/>
                </a:lnTo>
                <a:lnTo>
                  <a:pt x="614" y="216"/>
                </a:lnTo>
                <a:lnTo>
                  <a:pt x="614" y="212"/>
                </a:lnTo>
                <a:lnTo>
                  <a:pt x="610" y="212"/>
                </a:lnTo>
                <a:lnTo>
                  <a:pt x="610" y="208"/>
                </a:lnTo>
                <a:lnTo>
                  <a:pt x="610" y="204"/>
                </a:lnTo>
                <a:lnTo>
                  <a:pt x="610" y="200"/>
                </a:lnTo>
                <a:lnTo>
                  <a:pt x="606" y="200"/>
                </a:lnTo>
                <a:lnTo>
                  <a:pt x="610" y="200"/>
                </a:lnTo>
                <a:lnTo>
                  <a:pt x="610" y="196"/>
                </a:lnTo>
                <a:lnTo>
                  <a:pt x="610" y="200"/>
                </a:lnTo>
                <a:lnTo>
                  <a:pt x="606" y="200"/>
                </a:lnTo>
                <a:lnTo>
                  <a:pt x="606" y="196"/>
                </a:lnTo>
                <a:lnTo>
                  <a:pt x="606" y="194"/>
                </a:lnTo>
                <a:lnTo>
                  <a:pt x="606" y="196"/>
                </a:lnTo>
                <a:lnTo>
                  <a:pt x="602" y="194"/>
                </a:lnTo>
                <a:lnTo>
                  <a:pt x="600" y="190"/>
                </a:lnTo>
                <a:lnTo>
                  <a:pt x="596" y="190"/>
                </a:lnTo>
                <a:lnTo>
                  <a:pt x="596" y="186"/>
                </a:lnTo>
                <a:lnTo>
                  <a:pt x="592" y="186"/>
                </a:lnTo>
                <a:lnTo>
                  <a:pt x="588" y="186"/>
                </a:lnTo>
                <a:lnTo>
                  <a:pt x="584" y="182"/>
                </a:lnTo>
                <a:lnTo>
                  <a:pt x="580" y="182"/>
                </a:lnTo>
                <a:lnTo>
                  <a:pt x="576" y="182"/>
                </a:lnTo>
                <a:lnTo>
                  <a:pt x="576" y="178"/>
                </a:lnTo>
                <a:lnTo>
                  <a:pt x="572" y="178"/>
                </a:lnTo>
                <a:lnTo>
                  <a:pt x="570" y="178"/>
                </a:lnTo>
                <a:lnTo>
                  <a:pt x="566" y="178"/>
                </a:lnTo>
                <a:lnTo>
                  <a:pt x="562" y="174"/>
                </a:lnTo>
                <a:lnTo>
                  <a:pt x="558" y="174"/>
                </a:lnTo>
                <a:lnTo>
                  <a:pt x="558" y="170"/>
                </a:lnTo>
                <a:lnTo>
                  <a:pt x="562" y="170"/>
                </a:lnTo>
                <a:lnTo>
                  <a:pt x="558" y="166"/>
                </a:lnTo>
                <a:lnTo>
                  <a:pt x="558" y="170"/>
                </a:lnTo>
                <a:lnTo>
                  <a:pt x="554" y="170"/>
                </a:lnTo>
                <a:lnTo>
                  <a:pt x="554" y="166"/>
                </a:lnTo>
                <a:lnTo>
                  <a:pt x="554" y="170"/>
                </a:lnTo>
                <a:lnTo>
                  <a:pt x="550" y="170"/>
                </a:lnTo>
                <a:lnTo>
                  <a:pt x="550" y="166"/>
                </a:lnTo>
                <a:lnTo>
                  <a:pt x="546" y="166"/>
                </a:lnTo>
                <a:lnTo>
                  <a:pt x="546" y="164"/>
                </a:lnTo>
                <a:lnTo>
                  <a:pt x="544" y="164"/>
                </a:lnTo>
                <a:lnTo>
                  <a:pt x="544" y="160"/>
                </a:lnTo>
                <a:lnTo>
                  <a:pt x="544" y="156"/>
                </a:lnTo>
                <a:lnTo>
                  <a:pt x="546" y="156"/>
                </a:lnTo>
                <a:lnTo>
                  <a:pt x="546" y="152"/>
                </a:lnTo>
                <a:lnTo>
                  <a:pt x="544" y="152"/>
                </a:lnTo>
                <a:lnTo>
                  <a:pt x="544" y="156"/>
                </a:lnTo>
                <a:lnTo>
                  <a:pt x="544" y="160"/>
                </a:lnTo>
                <a:lnTo>
                  <a:pt x="544" y="164"/>
                </a:lnTo>
                <a:lnTo>
                  <a:pt x="540" y="166"/>
                </a:lnTo>
                <a:lnTo>
                  <a:pt x="540" y="170"/>
                </a:lnTo>
                <a:lnTo>
                  <a:pt x="536" y="170"/>
                </a:lnTo>
                <a:lnTo>
                  <a:pt x="532" y="170"/>
                </a:lnTo>
                <a:lnTo>
                  <a:pt x="532" y="166"/>
                </a:lnTo>
                <a:lnTo>
                  <a:pt x="532" y="164"/>
                </a:lnTo>
                <a:lnTo>
                  <a:pt x="532" y="160"/>
                </a:lnTo>
                <a:lnTo>
                  <a:pt x="532" y="156"/>
                </a:lnTo>
                <a:lnTo>
                  <a:pt x="532" y="160"/>
                </a:lnTo>
                <a:lnTo>
                  <a:pt x="528" y="160"/>
                </a:lnTo>
                <a:lnTo>
                  <a:pt x="528" y="156"/>
                </a:lnTo>
                <a:lnTo>
                  <a:pt x="528" y="152"/>
                </a:lnTo>
                <a:lnTo>
                  <a:pt x="524" y="152"/>
                </a:lnTo>
                <a:lnTo>
                  <a:pt x="520" y="152"/>
                </a:lnTo>
                <a:lnTo>
                  <a:pt x="520" y="150"/>
                </a:lnTo>
                <a:lnTo>
                  <a:pt x="524" y="150"/>
                </a:lnTo>
                <a:lnTo>
                  <a:pt x="528" y="150"/>
                </a:lnTo>
                <a:lnTo>
                  <a:pt x="532" y="150"/>
                </a:lnTo>
                <a:lnTo>
                  <a:pt x="536" y="146"/>
                </a:lnTo>
                <a:lnTo>
                  <a:pt x="540" y="146"/>
                </a:lnTo>
                <a:lnTo>
                  <a:pt x="544" y="146"/>
                </a:lnTo>
                <a:lnTo>
                  <a:pt x="544" y="150"/>
                </a:lnTo>
                <a:lnTo>
                  <a:pt x="544" y="146"/>
                </a:lnTo>
                <a:lnTo>
                  <a:pt x="546" y="146"/>
                </a:lnTo>
                <a:lnTo>
                  <a:pt x="546" y="150"/>
                </a:lnTo>
                <a:lnTo>
                  <a:pt x="546" y="146"/>
                </a:lnTo>
                <a:lnTo>
                  <a:pt x="546" y="142"/>
                </a:lnTo>
                <a:lnTo>
                  <a:pt x="546" y="138"/>
                </a:lnTo>
                <a:lnTo>
                  <a:pt x="544" y="142"/>
                </a:lnTo>
                <a:lnTo>
                  <a:pt x="540" y="142"/>
                </a:lnTo>
                <a:lnTo>
                  <a:pt x="536" y="142"/>
                </a:lnTo>
                <a:lnTo>
                  <a:pt x="532" y="142"/>
                </a:lnTo>
                <a:lnTo>
                  <a:pt x="528" y="142"/>
                </a:lnTo>
                <a:lnTo>
                  <a:pt x="524" y="142"/>
                </a:lnTo>
                <a:lnTo>
                  <a:pt x="524" y="138"/>
                </a:lnTo>
                <a:lnTo>
                  <a:pt x="520" y="138"/>
                </a:lnTo>
                <a:lnTo>
                  <a:pt x="520" y="134"/>
                </a:lnTo>
                <a:lnTo>
                  <a:pt x="520" y="130"/>
                </a:lnTo>
                <a:lnTo>
                  <a:pt x="516" y="130"/>
                </a:lnTo>
                <a:lnTo>
                  <a:pt x="514" y="126"/>
                </a:lnTo>
                <a:lnTo>
                  <a:pt x="510" y="126"/>
                </a:lnTo>
                <a:lnTo>
                  <a:pt x="506" y="126"/>
                </a:lnTo>
                <a:lnTo>
                  <a:pt x="506" y="122"/>
                </a:lnTo>
                <a:lnTo>
                  <a:pt x="510" y="122"/>
                </a:lnTo>
                <a:lnTo>
                  <a:pt x="510" y="120"/>
                </a:lnTo>
                <a:lnTo>
                  <a:pt x="510" y="116"/>
                </a:lnTo>
                <a:lnTo>
                  <a:pt x="514" y="116"/>
                </a:lnTo>
                <a:lnTo>
                  <a:pt x="516" y="116"/>
                </a:lnTo>
                <a:lnTo>
                  <a:pt x="520" y="116"/>
                </a:lnTo>
                <a:lnTo>
                  <a:pt x="520" y="112"/>
                </a:lnTo>
                <a:lnTo>
                  <a:pt x="524" y="108"/>
                </a:lnTo>
                <a:lnTo>
                  <a:pt x="528" y="108"/>
                </a:lnTo>
                <a:lnTo>
                  <a:pt x="532" y="108"/>
                </a:lnTo>
                <a:lnTo>
                  <a:pt x="532" y="112"/>
                </a:lnTo>
                <a:lnTo>
                  <a:pt x="536" y="112"/>
                </a:lnTo>
                <a:lnTo>
                  <a:pt x="540" y="112"/>
                </a:lnTo>
                <a:lnTo>
                  <a:pt x="540" y="116"/>
                </a:lnTo>
                <a:lnTo>
                  <a:pt x="544" y="116"/>
                </a:lnTo>
                <a:lnTo>
                  <a:pt x="546" y="116"/>
                </a:lnTo>
                <a:lnTo>
                  <a:pt x="550" y="116"/>
                </a:lnTo>
                <a:lnTo>
                  <a:pt x="550" y="120"/>
                </a:lnTo>
                <a:lnTo>
                  <a:pt x="550" y="122"/>
                </a:lnTo>
                <a:lnTo>
                  <a:pt x="554" y="126"/>
                </a:lnTo>
                <a:lnTo>
                  <a:pt x="550" y="126"/>
                </a:lnTo>
                <a:lnTo>
                  <a:pt x="550" y="130"/>
                </a:lnTo>
                <a:lnTo>
                  <a:pt x="550" y="134"/>
                </a:lnTo>
                <a:lnTo>
                  <a:pt x="550" y="138"/>
                </a:lnTo>
                <a:lnTo>
                  <a:pt x="550" y="142"/>
                </a:lnTo>
                <a:lnTo>
                  <a:pt x="550" y="146"/>
                </a:lnTo>
                <a:lnTo>
                  <a:pt x="554" y="146"/>
                </a:lnTo>
                <a:lnTo>
                  <a:pt x="554" y="150"/>
                </a:lnTo>
                <a:lnTo>
                  <a:pt x="554" y="152"/>
                </a:lnTo>
                <a:lnTo>
                  <a:pt x="558" y="150"/>
                </a:lnTo>
                <a:lnTo>
                  <a:pt x="554" y="150"/>
                </a:lnTo>
                <a:lnTo>
                  <a:pt x="554" y="146"/>
                </a:lnTo>
                <a:lnTo>
                  <a:pt x="558" y="146"/>
                </a:lnTo>
                <a:lnTo>
                  <a:pt x="558" y="150"/>
                </a:lnTo>
                <a:lnTo>
                  <a:pt x="558" y="152"/>
                </a:lnTo>
                <a:lnTo>
                  <a:pt x="562" y="152"/>
                </a:lnTo>
                <a:lnTo>
                  <a:pt x="562" y="156"/>
                </a:lnTo>
                <a:lnTo>
                  <a:pt x="562" y="160"/>
                </a:lnTo>
                <a:lnTo>
                  <a:pt x="566" y="160"/>
                </a:lnTo>
                <a:lnTo>
                  <a:pt x="570" y="160"/>
                </a:lnTo>
                <a:lnTo>
                  <a:pt x="570" y="156"/>
                </a:lnTo>
                <a:lnTo>
                  <a:pt x="572" y="156"/>
                </a:lnTo>
                <a:lnTo>
                  <a:pt x="572" y="152"/>
                </a:lnTo>
                <a:lnTo>
                  <a:pt x="576" y="152"/>
                </a:lnTo>
                <a:lnTo>
                  <a:pt x="576" y="150"/>
                </a:lnTo>
                <a:lnTo>
                  <a:pt x="580" y="150"/>
                </a:lnTo>
                <a:lnTo>
                  <a:pt x="580" y="146"/>
                </a:lnTo>
                <a:lnTo>
                  <a:pt x="580" y="142"/>
                </a:lnTo>
                <a:lnTo>
                  <a:pt x="584" y="142"/>
                </a:lnTo>
                <a:lnTo>
                  <a:pt x="588" y="142"/>
                </a:lnTo>
                <a:lnTo>
                  <a:pt x="592" y="138"/>
                </a:lnTo>
                <a:lnTo>
                  <a:pt x="596" y="138"/>
                </a:lnTo>
                <a:lnTo>
                  <a:pt x="596" y="134"/>
                </a:lnTo>
                <a:lnTo>
                  <a:pt x="592" y="134"/>
                </a:lnTo>
                <a:lnTo>
                  <a:pt x="596" y="134"/>
                </a:lnTo>
                <a:lnTo>
                  <a:pt x="596" y="130"/>
                </a:lnTo>
                <a:lnTo>
                  <a:pt x="600" y="130"/>
                </a:lnTo>
                <a:lnTo>
                  <a:pt x="602" y="126"/>
                </a:lnTo>
                <a:lnTo>
                  <a:pt x="606" y="126"/>
                </a:lnTo>
                <a:lnTo>
                  <a:pt x="606" y="130"/>
                </a:lnTo>
                <a:lnTo>
                  <a:pt x="610" y="130"/>
                </a:lnTo>
                <a:lnTo>
                  <a:pt x="614" y="134"/>
                </a:lnTo>
                <a:lnTo>
                  <a:pt x="618" y="134"/>
                </a:lnTo>
                <a:lnTo>
                  <a:pt x="618" y="138"/>
                </a:lnTo>
                <a:lnTo>
                  <a:pt x="622" y="138"/>
                </a:lnTo>
                <a:lnTo>
                  <a:pt x="626" y="138"/>
                </a:lnTo>
                <a:lnTo>
                  <a:pt x="626" y="142"/>
                </a:lnTo>
                <a:lnTo>
                  <a:pt x="628" y="142"/>
                </a:lnTo>
                <a:lnTo>
                  <a:pt x="632" y="142"/>
                </a:lnTo>
                <a:lnTo>
                  <a:pt x="636" y="142"/>
                </a:lnTo>
                <a:lnTo>
                  <a:pt x="636" y="146"/>
                </a:lnTo>
                <a:lnTo>
                  <a:pt x="640" y="146"/>
                </a:lnTo>
                <a:lnTo>
                  <a:pt x="644" y="146"/>
                </a:lnTo>
                <a:lnTo>
                  <a:pt x="644" y="150"/>
                </a:lnTo>
                <a:lnTo>
                  <a:pt x="644" y="146"/>
                </a:lnTo>
                <a:lnTo>
                  <a:pt x="648" y="146"/>
                </a:lnTo>
                <a:lnTo>
                  <a:pt x="648" y="186"/>
                </a:lnTo>
                <a:lnTo>
                  <a:pt x="648" y="204"/>
                </a:lnTo>
                <a:lnTo>
                  <a:pt x="648" y="212"/>
                </a:lnTo>
                <a:lnTo>
                  <a:pt x="648" y="216"/>
                </a:lnTo>
                <a:lnTo>
                  <a:pt x="648" y="220"/>
                </a:lnTo>
                <a:lnTo>
                  <a:pt x="648" y="256"/>
                </a:lnTo>
                <a:lnTo>
                  <a:pt x="644" y="256"/>
                </a:lnTo>
                <a:lnTo>
                  <a:pt x="644" y="252"/>
                </a:lnTo>
                <a:lnTo>
                  <a:pt x="640" y="250"/>
                </a:lnTo>
                <a:lnTo>
                  <a:pt x="640" y="246"/>
                </a:lnTo>
                <a:lnTo>
                  <a:pt x="636" y="246"/>
                </a:lnTo>
                <a:lnTo>
                  <a:pt x="632" y="242"/>
                </a:lnTo>
                <a:lnTo>
                  <a:pt x="636" y="242"/>
                </a:lnTo>
                <a:lnTo>
                  <a:pt x="636" y="238"/>
                </a:lnTo>
                <a:lnTo>
                  <a:pt x="632" y="238"/>
                </a:lnTo>
                <a:lnTo>
                  <a:pt x="632" y="242"/>
                </a:lnTo>
                <a:lnTo>
                  <a:pt x="628" y="242"/>
                </a:lnTo>
                <a:lnTo>
                  <a:pt x="626" y="242"/>
                </a:lnTo>
                <a:lnTo>
                  <a:pt x="622" y="242"/>
                </a:lnTo>
                <a:lnTo>
                  <a:pt x="618" y="242"/>
                </a:lnTo>
                <a:lnTo>
                  <a:pt x="618" y="246"/>
                </a:lnTo>
                <a:lnTo>
                  <a:pt x="618" y="242"/>
                </a:lnTo>
                <a:lnTo>
                  <a:pt x="618" y="238"/>
                </a:lnTo>
                <a:lnTo>
                  <a:pt x="622" y="234"/>
                </a:lnTo>
                <a:lnTo>
                  <a:pt x="618" y="234"/>
                </a:lnTo>
                <a:lnTo>
                  <a:pt x="622" y="234"/>
                </a:lnTo>
                <a:lnTo>
                  <a:pt x="622" y="230"/>
                </a:lnTo>
                <a:lnTo>
                  <a:pt x="618" y="230"/>
                </a:lnTo>
                <a:lnTo>
                  <a:pt x="618" y="226"/>
                </a:lnTo>
                <a:lnTo>
                  <a:pt x="614" y="226"/>
                </a:lnTo>
                <a:lnTo>
                  <a:pt x="614" y="222"/>
                </a:lnTo>
                <a:lnTo>
                  <a:pt x="618" y="226"/>
                </a:lnTo>
                <a:lnTo>
                  <a:pt x="622" y="226"/>
                </a:lnTo>
                <a:lnTo>
                  <a:pt x="622" y="226"/>
                </a:lnTo>
                <a:lnTo>
                  <a:pt x="622" y="226"/>
                </a:lnTo>
                <a:close/>
                <a:moveTo>
                  <a:pt x="502" y="108"/>
                </a:moveTo>
                <a:lnTo>
                  <a:pt x="502" y="112"/>
                </a:lnTo>
                <a:lnTo>
                  <a:pt x="498" y="112"/>
                </a:lnTo>
                <a:lnTo>
                  <a:pt x="502" y="108"/>
                </a:lnTo>
                <a:lnTo>
                  <a:pt x="502" y="108"/>
                </a:lnTo>
                <a:lnTo>
                  <a:pt x="502" y="108"/>
                </a:lnTo>
                <a:close/>
                <a:moveTo>
                  <a:pt x="570" y="116"/>
                </a:moveTo>
                <a:lnTo>
                  <a:pt x="572" y="116"/>
                </a:lnTo>
                <a:lnTo>
                  <a:pt x="576" y="116"/>
                </a:lnTo>
                <a:lnTo>
                  <a:pt x="576" y="120"/>
                </a:lnTo>
                <a:lnTo>
                  <a:pt x="580" y="120"/>
                </a:lnTo>
                <a:lnTo>
                  <a:pt x="580" y="122"/>
                </a:lnTo>
                <a:lnTo>
                  <a:pt x="584" y="122"/>
                </a:lnTo>
                <a:lnTo>
                  <a:pt x="580" y="122"/>
                </a:lnTo>
                <a:lnTo>
                  <a:pt x="576" y="122"/>
                </a:lnTo>
                <a:lnTo>
                  <a:pt x="572" y="122"/>
                </a:lnTo>
                <a:lnTo>
                  <a:pt x="572" y="120"/>
                </a:lnTo>
                <a:lnTo>
                  <a:pt x="572" y="116"/>
                </a:lnTo>
                <a:lnTo>
                  <a:pt x="570" y="116"/>
                </a:lnTo>
                <a:lnTo>
                  <a:pt x="570" y="112"/>
                </a:lnTo>
                <a:lnTo>
                  <a:pt x="570" y="116"/>
                </a:lnTo>
                <a:lnTo>
                  <a:pt x="570" y="116"/>
                </a:lnTo>
                <a:lnTo>
                  <a:pt x="570" y="116"/>
                </a:lnTo>
                <a:close/>
                <a:moveTo>
                  <a:pt x="506" y="116"/>
                </a:moveTo>
                <a:lnTo>
                  <a:pt x="502" y="120"/>
                </a:lnTo>
                <a:lnTo>
                  <a:pt x="498" y="120"/>
                </a:lnTo>
                <a:lnTo>
                  <a:pt x="498" y="116"/>
                </a:lnTo>
                <a:lnTo>
                  <a:pt x="502" y="116"/>
                </a:lnTo>
                <a:lnTo>
                  <a:pt x="506" y="116"/>
                </a:lnTo>
                <a:lnTo>
                  <a:pt x="506" y="116"/>
                </a:lnTo>
                <a:lnTo>
                  <a:pt x="506" y="116"/>
                </a:lnTo>
                <a:close/>
                <a:moveTo>
                  <a:pt x="506" y="120"/>
                </a:moveTo>
                <a:lnTo>
                  <a:pt x="506" y="122"/>
                </a:lnTo>
                <a:lnTo>
                  <a:pt x="506" y="126"/>
                </a:lnTo>
                <a:lnTo>
                  <a:pt x="502" y="122"/>
                </a:lnTo>
                <a:lnTo>
                  <a:pt x="502" y="120"/>
                </a:lnTo>
                <a:lnTo>
                  <a:pt x="506" y="120"/>
                </a:lnTo>
                <a:lnTo>
                  <a:pt x="506" y="120"/>
                </a:lnTo>
                <a:lnTo>
                  <a:pt x="506" y="120"/>
                </a:lnTo>
                <a:close/>
                <a:moveTo>
                  <a:pt x="58" y="130"/>
                </a:moveTo>
                <a:lnTo>
                  <a:pt x="54" y="130"/>
                </a:lnTo>
                <a:lnTo>
                  <a:pt x="58" y="130"/>
                </a:lnTo>
                <a:lnTo>
                  <a:pt x="58" y="134"/>
                </a:lnTo>
                <a:lnTo>
                  <a:pt x="54" y="134"/>
                </a:lnTo>
                <a:lnTo>
                  <a:pt x="50" y="130"/>
                </a:lnTo>
                <a:lnTo>
                  <a:pt x="50" y="126"/>
                </a:lnTo>
                <a:lnTo>
                  <a:pt x="48" y="122"/>
                </a:lnTo>
                <a:lnTo>
                  <a:pt x="48" y="120"/>
                </a:lnTo>
                <a:lnTo>
                  <a:pt x="50" y="120"/>
                </a:lnTo>
                <a:lnTo>
                  <a:pt x="54" y="122"/>
                </a:lnTo>
                <a:lnTo>
                  <a:pt x="54" y="126"/>
                </a:lnTo>
                <a:lnTo>
                  <a:pt x="58" y="130"/>
                </a:lnTo>
                <a:lnTo>
                  <a:pt x="58" y="130"/>
                </a:lnTo>
                <a:lnTo>
                  <a:pt x="58" y="130"/>
                </a:lnTo>
                <a:close/>
                <a:moveTo>
                  <a:pt x="208" y="120"/>
                </a:moveTo>
                <a:lnTo>
                  <a:pt x="208" y="122"/>
                </a:lnTo>
                <a:lnTo>
                  <a:pt x="204" y="122"/>
                </a:lnTo>
                <a:lnTo>
                  <a:pt x="200" y="122"/>
                </a:lnTo>
                <a:lnTo>
                  <a:pt x="200" y="120"/>
                </a:lnTo>
                <a:lnTo>
                  <a:pt x="204" y="120"/>
                </a:lnTo>
                <a:lnTo>
                  <a:pt x="208" y="120"/>
                </a:lnTo>
                <a:lnTo>
                  <a:pt x="208" y="120"/>
                </a:lnTo>
                <a:lnTo>
                  <a:pt x="208" y="120"/>
                </a:lnTo>
                <a:close/>
                <a:moveTo>
                  <a:pt x="490" y="122"/>
                </a:moveTo>
                <a:lnTo>
                  <a:pt x="488" y="122"/>
                </a:lnTo>
                <a:lnTo>
                  <a:pt x="490" y="122"/>
                </a:lnTo>
                <a:lnTo>
                  <a:pt x="490" y="122"/>
                </a:lnTo>
                <a:lnTo>
                  <a:pt x="490" y="122"/>
                </a:lnTo>
                <a:close/>
                <a:moveTo>
                  <a:pt x="402" y="122"/>
                </a:moveTo>
                <a:lnTo>
                  <a:pt x="402" y="126"/>
                </a:lnTo>
                <a:lnTo>
                  <a:pt x="398" y="126"/>
                </a:lnTo>
                <a:lnTo>
                  <a:pt x="398" y="130"/>
                </a:lnTo>
                <a:lnTo>
                  <a:pt x="394" y="130"/>
                </a:lnTo>
                <a:lnTo>
                  <a:pt x="394" y="126"/>
                </a:lnTo>
                <a:lnTo>
                  <a:pt x="394" y="130"/>
                </a:lnTo>
                <a:lnTo>
                  <a:pt x="390" y="130"/>
                </a:lnTo>
                <a:lnTo>
                  <a:pt x="390" y="126"/>
                </a:lnTo>
                <a:lnTo>
                  <a:pt x="390" y="122"/>
                </a:lnTo>
                <a:lnTo>
                  <a:pt x="394" y="122"/>
                </a:lnTo>
                <a:lnTo>
                  <a:pt x="398" y="122"/>
                </a:lnTo>
                <a:lnTo>
                  <a:pt x="398" y="126"/>
                </a:lnTo>
                <a:lnTo>
                  <a:pt x="398" y="122"/>
                </a:lnTo>
                <a:lnTo>
                  <a:pt x="402" y="122"/>
                </a:lnTo>
                <a:lnTo>
                  <a:pt x="402" y="122"/>
                </a:lnTo>
                <a:lnTo>
                  <a:pt x="402" y="122"/>
                </a:lnTo>
                <a:close/>
                <a:moveTo>
                  <a:pt x="464" y="130"/>
                </a:moveTo>
                <a:lnTo>
                  <a:pt x="460" y="130"/>
                </a:lnTo>
                <a:lnTo>
                  <a:pt x="458" y="130"/>
                </a:lnTo>
                <a:lnTo>
                  <a:pt x="454" y="130"/>
                </a:lnTo>
                <a:lnTo>
                  <a:pt x="454" y="126"/>
                </a:lnTo>
                <a:lnTo>
                  <a:pt x="458" y="126"/>
                </a:lnTo>
                <a:lnTo>
                  <a:pt x="460" y="126"/>
                </a:lnTo>
                <a:lnTo>
                  <a:pt x="464" y="130"/>
                </a:lnTo>
                <a:lnTo>
                  <a:pt x="464" y="130"/>
                </a:lnTo>
                <a:lnTo>
                  <a:pt x="464" y="130"/>
                </a:lnTo>
                <a:close/>
                <a:moveTo>
                  <a:pt x="160" y="152"/>
                </a:moveTo>
                <a:lnTo>
                  <a:pt x="156" y="152"/>
                </a:lnTo>
                <a:lnTo>
                  <a:pt x="152" y="150"/>
                </a:lnTo>
                <a:lnTo>
                  <a:pt x="152" y="146"/>
                </a:lnTo>
                <a:lnTo>
                  <a:pt x="152" y="142"/>
                </a:lnTo>
                <a:lnTo>
                  <a:pt x="148" y="138"/>
                </a:lnTo>
                <a:lnTo>
                  <a:pt x="144" y="138"/>
                </a:lnTo>
                <a:lnTo>
                  <a:pt x="140" y="138"/>
                </a:lnTo>
                <a:lnTo>
                  <a:pt x="140" y="134"/>
                </a:lnTo>
                <a:lnTo>
                  <a:pt x="144" y="134"/>
                </a:lnTo>
                <a:lnTo>
                  <a:pt x="144" y="130"/>
                </a:lnTo>
                <a:lnTo>
                  <a:pt x="148" y="130"/>
                </a:lnTo>
                <a:lnTo>
                  <a:pt x="148" y="134"/>
                </a:lnTo>
                <a:lnTo>
                  <a:pt x="152" y="134"/>
                </a:lnTo>
                <a:lnTo>
                  <a:pt x="148" y="130"/>
                </a:lnTo>
                <a:lnTo>
                  <a:pt x="152" y="126"/>
                </a:lnTo>
                <a:lnTo>
                  <a:pt x="152" y="130"/>
                </a:lnTo>
                <a:lnTo>
                  <a:pt x="156" y="134"/>
                </a:lnTo>
                <a:lnTo>
                  <a:pt x="156" y="138"/>
                </a:lnTo>
                <a:lnTo>
                  <a:pt x="156" y="142"/>
                </a:lnTo>
                <a:lnTo>
                  <a:pt x="156" y="146"/>
                </a:lnTo>
                <a:lnTo>
                  <a:pt x="160" y="146"/>
                </a:lnTo>
                <a:lnTo>
                  <a:pt x="164" y="146"/>
                </a:lnTo>
                <a:lnTo>
                  <a:pt x="164" y="150"/>
                </a:lnTo>
                <a:lnTo>
                  <a:pt x="164" y="152"/>
                </a:lnTo>
                <a:lnTo>
                  <a:pt x="164" y="156"/>
                </a:lnTo>
                <a:lnTo>
                  <a:pt x="160" y="156"/>
                </a:lnTo>
                <a:lnTo>
                  <a:pt x="160" y="152"/>
                </a:lnTo>
                <a:lnTo>
                  <a:pt x="160" y="152"/>
                </a:lnTo>
                <a:lnTo>
                  <a:pt x="160" y="152"/>
                </a:lnTo>
                <a:close/>
                <a:moveTo>
                  <a:pt x="192" y="130"/>
                </a:moveTo>
                <a:lnTo>
                  <a:pt x="196" y="130"/>
                </a:lnTo>
                <a:lnTo>
                  <a:pt x="192" y="130"/>
                </a:lnTo>
                <a:lnTo>
                  <a:pt x="192" y="130"/>
                </a:lnTo>
                <a:lnTo>
                  <a:pt x="192" y="130"/>
                </a:lnTo>
                <a:close/>
                <a:moveTo>
                  <a:pt x="570" y="130"/>
                </a:moveTo>
                <a:lnTo>
                  <a:pt x="572" y="130"/>
                </a:lnTo>
                <a:lnTo>
                  <a:pt x="576" y="130"/>
                </a:lnTo>
                <a:lnTo>
                  <a:pt x="580" y="130"/>
                </a:lnTo>
                <a:lnTo>
                  <a:pt x="584" y="130"/>
                </a:lnTo>
                <a:lnTo>
                  <a:pt x="588" y="130"/>
                </a:lnTo>
                <a:lnTo>
                  <a:pt x="588" y="134"/>
                </a:lnTo>
                <a:lnTo>
                  <a:pt x="592" y="134"/>
                </a:lnTo>
                <a:lnTo>
                  <a:pt x="588" y="134"/>
                </a:lnTo>
                <a:lnTo>
                  <a:pt x="584" y="134"/>
                </a:lnTo>
                <a:lnTo>
                  <a:pt x="580" y="134"/>
                </a:lnTo>
                <a:lnTo>
                  <a:pt x="576" y="134"/>
                </a:lnTo>
                <a:lnTo>
                  <a:pt x="572" y="130"/>
                </a:lnTo>
                <a:lnTo>
                  <a:pt x="570" y="130"/>
                </a:lnTo>
                <a:lnTo>
                  <a:pt x="570" y="130"/>
                </a:lnTo>
                <a:lnTo>
                  <a:pt x="570" y="130"/>
                </a:lnTo>
                <a:close/>
                <a:moveTo>
                  <a:pt x="412" y="130"/>
                </a:moveTo>
                <a:lnTo>
                  <a:pt x="416" y="130"/>
                </a:lnTo>
                <a:lnTo>
                  <a:pt x="420" y="130"/>
                </a:lnTo>
                <a:lnTo>
                  <a:pt x="424" y="130"/>
                </a:lnTo>
                <a:lnTo>
                  <a:pt x="428" y="134"/>
                </a:lnTo>
                <a:lnTo>
                  <a:pt x="424" y="134"/>
                </a:lnTo>
                <a:lnTo>
                  <a:pt x="420" y="134"/>
                </a:lnTo>
                <a:lnTo>
                  <a:pt x="416" y="134"/>
                </a:lnTo>
                <a:lnTo>
                  <a:pt x="416" y="138"/>
                </a:lnTo>
                <a:lnTo>
                  <a:pt x="412" y="138"/>
                </a:lnTo>
                <a:lnTo>
                  <a:pt x="412" y="134"/>
                </a:lnTo>
                <a:lnTo>
                  <a:pt x="412" y="130"/>
                </a:lnTo>
                <a:lnTo>
                  <a:pt x="412" y="130"/>
                </a:lnTo>
                <a:lnTo>
                  <a:pt x="412" y="130"/>
                </a:lnTo>
                <a:close/>
                <a:moveTo>
                  <a:pt x="498" y="130"/>
                </a:moveTo>
                <a:lnTo>
                  <a:pt x="498" y="134"/>
                </a:lnTo>
                <a:lnTo>
                  <a:pt x="498" y="138"/>
                </a:lnTo>
                <a:lnTo>
                  <a:pt x="494" y="138"/>
                </a:lnTo>
                <a:lnTo>
                  <a:pt x="490" y="138"/>
                </a:lnTo>
                <a:lnTo>
                  <a:pt x="488" y="134"/>
                </a:lnTo>
                <a:lnTo>
                  <a:pt x="490" y="134"/>
                </a:lnTo>
                <a:lnTo>
                  <a:pt x="490" y="130"/>
                </a:lnTo>
                <a:lnTo>
                  <a:pt x="494" y="130"/>
                </a:lnTo>
                <a:lnTo>
                  <a:pt x="498" y="130"/>
                </a:lnTo>
                <a:lnTo>
                  <a:pt x="498" y="130"/>
                </a:lnTo>
                <a:lnTo>
                  <a:pt x="498" y="130"/>
                </a:lnTo>
                <a:close/>
                <a:moveTo>
                  <a:pt x="428" y="134"/>
                </a:moveTo>
                <a:lnTo>
                  <a:pt x="430" y="134"/>
                </a:lnTo>
                <a:lnTo>
                  <a:pt x="434" y="134"/>
                </a:lnTo>
                <a:lnTo>
                  <a:pt x="438" y="134"/>
                </a:lnTo>
                <a:lnTo>
                  <a:pt x="434" y="134"/>
                </a:lnTo>
                <a:lnTo>
                  <a:pt x="430" y="134"/>
                </a:lnTo>
                <a:lnTo>
                  <a:pt x="428" y="134"/>
                </a:lnTo>
                <a:lnTo>
                  <a:pt x="428" y="134"/>
                </a:lnTo>
                <a:lnTo>
                  <a:pt x="428" y="134"/>
                </a:lnTo>
                <a:close/>
                <a:moveTo>
                  <a:pt x="66" y="142"/>
                </a:moveTo>
                <a:lnTo>
                  <a:pt x="62" y="142"/>
                </a:lnTo>
                <a:lnTo>
                  <a:pt x="62" y="138"/>
                </a:lnTo>
                <a:lnTo>
                  <a:pt x="66" y="142"/>
                </a:lnTo>
                <a:lnTo>
                  <a:pt x="66" y="142"/>
                </a:lnTo>
                <a:lnTo>
                  <a:pt x="66" y="142"/>
                </a:lnTo>
                <a:close/>
                <a:moveTo>
                  <a:pt x="70" y="150"/>
                </a:moveTo>
                <a:lnTo>
                  <a:pt x="70" y="152"/>
                </a:lnTo>
                <a:lnTo>
                  <a:pt x="70" y="150"/>
                </a:lnTo>
                <a:lnTo>
                  <a:pt x="66" y="150"/>
                </a:lnTo>
                <a:lnTo>
                  <a:pt x="66" y="146"/>
                </a:lnTo>
                <a:lnTo>
                  <a:pt x="70" y="146"/>
                </a:lnTo>
                <a:lnTo>
                  <a:pt x="70" y="150"/>
                </a:lnTo>
                <a:lnTo>
                  <a:pt x="70" y="150"/>
                </a:lnTo>
                <a:lnTo>
                  <a:pt x="70" y="150"/>
                </a:lnTo>
                <a:close/>
                <a:moveTo>
                  <a:pt x="186" y="152"/>
                </a:moveTo>
                <a:lnTo>
                  <a:pt x="186" y="156"/>
                </a:lnTo>
                <a:lnTo>
                  <a:pt x="182" y="156"/>
                </a:lnTo>
                <a:lnTo>
                  <a:pt x="178" y="156"/>
                </a:lnTo>
                <a:lnTo>
                  <a:pt x="178" y="152"/>
                </a:lnTo>
                <a:lnTo>
                  <a:pt x="178" y="156"/>
                </a:lnTo>
                <a:lnTo>
                  <a:pt x="174" y="156"/>
                </a:lnTo>
                <a:lnTo>
                  <a:pt x="174" y="152"/>
                </a:lnTo>
                <a:lnTo>
                  <a:pt x="174" y="150"/>
                </a:lnTo>
                <a:lnTo>
                  <a:pt x="178" y="146"/>
                </a:lnTo>
                <a:lnTo>
                  <a:pt x="182" y="146"/>
                </a:lnTo>
                <a:lnTo>
                  <a:pt x="186" y="150"/>
                </a:lnTo>
                <a:lnTo>
                  <a:pt x="186" y="152"/>
                </a:lnTo>
                <a:lnTo>
                  <a:pt x="186" y="152"/>
                </a:lnTo>
                <a:lnTo>
                  <a:pt x="186" y="152"/>
                </a:lnTo>
                <a:close/>
                <a:moveTo>
                  <a:pt x="74" y="160"/>
                </a:moveTo>
                <a:lnTo>
                  <a:pt x="74" y="156"/>
                </a:lnTo>
                <a:lnTo>
                  <a:pt x="70" y="152"/>
                </a:lnTo>
                <a:lnTo>
                  <a:pt x="70" y="150"/>
                </a:lnTo>
                <a:lnTo>
                  <a:pt x="74" y="152"/>
                </a:lnTo>
                <a:lnTo>
                  <a:pt x="74" y="156"/>
                </a:lnTo>
                <a:lnTo>
                  <a:pt x="74" y="160"/>
                </a:lnTo>
                <a:lnTo>
                  <a:pt x="74" y="160"/>
                </a:lnTo>
                <a:lnTo>
                  <a:pt x="74" y="160"/>
                </a:lnTo>
                <a:close/>
                <a:moveTo>
                  <a:pt x="502" y="166"/>
                </a:moveTo>
                <a:lnTo>
                  <a:pt x="498" y="166"/>
                </a:lnTo>
                <a:lnTo>
                  <a:pt x="498" y="164"/>
                </a:lnTo>
                <a:lnTo>
                  <a:pt x="494" y="164"/>
                </a:lnTo>
                <a:lnTo>
                  <a:pt x="490" y="160"/>
                </a:lnTo>
                <a:lnTo>
                  <a:pt x="488" y="160"/>
                </a:lnTo>
                <a:lnTo>
                  <a:pt x="484" y="160"/>
                </a:lnTo>
                <a:lnTo>
                  <a:pt x="488" y="160"/>
                </a:lnTo>
                <a:lnTo>
                  <a:pt x="484" y="160"/>
                </a:lnTo>
                <a:lnTo>
                  <a:pt x="480" y="160"/>
                </a:lnTo>
                <a:lnTo>
                  <a:pt x="476" y="160"/>
                </a:lnTo>
                <a:lnTo>
                  <a:pt x="476" y="156"/>
                </a:lnTo>
                <a:lnTo>
                  <a:pt x="476" y="160"/>
                </a:lnTo>
                <a:lnTo>
                  <a:pt x="472" y="160"/>
                </a:lnTo>
                <a:lnTo>
                  <a:pt x="468" y="160"/>
                </a:lnTo>
                <a:lnTo>
                  <a:pt x="468" y="156"/>
                </a:lnTo>
                <a:lnTo>
                  <a:pt x="464" y="156"/>
                </a:lnTo>
                <a:lnTo>
                  <a:pt x="464" y="160"/>
                </a:lnTo>
                <a:lnTo>
                  <a:pt x="460" y="164"/>
                </a:lnTo>
                <a:lnTo>
                  <a:pt x="460" y="160"/>
                </a:lnTo>
                <a:lnTo>
                  <a:pt x="460" y="156"/>
                </a:lnTo>
                <a:lnTo>
                  <a:pt x="464" y="156"/>
                </a:lnTo>
                <a:lnTo>
                  <a:pt x="464" y="152"/>
                </a:lnTo>
                <a:lnTo>
                  <a:pt x="468" y="152"/>
                </a:lnTo>
                <a:lnTo>
                  <a:pt x="472" y="152"/>
                </a:lnTo>
                <a:lnTo>
                  <a:pt x="476" y="152"/>
                </a:lnTo>
                <a:lnTo>
                  <a:pt x="480" y="152"/>
                </a:lnTo>
                <a:lnTo>
                  <a:pt x="484" y="152"/>
                </a:lnTo>
                <a:lnTo>
                  <a:pt x="484" y="150"/>
                </a:lnTo>
                <a:lnTo>
                  <a:pt x="488" y="150"/>
                </a:lnTo>
                <a:lnTo>
                  <a:pt x="488" y="152"/>
                </a:lnTo>
                <a:lnTo>
                  <a:pt x="490" y="152"/>
                </a:lnTo>
                <a:lnTo>
                  <a:pt x="494" y="152"/>
                </a:lnTo>
                <a:lnTo>
                  <a:pt x="498" y="152"/>
                </a:lnTo>
                <a:lnTo>
                  <a:pt x="502" y="156"/>
                </a:lnTo>
                <a:lnTo>
                  <a:pt x="502" y="160"/>
                </a:lnTo>
                <a:lnTo>
                  <a:pt x="506" y="164"/>
                </a:lnTo>
                <a:lnTo>
                  <a:pt x="502" y="166"/>
                </a:lnTo>
                <a:lnTo>
                  <a:pt x="502" y="166"/>
                </a:lnTo>
                <a:lnTo>
                  <a:pt x="502" y="166"/>
                </a:lnTo>
                <a:close/>
                <a:moveTo>
                  <a:pt x="164" y="152"/>
                </a:moveTo>
                <a:lnTo>
                  <a:pt x="166" y="152"/>
                </a:lnTo>
                <a:lnTo>
                  <a:pt x="164" y="152"/>
                </a:lnTo>
                <a:lnTo>
                  <a:pt x="164" y="152"/>
                </a:lnTo>
                <a:lnTo>
                  <a:pt x="164" y="152"/>
                </a:lnTo>
                <a:close/>
                <a:moveTo>
                  <a:pt x="438" y="156"/>
                </a:moveTo>
                <a:lnTo>
                  <a:pt x="442" y="156"/>
                </a:lnTo>
                <a:lnTo>
                  <a:pt x="446" y="156"/>
                </a:lnTo>
                <a:lnTo>
                  <a:pt x="450" y="156"/>
                </a:lnTo>
                <a:lnTo>
                  <a:pt x="450" y="160"/>
                </a:lnTo>
                <a:lnTo>
                  <a:pt x="454" y="160"/>
                </a:lnTo>
                <a:lnTo>
                  <a:pt x="454" y="164"/>
                </a:lnTo>
                <a:lnTo>
                  <a:pt x="450" y="164"/>
                </a:lnTo>
                <a:lnTo>
                  <a:pt x="450" y="166"/>
                </a:lnTo>
                <a:lnTo>
                  <a:pt x="446" y="166"/>
                </a:lnTo>
                <a:lnTo>
                  <a:pt x="442" y="166"/>
                </a:lnTo>
                <a:lnTo>
                  <a:pt x="438" y="164"/>
                </a:lnTo>
                <a:lnTo>
                  <a:pt x="434" y="160"/>
                </a:lnTo>
                <a:lnTo>
                  <a:pt x="434" y="156"/>
                </a:lnTo>
                <a:lnTo>
                  <a:pt x="438" y="156"/>
                </a:lnTo>
                <a:lnTo>
                  <a:pt x="438" y="156"/>
                </a:lnTo>
                <a:lnTo>
                  <a:pt x="438" y="156"/>
                </a:lnTo>
                <a:close/>
                <a:moveTo>
                  <a:pt x="298" y="160"/>
                </a:moveTo>
                <a:lnTo>
                  <a:pt x="298" y="164"/>
                </a:lnTo>
                <a:lnTo>
                  <a:pt x="298" y="166"/>
                </a:lnTo>
                <a:lnTo>
                  <a:pt x="298" y="170"/>
                </a:lnTo>
                <a:lnTo>
                  <a:pt x="294" y="170"/>
                </a:lnTo>
                <a:lnTo>
                  <a:pt x="298" y="166"/>
                </a:lnTo>
                <a:lnTo>
                  <a:pt x="294" y="166"/>
                </a:lnTo>
                <a:lnTo>
                  <a:pt x="294" y="164"/>
                </a:lnTo>
                <a:lnTo>
                  <a:pt x="294" y="160"/>
                </a:lnTo>
                <a:lnTo>
                  <a:pt x="298" y="160"/>
                </a:lnTo>
                <a:lnTo>
                  <a:pt x="298" y="156"/>
                </a:lnTo>
                <a:lnTo>
                  <a:pt x="298" y="160"/>
                </a:lnTo>
                <a:lnTo>
                  <a:pt x="298" y="160"/>
                </a:lnTo>
                <a:lnTo>
                  <a:pt x="298" y="160"/>
                </a:lnTo>
                <a:close/>
                <a:moveTo>
                  <a:pt x="458" y="156"/>
                </a:moveTo>
                <a:lnTo>
                  <a:pt x="458" y="160"/>
                </a:lnTo>
                <a:lnTo>
                  <a:pt x="458" y="156"/>
                </a:lnTo>
                <a:lnTo>
                  <a:pt x="458" y="156"/>
                </a:lnTo>
                <a:lnTo>
                  <a:pt x="458" y="156"/>
                </a:lnTo>
                <a:close/>
                <a:moveTo>
                  <a:pt x="464" y="164"/>
                </a:moveTo>
                <a:lnTo>
                  <a:pt x="468" y="164"/>
                </a:lnTo>
                <a:lnTo>
                  <a:pt x="468" y="166"/>
                </a:lnTo>
                <a:lnTo>
                  <a:pt x="464" y="166"/>
                </a:lnTo>
                <a:lnTo>
                  <a:pt x="468" y="164"/>
                </a:lnTo>
                <a:lnTo>
                  <a:pt x="464" y="164"/>
                </a:lnTo>
                <a:lnTo>
                  <a:pt x="464" y="166"/>
                </a:lnTo>
                <a:lnTo>
                  <a:pt x="460" y="166"/>
                </a:lnTo>
                <a:lnTo>
                  <a:pt x="460" y="164"/>
                </a:lnTo>
                <a:lnTo>
                  <a:pt x="464" y="164"/>
                </a:lnTo>
                <a:lnTo>
                  <a:pt x="464" y="164"/>
                </a:lnTo>
                <a:lnTo>
                  <a:pt x="464" y="164"/>
                </a:lnTo>
                <a:close/>
                <a:moveTo>
                  <a:pt x="468" y="164"/>
                </a:moveTo>
                <a:lnTo>
                  <a:pt x="472" y="164"/>
                </a:lnTo>
                <a:lnTo>
                  <a:pt x="468" y="164"/>
                </a:lnTo>
                <a:lnTo>
                  <a:pt x="468" y="164"/>
                </a:lnTo>
                <a:lnTo>
                  <a:pt x="468" y="164"/>
                </a:lnTo>
                <a:close/>
                <a:moveTo>
                  <a:pt x="394" y="170"/>
                </a:moveTo>
                <a:lnTo>
                  <a:pt x="398" y="170"/>
                </a:lnTo>
                <a:lnTo>
                  <a:pt x="394" y="174"/>
                </a:lnTo>
                <a:lnTo>
                  <a:pt x="394" y="170"/>
                </a:lnTo>
                <a:lnTo>
                  <a:pt x="394" y="170"/>
                </a:lnTo>
                <a:lnTo>
                  <a:pt x="394" y="170"/>
                </a:lnTo>
                <a:close/>
                <a:moveTo>
                  <a:pt x="394" y="178"/>
                </a:moveTo>
                <a:lnTo>
                  <a:pt x="398" y="178"/>
                </a:lnTo>
                <a:lnTo>
                  <a:pt x="398" y="182"/>
                </a:lnTo>
                <a:lnTo>
                  <a:pt x="398" y="186"/>
                </a:lnTo>
                <a:lnTo>
                  <a:pt x="394" y="182"/>
                </a:lnTo>
                <a:lnTo>
                  <a:pt x="394" y="186"/>
                </a:lnTo>
                <a:lnTo>
                  <a:pt x="394" y="190"/>
                </a:lnTo>
                <a:lnTo>
                  <a:pt x="398" y="194"/>
                </a:lnTo>
                <a:lnTo>
                  <a:pt x="394" y="194"/>
                </a:lnTo>
                <a:lnTo>
                  <a:pt x="390" y="194"/>
                </a:lnTo>
                <a:lnTo>
                  <a:pt x="390" y="196"/>
                </a:lnTo>
                <a:lnTo>
                  <a:pt x="390" y="200"/>
                </a:lnTo>
                <a:lnTo>
                  <a:pt x="386" y="200"/>
                </a:lnTo>
                <a:lnTo>
                  <a:pt x="386" y="196"/>
                </a:lnTo>
                <a:lnTo>
                  <a:pt x="386" y="194"/>
                </a:lnTo>
                <a:lnTo>
                  <a:pt x="390" y="194"/>
                </a:lnTo>
                <a:lnTo>
                  <a:pt x="390" y="190"/>
                </a:lnTo>
                <a:lnTo>
                  <a:pt x="390" y="186"/>
                </a:lnTo>
                <a:lnTo>
                  <a:pt x="390" y="182"/>
                </a:lnTo>
                <a:lnTo>
                  <a:pt x="390" y="178"/>
                </a:lnTo>
                <a:lnTo>
                  <a:pt x="394" y="178"/>
                </a:lnTo>
                <a:lnTo>
                  <a:pt x="394" y="178"/>
                </a:lnTo>
                <a:lnTo>
                  <a:pt x="394" y="178"/>
                </a:lnTo>
                <a:close/>
                <a:moveTo>
                  <a:pt x="390" y="182"/>
                </a:moveTo>
                <a:lnTo>
                  <a:pt x="390" y="186"/>
                </a:lnTo>
                <a:lnTo>
                  <a:pt x="386" y="190"/>
                </a:lnTo>
                <a:lnTo>
                  <a:pt x="386" y="194"/>
                </a:lnTo>
                <a:lnTo>
                  <a:pt x="382" y="194"/>
                </a:lnTo>
                <a:lnTo>
                  <a:pt x="382" y="190"/>
                </a:lnTo>
                <a:lnTo>
                  <a:pt x="382" y="186"/>
                </a:lnTo>
                <a:lnTo>
                  <a:pt x="382" y="182"/>
                </a:lnTo>
                <a:lnTo>
                  <a:pt x="386" y="182"/>
                </a:lnTo>
                <a:lnTo>
                  <a:pt x="390" y="182"/>
                </a:lnTo>
                <a:lnTo>
                  <a:pt x="390" y="182"/>
                </a:lnTo>
                <a:lnTo>
                  <a:pt x="390" y="182"/>
                </a:lnTo>
                <a:close/>
                <a:moveTo>
                  <a:pt x="378" y="190"/>
                </a:moveTo>
                <a:lnTo>
                  <a:pt x="378" y="194"/>
                </a:lnTo>
                <a:lnTo>
                  <a:pt x="378" y="196"/>
                </a:lnTo>
                <a:lnTo>
                  <a:pt x="374" y="194"/>
                </a:lnTo>
                <a:lnTo>
                  <a:pt x="374" y="190"/>
                </a:lnTo>
                <a:lnTo>
                  <a:pt x="378" y="190"/>
                </a:lnTo>
                <a:lnTo>
                  <a:pt x="378" y="190"/>
                </a:lnTo>
                <a:lnTo>
                  <a:pt x="378" y="190"/>
                </a:lnTo>
                <a:close/>
                <a:moveTo>
                  <a:pt x="104" y="196"/>
                </a:moveTo>
                <a:lnTo>
                  <a:pt x="100" y="196"/>
                </a:lnTo>
                <a:lnTo>
                  <a:pt x="96" y="194"/>
                </a:lnTo>
                <a:lnTo>
                  <a:pt x="100" y="194"/>
                </a:lnTo>
                <a:lnTo>
                  <a:pt x="104" y="194"/>
                </a:lnTo>
                <a:lnTo>
                  <a:pt x="104" y="196"/>
                </a:lnTo>
                <a:lnTo>
                  <a:pt x="104" y="196"/>
                </a:lnTo>
                <a:lnTo>
                  <a:pt x="104" y="196"/>
                </a:lnTo>
                <a:close/>
                <a:moveTo>
                  <a:pt x="554" y="194"/>
                </a:moveTo>
                <a:lnTo>
                  <a:pt x="558" y="194"/>
                </a:lnTo>
                <a:lnTo>
                  <a:pt x="558" y="196"/>
                </a:lnTo>
                <a:lnTo>
                  <a:pt x="558" y="200"/>
                </a:lnTo>
                <a:lnTo>
                  <a:pt x="558" y="204"/>
                </a:lnTo>
                <a:lnTo>
                  <a:pt x="554" y="204"/>
                </a:lnTo>
                <a:lnTo>
                  <a:pt x="554" y="200"/>
                </a:lnTo>
                <a:lnTo>
                  <a:pt x="550" y="200"/>
                </a:lnTo>
                <a:lnTo>
                  <a:pt x="554" y="200"/>
                </a:lnTo>
                <a:lnTo>
                  <a:pt x="554" y="196"/>
                </a:lnTo>
                <a:lnTo>
                  <a:pt x="554" y="194"/>
                </a:lnTo>
                <a:lnTo>
                  <a:pt x="554" y="194"/>
                </a:lnTo>
                <a:lnTo>
                  <a:pt x="554" y="194"/>
                </a:lnTo>
                <a:close/>
                <a:moveTo>
                  <a:pt x="248" y="200"/>
                </a:moveTo>
                <a:lnTo>
                  <a:pt x="246" y="200"/>
                </a:lnTo>
                <a:lnTo>
                  <a:pt x="248" y="200"/>
                </a:lnTo>
                <a:lnTo>
                  <a:pt x="248" y="200"/>
                </a:lnTo>
                <a:lnTo>
                  <a:pt x="248" y="200"/>
                </a:lnTo>
                <a:close/>
                <a:moveTo>
                  <a:pt x="358" y="200"/>
                </a:moveTo>
                <a:lnTo>
                  <a:pt x="358" y="204"/>
                </a:lnTo>
                <a:lnTo>
                  <a:pt x="360" y="204"/>
                </a:lnTo>
                <a:lnTo>
                  <a:pt x="358" y="208"/>
                </a:lnTo>
                <a:lnTo>
                  <a:pt x="358" y="212"/>
                </a:lnTo>
                <a:lnTo>
                  <a:pt x="358" y="208"/>
                </a:lnTo>
                <a:lnTo>
                  <a:pt x="358" y="204"/>
                </a:lnTo>
                <a:lnTo>
                  <a:pt x="358" y="200"/>
                </a:lnTo>
                <a:lnTo>
                  <a:pt x="358" y="200"/>
                </a:lnTo>
                <a:lnTo>
                  <a:pt x="358" y="200"/>
                </a:lnTo>
                <a:close/>
                <a:moveTo>
                  <a:pt x="212" y="238"/>
                </a:moveTo>
                <a:lnTo>
                  <a:pt x="208" y="238"/>
                </a:lnTo>
                <a:lnTo>
                  <a:pt x="204" y="234"/>
                </a:lnTo>
                <a:lnTo>
                  <a:pt x="200" y="234"/>
                </a:lnTo>
                <a:lnTo>
                  <a:pt x="196" y="234"/>
                </a:lnTo>
                <a:lnTo>
                  <a:pt x="192" y="234"/>
                </a:lnTo>
                <a:lnTo>
                  <a:pt x="190" y="234"/>
                </a:lnTo>
                <a:lnTo>
                  <a:pt x="186" y="234"/>
                </a:lnTo>
                <a:lnTo>
                  <a:pt x="182" y="234"/>
                </a:lnTo>
                <a:lnTo>
                  <a:pt x="178" y="234"/>
                </a:lnTo>
                <a:lnTo>
                  <a:pt x="178" y="230"/>
                </a:lnTo>
                <a:lnTo>
                  <a:pt x="174" y="230"/>
                </a:lnTo>
                <a:lnTo>
                  <a:pt x="170" y="230"/>
                </a:lnTo>
                <a:lnTo>
                  <a:pt x="166" y="230"/>
                </a:lnTo>
                <a:lnTo>
                  <a:pt x="164" y="230"/>
                </a:lnTo>
                <a:lnTo>
                  <a:pt x="160" y="230"/>
                </a:lnTo>
                <a:lnTo>
                  <a:pt x="160" y="226"/>
                </a:lnTo>
                <a:lnTo>
                  <a:pt x="160" y="222"/>
                </a:lnTo>
                <a:lnTo>
                  <a:pt x="160" y="220"/>
                </a:lnTo>
                <a:lnTo>
                  <a:pt x="160" y="222"/>
                </a:lnTo>
                <a:lnTo>
                  <a:pt x="156" y="222"/>
                </a:lnTo>
                <a:lnTo>
                  <a:pt x="156" y="220"/>
                </a:lnTo>
                <a:lnTo>
                  <a:pt x="152" y="220"/>
                </a:lnTo>
                <a:lnTo>
                  <a:pt x="148" y="220"/>
                </a:lnTo>
                <a:lnTo>
                  <a:pt x="144" y="220"/>
                </a:lnTo>
                <a:lnTo>
                  <a:pt x="140" y="220"/>
                </a:lnTo>
                <a:lnTo>
                  <a:pt x="144" y="220"/>
                </a:lnTo>
                <a:lnTo>
                  <a:pt x="144" y="216"/>
                </a:lnTo>
                <a:lnTo>
                  <a:pt x="144" y="220"/>
                </a:lnTo>
                <a:lnTo>
                  <a:pt x="148" y="216"/>
                </a:lnTo>
                <a:lnTo>
                  <a:pt x="148" y="212"/>
                </a:lnTo>
                <a:lnTo>
                  <a:pt x="152" y="212"/>
                </a:lnTo>
                <a:lnTo>
                  <a:pt x="152" y="208"/>
                </a:lnTo>
                <a:lnTo>
                  <a:pt x="152" y="204"/>
                </a:lnTo>
                <a:lnTo>
                  <a:pt x="152" y="200"/>
                </a:lnTo>
                <a:lnTo>
                  <a:pt x="156" y="200"/>
                </a:lnTo>
                <a:lnTo>
                  <a:pt x="156" y="204"/>
                </a:lnTo>
                <a:lnTo>
                  <a:pt x="160" y="204"/>
                </a:lnTo>
                <a:lnTo>
                  <a:pt x="164" y="204"/>
                </a:lnTo>
                <a:lnTo>
                  <a:pt x="166" y="204"/>
                </a:lnTo>
                <a:lnTo>
                  <a:pt x="170" y="204"/>
                </a:lnTo>
                <a:lnTo>
                  <a:pt x="174" y="204"/>
                </a:lnTo>
                <a:lnTo>
                  <a:pt x="174" y="208"/>
                </a:lnTo>
                <a:lnTo>
                  <a:pt x="178" y="208"/>
                </a:lnTo>
                <a:lnTo>
                  <a:pt x="182" y="212"/>
                </a:lnTo>
                <a:lnTo>
                  <a:pt x="186" y="212"/>
                </a:lnTo>
                <a:lnTo>
                  <a:pt x="186" y="208"/>
                </a:lnTo>
                <a:lnTo>
                  <a:pt x="186" y="212"/>
                </a:lnTo>
                <a:lnTo>
                  <a:pt x="190" y="212"/>
                </a:lnTo>
                <a:lnTo>
                  <a:pt x="190" y="216"/>
                </a:lnTo>
                <a:lnTo>
                  <a:pt x="190" y="220"/>
                </a:lnTo>
                <a:lnTo>
                  <a:pt x="192" y="220"/>
                </a:lnTo>
                <a:lnTo>
                  <a:pt x="196" y="220"/>
                </a:lnTo>
                <a:lnTo>
                  <a:pt x="200" y="220"/>
                </a:lnTo>
                <a:lnTo>
                  <a:pt x="204" y="220"/>
                </a:lnTo>
                <a:lnTo>
                  <a:pt x="208" y="220"/>
                </a:lnTo>
                <a:lnTo>
                  <a:pt x="212" y="220"/>
                </a:lnTo>
                <a:lnTo>
                  <a:pt x="216" y="220"/>
                </a:lnTo>
                <a:lnTo>
                  <a:pt x="216" y="222"/>
                </a:lnTo>
                <a:lnTo>
                  <a:pt x="216" y="220"/>
                </a:lnTo>
                <a:lnTo>
                  <a:pt x="220" y="220"/>
                </a:lnTo>
                <a:lnTo>
                  <a:pt x="220" y="216"/>
                </a:lnTo>
                <a:lnTo>
                  <a:pt x="220" y="212"/>
                </a:lnTo>
                <a:lnTo>
                  <a:pt x="222" y="212"/>
                </a:lnTo>
                <a:lnTo>
                  <a:pt x="226" y="216"/>
                </a:lnTo>
                <a:lnTo>
                  <a:pt x="230" y="216"/>
                </a:lnTo>
                <a:lnTo>
                  <a:pt x="234" y="216"/>
                </a:lnTo>
                <a:lnTo>
                  <a:pt x="234" y="220"/>
                </a:lnTo>
                <a:lnTo>
                  <a:pt x="238" y="220"/>
                </a:lnTo>
                <a:lnTo>
                  <a:pt x="242" y="220"/>
                </a:lnTo>
                <a:lnTo>
                  <a:pt x="246" y="220"/>
                </a:lnTo>
                <a:lnTo>
                  <a:pt x="246" y="222"/>
                </a:lnTo>
                <a:lnTo>
                  <a:pt x="248" y="222"/>
                </a:lnTo>
                <a:lnTo>
                  <a:pt x="248" y="226"/>
                </a:lnTo>
                <a:lnTo>
                  <a:pt x="246" y="222"/>
                </a:lnTo>
                <a:lnTo>
                  <a:pt x="246" y="226"/>
                </a:lnTo>
                <a:lnTo>
                  <a:pt x="248" y="226"/>
                </a:lnTo>
                <a:lnTo>
                  <a:pt x="248" y="230"/>
                </a:lnTo>
                <a:lnTo>
                  <a:pt x="252" y="234"/>
                </a:lnTo>
                <a:lnTo>
                  <a:pt x="256" y="234"/>
                </a:lnTo>
                <a:lnTo>
                  <a:pt x="260" y="234"/>
                </a:lnTo>
                <a:lnTo>
                  <a:pt x="264" y="234"/>
                </a:lnTo>
                <a:lnTo>
                  <a:pt x="268" y="234"/>
                </a:lnTo>
                <a:lnTo>
                  <a:pt x="268" y="230"/>
                </a:lnTo>
                <a:lnTo>
                  <a:pt x="268" y="234"/>
                </a:lnTo>
                <a:lnTo>
                  <a:pt x="272" y="234"/>
                </a:lnTo>
                <a:lnTo>
                  <a:pt x="272" y="238"/>
                </a:lnTo>
                <a:lnTo>
                  <a:pt x="272" y="242"/>
                </a:lnTo>
                <a:lnTo>
                  <a:pt x="272" y="246"/>
                </a:lnTo>
                <a:lnTo>
                  <a:pt x="272" y="250"/>
                </a:lnTo>
                <a:lnTo>
                  <a:pt x="276" y="250"/>
                </a:lnTo>
                <a:lnTo>
                  <a:pt x="276" y="252"/>
                </a:lnTo>
                <a:lnTo>
                  <a:pt x="272" y="252"/>
                </a:lnTo>
                <a:lnTo>
                  <a:pt x="272" y="250"/>
                </a:lnTo>
                <a:lnTo>
                  <a:pt x="268" y="250"/>
                </a:lnTo>
                <a:lnTo>
                  <a:pt x="264" y="250"/>
                </a:lnTo>
                <a:lnTo>
                  <a:pt x="260" y="246"/>
                </a:lnTo>
                <a:lnTo>
                  <a:pt x="256" y="246"/>
                </a:lnTo>
                <a:lnTo>
                  <a:pt x="256" y="242"/>
                </a:lnTo>
                <a:lnTo>
                  <a:pt x="252" y="242"/>
                </a:lnTo>
                <a:lnTo>
                  <a:pt x="252" y="246"/>
                </a:lnTo>
                <a:lnTo>
                  <a:pt x="248" y="246"/>
                </a:lnTo>
                <a:lnTo>
                  <a:pt x="246" y="246"/>
                </a:lnTo>
                <a:lnTo>
                  <a:pt x="242" y="246"/>
                </a:lnTo>
                <a:lnTo>
                  <a:pt x="238" y="246"/>
                </a:lnTo>
                <a:lnTo>
                  <a:pt x="234" y="242"/>
                </a:lnTo>
                <a:lnTo>
                  <a:pt x="234" y="246"/>
                </a:lnTo>
                <a:lnTo>
                  <a:pt x="230" y="246"/>
                </a:lnTo>
                <a:lnTo>
                  <a:pt x="230" y="242"/>
                </a:lnTo>
                <a:lnTo>
                  <a:pt x="226" y="242"/>
                </a:lnTo>
                <a:lnTo>
                  <a:pt x="222" y="242"/>
                </a:lnTo>
                <a:lnTo>
                  <a:pt x="220" y="242"/>
                </a:lnTo>
                <a:lnTo>
                  <a:pt x="216" y="242"/>
                </a:lnTo>
                <a:lnTo>
                  <a:pt x="212" y="238"/>
                </a:lnTo>
                <a:lnTo>
                  <a:pt x="212" y="238"/>
                </a:lnTo>
                <a:lnTo>
                  <a:pt x="212" y="238"/>
                </a:lnTo>
                <a:close/>
                <a:moveTo>
                  <a:pt x="554" y="204"/>
                </a:moveTo>
                <a:lnTo>
                  <a:pt x="558" y="204"/>
                </a:lnTo>
                <a:lnTo>
                  <a:pt x="558" y="208"/>
                </a:lnTo>
                <a:lnTo>
                  <a:pt x="558" y="212"/>
                </a:lnTo>
                <a:lnTo>
                  <a:pt x="554" y="208"/>
                </a:lnTo>
                <a:lnTo>
                  <a:pt x="554" y="204"/>
                </a:lnTo>
                <a:lnTo>
                  <a:pt x="554" y="204"/>
                </a:lnTo>
                <a:lnTo>
                  <a:pt x="554" y="204"/>
                </a:lnTo>
                <a:close/>
                <a:moveTo>
                  <a:pt x="550" y="208"/>
                </a:moveTo>
                <a:lnTo>
                  <a:pt x="554" y="208"/>
                </a:lnTo>
                <a:lnTo>
                  <a:pt x="554" y="212"/>
                </a:lnTo>
                <a:lnTo>
                  <a:pt x="554" y="216"/>
                </a:lnTo>
                <a:lnTo>
                  <a:pt x="554" y="220"/>
                </a:lnTo>
                <a:lnTo>
                  <a:pt x="550" y="220"/>
                </a:lnTo>
                <a:lnTo>
                  <a:pt x="550" y="212"/>
                </a:lnTo>
                <a:lnTo>
                  <a:pt x="550" y="208"/>
                </a:lnTo>
                <a:lnTo>
                  <a:pt x="550" y="208"/>
                </a:lnTo>
                <a:lnTo>
                  <a:pt x="550" y="208"/>
                </a:lnTo>
                <a:close/>
                <a:moveTo>
                  <a:pt x="140" y="212"/>
                </a:moveTo>
                <a:lnTo>
                  <a:pt x="140" y="216"/>
                </a:lnTo>
                <a:lnTo>
                  <a:pt x="140" y="212"/>
                </a:lnTo>
                <a:lnTo>
                  <a:pt x="140" y="212"/>
                </a:lnTo>
                <a:lnTo>
                  <a:pt x="140" y="212"/>
                </a:lnTo>
                <a:close/>
                <a:moveTo>
                  <a:pt x="286" y="220"/>
                </a:moveTo>
                <a:lnTo>
                  <a:pt x="290" y="220"/>
                </a:lnTo>
                <a:lnTo>
                  <a:pt x="286" y="220"/>
                </a:lnTo>
                <a:lnTo>
                  <a:pt x="286" y="222"/>
                </a:lnTo>
                <a:lnTo>
                  <a:pt x="282" y="222"/>
                </a:lnTo>
                <a:lnTo>
                  <a:pt x="282" y="220"/>
                </a:lnTo>
                <a:lnTo>
                  <a:pt x="286" y="220"/>
                </a:lnTo>
                <a:lnTo>
                  <a:pt x="286" y="220"/>
                </a:lnTo>
                <a:lnTo>
                  <a:pt x="286" y="220"/>
                </a:lnTo>
                <a:close/>
                <a:moveTo>
                  <a:pt x="252" y="220"/>
                </a:moveTo>
                <a:lnTo>
                  <a:pt x="256" y="220"/>
                </a:lnTo>
                <a:lnTo>
                  <a:pt x="260" y="220"/>
                </a:lnTo>
                <a:lnTo>
                  <a:pt x="264" y="220"/>
                </a:lnTo>
                <a:lnTo>
                  <a:pt x="268" y="220"/>
                </a:lnTo>
                <a:lnTo>
                  <a:pt x="268" y="222"/>
                </a:lnTo>
                <a:lnTo>
                  <a:pt x="264" y="222"/>
                </a:lnTo>
                <a:lnTo>
                  <a:pt x="260" y="222"/>
                </a:lnTo>
                <a:lnTo>
                  <a:pt x="260" y="226"/>
                </a:lnTo>
                <a:lnTo>
                  <a:pt x="256" y="226"/>
                </a:lnTo>
                <a:lnTo>
                  <a:pt x="252" y="226"/>
                </a:lnTo>
                <a:lnTo>
                  <a:pt x="252" y="222"/>
                </a:lnTo>
                <a:lnTo>
                  <a:pt x="252" y="226"/>
                </a:lnTo>
                <a:lnTo>
                  <a:pt x="248" y="222"/>
                </a:lnTo>
                <a:lnTo>
                  <a:pt x="248" y="220"/>
                </a:lnTo>
                <a:lnTo>
                  <a:pt x="252" y="220"/>
                </a:lnTo>
                <a:lnTo>
                  <a:pt x="252" y="220"/>
                </a:lnTo>
                <a:lnTo>
                  <a:pt x="252" y="220"/>
                </a:lnTo>
                <a:close/>
                <a:moveTo>
                  <a:pt x="516" y="222"/>
                </a:moveTo>
                <a:lnTo>
                  <a:pt x="516" y="226"/>
                </a:lnTo>
                <a:lnTo>
                  <a:pt x="516" y="230"/>
                </a:lnTo>
                <a:lnTo>
                  <a:pt x="514" y="234"/>
                </a:lnTo>
                <a:lnTo>
                  <a:pt x="514" y="238"/>
                </a:lnTo>
                <a:lnTo>
                  <a:pt x="510" y="238"/>
                </a:lnTo>
                <a:lnTo>
                  <a:pt x="506" y="238"/>
                </a:lnTo>
                <a:lnTo>
                  <a:pt x="510" y="234"/>
                </a:lnTo>
                <a:lnTo>
                  <a:pt x="510" y="230"/>
                </a:lnTo>
                <a:lnTo>
                  <a:pt x="514" y="226"/>
                </a:lnTo>
                <a:lnTo>
                  <a:pt x="514" y="222"/>
                </a:lnTo>
                <a:lnTo>
                  <a:pt x="516" y="222"/>
                </a:lnTo>
                <a:lnTo>
                  <a:pt x="516" y="222"/>
                </a:lnTo>
                <a:lnTo>
                  <a:pt x="516" y="222"/>
                </a:lnTo>
                <a:close/>
                <a:moveTo>
                  <a:pt x="614" y="226"/>
                </a:moveTo>
                <a:lnTo>
                  <a:pt x="618" y="226"/>
                </a:lnTo>
                <a:lnTo>
                  <a:pt x="618" y="230"/>
                </a:lnTo>
                <a:lnTo>
                  <a:pt x="622" y="230"/>
                </a:lnTo>
                <a:lnTo>
                  <a:pt x="618" y="234"/>
                </a:lnTo>
                <a:lnTo>
                  <a:pt x="618" y="238"/>
                </a:lnTo>
                <a:lnTo>
                  <a:pt x="618" y="242"/>
                </a:lnTo>
                <a:lnTo>
                  <a:pt x="614" y="242"/>
                </a:lnTo>
                <a:lnTo>
                  <a:pt x="610" y="246"/>
                </a:lnTo>
                <a:lnTo>
                  <a:pt x="606" y="246"/>
                </a:lnTo>
                <a:lnTo>
                  <a:pt x="602" y="246"/>
                </a:lnTo>
                <a:lnTo>
                  <a:pt x="600" y="246"/>
                </a:lnTo>
                <a:lnTo>
                  <a:pt x="602" y="242"/>
                </a:lnTo>
                <a:lnTo>
                  <a:pt x="602" y="238"/>
                </a:lnTo>
                <a:lnTo>
                  <a:pt x="602" y="234"/>
                </a:lnTo>
                <a:lnTo>
                  <a:pt x="606" y="230"/>
                </a:lnTo>
                <a:lnTo>
                  <a:pt x="610" y="230"/>
                </a:lnTo>
                <a:lnTo>
                  <a:pt x="610" y="226"/>
                </a:lnTo>
                <a:lnTo>
                  <a:pt x="614" y="226"/>
                </a:lnTo>
                <a:lnTo>
                  <a:pt x="614" y="226"/>
                </a:lnTo>
                <a:lnTo>
                  <a:pt x="614" y="226"/>
                </a:lnTo>
                <a:close/>
                <a:moveTo>
                  <a:pt x="488" y="234"/>
                </a:moveTo>
                <a:lnTo>
                  <a:pt x="490" y="234"/>
                </a:lnTo>
                <a:lnTo>
                  <a:pt x="490" y="238"/>
                </a:lnTo>
                <a:lnTo>
                  <a:pt x="488" y="238"/>
                </a:lnTo>
                <a:lnTo>
                  <a:pt x="488" y="234"/>
                </a:lnTo>
                <a:lnTo>
                  <a:pt x="488" y="234"/>
                </a:lnTo>
                <a:lnTo>
                  <a:pt x="488" y="234"/>
                </a:lnTo>
                <a:close/>
                <a:moveTo>
                  <a:pt x="272" y="242"/>
                </a:moveTo>
                <a:lnTo>
                  <a:pt x="276" y="242"/>
                </a:lnTo>
                <a:lnTo>
                  <a:pt x="278" y="242"/>
                </a:lnTo>
                <a:lnTo>
                  <a:pt x="282" y="242"/>
                </a:lnTo>
                <a:lnTo>
                  <a:pt x="282" y="238"/>
                </a:lnTo>
                <a:lnTo>
                  <a:pt x="286" y="242"/>
                </a:lnTo>
                <a:lnTo>
                  <a:pt x="290" y="242"/>
                </a:lnTo>
                <a:lnTo>
                  <a:pt x="290" y="246"/>
                </a:lnTo>
                <a:lnTo>
                  <a:pt x="286" y="250"/>
                </a:lnTo>
                <a:lnTo>
                  <a:pt x="282" y="250"/>
                </a:lnTo>
                <a:lnTo>
                  <a:pt x="282" y="252"/>
                </a:lnTo>
                <a:lnTo>
                  <a:pt x="282" y="250"/>
                </a:lnTo>
                <a:lnTo>
                  <a:pt x="278" y="246"/>
                </a:lnTo>
                <a:lnTo>
                  <a:pt x="276" y="246"/>
                </a:lnTo>
                <a:lnTo>
                  <a:pt x="276" y="242"/>
                </a:lnTo>
                <a:lnTo>
                  <a:pt x="272" y="242"/>
                </a:lnTo>
                <a:lnTo>
                  <a:pt x="272" y="242"/>
                </a:lnTo>
                <a:lnTo>
                  <a:pt x="272" y="242"/>
                </a:lnTo>
                <a:close/>
                <a:moveTo>
                  <a:pt x="390" y="250"/>
                </a:moveTo>
                <a:lnTo>
                  <a:pt x="386" y="250"/>
                </a:lnTo>
                <a:lnTo>
                  <a:pt x="386" y="252"/>
                </a:lnTo>
                <a:lnTo>
                  <a:pt x="382" y="252"/>
                </a:lnTo>
                <a:lnTo>
                  <a:pt x="378" y="252"/>
                </a:lnTo>
                <a:lnTo>
                  <a:pt x="374" y="252"/>
                </a:lnTo>
                <a:lnTo>
                  <a:pt x="372" y="252"/>
                </a:lnTo>
                <a:lnTo>
                  <a:pt x="368" y="252"/>
                </a:lnTo>
                <a:lnTo>
                  <a:pt x="364" y="256"/>
                </a:lnTo>
                <a:lnTo>
                  <a:pt x="364" y="252"/>
                </a:lnTo>
                <a:lnTo>
                  <a:pt x="360" y="252"/>
                </a:lnTo>
                <a:lnTo>
                  <a:pt x="358" y="252"/>
                </a:lnTo>
                <a:lnTo>
                  <a:pt x="354" y="252"/>
                </a:lnTo>
                <a:lnTo>
                  <a:pt x="350" y="252"/>
                </a:lnTo>
                <a:lnTo>
                  <a:pt x="350" y="250"/>
                </a:lnTo>
                <a:lnTo>
                  <a:pt x="350" y="246"/>
                </a:lnTo>
                <a:lnTo>
                  <a:pt x="354" y="246"/>
                </a:lnTo>
                <a:lnTo>
                  <a:pt x="354" y="242"/>
                </a:lnTo>
                <a:lnTo>
                  <a:pt x="358" y="242"/>
                </a:lnTo>
                <a:lnTo>
                  <a:pt x="360" y="246"/>
                </a:lnTo>
                <a:lnTo>
                  <a:pt x="364" y="246"/>
                </a:lnTo>
                <a:lnTo>
                  <a:pt x="368" y="246"/>
                </a:lnTo>
                <a:lnTo>
                  <a:pt x="368" y="250"/>
                </a:lnTo>
                <a:lnTo>
                  <a:pt x="372" y="250"/>
                </a:lnTo>
                <a:lnTo>
                  <a:pt x="374" y="246"/>
                </a:lnTo>
                <a:lnTo>
                  <a:pt x="378" y="246"/>
                </a:lnTo>
                <a:lnTo>
                  <a:pt x="378" y="250"/>
                </a:lnTo>
                <a:lnTo>
                  <a:pt x="382" y="250"/>
                </a:lnTo>
                <a:lnTo>
                  <a:pt x="386" y="250"/>
                </a:lnTo>
                <a:lnTo>
                  <a:pt x="386" y="246"/>
                </a:lnTo>
                <a:lnTo>
                  <a:pt x="390" y="246"/>
                </a:lnTo>
                <a:lnTo>
                  <a:pt x="394" y="242"/>
                </a:lnTo>
                <a:lnTo>
                  <a:pt x="390" y="242"/>
                </a:lnTo>
                <a:lnTo>
                  <a:pt x="394" y="242"/>
                </a:lnTo>
                <a:lnTo>
                  <a:pt x="394" y="246"/>
                </a:lnTo>
                <a:lnTo>
                  <a:pt x="390" y="246"/>
                </a:lnTo>
                <a:lnTo>
                  <a:pt x="390" y="250"/>
                </a:lnTo>
                <a:lnTo>
                  <a:pt x="390" y="250"/>
                </a:lnTo>
                <a:lnTo>
                  <a:pt x="390" y="250"/>
                </a:lnTo>
                <a:close/>
                <a:moveTo>
                  <a:pt x="338" y="250"/>
                </a:moveTo>
                <a:lnTo>
                  <a:pt x="338" y="252"/>
                </a:lnTo>
                <a:lnTo>
                  <a:pt x="334" y="252"/>
                </a:lnTo>
                <a:lnTo>
                  <a:pt x="334" y="250"/>
                </a:lnTo>
                <a:lnTo>
                  <a:pt x="332" y="252"/>
                </a:lnTo>
                <a:lnTo>
                  <a:pt x="334" y="252"/>
                </a:lnTo>
                <a:lnTo>
                  <a:pt x="332" y="252"/>
                </a:lnTo>
                <a:lnTo>
                  <a:pt x="328" y="252"/>
                </a:lnTo>
                <a:lnTo>
                  <a:pt x="328" y="250"/>
                </a:lnTo>
                <a:lnTo>
                  <a:pt x="328" y="252"/>
                </a:lnTo>
                <a:lnTo>
                  <a:pt x="324" y="252"/>
                </a:lnTo>
                <a:lnTo>
                  <a:pt x="320" y="256"/>
                </a:lnTo>
                <a:lnTo>
                  <a:pt x="320" y="252"/>
                </a:lnTo>
                <a:lnTo>
                  <a:pt x="316" y="256"/>
                </a:lnTo>
                <a:lnTo>
                  <a:pt x="312" y="256"/>
                </a:lnTo>
                <a:lnTo>
                  <a:pt x="308" y="256"/>
                </a:lnTo>
                <a:lnTo>
                  <a:pt x="304" y="256"/>
                </a:lnTo>
                <a:lnTo>
                  <a:pt x="304" y="252"/>
                </a:lnTo>
                <a:lnTo>
                  <a:pt x="304" y="250"/>
                </a:lnTo>
                <a:lnTo>
                  <a:pt x="308" y="250"/>
                </a:lnTo>
                <a:lnTo>
                  <a:pt x="308" y="246"/>
                </a:lnTo>
                <a:lnTo>
                  <a:pt x="312" y="246"/>
                </a:lnTo>
                <a:lnTo>
                  <a:pt x="316" y="246"/>
                </a:lnTo>
                <a:lnTo>
                  <a:pt x="316" y="250"/>
                </a:lnTo>
                <a:lnTo>
                  <a:pt x="320" y="250"/>
                </a:lnTo>
                <a:lnTo>
                  <a:pt x="324" y="252"/>
                </a:lnTo>
                <a:lnTo>
                  <a:pt x="324" y="250"/>
                </a:lnTo>
                <a:lnTo>
                  <a:pt x="328" y="250"/>
                </a:lnTo>
                <a:lnTo>
                  <a:pt x="324" y="246"/>
                </a:lnTo>
                <a:lnTo>
                  <a:pt x="320" y="246"/>
                </a:lnTo>
                <a:lnTo>
                  <a:pt x="320" y="242"/>
                </a:lnTo>
                <a:lnTo>
                  <a:pt x="324" y="242"/>
                </a:lnTo>
                <a:lnTo>
                  <a:pt x="328" y="242"/>
                </a:lnTo>
                <a:lnTo>
                  <a:pt x="328" y="246"/>
                </a:lnTo>
                <a:lnTo>
                  <a:pt x="328" y="242"/>
                </a:lnTo>
                <a:lnTo>
                  <a:pt x="332" y="242"/>
                </a:lnTo>
                <a:lnTo>
                  <a:pt x="332" y="246"/>
                </a:lnTo>
                <a:lnTo>
                  <a:pt x="332" y="250"/>
                </a:lnTo>
                <a:lnTo>
                  <a:pt x="332" y="246"/>
                </a:lnTo>
                <a:lnTo>
                  <a:pt x="334" y="246"/>
                </a:lnTo>
                <a:lnTo>
                  <a:pt x="338" y="246"/>
                </a:lnTo>
                <a:lnTo>
                  <a:pt x="338" y="250"/>
                </a:lnTo>
                <a:lnTo>
                  <a:pt x="338" y="250"/>
                </a:lnTo>
                <a:lnTo>
                  <a:pt x="338" y="250"/>
                </a:lnTo>
                <a:close/>
                <a:moveTo>
                  <a:pt x="460" y="242"/>
                </a:moveTo>
                <a:lnTo>
                  <a:pt x="464" y="242"/>
                </a:lnTo>
                <a:lnTo>
                  <a:pt x="460" y="242"/>
                </a:lnTo>
                <a:lnTo>
                  <a:pt x="460" y="242"/>
                </a:lnTo>
                <a:lnTo>
                  <a:pt x="460" y="242"/>
                </a:lnTo>
                <a:close/>
                <a:moveTo>
                  <a:pt x="316" y="246"/>
                </a:moveTo>
                <a:lnTo>
                  <a:pt x="316" y="242"/>
                </a:lnTo>
                <a:lnTo>
                  <a:pt x="320" y="242"/>
                </a:lnTo>
                <a:lnTo>
                  <a:pt x="316" y="242"/>
                </a:lnTo>
                <a:lnTo>
                  <a:pt x="316" y="246"/>
                </a:lnTo>
                <a:lnTo>
                  <a:pt x="316" y="246"/>
                </a:lnTo>
                <a:lnTo>
                  <a:pt x="316" y="246"/>
                </a:lnTo>
                <a:close/>
                <a:moveTo>
                  <a:pt x="618" y="242"/>
                </a:moveTo>
                <a:lnTo>
                  <a:pt x="618" y="246"/>
                </a:lnTo>
                <a:lnTo>
                  <a:pt x="614" y="246"/>
                </a:lnTo>
                <a:lnTo>
                  <a:pt x="614" y="242"/>
                </a:lnTo>
                <a:lnTo>
                  <a:pt x="618" y="242"/>
                </a:lnTo>
                <a:lnTo>
                  <a:pt x="618" y="242"/>
                </a:lnTo>
                <a:lnTo>
                  <a:pt x="618" y="242"/>
                </a:lnTo>
                <a:close/>
                <a:moveTo>
                  <a:pt x="476" y="242"/>
                </a:moveTo>
                <a:lnTo>
                  <a:pt x="480" y="242"/>
                </a:lnTo>
                <a:lnTo>
                  <a:pt x="476" y="242"/>
                </a:lnTo>
                <a:lnTo>
                  <a:pt x="476" y="242"/>
                </a:lnTo>
                <a:lnTo>
                  <a:pt x="476" y="242"/>
                </a:lnTo>
                <a:close/>
                <a:moveTo>
                  <a:pt x="298" y="242"/>
                </a:moveTo>
                <a:lnTo>
                  <a:pt x="302" y="242"/>
                </a:lnTo>
                <a:lnTo>
                  <a:pt x="304" y="246"/>
                </a:lnTo>
                <a:lnTo>
                  <a:pt x="304" y="250"/>
                </a:lnTo>
                <a:lnTo>
                  <a:pt x="302" y="250"/>
                </a:lnTo>
                <a:lnTo>
                  <a:pt x="302" y="252"/>
                </a:lnTo>
                <a:lnTo>
                  <a:pt x="298" y="252"/>
                </a:lnTo>
                <a:lnTo>
                  <a:pt x="294" y="252"/>
                </a:lnTo>
                <a:lnTo>
                  <a:pt x="298" y="250"/>
                </a:lnTo>
                <a:lnTo>
                  <a:pt x="294" y="250"/>
                </a:lnTo>
                <a:lnTo>
                  <a:pt x="298" y="246"/>
                </a:lnTo>
                <a:lnTo>
                  <a:pt x="298" y="242"/>
                </a:lnTo>
                <a:lnTo>
                  <a:pt x="298" y="242"/>
                </a:lnTo>
                <a:lnTo>
                  <a:pt x="298" y="242"/>
                </a:lnTo>
                <a:close/>
                <a:moveTo>
                  <a:pt x="394" y="246"/>
                </a:moveTo>
                <a:lnTo>
                  <a:pt x="394" y="242"/>
                </a:lnTo>
                <a:lnTo>
                  <a:pt x="398" y="242"/>
                </a:lnTo>
                <a:lnTo>
                  <a:pt x="398" y="246"/>
                </a:lnTo>
                <a:lnTo>
                  <a:pt x="394" y="246"/>
                </a:lnTo>
                <a:lnTo>
                  <a:pt x="394" y="246"/>
                </a:lnTo>
                <a:lnTo>
                  <a:pt x="394" y="246"/>
                </a:lnTo>
                <a:close/>
                <a:moveTo>
                  <a:pt x="342" y="246"/>
                </a:moveTo>
                <a:lnTo>
                  <a:pt x="346" y="246"/>
                </a:lnTo>
                <a:lnTo>
                  <a:pt x="346" y="250"/>
                </a:lnTo>
                <a:lnTo>
                  <a:pt x="342" y="250"/>
                </a:lnTo>
                <a:lnTo>
                  <a:pt x="342" y="252"/>
                </a:lnTo>
                <a:lnTo>
                  <a:pt x="342" y="250"/>
                </a:lnTo>
                <a:lnTo>
                  <a:pt x="342" y="246"/>
                </a:lnTo>
                <a:lnTo>
                  <a:pt x="342" y="246"/>
                </a:lnTo>
                <a:lnTo>
                  <a:pt x="342" y="246"/>
                </a:lnTo>
                <a:close/>
                <a:moveTo>
                  <a:pt x="390" y="250"/>
                </a:moveTo>
                <a:lnTo>
                  <a:pt x="394" y="246"/>
                </a:lnTo>
                <a:lnTo>
                  <a:pt x="394" y="250"/>
                </a:lnTo>
                <a:lnTo>
                  <a:pt x="390" y="250"/>
                </a:lnTo>
                <a:lnTo>
                  <a:pt x="390" y="250"/>
                </a:lnTo>
                <a:lnTo>
                  <a:pt x="390" y="250"/>
                </a:lnTo>
                <a:close/>
                <a:moveTo>
                  <a:pt x="346" y="252"/>
                </a:moveTo>
                <a:lnTo>
                  <a:pt x="346" y="250"/>
                </a:lnTo>
                <a:lnTo>
                  <a:pt x="346" y="252"/>
                </a:lnTo>
                <a:lnTo>
                  <a:pt x="346" y="252"/>
                </a:lnTo>
                <a:lnTo>
                  <a:pt x="346" y="252"/>
                </a:lnTo>
                <a:close/>
                <a:moveTo>
                  <a:pt x="338" y="268"/>
                </a:moveTo>
                <a:lnTo>
                  <a:pt x="334" y="264"/>
                </a:lnTo>
                <a:lnTo>
                  <a:pt x="338" y="264"/>
                </a:lnTo>
                <a:lnTo>
                  <a:pt x="342" y="260"/>
                </a:lnTo>
                <a:lnTo>
                  <a:pt x="342" y="264"/>
                </a:lnTo>
                <a:lnTo>
                  <a:pt x="346" y="260"/>
                </a:lnTo>
                <a:lnTo>
                  <a:pt x="346" y="264"/>
                </a:lnTo>
                <a:lnTo>
                  <a:pt x="350" y="264"/>
                </a:lnTo>
                <a:lnTo>
                  <a:pt x="350" y="260"/>
                </a:lnTo>
                <a:lnTo>
                  <a:pt x="350" y="264"/>
                </a:lnTo>
                <a:lnTo>
                  <a:pt x="354" y="264"/>
                </a:lnTo>
                <a:lnTo>
                  <a:pt x="354" y="268"/>
                </a:lnTo>
                <a:lnTo>
                  <a:pt x="358" y="268"/>
                </a:lnTo>
                <a:lnTo>
                  <a:pt x="360" y="268"/>
                </a:lnTo>
                <a:lnTo>
                  <a:pt x="360" y="272"/>
                </a:lnTo>
                <a:lnTo>
                  <a:pt x="364" y="272"/>
                </a:lnTo>
                <a:lnTo>
                  <a:pt x="364" y="276"/>
                </a:lnTo>
                <a:lnTo>
                  <a:pt x="360" y="276"/>
                </a:lnTo>
                <a:lnTo>
                  <a:pt x="360" y="280"/>
                </a:lnTo>
                <a:lnTo>
                  <a:pt x="358" y="280"/>
                </a:lnTo>
                <a:lnTo>
                  <a:pt x="354" y="280"/>
                </a:lnTo>
                <a:lnTo>
                  <a:pt x="354" y="276"/>
                </a:lnTo>
                <a:lnTo>
                  <a:pt x="350" y="276"/>
                </a:lnTo>
                <a:lnTo>
                  <a:pt x="350" y="272"/>
                </a:lnTo>
                <a:lnTo>
                  <a:pt x="346" y="272"/>
                </a:lnTo>
                <a:lnTo>
                  <a:pt x="346" y="268"/>
                </a:lnTo>
                <a:lnTo>
                  <a:pt x="342" y="268"/>
                </a:lnTo>
                <a:lnTo>
                  <a:pt x="338" y="268"/>
                </a:lnTo>
                <a:lnTo>
                  <a:pt x="338" y="268"/>
                </a:lnTo>
                <a:lnTo>
                  <a:pt x="338" y="268"/>
                </a:lnTo>
                <a:close/>
                <a:moveTo>
                  <a:pt x="374" y="282"/>
                </a:moveTo>
                <a:lnTo>
                  <a:pt x="374" y="280"/>
                </a:lnTo>
                <a:lnTo>
                  <a:pt x="378" y="280"/>
                </a:lnTo>
                <a:lnTo>
                  <a:pt x="378" y="282"/>
                </a:lnTo>
                <a:lnTo>
                  <a:pt x="374" y="282"/>
                </a:lnTo>
                <a:lnTo>
                  <a:pt x="374" y="282"/>
                </a:lnTo>
                <a:lnTo>
                  <a:pt x="374" y="282"/>
                </a:lnTo>
                <a:close/>
                <a:moveTo>
                  <a:pt x="390" y="286"/>
                </a:moveTo>
                <a:lnTo>
                  <a:pt x="394" y="286"/>
                </a:lnTo>
                <a:lnTo>
                  <a:pt x="394" y="282"/>
                </a:lnTo>
                <a:lnTo>
                  <a:pt x="398" y="282"/>
                </a:lnTo>
                <a:lnTo>
                  <a:pt x="398" y="280"/>
                </a:lnTo>
                <a:lnTo>
                  <a:pt x="398" y="282"/>
                </a:lnTo>
                <a:lnTo>
                  <a:pt x="398" y="286"/>
                </a:lnTo>
                <a:lnTo>
                  <a:pt x="394" y="286"/>
                </a:lnTo>
                <a:lnTo>
                  <a:pt x="394" y="290"/>
                </a:lnTo>
                <a:lnTo>
                  <a:pt x="390" y="290"/>
                </a:lnTo>
                <a:lnTo>
                  <a:pt x="390" y="286"/>
                </a:lnTo>
                <a:lnTo>
                  <a:pt x="390" y="286"/>
                </a:lnTo>
                <a:lnTo>
                  <a:pt x="390" y="286"/>
                </a:lnTo>
                <a:close/>
                <a:moveTo>
                  <a:pt x="434" y="234"/>
                </a:moveTo>
                <a:lnTo>
                  <a:pt x="438" y="234"/>
                </a:lnTo>
                <a:lnTo>
                  <a:pt x="442" y="234"/>
                </a:lnTo>
                <a:lnTo>
                  <a:pt x="442" y="230"/>
                </a:lnTo>
                <a:lnTo>
                  <a:pt x="446" y="230"/>
                </a:lnTo>
                <a:lnTo>
                  <a:pt x="446" y="234"/>
                </a:lnTo>
                <a:lnTo>
                  <a:pt x="442" y="234"/>
                </a:lnTo>
                <a:lnTo>
                  <a:pt x="442" y="238"/>
                </a:lnTo>
                <a:lnTo>
                  <a:pt x="438" y="238"/>
                </a:lnTo>
                <a:lnTo>
                  <a:pt x="434" y="238"/>
                </a:lnTo>
                <a:lnTo>
                  <a:pt x="430" y="238"/>
                </a:lnTo>
                <a:lnTo>
                  <a:pt x="434" y="234"/>
                </a:lnTo>
                <a:lnTo>
                  <a:pt x="434" y="234"/>
                </a:lnTo>
                <a:lnTo>
                  <a:pt x="434" y="234"/>
                </a:lnTo>
                <a:close/>
                <a:moveTo>
                  <a:pt x="412" y="242"/>
                </a:moveTo>
                <a:lnTo>
                  <a:pt x="416" y="242"/>
                </a:lnTo>
                <a:lnTo>
                  <a:pt x="420" y="242"/>
                </a:lnTo>
                <a:lnTo>
                  <a:pt x="424" y="242"/>
                </a:lnTo>
                <a:lnTo>
                  <a:pt x="424" y="246"/>
                </a:lnTo>
                <a:lnTo>
                  <a:pt x="420" y="246"/>
                </a:lnTo>
                <a:lnTo>
                  <a:pt x="416" y="246"/>
                </a:lnTo>
                <a:lnTo>
                  <a:pt x="412" y="246"/>
                </a:lnTo>
                <a:lnTo>
                  <a:pt x="412" y="242"/>
                </a:lnTo>
                <a:lnTo>
                  <a:pt x="412" y="242"/>
                </a:lnTo>
                <a:lnTo>
                  <a:pt x="412" y="242"/>
                </a:lnTo>
                <a:close/>
                <a:moveTo>
                  <a:pt x="404" y="246"/>
                </a:moveTo>
                <a:lnTo>
                  <a:pt x="408" y="246"/>
                </a:lnTo>
                <a:lnTo>
                  <a:pt x="408" y="242"/>
                </a:lnTo>
                <a:lnTo>
                  <a:pt x="412" y="242"/>
                </a:lnTo>
                <a:lnTo>
                  <a:pt x="412" y="246"/>
                </a:lnTo>
                <a:lnTo>
                  <a:pt x="408" y="246"/>
                </a:lnTo>
                <a:lnTo>
                  <a:pt x="408" y="250"/>
                </a:lnTo>
                <a:lnTo>
                  <a:pt x="408" y="246"/>
                </a:lnTo>
                <a:lnTo>
                  <a:pt x="404" y="246"/>
                </a:lnTo>
                <a:lnTo>
                  <a:pt x="404" y="246"/>
                </a:lnTo>
                <a:lnTo>
                  <a:pt x="404" y="246"/>
                </a:lnTo>
                <a:close/>
                <a:moveTo>
                  <a:pt x="398" y="250"/>
                </a:moveTo>
                <a:lnTo>
                  <a:pt x="398" y="246"/>
                </a:lnTo>
                <a:lnTo>
                  <a:pt x="402" y="246"/>
                </a:lnTo>
                <a:lnTo>
                  <a:pt x="398" y="246"/>
                </a:lnTo>
                <a:lnTo>
                  <a:pt x="398" y="242"/>
                </a:lnTo>
                <a:lnTo>
                  <a:pt x="402" y="242"/>
                </a:lnTo>
                <a:lnTo>
                  <a:pt x="402" y="246"/>
                </a:lnTo>
                <a:lnTo>
                  <a:pt x="404" y="242"/>
                </a:lnTo>
                <a:lnTo>
                  <a:pt x="404" y="246"/>
                </a:lnTo>
                <a:lnTo>
                  <a:pt x="402" y="246"/>
                </a:lnTo>
                <a:lnTo>
                  <a:pt x="402" y="250"/>
                </a:lnTo>
                <a:lnTo>
                  <a:pt x="398" y="250"/>
                </a:lnTo>
                <a:lnTo>
                  <a:pt x="398" y="250"/>
                </a:lnTo>
                <a:lnTo>
                  <a:pt x="398" y="250"/>
                </a:lnTo>
                <a:close/>
                <a:moveTo>
                  <a:pt x="424" y="264"/>
                </a:moveTo>
                <a:lnTo>
                  <a:pt x="420" y="264"/>
                </a:lnTo>
                <a:lnTo>
                  <a:pt x="420" y="268"/>
                </a:lnTo>
                <a:lnTo>
                  <a:pt x="420" y="272"/>
                </a:lnTo>
                <a:lnTo>
                  <a:pt x="416" y="272"/>
                </a:lnTo>
                <a:lnTo>
                  <a:pt x="416" y="276"/>
                </a:lnTo>
                <a:lnTo>
                  <a:pt x="412" y="276"/>
                </a:lnTo>
                <a:lnTo>
                  <a:pt x="408" y="276"/>
                </a:lnTo>
                <a:lnTo>
                  <a:pt x="408" y="280"/>
                </a:lnTo>
                <a:lnTo>
                  <a:pt x="404" y="280"/>
                </a:lnTo>
                <a:lnTo>
                  <a:pt x="402" y="280"/>
                </a:lnTo>
                <a:lnTo>
                  <a:pt x="402" y="276"/>
                </a:lnTo>
                <a:lnTo>
                  <a:pt x="404" y="276"/>
                </a:lnTo>
                <a:lnTo>
                  <a:pt x="402" y="276"/>
                </a:lnTo>
                <a:lnTo>
                  <a:pt x="402" y="272"/>
                </a:lnTo>
                <a:lnTo>
                  <a:pt x="402" y="268"/>
                </a:lnTo>
                <a:lnTo>
                  <a:pt x="404" y="264"/>
                </a:lnTo>
                <a:lnTo>
                  <a:pt x="404" y="260"/>
                </a:lnTo>
                <a:lnTo>
                  <a:pt x="408" y="260"/>
                </a:lnTo>
                <a:lnTo>
                  <a:pt x="408" y="264"/>
                </a:lnTo>
                <a:lnTo>
                  <a:pt x="412" y="264"/>
                </a:lnTo>
                <a:lnTo>
                  <a:pt x="412" y="260"/>
                </a:lnTo>
                <a:lnTo>
                  <a:pt x="416" y="260"/>
                </a:lnTo>
                <a:lnTo>
                  <a:pt x="416" y="256"/>
                </a:lnTo>
                <a:lnTo>
                  <a:pt x="420" y="256"/>
                </a:lnTo>
                <a:lnTo>
                  <a:pt x="424" y="256"/>
                </a:lnTo>
                <a:lnTo>
                  <a:pt x="424" y="260"/>
                </a:lnTo>
                <a:lnTo>
                  <a:pt x="420" y="260"/>
                </a:lnTo>
                <a:lnTo>
                  <a:pt x="424" y="264"/>
                </a:lnTo>
                <a:lnTo>
                  <a:pt x="424" y="264"/>
                </a:lnTo>
                <a:lnTo>
                  <a:pt x="424" y="264"/>
                </a:lnTo>
                <a:close/>
              </a:path>
            </a:pathLst>
          </a:custGeom>
          <a:solidFill>
            <a:srgbClr val="A0DCFF"/>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2" name="Freeform 29"/>
          <p:cNvSpPr>
            <a:spLocks noEditPoints="1"/>
          </p:cNvSpPr>
          <p:nvPr/>
        </p:nvSpPr>
        <p:spPr bwMode="auto">
          <a:xfrm>
            <a:off x="4998243" y="2857499"/>
            <a:ext cx="323850" cy="323850"/>
          </a:xfrm>
          <a:custGeom>
            <a:avLst/>
            <a:gdLst>
              <a:gd name="T0" fmla="*/ 250 w 272"/>
              <a:gd name="T1" fmla="*/ 156 h 272"/>
              <a:gd name="T2" fmla="*/ 242 w 272"/>
              <a:gd name="T3" fmla="*/ 178 h 272"/>
              <a:gd name="T4" fmla="*/ 246 w 272"/>
              <a:gd name="T5" fmla="*/ 198 h 272"/>
              <a:gd name="T6" fmla="*/ 264 w 272"/>
              <a:gd name="T7" fmla="*/ 212 h 272"/>
              <a:gd name="T8" fmla="*/ 268 w 272"/>
              <a:gd name="T9" fmla="*/ 232 h 272"/>
              <a:gd name="T10" fmla="*/ 264 w 272"/>
              <a:gd name="T11" fmla="*/ 242 h 272"/>
              <a:gd name="T12" fmla="*/ 258 w 272"/>
              <a:gd name="T13" fmla="*/ 250 h 272"/>
              <a:gd name="T14" fmla="*/ 250 w 272"/>
              <a:gd name="T15" fmla="*/ 264 h 272"/>
              <a:gd name="T16" fmla="*/ 238 w 272"/>
              <a:gd name="T17" fmla="*/ 268 h 272"/>
              <a:gd name="T18" fmla="*/ 228 w 272"/>
              <a:gd name="T19" fmla="*/ 264 h 272"/>
              <a:gd name="T20" fmla="*/ 204 w 272"/>
              <a:gd name="T21" fmla="*/ 262 h 272"/>
              <a:gd name="T22" fmla="*/ 190 w 272"/>
              <a:gd name="T23" fmla="*/ 258 h 272"/>
              <a:gd name="T24" fmla="*/ 182 w 272"/>
              <a:gd name="T25" fmla="*/ 234 h 272"/>
              <a:gd name="T26" fmla="*/ 164 w 272"/>
              <a:gd name="T27" fmla="*/ 238 h 272"/>
              <a:gd name="T28" fmla="*/ 144 w 272"/>
              <a:gd name="T29" fmla="*/ 242 h 272"/>
              <a:gd name="T30" fmla="*/ 126 w 272"/>
              <a:gd name="T31" fmla="*/ 234 h 272"/>
              <a:gd name="T32" fmla="*/ 116 w 272"/>
              <a:gd name="T33" fmla="*/ 224 h 272"/>
              <a:gd name="T34" fmla="*/ 100 w 272"/>
              <a:gd name="T35" fmla="*/ 208 h 272"/>
              <a:gd name="T36" fmla="*/ 94 w 272"/>
              <a:gd name="T37" fmla="*/ 194 h 272"/>
              <a:gd name="T38" fmla="*/ 86 w 272"/>
              <a:gd name="T39" fmla="*/ 178 h 272"/>
              <a:gd name="T40" fmla="*/ 74 w 272"/>
              <a:gd name="T41" fmla="*/ 176 h 272"/>
              <a:gd name="T42" fmla="*/ 68 w 272"/>
              <a:gd name="T43" fmla="*/ 182 h 272"/>
              <a:gd name="T44" fmla="*/ 56 w 272"/>
              <a:gd name="T45" fmla="*/ 164 h 272"/>
              <a:gd name="T46" fmla="*/ 52 w 272"/>
              <a:gd name="T47" fmla="*/ 148 h 272"/>
              <a:gd name="T48" fmla="*/ 44 w 272"/>
              <a:gd name="T49" fmla="*/ 134 h 272"/>
              <a:gd name="T50" fmla="*/ 30 w 272"/>
              <a:gd name="T51" fmla="*/ 120 h 272"/>
              <a:gd name="T52" fmla="*/ 18 w 272"/>
              <a:gd name="T53" fmla="*/ 108 h 272"/>
              <a:gd name="T54" fmla="*/ 26 w 272"/>
              <a:gd name="T55" fmla="*/ 96 h 272"/>
              <a:gd name="T56" fmla="*/ 26 w 272"/>
              <a:gd name="T57" fmla="*/ 90 h 272"/>
              <a:gd name="T58" fmla="*/ 30 w 272"/>
              <a:gd name="T59" fmla="*/ 74 h 272"/>
              <a:gd name="T60" fmla="*/ 18 w 272"/>
              <a:gd name="T61" fmla="*/ 66 h 272"/>
              <a:gd name="T62" fmla="*/ 12 w 272"/>
              <a:gd name="T63" fmla="*/ 52 h 272"/>
              <a:gd name="T64" fmla="*/ 4 w 272"/>
              <a:gd name="T65" fmla="*/ 34 h 272"/>
              <a:gd name="T66" fmla="*/ 4 w 272"/>
              <a:gd name="T67" fmla="*/ 14 h 272"/>
              <a:gd name="T68" fmla="*/ 4 w 272"/>
              <a:gd name="T69" fmla="*/ 4 h 272"/>
              <a:gd name="T70" fmla="*/ 14 w 272"/>
              <a:gd name="T71" fmla="*/ 8 h 272"/>
              <a:gd name="T72" fmla="*/ 34 w 272"/>
              <a:gd name="T73" fmla="*/ 14 h 272"/>
              <a:gd name="T74" fmla="*/ 48 w 272"/>
              <a:gd name="T75" fmla="*/ 4 h 272"/>
              <a:gd name="T76" fmla="*/ 60 w 272"/>
              <a:gd name="T77" fmla="*/ 10 h 272"/>
              <a:gd name="T78" fmla="*/ 64 w 272"/>
              <a:gd name="T79" fmla="*/ 26 h 272"/>
              <a:gd name="T80" fmla="*/ 90 w 272"/>
              <a:gd name="T81" fmla="*/ 26 h 272"/>
              <a:gd name="T82" fmla="*/ 108 w 272"/>
              <a:gd name="T83" fmla="*/ 26 h 272"/>
              <a:gd name="T84" fmla="*/ 122 w 272"/>
              <a:gd name="T85" fmla="*/ 36 h 272"/>
              <a:gd name="T86" fmla="*/ 142 w 272"/>
              <a:gd name="T87" fmla="*/ 44 h 272"/>
              <a:gd name="T88" fmla="*/ 156 w 272"/>
              <a:gd name="T89" fmla="*/ 34 h 272"/>
              <a:gd name="T90" fmla="*/ 174 w 272"/>
              <a:gd name="T91" fmla="*/ 30 h 272"/>
              <a:gd name="T92" fmla="*/ 186 w 272"/>
              <a:gd name="T93" fmla="*/ 26 h 272"/>
              <a:gd name="T94" fmla="*/ 208 w 272"/>
              <a:gd name="T95" fmla="*/ 36 h 272"/>
              <a:gd name="T96" fmla="*/ 216 w 272"/>
              <a:gd name="T97" fmla="*/ 44 h 272"/>
              <a:gd name="T98" fmla="*/ 234 w 272"/>
              <a:gd name="T99" fmla="*/ 60 h 272"/>
              <a:gd name="T100" fmla="*/ 242 w 272"/>
              <a:gd name="T101" fmla="*/ 74 h 272"/>
              <a:gd name="T102" fmla="*/ 242 w 272"/>
              <a:gd name="T103" fmla="*/ 92 h 272"/>
              <a:gd name="T104" fmla="*/ 234 w 272"/>
              <a:gd name="T105" fmla="*/ 108 h 272"/>
              <a:gd name="T106" fmla="*/ 234 w 272"/>
              <a:gd name="T107" fmla="*/ 122 h 272"/>
              <a:gd name="T108" fmla="*/ 238 w 272"/>
              <a:gd name="T109" fmla="*/ 146 h 272"/>
              <a:gd name="T110" fmla="*/ 168 w 272"/>
              <a:gd name="T111" fmla="*/ 238 h 272"/>
              <a:gd name="T112" fmla="*/ 172 w 272"/>
              <a:gd name="T113" fmla="*/ 242 h 272"/>
              <a:gd name="T114" fmla="*/ 168 w 272"/>
              <a:gd name="T115" fmla="*/ 242 h 272"/>
              <a:gd name="T116" fmla="*/ 174 w 272"/>
              <a:gd name="T117" fmla="*/ 238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72" h="272">
                <a:moveTo>
                  <a:pt x="238" y="146"/>
                </a:moveTo>
                <a:lnTo>
                  <a:pt x="238" y="148"/>
                </a:lnTo>
                <a:lnTo>
                  <a:pt x="238" y="152"/>
                </a:lnTo>
                <a:lnTo>
                  <a:pt x="242" y="156"/>
                </a:lnTo>
                <a:lnTo>
                  <a:pt x="246" y="156"/>
                </a:lnTo>
                <a:lnTo>
                  <a:pt x="250" y="156"/>
                </a:lnTo>
                <a:lnTo>
                  <a:pt x="250" y="160"/>
                </a:lnTo>
                <a:lnTo>
                  <a:pt x="254" y="160"/>
                </a:lnTo>
                <a:lnTo>
                  <a:pt x="254" y="164"/>
                </a:lnTo>
                <a:lnTo>
                  <a:pt x="250" y="168"/>
                </a:lnTo>
                <a:lnTo>
                  <a:pt x="246" y="176"/>
                </a:lnTo>
                <a:lnTo>
                  <a:pt x="242" y="178"/>
                </a:lnTo>
                <a:lnTo>
                  <a:pt x="242" y="182"/>
                </a:lnTo>
                <a:lnTo>
                  <a:pt x="238" y="182"/>
                </a:lnTo>
                <a:lnTo>
                  <a:pt x="238" y="186"/>
                </a:lnTo>
                <a:lnTo>
                  <a:pt x="242" y="186"/>
                </a:lnTo>
                <a:lnTo>
                  <a:pt x="246" y="194"/>
                </a:lnTo>
                <a:lnTo>
                  <a:pt x="246" y="198"/>
                </a:lnTo>
                <a:lnTo>
                  <a:pt x="250" y="202"/>
                </a:lnTo>
                <a:lnTo>
                  <a:pt x="250" y="206"/>
                </a:lnTo>
                <a:lnTo>
                  <a:pt x="254" y="208"/>
                </a:lnTo>
                <a:lnTo>
                  <a:pt x="258" y="208"/>
                </a:lnTo>
                <a:lnTo>
                  <a:pt x="262" y="212"/>
                </a:lnTo>
                <a:lnTo>
                  <a:pt x="264" y="212"/>
                </a:lnTo>
                <a:lnTo>
                  <a:pt x="264" y="216"/>
                </a:lnTo>
                <a:lnTo>
                  <a:pt x="264" y="220"/>
                </a:lnTo>
                <a:lnTo>
                  <a:pt x="264" y="224"/>
                </a:lnTo>
                <a:lnTo>
                  <a:pt x="264" y="228"/>
                </a:lnTo>
                <a:lnTo>
                  <a:pt x="264" y="232"/>
                </a:lnTo>
                <a:lnTo>
                  <a:pt x="268" y="232"/>
                </a:lnTo>
                <a:lnTo>
                  <a:pt x="272" y="232"/>
                </a:lnTo>
                <a:lnTo>
                  <a:pt x="272" y="234"/>
                </a:lnTo>
                <a:lnTo>
                  <a:pt x="272" y="238"/>
                </a:lnTo>
                <a:lnTo>
                  <a:pt x="272" y="242"/>
                </a:lnTo>
                <a:lnTo>
                  <a:pt x="268" y="242"/>
                </a:lnTo>
                <a:lnTo>
                  <a:pt x="264" y="242"/>
                </a:lnTo>
                <a:lnTo>
                  <a:pt x="264" y="246"/>
                </a:lnTo>
                <a:lnTo>
                  <a:pt x="262" y="246"/>
                </a:lnTo>
                <a:lnTo>
                  <a:pt x="258" y="246"/>
                </a:lnTo>
                <a:lnTo>
                  <a:pt x="258" y="250"/>
                </a:lnTo>
                <a:lnTo>
                  <a:pt x="258" y="246"/>
                </a:lnTo>
                <a:lnTo>
                  <a:pt x="258" y="250"/>
                </a:lnTo>
                <a:lnTo>
                  <a:pt x="254" y="250"/>
                </a:lnTo>
                <a:lnTo>
                  <a:pt x="254" y="254"/>
                </a:lnTo>
                <a:lnTo>
                  <a:pt x="254" y="258"/>
                </a:lnTo>
                <a:lnTo>
                  <a:pt x="250" y="258"/>
                </a:lnTo>
                <a:lnTo>
                  <a:pt x="250" y="262"/>
                </a:lnTo>
                <a:lnTo>
                  <a:pt x="250" y="264"/>
                </a:lnTo>
                <a:lnTo>
                  <a:pt x="250" y="268"/>
                </a:lnTo>
                <a:lnTo>
                  <a:pt x="246" y="268"/>
                </a:lnTo>
                <a:lnTo>
                  <a:pt x="246" y="272"/>
                </a:lnTo>
                <a:lnTo>
                  <a:pt x="242" y="272"/>
                </a:lnTo>
                <a:lnTo>
                  <a:pt x="242" y="268"/>
                </a:lnTo>
                <a:lnTo>
                  <a:pt x="238" y="268"/>
                </a:lnTo>
                <a:lnTo>
                  <a:pt x="234" y="268"/>
                </a:lnTo>
                <a:lnTo>
                  <a:pt x="234" y="264"/>
                </a:lnTo>
                <a:lnTo>
                  <a:pt x="232" y="264"/>
                </a:lnTo>
                <a:lnTo>
                  <a:pt x="232" y="268"/>
                </a:lnTo>
                <a:lnTo>
                  <a:pt x="232" y="264"/>
                </a:lnTo>
                <a:lnTo>
                  <a:pt x="228" y="264"/>
                </a:lnTo>
                <a:lnTo>
                  <a:pt x="224" y="264"/>
                </a:lnTo>
                <a:lnTo>
                  <a:pt x="220" y="264"/>
                </a:lnTo>
                <a:lnTo>
                  <a:pt x="216" y="264"/>
                </a:lnTo>
                <a:lnTo>
                  <a:pt x="212" y="264"/>
                </a:lnTo>
                <a:lnTo>
                  <a:pt x="208" y="262"/>
                </a:lnTo>
                <a:lnTo>
                  <a:pt x="204" y="262"/>
                </a:lnTo>
                <a:lnTo>
                  <a:pt x="202" y="262"/>
                </a:lnTo>
                <a:lnTo>
                  <a:pt x="202" y="264"/>
                </a:lnTo>
                <a:lnTo>
                  <a:pt x="198" y="262"/>
                </a:lnTo>
                <a:lnTo>
                  <a:pt x="194" y="262"/>
                </a:lnTo>
                <a:lnTo>
                  <a:pt x="190" y="262"/>
                </a:lnTo>
                <a:lnTo>
                  <a:pt x="190" y="258"/>
                </a:lnTo>
                <a:lnTo>
                  <a:pt x="186" y="258"/>
                </a:lnTo>
                <a:lnTo>
                  <a:pt x="186" y="254"/>
                </a:lnTo>
                <a:lnTo>
                  <a:pt x="186" y="246"/>
                </a:lnTo>
                <a:lnTo>
                  <a:pt x="186" y="242"/>
                </a:lnTo>
                <a:lnTo>
                  <a:pt x="182" y="238"/>
                </a:lnTo>
                <a:lnTo>
                  <a:pt x="182" y="234"/>
                </a:lnTo>
                <a:lnTo>
                  <a:pt x="178" y="234"/>
                </a:lnTo>
                <a:lnTo>
                  <a:pt x="174" y="234"/>
                </a:lnTo>
                <a:lnTo>
                  <a:pt x="172" y="234"/>
                </a:lnTo>
                <a:lnTo>
                  <a:pt x="168" y="234"/>
                </a:lnTo>
                <a:lnTo>
                  <a:pt x="164" y="234"/>
                </a:lnTo>
                <a:lnTo>
                  <a:pt x="164" y="238"/>
                </a:lnTo>
                <a:lnTo>
                  <a:pt x="164" y="242"/>
                </a:lnTo>
                <a:lnTo>
                  <a:pt x="160" y="242"/>
                </a:lnTo>
                <a:lnTo>
                  <a:pt x="156" y="242"/>
                </a:lnTo>
                <a:lnTo>
                  <a:pt x="152" y="246"/>
                </a:lnTo>
                <a:lnTo>
                  <a:pt x="148" y="242"/>
                </a:lnTo>
                <a:lnTo>
                  <a:pt x="144" y="242"/>
                </a:lnTo>
                <a:lnTo>
                  <a:pt x="142" y="242"/>
                </a:lnTo>
                <a:lnTo>
                  <a:pt x="138" y="242"/>
                </a:lnTo>
                <a:lnTo>
                  <a:pt x="134" y="238"/>
                </a:lnTo>
                <a:lnTo>
                  <a:pt x="134" y="234"/>
                </a:lnTo>
                <a:lnTo>
                  <a:pt x="130" y="234"/>
                </a:lnTo>
                <a:lnTo>
                  <a:pt x="126" y="234"/>
                </a:lnTo>
                <a:lnTo>
                  <a:pt x="126" y="232"/>
                </a:lnTo>
                <a:lnTo>
                  <a:pt x="122" y="232"/>
                </a:lnTo>
                <a:lnTo>
                  <a:pt x="122" y="228"/>
                </a:lnTo>
                <a:lnTo>
                  <a:pt x="118" y="228"/>
                </a:lnTo>
                <a:lnTo>
                  <a:pt x="118" y="224"/>
                </a:lnTo>
                <a:lnTo>
                  <a:pt x="116" y="224"/>
                </a:lnTo>
                <a:lnTo>
                  <a:pt x="112" y="220"/>
                </a:lnTo>
                <a:lnTo>
                  <a:pt x="108" y="220"/>
                </a:lnTo>
                <a:lnTo>
                  <a:pt x="104" y="220"/>
                </a:lnTo>
                <a:lnTo>
                  <a:pt x="104" y="216"/>
                </a:lnTo>
                <a:lnTo>
                  <a:pt x="100" y="212"/>
                </a:lnTo>
                <a:lnTo>
                  <a:pt x="100" y="208"/>
                </a:lnTo>
                <a:lnTo>
                  <a:pt x="100" y="206"/>
                </a:lnTo>
                <a:lnTo>
                  <a:pt x="98" y="206"/>
                </a:lnTo>
                <a:lnTo>
                  <a:pt x="98" y="202"/>
                </a:lnTo>
                <a:lnTo>
                  <a:pt x="98" y="198"/>
                </a:lnTo>
                <a:lnTo>
                  <a:pt x="94" y="198"/>
                </a:lnTo>
                <a:lnTo>
                  <a:pt x="94" y="194"/>
                </a:lnTo>
                <a:lnTo>
                  <a:pt x="94" y="190"/>
                </a:lnTo>
                <a:lnTo>
                  <a:pt x="90" y="190"/>
                </a:lnTo>
                <a:lnTo>
                  <a:pt x="90" y="186"/>
                </a:lnTo>
                <a:lnTo>
                  <a:pt x="90" y="182"/>
                </a:lnTo>
                <a:lnTo>
                  <a:pt x="86" y="182"/>
                </a:lnTo>
                <a:lnTo>
                  <a:pt x="86" y="178"/>
                </a:lnTo>
                <a:lnTo>
                  <a:pt x="82" y="178"/>
                </a:lnTo>
                <a:lnTo>
                  <a:pt x="78" y="182"/>
                </a:lnTo>
                <a:lnTo>
                  <a:pt x="78" y="178"/>
                </a:lnTo>
                <a:lnTo>
                  <a:pt x="74" y="178"/>
                </a:lnTo>
                <a:lnTo>
                  <a:pt x="70" y="176"/>
                </a:lnTo>
                <a:lnTo>
                  <a:pt x="74" y="176"/>
                </a:lnTo>
                <a:lnTo>
                  <a:pt x="74" y="172"/>
                </a:lnTo>
                <a:lnTo>
                  <a:pt x="70" y="172"/>
                </a:lnTo>
                <a:lnTo>
                  <a:pt x="68" y="176"/>
                </a:lnTo>
                <a:lnTo>
                  <a:pt x="70" y="178"/>
                </a:lnTo>
                <a:lnTo>
                  <a:pt x="70" y="182"/>
                </a:lnTo>
                <a:lnTo>
                  <a:pt x="68" y="182"/>
                </a:lnTo>
                <a:lnTo>
                  <a:pt x="64" y="182"/>
                </a:lnTo>
                <a:lnTo>
                  <a:pt x="64" y="178"/>
                </a:lnTo>
                <a:lnTo>
                  <a:pt x="60" y="176"/>
                </a:lnTo>
                <a:lnTo>
                  <a:pt x="56" y="176"/>
                </a:lnTo>
                <a:lnTo>
                  <a:pt x="56" y="172"/>
                </a:lnTo>
                <a:lnTo>
                  <a:pt x="56" y="164"/>
                </a:lnTo>
                <a:lnTo>
                  <a:pt x="52" y="164"/>
                </a:lnTo>
                <a:lnTo>
                  <a:pt x="52" y="160"/>
                </a:lnTo>
                <a:lnTo>
                  <a:pt x="52" y="156"/>
                </a:lnTo>
                <a:lnTo>
                  <a:pt x="52" y="152"/>
                </a:lnTo>
                <a:lnTo>
                  <a:pt x="56" y="148"/>
                </a:lnTo>
                <a:lnTo>
                  <a:pt x="52" y="148"/>
                </a:lnTo>
                <a:lnTo>
                  <a:pt x="52" y="146"/>
                </a:lnTo>
                <a:lnTo>
                  <a:pt x="52" y="142"/>
                </a:lnTo>
                <a:lnTo>
                  <a:pt x="48" y="142"/>
                </a:lnTo>
                <a:lnTo>
                  <a:pt x="48" y="138"/>
                </a:lnTo>
                <a:lnTo>
                  <a:pt x="44" y="138"/>
                </a:lnTo>
                <a:lnTo>
                  <a:pt x="44" y="134"/>
                </a:lnTo>
                <a:lnTo>
                  <a:pt x="40" y="134"/>
                </a:lnTo>
                <a:lnTo>
                  <a:pt x="38" y="130"/>
                </a:lnTo>
                <a:lnTo>
                  <a:pt x="34" y="126"/>
                </a:lnTo>
                <a:lnTo>
                  <a:pt x="30" y="126"/>
                </a:lnTo>
                <a:lnTo>
                  <a:pt x="30" y="122"/>
                </a:lnTo>
                <a:lnTo>
                  <a:pt x="30" y="120"/>
                </a:lnTo>
                <a:lnTo>
                  <a:pt x="26" y="120"/>
                </a:lnTo>
                <a:lnTo>
                  <a:pt x="26" y="116"/>
                </a:lnTo>
                <a:lnTo>
                  <a:pt x="22" y="116"/>
                </a:lnTo>
                <a:lnTo>
                  <a:pt x="22" y="112"/>
                </a:lnTo>
                <a:lnTo>
                  <a:pt x="22" y="108"/>
                </a:lnTo>
                <a:lnTo>
                  <a:pt x="18" y="108"/>
                </a:lnTo>
                <a:lnTo>
                  <a:pt x="22" y="108"/>
                </a:lnTo>
                <a:lnTo>
                  <a:pt x="22" y="104"/>
                </a:lnTo>
                <a:lnTo>
                  <a:pt x="22" y="100"/>
                </a:lnTo>
                <a:lnTo>
                  <a:pt x="18" y="100"/>
                </a:lnTo>
                <a:lnTo>
                  <a:pt x="22" y="96"/>
                </a:lnTo>
                <a:lnTo>
                  <a:pt x="26" y="96"/>
                </a:lnTo>
                <a:lnTo>
                  <a:pt x="22" y="96"/>
                </a:lnTo>
                <a:lnTo>
                  <a:pt x="22" y="92"/>
                </a:lnTo>
                <a:lnTo>
                  <a:pt x="26" y="92"/>
                </a:lnTo>
                <a:lnTo>
                  <a:pt x="26" y="90"/>
                </a:lnTo>
                <a:lnTo>
                  <a:pt x="26" y="92"/>
                </a:lnTo>
                <a:lnTo>
                  <a:pt x="26" y="90"/>
                </a:lnTo>
                <a:lnTo>
                  <a:pt x="30" y="90"/>
                </a:lnTo>
                <a:lnTo>
                  <a:pt x="30" y="86"/>
                </a:lnTo>
                <a:lnTo>
                  <a:pt x="30" y="82"/>
                </a:lnTo>
                <a:lnTo>
                  <a:pt x="26" y="78"/>
                </a:lnTo>
                <a:lnTo>
                  <a:pt x="30" y="78"/>
                </a:lnTo>
                <a:lnTo>
                  <a:pt x="30" y="74"/>
                </a:lnTo>
                <a:lnTo>
                  <a:pt x="34" y="74"/>
                </a:lnTo>
                <a:lnTo>
                  <a:pt x="30" y="74"/>
                </a:lnTo>
                <a:lnTo>
                  <a:pt x="26" y="74"/>
                </a:lnTo>
                <a:lnTo>
                  <a:pt x="22" y="70"/>
                </a:lnTo>
                <a:lnTo>
                  <a:pt x="18" y="70"/>
                </a:lnTo>
                <a:lnTo>
                  <a:pt x="18" y="66"/>
                </a:lnTo>
                <a:lnTo>
                  <a:pt x="18" y="64"/>
                </a:lnTo>
                <a:lnTo>
                  <a:pt x="14" y="64"/>
                </a:lnTo>
                <a:lnTo>
                  <a:pt x="14" y="60"/>
                </a:lnTo>
                <a:lnTo>
                  <a:pt x="14" y="56"/>
                </a:lnTo>
                <a:lnTo>
                  <a:pt x="12" y="56"/>
                </a:lnTo>
                <a:lnTo>
                  <a:pt x="12" y="52"/>
                </a:lnTo>
                <a:lnTo>
                  <a:pt x="12" y="48"/>
                </a:lnTo>
                <a:lnTo>
                  <a:pt x="12" y="44"/>
                </a:lnTo>
                <a:lnTo>
                  <a:pt x="8" y="44"/>
                </a:lnTo>
                <a:lnTo>
                  <a:pt x="8" y="40"/>
                </a:lnTo>
                <a:lnTo>
                  <a:pt x="8" y="36"/>
                </a:lnTo>
                <a:lnTo>
                  <a:pt x="4" y="34"/>
                </a:lnTo>
                <a:lnTo>
                  <a:pt x="4" y="30"/>
                </a:lnTo>
                <a:lnTo>
                  <a:pt x="8" y="26"/>
                </a:lnTo>
                <a:lnTo>
                  <a:pt x="4" y="26"/>
                </a:lnTo>
                <a:lnTo>
                  <a:pt x="4" y="22"/>
                </a:lnTo>
                <a:lnTo>
                  <a:pt x="4" y="18"/>
                </a:lnTo>
                <a:lnTo>
                  <a:pt x="4" y="14"/>
                </a:lnTo>
                <a:lnTo>
                  <a:pt x="4" y="10"/>
                </a:lnTo>
                <a:lnTo>
                  <a:pt x="0" y="8"/>
                </a:lnTo>
                <a:lnTo>
                  <a:pt x="0" y="4"/>
                </a:lnTo>
                <a:lnTo>
                  <a:pt x="4" y="4"/>
                </a:lnTo>
                <a:lnTo>
                  <a:pt x="4" y="8"/>
                </a:lnTo>
                <a:lnTo>
                  <a:pt x="4" y="4"/>
                </a:lnTo>
                <a:lnTo>
                  <a:pt x="8" y="4"/>
                </a:lnTo>
                <a:lnTo>
                  <a:pt x="8" y="0"/>
                </a:lnTo>
                <a:lnTo>
                  <a:pt x="12" y="0"/>
                </a:lnTo>
                <a:lnTo>
                  <a:pt x="12" y="4"/>
                </a:lnTo>
                <a:lnTo>
                  <a:pt x="14" y="4"/>
                </a:lnTo>
                <a:lnTo>
                  <a:pt x="14" y="8"/>
                </a:lnTo>
                <a:lnTo>
                  <a:pt x="18" y="10"/>
                </a:lnTo>
                <a:lnTo>
                  <a:pt x="18" y="14"/>
                </a:lnTo>
                <a:lnTo>
                  <a:pt x="22" y="14"/>
                </a:lnTo>
                <a:lnTo>
                  <a:pt x="26" y="14"/>
                </a:lnTo>
                <a:lnTo>
                  <a:pt x="30" y="14"/>
                </a:lnTo>
                <a:lnTo>
                  <a:pt x="34" y="14"/>
                </a:lnTo>
                <a:lnTo>
                  <a:pt x="38" y="14"/>
                </a:lnTo>
                <a:lnTo>
                  <a:pt x="38" y="10"/>
                </a:lnTo>
                <a:lnTo>
                  <a:pt x="40" y="10"/>
                </a:lnTo>
                <a:lnTo>
                  <a:pt x="44" y="8"/>
                </a:lnTo>
                <a:lnTo>
                  <a:pt x="48" y="8"/>
                </a:lnTo>
                <a:lnTo>
                  <a:pt x="48" y="4"/>
                </a:lnTo>
                <a:lnTo>
                  <a:pt x="52" y="0"/>
                </a:lnTo>
                <a:lnTo>
                  <a:pt x="56" y="0"/>
                </a:lnTo>
                <a:lnTo>
                  <a:pt x="60" y="4"/>
                </a:lnTo>
                <a:lnTo>
                  <a:pt x="64" y="8"/>
                </a:lnTo>
                <a:lnTo>
                  <a:pt x="60" y="8"/>
                </a:lnTo>
                <a:lnTo>
                  <a:pt x="60" y="10"/>
                </a:lnTo>
                <a:lnTo>
                  <a:pt x="60" y="14"/>
                </a:lnTo>
                <a:lnTo>
                  <a:pt x="56" y="14"/>
                </a:lnTo>
                <a:lnTo>
                  <a:pt x="60" y="18"/>
                </a:lnTo>
                <a:lnTo>
                  <a:pt x="60" y="22"/>
                </a:lnTo>
                <a:lnTo>
                  <a:pt x="64" y="22"/>
                </a:lnTo>
                <a:lnTo>
                  <a:pt x="64" y="26"/>
                </a:lnTo>
                <a:lnTo>
                  <a:pt x="68" y="26"/>
                </a:lnTo>
                <a:lnTo>
                  <a:pt x="68" y="22"/>
                </a:lnTo>
                <a:lnTo>
                  <a:pt x="70" y="22"/>
                </a:lnTo>
                <a:lnTo>
                  <a:pt x="82" y="26"/>
                </a:lnTo>
                <a:lnTo>
                  <a:pt x="86" y="26"/>
                </a:lnTo>
                <a:lnTo>
                  <a:pt x="90" y="26"/>
                </a:lnTo>
                <a:lnTo>
                  <a:pt x="94" y="22"/>
                </a:lnTo>
                <a:lnTo>
                  <a:pt x="98" y="22"/>
                </a:lnTo>
                <a:lnTo>
                  <a:pt x="100" y="22"/>
                </a:lnTo>
                <a:lnTo>
                  <a:pt x="104" y="18"/>
                </a:lnTo>
                <a:lnTo>
                  <a:pt x="104" y="22"/>
                </a:lnTo>
                <a:lnTo>
                  <a:pt x="108" y="26"/>
                </a:lnTo>
                <a:lnTo>
                  <a:pt x="112" y="30"/>
                </a:lnTo>
                <a:lnTo>
                  <a:pt x="112" y="34"/>
                </a:lnTo>
                <a:lnTo>
                  <a:pt x="116" y="34"/>
                </a:lnTo>
                <a:lnTo>
                  <a:pt x="116" y="36"/>
                </a:lnTo>
                <a:lnTo>
                  <a:pt x="118" y="36"/>
                </a:lnTo>
                <a:lnTo>
                  <a:pt x="122" y="36"/>
                </a:lnTo>
                <a:lnTo>
                  <a:pt x="126" y="36"/>
                </a:lnTo>
                <a:lnTo>
                  <a:pt x="126" y="40"/>
                </a:lnTo>
                <a:lnTo>
                  <a:pt x="130" y="40"/>
                </a:lnTo>
                <a:lnTo>
                  <a:pt x="134" y="44"/>
                </a:lnTo>
                <a:lnTo>
                  <a:pt x="138" y="44"/>
                </a:lnTo>
                <a:lnTo>
                  <a:pt x="142" y="44"/>
                </a:lnTo>
                <a:lnTo>
                  <a:pt x="144" y="44"/>
                </a:lnTo>
                <a:lnTo>
                  <a:pt x="148" y="44"/>
                </a:lnTo>
                <a:lnTo>
                  <a:pt x="152" y="40"/>
                </a:lnTo>
                <a:lnTo>
                  <a:pt x="152" y="36"/>
                </a:lnTo>
                <a:lnTo>
                  <a:pt x="156" y="36"/>
                </a:lnTo>
                <a:lnTo>
                  <a:pt x="156" y="34"/>
                </a:lnTo>
                <a:lnTo>
                  <a:pt x="160" y="34"/>
                </a:lnTo>
                <a:lnTo>
                  <a:pt x="160" y="30"/>
                </a:lnTo>
                <a:lnTo>
                  <a:pt x="164" y="30"/>
                </a:lnTo>
                <a:lnTo>
                  <a:pt x="168" y="30"/>
                </a:lnTo>
                <a:lnTo>
                  <a:pt x="172" y="30"/>
                </a:lnTo>
                <a:lnTo>
                  <a:pt x="174" y="30"/>
                </a:lnTo>
                <a:lnTo>
                  <a:pt x="174" y="26"/>
                </a:lnTo>
                <a:lnTo>
                  <a:pt x="178" y="26"/>
                </a:lnTo>
                <a:lnTo>
                  <a:pt x="182" y="26"/>
                </a:lnTo>
                <a:lnTo>
                  <a:pt x="182" y="30"/>
                </a:lnTo>
                <a:lnTo>
                  <a:pt x="186" y="30"/>
                </a:lnTo>
                <a:lnTo>
                  <a:pt x="186" y="26"/>
                </a:lnTo>
                <a:lnTo>
                  <a:pt x="190" y="30"/>
                </a:lnTo>
                <a:lnTo>
                  <a:pt x="190" y="34"/>
                </a:lnTo>
                <a:lnTo>
                  <a:pt x="194" y="34"/>
                </a:lnTo>
                <a:lnTo>
                  <a:pt x="202" y="36"/>
                </a:lnTo>
                <a:lnTo>
                  <a:pt x="204" y="40"/>
                </a:lnTo>
                <a:lnTo>
                  <a:pt x="208" y="36"/>
                </a:lnTo>
                <a:lnTo>
                  <a:pt x="208" y="40"/>
                </a:lnTo>
                <a:lnTo>
                  <a:pt x="208" y="36"/>
                </a:lnTo>
                <a:lnTo>
                  <a:pt x="212" y="36"/>
                </a:lnTo>
                <a:lnTo>
                  <a:pt x="212" y="40"/>
                </a:lnTo>
                <a:lnTo>
                  <a:pt x="216" y="40"/>
                </a:lnTo>
                <a:lnTo>
                  <a:pt x="216" y="44"/>
                </a:lnTo>
                <a:lnTo>
                  <a:pt x="220" y="48"/>
                </a:lnTo>
                <a:lnTo>
                  <a:pt x="224" y="48"/>
                </a:lnTo>
                <a:lnTo>
                  <a:pt x="228" y="52"/>
                </a:lnTo>
                <a:lnTo>
                  <a:pt x="228" y="56"/>
                </a:lnTo>
                <a:lnTo>
                  <a:pt x="232" y="60"/>
                </a:lnTo>
                <a:lnTo>
                  <a:pt x="234" y="60"/>
                </a:lnTo>
                <a:lnTo>
                  <a:pt x="238" y="60"/>
                </a:lnTo>
                <a:lnTo>
                  <a:pt x="242" y="60"/>
                </a:lnTo>
                <a:lnTo>
                  <a:pt x="242" y="64"/>
                </a:lnTo>
                <a:lnTo>
                  <a:pt x="242" y="66"/>
                </a:lnTo>
                <a:lnTo>
                  <a:pt x="242" y="70"/>
                </a:lnTo>
                <a:lnTo>
                  <a:pt x="242" y="74"/>
                </a:lnTo>
                <a:lnTo>
                  <a:pt x="242" y="78"/>
                </a:lnTo>
                <a:lnTo>
                  <a:pt x="246" y="78"/>
                </a:lnTo>
                <a:lnTo>
                  <a:pt x="242" y="82"/>
                </a:lnTo>
                <a:lnTo>
                  <a:pt x="242" y="86"/>
                </a:lnTo>
                <a:lnTo>
                  <a:pt x="242" y="90"/>
                </a:lnTo>
                <a:lnTo>
                  <a:pt x="242" y="92"/>
                </a:lnTo>
                <a:lnTo>
                  <a:pt x="238" y="96"/>
                </a:lnTo>
                <a:lnTo>
                  <a:pt x="234" y="96"/>
                </a:lnTo>
                <a:lnTo>
                  <a:pt x="238" y="100"/>
                </a:lnTo>
                <a:lnTo>
                  <a:pt x="234" y="100"/>
                </a:lnTo>
                <a:lnTo>
                  <a:pt x="234" y="104"/>
                </a:lnTo>
                <a:lnTo>
                  <a:pt x="234" y="108"/>
                </a:lnTo>
                <a:lnTo>
                  <a:pt x="234" y="112"/>
                </a:lnTo>
                <a:lnTo>
                  <a:pt x="234" y="116"/>
                </a:lnTo>
                <a:lnTo>
                  <a:pt x="238" y="116"/>
                </a:lnTo>
                <a:lnTo>
                  <a:pt x="238" y="120"/>
                </a:lnTo>
                <a:lnTo>
                  <a:pt x="234" y="120"/>
                </a:lnTo>
                <a:lnTo>
                  <a:pt x="234" y="122"/>
                </a:lnTo>
                <a:lnTo>
                  <a:pt x="234" y="126"/>
                </a:lnTo>
                <a:lnTo>
                  <a:pt x="234" y="130"/>
                </a:lnTo>
                <a:lnTo>
                  <a:pt x="234" y="134"/>
                </a:lnTo>
                <a:lnTo>
                  <a:pt x="238" y="138"/>
                </a:lnTo>
                <a:lnTo>
                  <a:pt x="238" y="142"/>
                </a:lnTo>
                <a:lnTo>
                  <a:pt x="238" y="146"/>
                </a:lnTo>
                <a:lnTo>
                  <a:pt x="238" y="146"/>
                </a:lnTo>
                <a:lnTo>
                  <a:pt x="238" y="146"/>
                </a:lnTo>
                <a:close/>
                <a:moveTo>
                  <a:pt x="164" y="238"/>
                </a:moveTo>
                <a:lnTo>
                  <a:pt x="164" y="242"/>
                </a:lnTo>
                <a:lnTo>
                  <a:pt x="164" y="238"/>
                </a:lnTo>
                <a:lnTo>
                  <a:pt x="168" y="238"/>
                </a:lnTo>
                <a:lnTo>
                  <a:pt x="164" y="238"/>
                </a:lnTo>
                <a:lnTo>
                  <a:pt x="164" y="238"/>
                </a:lnTo>
                <a:lnTo>
                  <a:pt x="164" y="238"/>
                </a:lnTo>
                <a:close/>
                <a:moveTo>
                  <a:pt x="174" y="238"/>
                </a:moveTo>
                <a:lnTo>
                  <a:pt x="172" y="238"/>
                </a:lnTo>
                <a:lnTo>
                  <a:pt x="172" y="242"/>
                </a:lnTo>
                <a:lnTo>
                  <a:pt x="168" y="242"/>
                </a:lnTo>
                <a:lnTo>
                  <a:pt x="164" y="242"/>
                </a:lnTo>
                <a:lnTo>
                  <a:pt x="160" y="246"/>
                </a:lnTo>
                <a:lnTo>
                  <a:pt x="160" y="242"/>
                </a:lnTo>
                <a:lnTo>
                  <a:pt x="164" y="242"/>
                </a:lnTo>
                <a:lnTo>
                  <a:pt x="168" y="242"/>
                </a:lnTo>
                <a:lnTo>
                  <a:pt x="168" y="238"/>
                </a:lnTo>
                <a:lnTo>
                  <a:pt x="172" y="238"/>
                </a:lnTo>
                <a:lnTo>
                  <a:pt x="172" y="234"/>
                </a:lnTo>
                <a:lnTo>
                  <a:pt x="174" y="238"/>
                </a:lnTo>
                <a:lnTo>
                  <a:pt x="174" y="238"/>
                </a:lnTo>
                <a:lnTo>
                  <a:pt x="174" y="238"/>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3" name="Freeform 30"/>
          <p:cNvSpPr>
            <a:spLocks/>
          </p:cNvSpPr>
          <p:nvPr/>
        </p:nvSpPr>
        <p:spPr bwMode="auto">
          <a:xfrm>
            <a:off x="4910138" y="2909887"/>
            <a:ext cx="164306" cy="183356"/>
          </a:xfrm>
          <a:custGeom>
            <a:avLst/>
            <a:gdLst>
              <a:gd name="T0" fmla="*/ 4 w 138"/>
              <a:gd name="T1" fmla="*/ 90 h 154"/>
              <a:gd name="T2" fmla="*/ 14 w 138"/>
              <a:gd name="T3" fmla="*/ 68 h 154"/>
              <a:gd name="T4" fmla="*/ 34 w 138"/>
              <a:gd name="T5" fmla="*/ 56 h 154"/>
              <a:gd name="T6" fmla="*/ 34 w 138"/>
              <a:gd name="T7" fmla="*/ 40 h 154"/>
              <a:gd name="T8" fmla="*/ 38 w 138"/>
              <a:gd name="T9" fmla="*/ 38 h 154"/>
              <a:gd name="T10" fmla="*/ 38 w 138"/>
              <a:gd name="T11" fmla="*/ 34 h 154"/>
              <a:gd name="T12" fmla="*/ 38 w 138"/>
              <a:gd name="T13" fmla="*/ 18 h 154"/>
              <a:gd name="T14" fmla="*/ 52 w 138"/>
              <a:gd name="T15" fmla="*/ 4 h 154"/>
              <a:gd name="T16" fmla="*/ 56 w 138"/>
              <a:gd name="T17" fmla="*/ 0 h 154"/>
              <a:gd name="T18" fmla="*/ 60 w 138"/>
              <a:gd name="T19" fmla="*/ 0 h 154"/>
              <a:gd name="T20" fmla="*/ 74 w 138"/>
              <a:gd name="T21" fmla="*/ 4 h 154"/>
              <a:gd name="T22" fmla="*/ 74 w 138"/>
              <a:gd name="T23" fmla="*/ 0 h 154"/>
              <a:gd name="T24" fmla="*/ 78 w 138"/>
              <a:gd name="T25" fmla="*/ 4 h 154"/>
              <a:gd name="T26" fmla="*/ 82 w 138"/>
              <a:gd name="T27" fmla="*/ 4 h 154"/>
              <a:gd name="T28" fmla="*/ 86 w 138"/>
              <a:gd name="T29" fmla="*/ 4 h 154"/>
              <a:gd name="T30" fmla="*/ 86 w 138"/>
              <a:gd name="T31" fmla="*/ 8 h 154"/>
              <a:gd name="T32" fmla="*/ 86 w 138"/>
              <a:gd name="T33" fmla="*/ 10 h 154"/>
              <a:gd name="T34" fmla="*/ 90 w 138"/>
              <a:gd name="T35" fmla="*/ 14 h 154"/>
              <a:gd name="T36" fmla="*/ 90 w 138"/>
              <a:gd name="T37" fmla="*/ 18 h 154"/>
              <a:gd name="T38" fmla="*/ 94 w 138"/>
              <a:gd name="T39" fmla="*/ 18 h 154"/>
              <a:gd name="T40" fmla="*/ 96 w 138"/>
              <a:gd name="T41" fmla="*/ 26 h 154"/>
              <a:gd name="T42" fmla="*/ 100 w 138"/>
              <a:gd name="T43" fmla="*/ 30 h 154"/>
              <a:gd name="T44" fmla="*/ 104 w 138"/>
              <a:gd name="T45" fmla="*/ 30 h 154"/>
              <a:gd name="T46" fmla="*/ 108 w 138"/>
              <a:gd name="T47" fmla="*/ 30 h 154"/>
              <a:gd name="T48" fmla="*/ 104 w 138"/>
              <a:gd name="T49" fmla="*/ 30 h 154"/>
              <a:gd name="T50" fmla="*/ 104 w 138"/>
              <a:gd name="T51" fmla="*/ 38 h 154"/>
              <a:gd name="T52" fmla="*/ 104 w 138"/>
              <a:gd name="T53" fmla="*/ 40 h 154"/>
              <a:gd name="T54" fmla="*/ 100 w 138"/>
              <a:gd name="T55" fmla="*/ 44 h 154"/>
              <a:gd name="T56" fmla="*/ 96 w 138"/>
              <a:gd name="T57" fmla="*/ 48 h 154"/>
              <a:gd name="T58" fmla="*/ 100 w 138"/>
              <a:gd name="T59" fmla="*/ 52 h 154"/>
              <a:gd name="T60" fmla="*/ 96 w 138"/>
              <a:gd name="T61" fmla="*/ 56 h 154"/>
              <a:gd name="T62" fmla="*/ 96 w 138"/>
              <a:gd name="T63" fmla="*/ 60 h 154"/>
              <a:gd name="T64" fmla="*/ 96 w 138"/>
              <a:gd name="T65" fmla="*/ 64 h 154"/>
              <a:gd name="T66" fmla="*/ 100 w 138"/>
              <a:gd name="T67" fmla="*/ 70 h 154"/>
              <a:gd name="T68" fmla="*/ 100 w 138"/>
              <a:gd name="T69" fmla="*/ 74 h 154"/>
              <a:gd name="T70" fmla="*/ 104 w 138"/>
              <a:gd name="T71" fmla="*/ 74 h 154"/>
              <a:gd name="T72" fmla="*/ 104 w 138"/>
              <a:gd name="T73" fmla="*/ 78 h 154"/>
              <a:gd name="T74" fmla="*/ 104 w 138"/>
              <a:gd name="T75" fmla="*/ 82 h 154"/>
              <a:gd name="T76" fmla="*/ 108 w 138"/>
              <a:gd name="T77" fmla="*/ 82 h 154"/>
              <a:gd name="T78" fmla="*/ 112 w 138"/>
              <a:gd name="T79" fmla="*/ 86 h 154"/>
              <a:gd name="T80" fmla="*/ 116 w 138"/>
              <a:gd name="T81" fmla="*/ 90 h 154"/>
              <a:gd name="T82" fmla="*/ 120 w 138"/>
              <a:gd name="T83" fmla="*/ 94 h 154"/>
              <a:gd name="T84" fmla="*/ 126 w 138"/>
              <a:gd name="T85" fmla="*/ 98 h 154"/>
              <a:gd name="T86" fmla="*/ 130 w 138"/>
              <a:gd name="T87" fmla="*/ 104 h 154"/>
              <a:gd name="T88" fmla="*/ 126 w 138"/>
              <a:gd name="T89" fmla="*/ 116 h 154"/>
              <a:gd name="T90" fmla="*/ 130 w 138"/>
              <a:gd name="T91" fmla="*/ 120 h 154"/>
              <a:gd name="T92" fmla="*/ 130 w 138"/>
              <a:gd name="T93" fmla="*/ 130 h 154"/>
              <a:gd name="T94" fmla="*/ 138 w 138"/>
              <a:gd name="T95" fmla="*/ 134 h 154"/>
              <a:gd name="T96" fmla="*/ 138 w 138"/>
              <a:gd name="T97" fmla="*/ 138 h 154"/>
              <a:gd name="T98" fmla="*/ 134 w 138"/>
              <a:gd name="T99" fmla="*/ 138 h 154"/>
              <a:gd name="T100" fmla="*/ 130 w 138"/>
              <a:gd name="T101" fmla="*/ 138 h 154"/>
              <a:gd name="T102" fmla="*/ 124 w 138"/>
              <a:gd name="T103" fmla="*/ 134 h 154"/>
              <a:gd name="T104" fmla="*/ 120 w 138"/>
              <a:gd name="T105" fmla="*/ 138 h 154"/>
              <a:gd name="T106" fmla="*/ 116 w 138"/>
              <a:gd name="T107" fmla="*/ 150 h 154"/>
              <a:gd name="T108" fmla="*/ 112 w 138"/>
              <a:gd name="T109" fmla="*/ 154 h 154"/>
              <a:gd name="T110" fmla="*/ 104 w 138"/>
              <a:gd name="T111" fmla="*/ 154 h 154"/>
              <a:gd name="T112" fmla="*/ 38 w 138"/>
              <a:gd name="T113" fmla="*/ 112 h 154"/>
              <a:gd name="T114" fmla="*/ 8 w 138"/>
              <a:gd name="T115" fmla="*/ 98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8" h="154">
                <a:moveTo>
                  <a:pt x="8" y="98"/>
                </a:moveTo>
                <a:lnTo>
                  <a:pt x="8" y="98"/>
                </a:lnTo>
                <a:lnTo>
                  <a:pt x="8" y="94"/>
                </a:lnTo>
                <a:lnTo>
                  <a:pt x="4" y="94"/>
                </a:lnTo>
                <a:lnTo>
                  <a:pt x="4" y="94"/>
                </a:lnTo>
                <a:lnTo>
                  <a:pt x="4" y="90"/>
                </a:lnTo>
                <a:lnTo>
                  <a:pt x="0" y="74"/>
                </a:lnTo>
                <a:lnTo>
                  <a:pt x="0" y="74"/>
                </a:lnTo>
                <a:lnTo>
                  <a:pt x="4" y="74"/>
                </a:lnTo>
                <a:lnTo>
                  <a:pt x="8" y="70"/>
                </a:lnTo>
                <a:lnTo>
                  <a:pt x="12" y="68"/>
                </a:lnTo>
                <a:lnTo>
                  <a:pt x="14" y="68"/>
                </a:lnTo>
                <a:lnTo>
                  <a:pt x="18" y="64"/>
                </a:lnTo>
                <a:lnTo>
                  <a:pt x="18" y="64"/>
                </a:lnTo>
                <a:lnTo>
                  <a:pt x="22" y="64"/>
                </a:lnTo>
                <a:lnTo>
                  <a:pt x="26" y="60"/>
                </a:lnTo>
                <a:lnTo>
                  <a:pt x="34" y="56"/>
                </a:lnTo>
                <a:lnTo>
                  <a:pt x="34" y="56"/>
                </a:lnTo>
                <a:lnTo>
                  <a:pt x="34" y="52"/>
                </a:lnTo>
                <a:lnTo>
                  <a:pt x="34" y="48"/>
                </a:lnTo>
                <a:lnTo>
                  <a:pt x="34" y="44"/>
                </a:lnTo>
                <a:lnTo>
                  <a:pt x="34" y="44"/>
                </a:lnTo>
                <a:lnTo>
                  <a:pt x="34" y="40"/>
                </a:lnTo>
                <a:lnTo>
                  <a:pt x="34" y="40"/>
                </a:lnTo>
                <a:lnTo>
                  <a:pt x="34" y="40"/>
                </a:lnTo>
                <a:lnTo>
                  <a:pt x="34" y="40"/>
                </a:lnTo>
                <a:lnTo>
                  <a:pt x="34" y="40"/>
                </a:lnTo>
                <a:lnTo>
                  <a:pt x="38" y="38"/>
                </a:lnTo>
                <a:lnTo>
                  <a:pt x="38" y="38"/>
                </a:lnTo>
                <a:lnTo>
                  <a:pt x="38" y="38"/>
                </a:lnTo>
                <a:lnTo>
                  <a:pt x="38" y="38"/>
                </a:lnTo>
                <a:lnTo>
                  <a:pt x="38" y="38"/>
                </a:lnTo>
                <a:lnTo>
                  <a:pt x="38" y="38"/>
                </a:lnTo>
                <a:lnTo>
                  <a:pt x="38" y="34"/>
                </a:lnTo>
                <a:lnTo>
                  <a:pt x="38" y="34"/>
                </a:lnTo>
                <a:lnTo>
                  <a:pt x="38" y="34"/>
                </a:lnTo>
                <a:lnTo>
                  <a:pt x="38" y="30"/>
                </a:lnTo>
                <a:lnTo>
                  <a:pt x="38" y="30"/>
                </a:lnTo>
                <a:lnTo>
                  <a:pt x="38" y="26"/>
                </a:lnTo>
                <a:lnTo>
                  <a:pt x="38" y="26"/>
                </a:lnTo>
                <a:lnTo>
                  <a:pt x="38" y="18"/>
                </a:lnTo>
                <a:lnTo>
                  <a:pt x="38" y="18"/>
                </a:lnTo>
                <a:lnTo>
                  <a:pt x="38" y="14"/>
                </a:lnTo>
                <a:lnTo>
                  <a:pt x="44" y="14"/>
                </a:lnTo>
                <a:lnTo>
                  <a:pt x="52" y="8"/>
                </a:lnTo>
                <a:lnTo>
                  <a:pt x="52" y="8"/>
                </a:lnTo>
                <a:lnTo>
                  <a:pt x="52" y="4"/>
                </a:lnTo>
                <a:lnTo>
                  <a:pt x="52" y="4"/>
                </a:lnTo>
                <a:lnTo>
                  <a:pt x="52" y="4"/>
                </a:lnTo>
                <a:lnTo>
                  <a:pt x="52" y="4"/>
                </a:lnTo>
                <a:lnTo>
                  <a:pt x="56" y="4"/>
                </a:lnTo>
                <a:lnTo>
                  <a:pt x="56" y="4"/>
                </a:lnTo>
                <a:lnTo>
                  <a:pt x="56" y="0"/>
                </a:lnTo>
                <a:lnTo>
                  <a:pt x="56" y="0"/>
                </a:lnTo>
                <a:lnTo>
                  <a:pt x="56" y="0"/>
                </a:lnTo>
                <a:lnTo>
                  <a:pt x="60" y="0"/>
                </a:lnTo>
                <a:lnTo>
                  <a:pt x="60" y="0"/>
                </a:lnTo>
                <a:lnTo>
                  <a:pt x="60" y="0"/>
                </a:lnTo>
                <a:lnTo>
                  <a:pt x="60" y="0"/>
                </a:lnTo>
                <a:lnTo>
                  <a:pt x="60" y="0"/>
                </a:lnTo>
                <a:lnTo>
                  <a:pt x="64" y="0"/>
                </a:lnTo>
                <a:lnTo>
                  <a:pt x="68" y="4"/>
                </a:lnTo>
                <a:lnTo>
                  <a:pt x="70" y="4"/>
                </a:lnTo>
                <a:lnTo>
                  <a:pt x="70" y="4"/>
                </a:lnTo>
                <a:lnTo>
                  <a:pt x="74" y="4"/>
                </a:lnTo>
                <a:lnTo>
                  <a:pt x="74" y="4"/>
                </a:lnTo>
                <a:lnTo>
                  <a:pt x="74" y="0"/>
                </a:lnTo>
                <a:lnTo>
                  <a:pt x="74" y="0"/>
                </a:lnTo>
                <a:lnTo>
                  <a:pt x="74" y="0"/>
                </a:lnTo>
                <a:lnTo>
                  <a:pt x="74" y="0"/>
                </a:lnTo>
                <a:lnTo>
                  <a:pt x="74" y="0"/>
                </a:lnTo>
                <a:lnTo>
                  <a:pt x="74" y="0"/>
                </a:lnTo>
                <a:lnTo>
                  <a:pt x="78" y="0"/>
                </a:lnTo>
                <a:lnTo>
                  <a:pt x="78" y="4"/>
                </a:lnTo>
                <a:lnTo>
                  <a:pt x="78" y="4"/>
                </a:lnTo>
                <a:lnTo>
                  <a:pt x="78" y="4"/>
                </a:lnTo>
                <a:lnTo>
                  <a:pt x="78" y="4"/>
                </a:lnTo>
                <a:lnTo>
                  <a:pt x="78" y="4"/>
                </a:lnTo>
                <a:lnTo>
                  <a:pt x="78" y="8"/>
                </a:lnTo>
                <a:lnTo>
                  <a:pt x="78" y="8"/>
                </a:lnTo>
                <a:lnTo>
                  <a:pt x="78" y="8"/>
                </a:lnTo>
                <a:lnTo>
                  <a:pt x="78" y="8"/>
                </a:lnTo>
                <a:lnTo>
                  <a:pt x="82" y="8"/>
                </a:lnTo>
                <a:lnTo>
                  <a:pt x="82" y="4"/>
                </a:lnTo>
                <a:lnTo>
                  <a:pt x="82" y="4"/>
                </a:lnTo>
                <a:lnTo>
                  <a:pt x="82" y="4"/>
                </a:lnTo>
                <a:lnTo>
                  <a:pt x="82" y="4"/>
                </a:lnTo>
                <a:lnTo>
                  <a:pt x="82" y="4"/>
                </a:lnTo>
                <a:lnTo>
                  <a:pt x="82" y="4"/>
                </a:lnTo>
                <a:lnTo>
                  <a:pt x="86" y="4"/>
                </a:lnTo>
                <a:lnTo>
                  <a:pt x="86" y="4"/>
                </a:lnTo>
                <a:lnTo>
                  <a:pt x="86" y="4"/>
                </a:lnTo>
                <a:lnTo>
                  <a:pt x="86" y="4"/>
                </a:lnTo>
                <a:lnTo>
                  <a:pt x="86" y="4"/>
                </a:lnTo>
                <a:lnTo>
                  <a:pt x="86" y="8"/>
                </a:lnTo>
                <a:lnTo>
                  <a:pt x="86" y="8"/>
                </a:lnTo>
                <a:lnTo>
                  <a:pt x="86" y="8"/>
                </a:lnTo>
                <a:lnTo>
                  <a:pt x="86" y="8"/>
                </a:lnTo>
                <a:lnTo>
                  <a:pt x="86" y="8"/>
                </a:lnTo>
                <a:lnTo>
                  <a:pt x="86" y="10"/>
                </a:lnTo>
                <a:lnTo>
                  <a:pt x="86" y="10"/>
                </a:lnTo>
                <a:lnTo>
                  <a:pt x="86" y="10"/>
                </a:lnTo>
                <a:lnTo>
                  <a:pt x="86" y="10"/>
                </a:lnTo>
                <a:lnTo>
                  <a:pt x="86" y="10"/>
                </a:lnTo>
                <a:lnTo>
                  <a:pt x="90" y="10"/>
                </a:lnTo>
                <a:lnTo>
                  <a:pt x="90" y="10"/>
                </a:lnTo>
                <a:lnTo>
                  <a:pt x="90" y="10"/>
                </a:lnTo>
                <a:lnTo>
                  <a:pt x="90" y="14"/>
                </a:lnTo>
                <a:lnTo>
                  <a:pt x="90" y="14"/>
                </a:lnTo>
                <a:lnTo>
                  <a:pt x="90" y="14"/>
                </a:lnTo>
                <a:lnTo>
                  <a:pt x="90" y="14"/>
                </a:lnTo>
                <a:lnTo>
                  <a:pt x="90" y="14"/>
                </a:lnTo>
                <a:lnTo>
                  <a:pt x="90" y="18"/>
                </a:lnTo>
                <a:lnTo>
                  <a:pt x="90" y="18"/>
                </a:lnTo>
                <a:lnTo>
                  <a:pt x="90" y="18"/>
                </a:lnTo>
                <a:lnTo>
                  <a:pt x="90" y="18"/>
                </a:lnTo>
                <a:lnTo>
                  <a:pt x="90" y="18"/>
                </a:lnTo>
                <a:lnTo>
                  <a:pt x="94" y="18"/>
                </a:lnTo>
                <a:lnTo>
                  <a:pt x="94" y="18"/>
                </a:lnTo>
                <a:lnTo>
                  <a:pt x="94" y="18"/>
                </a:lnTo>
                <a:lnTo>
                  <a:pt x="94" y="18"/>
                </a:lnTo>
                <a:lnTo>
                  <a:pt x="94" y="22"/>
                </a:lnTo>
                <a:lnTo>
                  <a:pt x="94" y="22"/>
                </a:lnTo>
                <a:lnTo>
                  <a:pt x="94" y="26"/>
                </a:lnTo>
                <a:lnTo>
                  <a:pt x="94" y="26"/>
                </a:lnTo>
                <a:lnTo>
                  <a:pt x="96" y="26"/>
                </a:lnTo>
                <a:lnTo>
                  <a:pt x="96" y="26"/>
                </a:lnTo>
                <a:lnTo>
                  <a:pt x="96" y="26"/>
                </a:lnTo>
                <a:lnTo>
                  <a:pt x="96" y="26"/>
                </a:lnTo>
                <a:lnTo>
                  <a:pt x="96" y="26"/>
                </a:lnTo>
                <a:lnTo>
                  <a:pt x="96" y="26"/>
                </a:lnTo>
                <a:lnTo>
                  <a:pt x="100" y="30"/>
                </a:lnTo>
                <a:lnTo>
                  <a:pt x="100" y="30"/>
                </a:lnTo>
                <a:lnTo>
                  <a:pt x="100" y="30"/>
                </a:lnTo>
                <a:lnTo>
                  <a:pt x="100" y="30"/>
                </a:lnTo>
                <a:lnTo>
                  <a:pt x="100" y="30"/>
                </a:lnTo>
                <a:lnTo>
                  <a:pt x="100" y="30"/>
                </a:lnTo>
                <a:lnTo>
                  <a:pt x="104" y="30"/>
                </a:lnTo>
                <a:lnTo>
                  <a:pt x="104" y="30"/>
                </a:lnTo>
                <a:lnTo>
                  <a:pt x="104" y="30"/>
                </a:lnTo>
                <a:lnTo>
                  <a:pt x="104" y="30"/>
                </a:lnTo>
                <a:lnTo>
                  <a:pt x="104" y="30"/>
                </a:lnTo>
                <a:lnTo>
                  <a:pt x="108" y="30"/>
                </a:lnTo>
                <a:lnTo>
                  <a:pt x="108" y="30"/>
                </a:lnTo>
                <a:lnTo>
                  <a:pt x="108" y="30"/>
                </a:lnTo>
                <a:lnTo>
                  <a:pt x="108" y="30"/>
                </a:lnTo>
                <a:lnTo>
                  <a:pt x="108" y="30"/>
                </a:lnTo>
                <a:lnTo>
                  <a:pt x="108" y="30"/>
                </a:lnTo>
                <a:lnTo>
                  <a:pt x="104" y="30"/>
                </a:lnTo>
                <a:lnTo>
                  <a:pt x="104" y="30"/>
                </a:lnTo>
                <a:lnTo>
                  <a:pt x="104" y="30"/>
                </a:lnTo>
                <a:lnTo>
                  <a:pt x="104" y="30"/>
                </a:lnTo>
                <a:lnTo>
                  <a:pt x="104" y="34"/>
                </a:lnTo>
                <a:lnTo>
                  <a:pt x="100" y="34"/>
                </a:lnTo>
                <a:lnTo>
                  <a:pt x="104" y="38"/>
                </a:lnTo>
                <a:lnTo>
                  <a:pt x="104" y="38"/>
                </a:lnTo>
                <a:lnTo>
                  <a:pt x="104" y="38"/>
                </a:lnTo>
                <a:lnTo>
                  <a:pt x="104" y="38"/>
                </a:lnTo>
                <a:lnTo>
                  <a:pt x="104" y="40"/>
                </a:lnTo>
                <a:lnTo>
                  <a:pt x="104" y="40"/>
                </a:lnTo>
                <a:lnTo>
                  <a:pt x="104" y="40"/>
                </a:lnTo>
                <a:lnTo>
                  <a:pt x="104" y="40"/>
                </a:lnTo>
                <a:lnTo>
                  <a:pt x="104" y="44"/>
                </a:lnTo>
                <a:lnTo>
                  <a:pt x="104" y="44"/>
                </a:lnTo>
                <a:lnTo>
                  <a:pt x="100" y="44"/>
                </a:lnTo>
                <a:lnTo>
                  <a:pt x="100" y="44"/>
                </a:lnTo>
                <a:lnTo>
                  <a:pt x="100" y="44"/>
                </a:lnTo>
                <a:lnTo>
                  <a:pt x="100" y="44"/>
                </a:lnTo>
                <a:lnTo>
                  <a:pt x="100" y="44"/>
                </a:lnTo>
                <a:lnTo>
                  <a:pt x="100" y="48"/>
                </a:lnTo>
                <a:lnTo>
                  <a:pt x="100" y="44"/>
                </a:lnTo>
                <a:lnTo>
                  <a:pt x="100" y="48"/>
                </a:lnTo>
                <a:lnTo>
                  <a:pt x="100" y="48"/>
                </a:lnTo>
                <a:lnTo>
                  <a:pt x="96" y="48"/>
                </a:lnTo>
                <a:lnTo>
                  <a:pt x="96" y="48"/>
                </a:lnTo>
                <a:lnTo>
                  <a:pt x="96" y="48"/>
                </a:lnTo>
                <a:lnTo>
                  <a:pt x="96" y="48"/>
                </a:lnTo>
                <a:lnTo>
                  <a:pt x="96" y="52"/>
                </a:lnTo>
                <a:lnTo>
                  <a:pt x="96" y="52"/>
                </a:lnTo>
                <a:lnTo>
                  <a:pt x="100" y="52"/>
                </a:lnTo>
                <a:lnTo>
                  <a:pt x="96" y="52"/>
                </a:lnTo>
                <a:lnTo>
                  <a:pt x="96" y="52"/>
                </a:lnTo>
                <a:lnTo>
                  <a:pt x="96" y="52"/>
                </a:lnTo>
                <a:lnTo>
                  <a:pt x="94" y="56"/>
                </a:lnTo>
                <a:lnTo>
                  <a:pt x="96" y="56"/>
                </a:lnTo>
                <a:lnTo>
                  <a:pt x="96" y="56"/>
                </a:lnTo>
                <a:lnTo>
                  <a:pt x="96" y="56"/>
                </a:lnTo>
                <a:lnTo>
                  <a:pt x="96" y="56"/>
                </a:lnTo>
                <a:lnTo>
                  <a:pt x="96" y="56"/>
                </a:lnTo>
                <a:lnTo>
                  <a:pt x="96" y="60"/>
                </a:lnTo>
                <a:lnTo>
                  <a:pt x="96" y="60"/>
                </a:lnTo>
                <a:lnTo>
                  <a:pt x="96" y="60"/>
                </a:lnTo>
                <a:lnTo>
                  <a:pt x="96" y="64"/>
                </a:lnTo>
                <a:lnTo>
                  <a:pt x="94" y="64"/>
                </a:lnTo>
                <a:lnTo>
                  <a:pt x="94" y="64"/>
                </a:lnTo>
                <a:lnTo>
                  <a:pt x="94" y="64"/>
                </a:lnTo>
                <a:lnTo>
                  <a:pt x="96" y="64"/>
                </a:lnTo>
                <a:lnTo>
                  <a:pt x="96" y="64"/>
                </a:lnTo>
                <a:lnTo>
                  <a:pt x="96" y="68"/>
                </a:lnTo>
                <a:lnTo>
                  <a:pt x="96" y="68"/>
                </a:lnTo>
                <a:lnTo>
                  <a:pt x="96" y="68"/>
                </a:lnTo>
                <a:lnTo>
                  <a:pt x="96" y="70"/>
                </a:lnTo>
                <a:lnTo>
                  <a:pt x="100" y="70"/>
                </a:lnTo>
                <a:lnTo>
                  <a:pt x="100" y="70"/>
                </a:lnTo>
                <a:lnTo>
                  <a:pt x="100" y="70"/>
                </a:lnTo>
                <a:lnTo>
                  <a:pt x="100" y="70"/>
                </a:lnTo>
                <a:lnTo>
                  <a:pt x="100" y="70"/>
                </a:lnTo>
                <a:lnTo>
                  <a:pt x="100" y="70"/>
                </a:lnTo>
                <a:lnTo>
                  <a:pt x="100" y="70"/>
                </a:lnTo>
                <a:lnTo>
                  <a:pt x="100" y="74"/>
                </a:lnTo>
                <a:lnTo>
                  <a:pt x="100" y="74"/>
                </a:lnTo>
                <a:lnTo>
                  <a:pt x="100" y="74"/>
                </a:lnTo>
                <a:lnTo>
                  <a:pt x="104" y="74"/>
                </a:lnTo>
                <a:lnTo>
                  <a:pt x="104" y="74"/>
                </a:lnTo>
                <a:lnTo>
                  <a:pt x="104" y="74"/>
                </a:lnTo>
                <a:lnTo>
                  <a:pt x="104" y="74"/>
                </a:lnTo>
                <a:lnTo>
                  <a:pt x="104" y="74"/>
                </a:lnTo>
                <a:lnTo>
                  <a:pt x="104" y="74"/>
                </a:lnTo>
                <a:lnTo>
                  <a:pt x="104" y="78"/>
                </a:lnTo>
                <a:lnTo>
                  <a:pt x="104" y="78"/>
                </a:lnTo>
                <a:lnTo>
                  <a:pt x="104" y="78"/>
                </a:lnTo>
                <a:lnTo>
                  <a:pt x="104" y="78"/>
                </a:lnTo>
                <a:lnTo>
                  <a:pt x="104" y="82"/>
                </a:lnTo>
                <a:lnTo>
                  <a:pt x="104" y="82"/>
                </a:lnTo>
                <a:lnTo>
                  <a:pt x="104" y="82"/>
                </a:lnTo>
                <a:lnTo>
                  <a:pt x="104" y="82"/>
                </a:lnTo>
                <a:lnTo>
                  <a:pt x="104" y="82"/>
                </a:lnTo>
                <a:lnTo>
                  <a:pt x="104" y="82"/>
                </a:lnTo>
                <a:lnTo>
                  <a:pt x="104" y="82"/>
                </a:lnTo>
                <a:lnTo>
                  <a:pt x="108" y="82"/>
                </a:lnTo>
                <a:lnTo>
                  <a:pt x="108" y="82"/>
                </a:lnTo>
                <a:lnTo>
                  <a:pt x="108" y="82"/>
                </a:lnTo>
                <a:lnTo>
                  <a:pt x="108" y="82"/>
                </a:lnTo>
                <a:lnTo>
                  <a:pt x="108" y="82"/>
                </a:lnTo>
                <a:lnTo>
                  <a:pt x="108" y="82"/>
                </a:lnTo>
                <a:lnTo>
                  <a:pt x="112" y="86"/>
                </a:lnTo>
                <a:lnTo>
                  <a:pt x="112" y="86"/>
                </a:lnTo>
                <a:lnTo>
                  <a:pt x="112" y="86"/>
                </a:lnTo>
                <a:lnTo>
                  <a:pt x="112" y="86"/>
                </a:lnTo>
                <a:lnTo>
                  <a:pt x="112" y="86"/>
                </a:lnTo>
                <a:lnTo>
                  <a:pt x="116" y="90"/>
                </a:lnTo>
                <a:lnTo>
                  <a:pt x="116" y="90"/>
                </a:lnTo>
                <a:lnTo>
                  <a:pt x="116" y="90"/>
                </a:lnTo>
                <a:lnTo>
                  <a:pt x="116" y="90"/>
                </a:lnTo>
                <a:lnTo>
                  <a:pt x="116" y="90"/>
                </a:lnTo>
                <a:lnTo>
                  <a:pt x="116" y="90"/>
                </a:lnTo>
                <a:lnTo>
                  <a:pt x="120" y="90"/>
                </a:lnTo>
                <a:lnTo>
                  <a:pt x="120" y="90"/>
                </a:lnTo>
                <a:lnTo>
                  <a:pt x="120" y="94"/>
                </a:lnTo>
                <a:lnTo>
                  <a:pt x="120" y="94"/>
                </a:lnTo>
                <a:lnTo>
                  <a:pt x="120" y="94"/>
                </a:lnTo>
                <a:lnTo>
                  <a:pt x="120" y="94"/>
                </a:lnTo>
                <a:lnTo>
                  <a:pt x="120" y="94"/>
                </a:lnTo>
                <a:lnTo>
                  <a:pt x="124" y="94"/>
                </a:lnTo>
                <a:lnTo>
                  <a:pt x="124" y="94"/>
                </a:lnTo>
                <a:lnTo>
                  <a:pt x="124" y="94"/>
                </a:lnTo>
                <a:lnTo>
                  <a:pt x="124" y="98"/>
                </a:lnTo>
                <a:lnTo>
                  <a:pt x="126" y="98"/>
                </a:lnTo>
                <a:lnTo>
                  <a:pt x="126" y="100"/>
                </a:lnTo>
                <a:lnTo>
                  <a:pt x="126" y="100"/>
                </a:lnTo>
                <a:lnTo>
                  <a:pt x="126" y="104"/>
                </a:lnTo>
                <a:lnTo>
                  <a:pt x="130" y="104"/>
                </a:lnTo>
                <a:lnTo>
                  <a:pt x="130" y="104"/>
                </a:lnTo>
                <a:lnTo>
                  <a:pt x="130" y="104"/>
                </a:lnTo>
                <a:lnTo>
                  <a:pt x="126" y="108"/>
                </a:lnTo>
                <a:lnTo>
                  <a:pt x="126" y="108"/>
                </a:lnTo>
                <a:lnTo>
                  <a:pt x="126" y="112"/>
                </a:lnTo>
                <a:lnTo>
                  <a:pt x="126" y="112"/>
                </a:lnTo>
                <a:lnTo>
                  <a:pt x="126" y="112"/>
                </a:lnTo>
                <a:lnTo>
                  <a:pt x="126" y="116"/>
                </a:lnTo>
                <a:lnTo>
                  <a:pt x="126" y="116"/>
                </a:lnTo>
                <a:lnTo>
                  <a:pt x="126" y="116"/>
                </a:lnTo>
                <a:lnTo>
                  <a:pt x="126" y="116"/>
                </a:lnTo>
                <a:lnTo>
                  <a:pt x="126" y="120"/>
                </a:lnTo>
                <a:lnTo>
                  <a:pt x="130" y="120"/>
                </a:lnTo>
                <a:lnTo>
                  <a:pt x="130" y="120"/>
                </a:lnTo>
                <a:lnTo>
                  <a:pt x="130" y="120"/>
                </a:lnTo>
                <a:lnTo>
                  <a:pt x="130" y="120"/>
                </a:lnTo>
                <a:lnTo>
                  <a:pt x="130" y="128"/>
                </a:lnTo>
                <a:lnTo>
                  <a:pt x="130" y="128"/>
                </a:lnTo>
                <a:lnTo>
                  <a:pt x="130" y="128"/>
                </a:lnTo>
                <a:lnTo>
                  <a:pt x="130" y="130"/>
                </a:lnTo>
                <a:lnTo>
                  <a:pt x="134" y="130"/>
                </a:lnTo>
                <a:lnTo>
                  <a:pt x="134" y="130"/>
                </a:lnTo>
                <a:lnTo>
                  <a:pt x="134" y="130"/>
                </a:lnTo>
                <a:lnTo>
                  <a:pt x="134" y="130"/>
                </a:lnTo>
                <a:lnTo>
                  <a:pt x="138" y="134"/>
                </a:lnTo>
                <a:lnTo>
                  <a:pt x="138" y="134"/>
                </a:lnTo>
                <a:lnTo>
                  <a:pt x="138" y="134"/>
                </a:lnTo>
                <a:lnTo>
                  <a:pt x="138" y="138"/>
                </a:lnTo>
                <a:lnTo>
                  <a:pt x="138" y="138"/>
                </a:lnTo>
                <a:lnTo>
                  <a:pt x="138" y="138"/>
                </a:lnTo>
                <a:lnTo>
                  <a:pt x="138" y="138"/>
                </a:lnTo>
                <a:lnTo>
                  <a:pt x="138" y="138"/>
                </a:lnTo>
                <a:lnTo>
                  <a:pt x="138" y="138"/>
                </a:lnTo>
                <a:lnTo>
                  <a:pt x="138" y="138"/>
                </a:lnTo>
                <a:lnTo>
                  <a:pt x="134" y="138"/>
                </a:lnTo>
                <a:lnTo>
                  <a:pt x="134" y="138"/>
                </a:lnTo>
                <a:lnTo>
                  <a:pt x="134" y="138"/>
                </a:lnTo>
                <a:lnTo>
                  <a:pt x="134" y="138"/>
                </a:lnTo>
                <a:lnTo>
                  <a:pt x="134" y="138"/>
                </a:lnTo>
                <a:lnTo>
                  <a:pt x="134" y="138"/>
                </a:lnTo>
                <a:lnTo>
                  <a:pt x="134" y="138"/>
                </a:lnTo>
                <a:lnTo>
                  <a:pt x="134" y="138"/>
                </a:lnTo>
                <a:lnTo>
                  <a:pt x="130" y="138"/>
                </a:lnTo>
                <a:lnTo>
                  <a:pt x="130" y="138"/>
                </a:lnTo>
                <a:lnTo>
                  <a:pt x="130" y="138"/>
                </a:lnTo>
                <a:lnTo>
                  <a:pt x="130" y="138"/>
                </a:lnTo>
                <a:lnTo>
                  <a:pt x="126" y="134"/>
                </a:lnTo>
                <a:lnTo>
                  <a:pt x="124" y="134"/>
                </a:lnTo>
                <a:lnTo>
                  <a:pt x="124" y="134"/>
                </a:lnTo>
                <a:lnTo>
                  <a:pt x="124" y="134"/>
                </a:lnTo>
                <a:lnTo>
                  <a:pt x="120" y="138"/>
                </a:lnTo>
                <a:lnTo>
                  <a:pt x="120" y="138"/>
                </a:lnTo>
                <a:lnTo>
                  <a:pt x="120" y="138"/>
                </a:lnTo>
                <a:lnTo>
                  <a:pt x="120" y="138"/>
                </a:lnTo>
                <a:lnTo>
                  <a:pt x="120" y="138"/>
                </a:lnTo>
                <a:lnTo>
                  <a:pt x="120" y="138"/>
                </a:lnTo>
                <a:lnTo>
                  <a:pt x="120" y="142"/>
                </a:lnTo>
                <a:lnTo>
                  <a:pt x="116" y="146"/>
                </a:lnTo>
                <a:lnTo>
                  <a:pt x="116" y="146"/>
                </a:lnTo>
                <a:lnTo>
                  <a:pt x="116" y="146"/>
                </a:lnTo>
                <a:lnTo>
                  <a:pt x="116" y="146"/>
                </a:lnTo>
                <a:lnTo>
                  <a:pt x="116" y="150"/>
                </a:lnTo>
                <a:lnTo>
                  <a:pt x="116" y="150"/>
                </a:lnTo>
                <a:lnTo>
                  <a:pt x="112" y="150"/>
                </a:lnTo>
                <a:lnTo>
                  <a:pt x="112" y="154"/>
                </a:lnTo>
                <a:lnTo>
                  <a:pt x="112" y="154"/>
                </a:lnTo>
                <a:lnTo>
                  <a:pt x="112" y="154"/>
                </a:lnTo>
                <a:lnTo>
                  <a:pt x="112" y="154"/>
                </a:lnTo>
                <a:lnTo>
                  <a:pt x="112" y="154"/>
                </a:lnTo>
                <a:lnTo>
                  <a:pt x="112" y="154"/>
                </a:lnTo>
                <a:lnTo>
                  <a:pt x="112" y="154"/>
                </a:lnTo>
                <a:lnTo>
                  <a:pt x="112" y="154"/>
                </a:lnTo>
                <a:lnTo>
                  <a:pt x="108" y="154"/>
                </a:lnTo>
                <a:lnTo>
                  <a:pt x="104" y="154"/>
                </a:lnTo>
                <a:lnTo>
                  <a:pt x="86" y="154"/>
                </a:lnTo>
                <a:lnTo>
                  <a:pt x="70" y="138"/>
                </a:lnTo>
                <a:lnTo>
                  <a:pt x="60" y="130"/>
                </a:lnTo>
                <a:lnTo>
                  <a:pt x="60" y="128"/>
                </a:lnTo>
                <a:lnTo>
                  <a:pt x="48" y="116"/>
                </a:lnTo>
                <a:lnTo>
                  <a:pt x="38" y="112"/>
                </a:lnTo>
                <a:lnTo>
                  <a:pt x="22" y="100"/>
                </a:lnTo>
                <a:lnTo>
                  <a:pt x="18" y="100"/>
                </a:lnTo>
                <a:lnTo>
                  <a:pt x="12" y="98"/>
                </a:lnTo>
                <a:lnTo>
                  <a:pt x="8" y="98"/>
                </a:lnTo>
                <a:lnTo>
                  <a:pt x="8" y="98"/>
                </a:lnTo>
                <a:lnTo>
                  <a:pt x="8" y="98"/>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4" name="Freeform 31"/>
          <p:cNvSpPr>
            <a:spLocks noEditPoints="1"/>
          </p:cNvSpPr>
          <p:nvPr/>
        </p:nvSpPr>
        <p:spPr bwMode="auto">
          <a:xfrm>
            <a:off x="4833938" y="3002755"/>
            <a:ext cx="21431" cy="80963"/>
          </a:xfrm>
          <a:custGeom>
            <a:avLst/>
            <a:gdLst>
              <a:gd name="T0" fmla="*/ 14 w 18"/>
              <a:gd name="T1" fmla="*/ 46 h 68"/>
              <a:gd name="T2" fmla="*/ 14 w 18"/>
              <a:gd name="T3" fmla="*/ 50 h 68"/>
              <a:gd name="T4" fmla="*/ 12 w 18"/>
              <a:gd name="T5" fmla="*/ 56 h 68"/>
              <a:gd name="T6" fmla="*/ 12 w 18"/>
              <a:gd name="T7" fmla="*/ 60 h 68"/>
              <a:gd name="T8" fmla="*/ 12 w 18"/>
              <a:gd name="T9" fmla="*/ 60 h 68"/>
              <a:gd name="T10" fmla="*/ 12 w 18"/>
              <a:gd name="T11" fmla="*/ 68 h 68"/>
              <a:gd name="T12" fmla="*/ 8 w 18"/>
              <a:gd name="T13" fmla="*/ 68 h 68"/>
              <a:gd name="T14" fmla="*/ 8 w 18"/>
              <a:gd name="T15" fmla="*/ 68 h 68"/>
              <a:gd name="T16" fmla="*/ 4 w 18"/>
              <a:gd name="T17" fmla="*/ 52 h 68"/>
              <a:gd name="T18" fmla="*/ 4 w 18"/>
              <a:gd name="T19" fmla="*/ 46 h 68"/>
              <a:gd name="T20" fmla="*/ 0 w 18"/>
              <a:gd name="T21" fmla="*/ 38 h 68"/>
              <a:gd name="T22" fmla="*/ 4 w 18"/>
              <a:gd name="T23" fmla="*/ 34 h 68"/>
              <a:gd name="T24" fmla="*/ 4 w 18"/>
              <a:gd name="T25" fmla="*/ 30 h 68"/>
              <a:gd name="T26" fmla="*/ 4 w 18"/>
              <a:gd name="T27" fmla="*/ 26 h 68"/>
              <a:gd name="T28" fmla="*/ 8 w 18"/>
              <a:gd name="T29" fmla="*/ 22 h 68"/>
              <a:gd name="T30" fmla="*/ 8 w 18"/>
              <a:gd name="T31" fmla="*/ 20 h 68"/>
              <a:gd name="T32" fmla="*/ 12 w 18"/>
              <a:gd name="T33" fmla="*/ 8 h 68"/>
              <a:gd name="T34" fmla="*/ 12 w 18"/>
              <a:gd name="T35" fmla="*/ 8 h 68"/>
              <a:gd name="T36" fmla="*/ 12 w 18"/>
              <a:gd name="T37" fmla="*/ 8 h 68"/>
              <a:gd name="T38" fmla="*/ 12 w 18"/>
              <a:gd name="T39" fmla="*/ 4 h 68"/>
              <a:gd name="T40" fmla="*/ 14 w 18"/>
              <a:gd name="T41" fmla="*/ 4 h 68"/>
              <a:gd name="T42" fmla="*/ 18 w 18"/>
              <a:gd name="T43" fmla="*/ 4 h 68"/>
              <a:gd name="T44" fmla="*/ 18 w 18"/>
              <a:gd name="T45" fmla="*/ 0 h 68"/>
              <a:gd name="T46" fmla="*/ 18 w 18"/>
              <a:gd name="T47" fmla="*/ 0 h 68"/>
              <a:gd name="T48" fmla="*/ 18 w 18"/>
              <a:gd name="T49" fmla="*/ 0 h 68"/>
              <a:gd name="T50" fmla="*/ 18 w 18"/>
              <a:gd name="T51" fmla="*/ 4 h 68"/>
              <a:gd name="T52" fmla="*/ 18 w 18"/>
              <a:gd name="T53" fmla="*/ 8 h 68"/>
              <a:gd name="T54" fmla="*/ 18 w 18"/>
              <a:gd name="T55" fmla="*/ 8 h 68"/>
              <a:gd name="T56" fmla="*/ 18 w 18"/>
              <a:gd name="T57" fmla="*/ 12 h 68"/>
              <a:gd name="T58" fmla="*/ 18 w 18"/>
              <a:gd name="T59" fmla="*/ 16 h 68"/>
              <a:gd name="T60" fmla="*/ 14 w 18"/>
              <a:gd name="T61" fmla="*/ 12 h 68"/>
              <a:gd name="T62" fmla="*/ 14 w 18"/>
              <a:gd name="T63" fmla="*/ 12 h 68"/>
              <a:gd name="T64" fmla="*/ 12 w 18"/>
              <a:gd name="T65" fmla="*/ 16 h 68"/>
              <a:gd name="T66" fmla="*/ 12 w 18"/>
              <a:gd name="T67" fmla="*/ 20 h 68"/>
              <a:gd name="T68" fmla="*/ 12 w 18"/>
              <a:gd name="T69" fmla="*/ 22 h 68"/>
              <a:gd name="T70" fmla="*/ 12 w 18"/>
              <a:gd name="T71" fmla="*/ 26 h 68"/>
              <a:gd name="T72" fmla="*/ 12 w 18"/>
              <a:gd name="T73" fmla="*/ 26 h 68"/>
              <a:gd name="T74" fmla="*/ 12 w 18"/>
              <a:gd name="T75" fmla="*/ 26 h 68"/>
              <a:gd name="T76" fmla="*/ 12 w 18"/>
              <a:gd name="T77" fmla="*/ 30 h 68"/>
              <a:gd name="T78" fmla="*/ 8 w 18"/>
              <a:gd name="T79" fmla="*/ 34 h 68"/>
              <a:gd name="T80" fmla="*/ 12 w 18"/>
              <a:gd name="T81" fmla="*/ 34 h 68"/>
              <a:gd name="T82" fmla="*/ 14 w 18"/>
              <a:gd name="T83" fmla="*/ 34 h 68"/>
              <a:gd name="T84" fmla="*/ 18 w 18"/>
              <a:gd name="T85" fmla="*/ 30 h 68"/>
              <a:gd name="T86" fmla="*/ 18 w 18"/>
              <a:gd name="T87" fmla="*/ 34 h 68"/>
              <a:gd name="T88" fmla="*/ 18 w 18"/>
              <a:gd name="T89" fmla="*/ 38 h 68"/>
              <a:gd name="T90" fmla="*/ 14 w 18"/>
              <a:gd name="T91" fmla="*/ 42 h 68"/>
              <a:gd name="T92" fmla="*/ 14 w 18"/>
              <a:gd name="T93" fmla="*/ 26 h 68"/>
              <a:gd name="T94" fmla="*/ 14 w 18"/>
              <a:gd name="T95" fmla="*/ 26 h 68"/>
              <a:gd name="T96" fmla="*/ 14 w 18"/>
              <a:gd name="T97" fmla="*/ 2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 h="68">
                <a:moveTo>
                  <a:pt x="14" y="42"/>
                </a:moveTo>
                <a:lnTo>
                  <a:pt x="14" y="42"/>
                </a:lnTo>
                <a:lnTo>
                  <a:pt x="14" y="42"/>
                </a:lnTo>
                <a:lnTo>
                  <a:pt x="14" y="46"/>
                </a:lnTo>
                <a:lnTo>
                  <a:pt x="14" y="46"/>
                </a:lnTo>
                <a:lnTo>
                  <a:pt x="14" y="46"/>
                </a:lnTo>
                <a:lnTo>
                  <a:pt x="14" y="50"/>
                </a:lnTo>
                <a:lnTo>
                  <a:pt x="14" y="50"/>
                </a:lnTo>
                <a:lnTo>
                  <a:pt x="12" y="52"/>
                </a:lnTo>
                <a:lnTo>
                  <a:pt x="12" y="52"/>
                </a:lnTo>
                <a:lnTo>
                  <a:pt x="12" y="52"/>
                </a:lnTo>
                <a:lnTo>
                  <a:pt x="12" y="56"/>
                </a:lnTo>
                <a:lnTo>
                  <a:pt x="12" y="56"/>
                </a:lnTo>
                <a:lnTo>
                  <a:pt x="12" y="56"/>
                </a:lnTo>
                <a:lnTo>
                  <a:pt x="12" y="60"/>
                </a:lnTo>
                <a:lnTo>
                  <a:pt x="12" y="60"/>
                </a:lnTo>
                <a:lnTo>
                  <a:pt x="12" y="60"/>
                </a:lnTo>
                <a:lnTo>
                  <a:pt x="12" y="60"/>
                </a:lnTo>
                <a:lnTo>
                  <a:pt x="12" y="60"/>
                </a:lnTo>
                <a:lnTo>
                  <a:pt x="12" y="60"/>
                </a:lnTo>
                <a:lnTo>
                  <a:pt x="12" y="68"/>
                </a:lnTo>
                <a:lnTo>
                  <a:pt x="12" y="68"/>
                </a:lnTo>
                <a:lnTo>
                  <a:pt x="12" y="68"/>
                </a:lnTo>
                <a:lnTo>
                  <a:pt x="12" y="68"/>
                </a:lnTo>
                <a:lnTo>
                  <a:pt x="12" y="68"/>
                </a:lnTo>
                <a:lnTo>
                  <a:pt x="12" y="68"/>
                </a:lnTo>
                <a:lnTo>
                  <a:pt x="12" y="68"/>
                </a:lnTo>
                <a:lnTo>
                  <a:pt x="8" y="68"/>
                </a:lnTo>
                <a:lnTo>
                  <a:pt x="8" y="68"/>
                </a:lnTo>
                <a:lnTo>
                  <a:pt x="8" y="68"/>
                </a:lnTo>
                <a:lnTo>
                  <a:pt x="8" y="68"/>
                </a:lnTo>
                <a:lnTo>
                  <a:pt x="8" y="68"/>
                </a:lnTo>
                <a:lnTo>
                  <a:pt x="8" y="64"/>
                </a:lnTo>
                <a:lnTo>
                  <a:pt x="8" y="60"/>
                </a:lnTo>
                <a:lnTo>
                  <a:pt x="8" y="56"/>
                </a:lnTo>
                <a:lnTo>
                  <a:pt x="4" y="52"/>
                </a:lnTo>
                <a:lnTo>
                  <a:pt x="4" y="52"/>
                </a:lnTo>
                <a:lnTo>
                  <a:pt x="4" y="52"/>
                </a:lnTo>
                <a:lnTo>
                  <a:pt x="4" y="50"/>
                </a:lnTo>
                <a:lnTo>
                  <a:pt x="4" y="46"/>
                </a:lnTo>
                <a:lnTo>
                  <a:pt x="4" y="46"/>
                </a:lnTo>
                <a:lnTo>
                  <a:pt x="0" y="38"/>
                </a:lnTo>
                <a:lnTo>
                  <a:pt x="0" y="38"/>
                </a:lnTo>
                <a:lnTo>
                  <a:pt x="0" y="38"/>
                </a:lnTo>
                <a:lnTo>
                  <a:pt x="0" y="34"/>
                </a:lnTo>
                <a:lnTo>
                  <a:pt x="0" y="34"/>
                </a:lnTo>
                <a:lnTo>
                  <a:pt x="4" y="34"/>
                </a:lnTo>
                <a:lnTo>
                  <a:pt x="4" y="34"/>
                </a:lnTo>
                <a:lnTo>
                  <a:pt x="4" y="30"/>
                </a:lnTo>
                <a:lnTo>
                  <a:pt x="4" y="30"/>
                </a:lnTo>
                <a:lnTo>
                  <a:pt x="4" y="30"/>
                </a:lnTo>
                <a:lnTo>
                  <a:pt x="4" y="30"/>
                </a:lnTo>
                <a:lnTo>
                  <a:pt x="4" y="30"/>
                </a:lnTo>
                <a:lnTo>
                  <a:pt x="4" y="30"/>
                </a:lnTo>
                <a:lnTo>
                  <a:pt x="4" y="30"/>
                </a:lnTo>
                <a:lnTo>
                  <a:pt x="4" y="26"/>
                </a:lnTo>
                <a:lnTo>
                  <a:pt x="8" y="26"/>
                </a:lnTo>
                <a:lnTo>
                  <a:pt x="8" y="22"/>
                </a:lnTo>
                <a:lnTo>
                  <a:pt x="8" y="22"/>
                </a:lnTo>
                <a:lnTo>
                  <a:pt x="8" y="22"/>
                </a:lnTo>
                <a:lnTo>
                  <a:pt x="8" y="20"/>
                </a:lnTo>
                <a:lnTo>
                  <a:pt x="8" y="20"/>
                </a:lnTo>
                <a:lnTo>
                  <a:pt x="8" y="20"/>
                </a:lnTo>
                <a:lnTo>
                  <a:pt x="8" y="20"/>
                </a:lnTo>
                <a:lnTo>
                  <a:pt x="8" y="16"/>
                </a:lnTo>
                <a:lnTo>
                  <a:pt x="8" y="16"/>
                </a:lnTo>
                <a:lnTo>
                  <a:pt x="8" y="12"/>
                </a:lnTo>
                <a:lnTo>
                  <a:pt x="12" y="8"/>
                </a:lnTo>
                <a:lnTo>
                  <a:pt x="12" y="8"/>
                </a:lnTo>
                <a:lnTo>
                  <a:pt x="12" y="8"/>
                </a:lnTo>
                <a:lnTo>
                  <a:pt x="12" y="8"/>
                </a:lnTo>
                <a:lnTo>
                  <a:pt x="12" y="8"/>
                </a:lnTo>
                <a:lnTo>
                  <a:pt x="12" y="8"/>
                </a:lnTo>
                <a:lnTo>
                  <a:pt x="12" y="8"/>
                </a:lnTo>
                <a:lnTo>
                  <a:pt x="12" y="8"/>
                </a:lnTo>
                <a:lnTo>
                  <a:pt x="12" y="8"/>
                </a:lnTo>
                <a:lnTo>
                  <a:pt x="12" y="4"/>
                </a:lnTo>
                <a:lnTo>
                  <a:pt x="12" y="4"/>
                </a:lnTo>
                <a:lnTo>
                  <a:pt x="12" y="4"/>
                </a:lnTo>
                <a:lnTo>
                  <a:pt x="12" y="4"/>
                </a:lnTo>
                <a:lnTo>
                  <a:pt x="12" y="4"/>
                </a:lnTo>
                <a:lnTo>
                  <a:pt x="12" y="4"/>
                </a:lnTo>
                <a:lnTo>
                  <a:pt x="14" y="4"/>
                </a:lnTo>
                <a:lnTo>
                  <a:pt x="14" y="4"/>
                </a:lnTo>
                <a:lnTo>
                  <a:pt x="14" y="4"/>
                </a:lnTo>
                <a:lnTo>
                  <a:pt x="14" y="4"/>
                </a:lnTo>
                <a:lnTo>
                  <a:pt x="14" y="4"/>
                </a:lnTo>
                <a:lnTo>
                  <a:pt x="18" y="4"/>
                </a:lnTo>
                <a:lnTo>
                  <a:pt x="18" y="0"/>
                </a:lnTo>
                <a:lnTo>
                  <a:pt x="18" y="0"/>
                </a:lnTo>
                <a:lnTo>
                  <a:pt x="18" y="0"/>
                </a:lnTo>
                <a:lnTo>
                  <a:pt x="18" y="0"/>
                </a:lnTo>
                <a:lnTo>
                  <a:pt x="18" y="0"/>
                </a:lnTo>
                <a:lnTo>
                  <a:pt x="18" y="0"/>
                </a:lnTo>
                <a:lnTo>
                  <a:pt x="18" y="0"/>
                </a:lnTo>
                <a:lnTo>
                  <a:pt x="18" y="0"/>
                </a:lnTo>
                <a:lnTo>
                  <a:pt x="18" y="0"/>
                </a:lnTo>
                <a:lnTo>
                  <a:pt x="18" y="0"/>
                </a:lnTo>
                <a:lnTo>
                  <a:pt x="18" y="0"/>
                </a:lnTo>
                <a:lnTo>
                  <a:pt x="18" y="0"/>
                </a:lnTo>
                <a:lnTo>
                  <a:pt x="18" y="4"/>
                </a:lnTo>
                <a:lnTo>
                  <a:pt x="18" y="4"/>
                </a:lnTo>
                <a:lnTo>
                  <a:pt x="18" y="4"/>
                </a:lnTo>
                <a:lnTo>
                  <a:pt x="18" y="4"/>
                </a:lnTo>
                <a:lnTo>
                  <a:pt x="18" y="4"/>
                </a:lnTo>
                <a:lnTo>
                  <a:pt x="18" y="8"/>
                </a:lnTo>
                <a:lnTo>
                  <a:pt x="18" y="8"/>
                </a:lnTo>
                <a:lnTo>
                  <a:pt x="18" y="8"/>
                </a:lnTo>
                <a:lnTo>
                  <a:pt x="18" y="8"/>
                </a:lnTo>
                <a:lnTo>
                  <a:pt x="18" y="8"/>
                </a:lnTo>
                <a:lnTo>
                  <a:pt x="18" y="8"/>
                </a:lnTo>
                <a:lnTo>
                  <a:pt x="18" y="8"/>
                </a:lnTo>
                <a:lnTo>
                  <a:pt x="18" y="8"/>
                </a:lnTo>
                <a:lnTo>
                  <a:pt x="18" y="12"/>
                </a:lnTo>
                <a:lnTo>
                  <a:pt x="18" y="12"/>
                </a:lnTo>
                <a:lnTo>
                  <a:pt x="18" y="12"/>
                </a:lnTo>
                <a:lnTo>
                  <a:pt x="18" y="12"/>
                </a:lnTo>
                <a:lnTo>
                  <a:pt x="18" y="16"/>
                </a:lnTo>
                <a:lnTo>
                  <a:pt x="18" y="16"/>
                </a:lnTo>
                <a:lnTo>
                  <a:pt x="18" y="16"/>
                </a:lnTo>
                <a:lnTo>
                  <a:pt x="14" y="16"/>
                </a:lnTo>
                <a:lnTo>
                  <a:pt x="14" y="12"/>
                </a:lnTo>
                <a:lnTo>
                  <a:pt x="14" y="12"/>
                </a:lnTo>
                <a:lnTo>
                  <a:pt x="14" y="12"/>
                </a:lnTo>
                <a:lnTo>
                  <a:pt x="14" y="12"/>
                </a:lnTo>
                <a:lnTo>
                  <a:pt x="14" y="12"/>
                </a:lnTo>
                <a:lnTo>
                  <a:pt x="14" y="12"/>
                </a:lnTo>
                <a:lnTo>
                  <a:pt x="14" y="12"/>
                </a:lnTo>
                <a:lnTo>
                  <a:pt x="12" y="16"/>
                </a:lnTo>
                <a:lnTo>
                  <a:pt x="12" y="16"/>
                </a:lnTo>
                <a:lnTo>
                  <a:pt x="12" y="16"/>
                </a:lnTo>
                <a:lnTo>
                  <a:pt x="12" y="16"/>
                </a:lnTo>
                <a:lnTo>
                  <a:pt x="12" y="16"/>
                </a:lnTo>
                <a:lnTo>
                  <a:pt x="12" y="16"/>
                </a:lnTo>
                <a:lnTo>
                  <a:pt x="12" y="20"/>
                </a:lnTo>
                <a:lnTo>
                  <a:pt x="12" y="20"/>
                </a:lnTo>
                <a:lnTo>
                  <a:pt x="12" y="20"/>
                </a:lnTo>
                <a:lnTo>
                  <a:pt x="12" y="22"/>
                </a:lnTo>
                <a:lnTo>
                  <a:pt x="12" y="22"/>
                </a:lnTo>
                <a:lnTo>
                  <a:pt x="12" y="22"/>
                </a:lnTo>
                <a:lnTo>
                  <a:pt x="12" y="22"/>
                </a:lnTo>
                <a:lnTo>
                  <a:pt x="12" y="26"/>
                </a:lnTo>
                <a:lnTo>
                  <a:pt x="12" y="26"/>
                </a:lnTo>
                <a:lnTo>
                  <a:pt x="12" y="26"/>
                </a:lnTo>
                <a:lnTo>
                  <a:pt x="12" y="26"/>
                </a:lnTo>
                <a:lnTo>
                  <a:pt x="12" y="26"/>
                </a:lnTo>
                <a:lnTo>
                  <a:pt x="12" y="26"/>
                </a:lnTo>
                <a:lnTo>
                  <a:pt x="12" y="26"/>
                </a:lnTo>
                <a:lnTo>
                  <a:pt x="14" y="26"/>
                </a:lnTo>
                <a:lnTo>
                  <a:pt x="14" y="26"/>
                </a:lnTo>
                <a:lnTo>
                  <a:pt x="12" y="26"/>
                </a:lnTo>
                <a:lnTo>
                  <a:pt x="12" y="26"/>
                </a:lnTo>
                <a:lnTo>
                  <a:pt x="12" y="30"/>
                </a:lnTo>
                <a:lnTo>
                  <a:pt x="12" y="30"/>
                </a:lnTo>
                <a:lnTo>
                  <a:pt x="12" y="30"/>
                </a:lnTo>
                <a:lnTo>
                  <a:pt x="12" y="30"/>
                </a:lnTo>
                <a:lnTo>
                  <a:pt x="12" y="30"/>
                </a:lnTo>
                <a:lnTo>
                  <a:pt x="12" y="30"/>
                </a:lnTo>
                <a:lnTo>
                  <a:pt x="12" y="34"/>
                </a:lnTo>
                <a:lnTo>
                  <a:pt x="8" y="34"/>
                </a:lnTo>
                <a:lnTo>
                  <a:pt x="8" y="34"/>
                </a:lnTo>
                <a:lnTo>
                  <a:pt x="8" y="34"/>
                </a:lnTo>
                <a:lnTo>
                  <a:pt x="8" y="34"/>
                </a:lnTo>
                <a:lnTo>
                  <a:pt x="12" y="34"/>
                </a:lnTo>
                <a:lnTo>
                  <a:pt x="12" y="34"/>
                </a:lnTo>
                <a:lnTo>
                  <a:pt x="14" y="34"/>
                </a:lnTo>
                <a:lnTo>
                  <a:pt x="14" y="34"/>
                </a:lnTo>
                <a:lnTo>
                  <a:pt x="14" y="34"/>
                </a:lnTo>
                <a:lnTo>
                  <a:pt x="14" y="34"/>
                </a:lnTo>
                <a:lnTo>
                  <a:pt x="14" y="30"/>
                </a:lnTo>
                <a:lnTo>
                  <a:pt x="18" y="30"/>
                </a:lnTo>
                <a:lnTo>
                  <a:pt x="18" y="30"/>
                </a:lnTo>
                <a:lnTo>
                  <a:pt x="18" y="34"/>
                </a:lnTo>
                <a:lnTo>
                  <a:pt x="18" y="34"/>
                </a:lnTo>
                <a:lnTo>
                  <a:pt x="18" y="34"/>
                </a:lnTo>
                <a:lnTo>
                  <a:pt x="18" y="34"/>
                </a:lnTo>
                <a:lnTo>
                  <a:pt x="14" y="38"/>
                </a:lnTo>
                <a:lnTo>
                  <a:pt x="14" y="38"/>
                </a:lnTo>
                <a:lnTo>
                  <a:pt x="18" y="38"/>
                </a:lnTo>
                <a:lnTo>
                  <a:pt x="18" y="38"/>
                </a:lnTo>
                <a:lnTo>
                  <a:pt x="18" y="38"/>
                </a:lnTo>
                <a:lnTo>
                  <a:pt x="14" y="42"/>
                </a:lnTo>
                <a:lnTo>
                  <a:pt x="14" y="42"/>
                </a:lnTo>
                <a:lnTo>
                  <a:pt x="14" y="42"/>
                </a:lnTo>
                <a:lnTo>
                  <a:pt x="14" y="42"/>
                </a:lnTo>
                <a:close/>
                <a:moveTo>
                  <a:pt x="14" y="26"/>
                </a:moveTo>
                <a:lnTo>
                  <a:pt x="14" y="26"/>
                </a:lnTo>
                <a:lnTo>
                  <a:pt x="14" y="26"/>
                </a:lnTo>
                <a:lnTo>
                  <a:pt x="14" y="26"/>
                </a:lnTo>
                <a:lnTo>
                  <a:pt x="14" y="26"/>
                </a:lnTo>
                <a:lnTo>
                  <a:pt x="14" y="26"/>
                </a:lnTo>
                <a:lnTo>
                  <a:pt x="14" y="26"/>
                </a:lnTo>
                <a:lnTo>
                  <a:pt x="14" y="26"/>
                </a:lnTo>
                <a:lnTo>
                  <a:pt x="14" y="26"/>
                </a:lnTo>
                <a:lnTo>
                  <a:pt x="14" y="26"/>
                </a:lnTo>
                <a:lnTo>
                  <a:pt x="14" y="26"/>
                </a:lnTo>
                <a:lnTo>
                  <a:pt x="14" y="26"/>
                </a:lnTo>
                <a:close/>
              </a:path>
            </a:pathLst>
          </a:custGeom>
          <a:solidFill>
            <a:srgbClr val="A0DCFF"/>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5" name="Freeform 32"/>
          <p:cNvSpPr>
            <a:spLocks noEditPoints="1"/>
          </p:cNvSpPr>
          <p:nvPr/>
        </p:nvSpPr>
        <p:spPr bwMode="auto">
          <a:xfrm>
            <a:off x="6336506" y="2719387"/>
            <a:ext cx="373856" cy="478631"/>
          </a:xfrm>
          <a:custGeom>
            <a:avLst/>
            <a:gdLst>
              <a:gd name="T0" fmla="*/ 98 w 314"/>
              <a:gd name="T1" fmla="*/ 250 h 402"/>
              <a:gd name="T2" fmla="*/ 278 w 314"/>
              <a:gd name="T3" fmla="*/ 70 h 402"/>
              <a:gd name="T4" fmla="*/ 240 w 314"/>
              <a:gd name="T5" fmla="*/ 60 h 402"/>
              <a:gd name="T6" fmla="*/ 248 w 314"/>
              <a:gd name="T7" fmla="*/ 78 h 402"/>
              <a:gd name="T8" fmla="*/ 228 w 314"/>
              <a:gd name="T9" fmla="*/ 66 h 402"/>
              <a:gd name="T10" fmla="*/ 244 w 314"/>
              <a:gd name="T11" fmla="*/ 48 h 402"/>
              <a:gd name="T12" fmla="*/ 258 w 314"/>
              <a:gd name="T13" fmla="*/ 26 h 402"/>
              <a:gd name="T14" fmla="*/ 270 w 314"/>
              <a:gd name="T15" fmla="*/ 12 h 402"/>
              <a:gd name="T16" fmla="*/ 296 w 314"/>
              <a:gd name="T17" fmla="*/ 34 h 402"/>
              <a:gd name="T18" fmla="*/ 310 w 314"/>
              <a:gd name="T19" fmla="*/ 42 h 402"/>
              <a:gd name="T20" fmla="*/ 296 w 314"/>
              <a:gd name="T21" fmla="*/ 52 h 402"/>
              <a:gd name="T22" fmla="*/ 252 w 314"/>
              <a:gd name="T23" fmla="*/ 8 h 402"/>
              <a:gd name="T24" fmla="*/ 226 w 314"/>
              <a:gd name="T25" fmla="*/ 66 h 402"/>
              <a:gd name="T26" fmla="*/ 136 w 314"/>
              <a:gd name="T27" fmla="*/ 216 h 402"/>
              <a:gd name="T28" fmla="*/ 116 w 314"/>
              <a:gd name="T29" fmla="*/ 224 h 402"/>
              <a:gd name="T30" fmla="*/ 120 w 314"/>
              <a:gd name="T31" fmla="*/ 208 h 402"/>
              <a:gd name="T32" fmla="*/ 136 w 314"/>
              <a:gd name="T33" fmla="*/ 194 h 402"/>
              <a:gd name="T34" fmla="*/ 166 w 314"/>
              <a:gd name="T35" fmla="*/ 190 h 402"/>
              <a:gd name="T36" fmla="*/ 176 w 314"/>
              <a:gd name="T37" fmla="*/ 194 h 402"/>
              <a:gd name="T38" fmla="*/ 188 w 314"/>
              <a:gd name="T39" fmla="*/ 164 h 402"/>
              <a:gd name="T40" fmla="*/ 192 w 314"/>
              <a:gd name="T41" fmla="*/ 172 h 402"/>
              <a:gd name="T42" fmla="*/ 218 w 314"/>
              <a:gd name="T43" fmla="*/ 148 h 402"/>
              <a:gd name="T44" fmla="*/ 236 w 314"/>
              <a:gd name="T45" fmla="*/ 118 h 402"/>
              <a:gd name="T46" fmla="*/ 232 w 314"/>
              <a:gd name="T47" fmla="*/ 96 h 402"/>
              <a:gd name="T48" fmla="*/ 248 w 314"/>
              <a:gd name="T49" fmla="*/ 90 h 402"/>
              <a:gd name="T50" fmla="*/ 252 w 314"/>
              <a:gd name="T51" fmla="*/ 82 h 402"/>
              <a:gd name="T52" fmla="*/ 262 w 314"/>
              <a:gd name="T53" fmla="*/ 116 h 402"/>
              <a:gd name="T54" fmla="*/ 254 w 314"/>
              <a:gd name="T55" fmla="*/ 142 h 402"/>
              <a:gd name="T56" fmla="*/ 244 w 314"/>
              <a:gd name="T57" fmla="*/ 172 h 402"/>
              <a:gd name="T58" fmla="*/ 236 w 314"/>
              <a:gd name="T59" fmla="*/ 202 h 402"/>
              <a:gd name="T60" fmla="*/ 228 w 314"/>
              <a:gd name="T61" fmla="*/ 198 h 402"/>
              <a:gd name="T62" fmla="*/ 214 w 314"/>
              <a:gd name="T63" fmla="*/ 202 h 402"/>
              <a:gd name="T64" fmla="*/ 196 w 314"/>
              <a:gd name="T65" fmla="*/ 208 h 402"/>
              <a:gd name="T66" fmla="*/ 184 w 314"/>
              <a:gd name="T67" fmla="*/ 212 h 402"/>
              <a:gd name="T68" fmla="*/ 176 w 314"/>
              <a:gd name="T69" fmla="*/ 230 h 402"/>
              <a:gd name="T70" fmla="*/ 166 w 314"/>
              <a:gd name="T71" fmla="*/ 212 h 402"/>
              <a:gd name="T72" fmla="*/ 210 w 314"/>
              <a:gd name="T73" fmla="*/ 148 h 402"/>
              <a:gd name="T74" fmla="*/ 214 w 314"/>
              <a:gd name="T75" fmla="*/ 142 h 402"/>
              <a:gd name="T76" fmla="*/ 80 w 314"/>
              <a:gd name="T77" fmla="*/ 216 h 402"/>
              <a:gd name="T78" fmla="*/ 158 w 314"/>
              <a:gd name="T79" fmla="*/ 220 h 402"/>
              <a:gd name="T80" fmla="*/ 150 w 314"/>
              <a:gd name="T81" fmla="*/ 234 h 402"/>
              <a:gd name="T82" fmla="*/ 132 w 314"/>
              <a:gd name="T83" fmla="*/ 246 h 402"/>
              <a:gd name="T84" fmla="*/ 124 w 314"/>
              <a:gd name="T85" fmla="*/ 234 h 402"/>
              <a:gd name="T86" fmla="*/ 146 w 314"/>
              <a:gd name="T87" fmla="*/ 220 h 402"/>
              <a:gd name="T88" fmla="*/ 80 w 314"/>
              <a:gd name="T89" fmla="*/ 224 h 402"/>
              <a:gd name="T90" fmla="*/ 128 w 314"/>
              <a:gd name="T91" fmla="*/ 220 h 402"/>
              <a:gd name="T92" fmla="*/ 90 w 314"/>
              <a:gd name="T93" fmla="*/ 238 h 402"/>
              <a:gd name="T94" fmla="*/ 106 w 314"/>
              <a:gd name="T95" fmla="*/ 230 h 402"/>
              <a:gd name="T96" fmla="*/ 120 w 314"/>
              <a:gd name="T97" fmla="*/ 246 h 402"/>
              <a:gd name="T98" fmla="*/ 106 w 314"/>
              <a:gd name="T99" fmla="*/ 272 h 402"/>
              <a:gd name="T100" fmla="*/ 98 w 314"/>
              <a:gd name="T101" fmla="*/ 272 h 402"/>
              <a:gd name="T102" fmla="*/ 98 w 314"/>
              <a:gd name="T103" fmla="*/ 258 h 402"/>
              <a:gd name="T104" fmla="*/ 98 w 314"/>
              <a:gd name="T105" fmla="*/ 246 h 402"/>
              <a:gd name="T106" fmla="*/ 90 w 314"/>
              <a:gd name="T107" fmla="*/ 228 h 402"/>
              <a:gd name="T108" fmla="*/ 86 w 314"/>
              <a:gd name="T109" fmla="*/ 234 h 402"/>
              <a:gd name="T110" fmla="*/ 76 w 314"/>
              <a:gd name="T111" fmla="*/ 250 h 402"/>
              <a:gd name="T112" fmla="*/ 90 w 314"/>
              <a:gd name="T113" fmla="*/ 258 h 402"/>
              <a:gd name="T114" fmla="*/ 98 w 314"/>
              <a:gd name="T115" fmla="*/ 294 h 402"/>
              <a:gd name="T116" fmla="*/ 86 w 314"/>
              <a:gd name="T117" fmla="*/ 324 h 402"/>
              <a:gd name="T118" fmla="*/ 60 w 314"/>
              <a:gd name="T119" fmla="*/ 362 h 402"/>
              <a:gd name="T120" fmla="*/ 68 w 314"/>
              <a:gd name="T121" fmla="*/ 354 h 402"/>
              <a:gd name="T122" fmla="*/ 12 w 314"/>
              <a:gd name="T123" fmla="*/ 398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4" h="402">
                <a:moveTo>
                  <a:pt x="128" y="228"/>
                </a:moveTo>
                <a:lnTo>
                  <a:pt x="124" y="228"/>
                </a:lnTo>
                <a:lnTo>
                  <a:pt x="124" y="224"/>
                </a:lnTo>
                <a:lnTo>
                  <a:pt x="124" y="228"/>
                </a:lnTo>
                <a:lnTo>
                  <a:pt x="124" y="224"/>
                </a:lnTo>
                <a:lnTo>
                  <a:pt x="128" y="224"/>
                </a:lnTo>
                <a:lnTo>
                  <a:pt x="128" y="228"/>
                </a:lnTo>
                <a:lnTo>
                  <a:pt x="128" y="228"/>
                </a:lnTo>
                <a:lnTo>
                  <a:pt x="128" y="228"/>
                </a:lnTo>
                <a:close/>
                <a:moveTo>
                  <a:pt x="94" y="254"/>
                </a:moveTo>
                <a:lnTo>
                  <a:pt x="98" y="250"/>
                </a:lnTo>
                <a:lnTo>
                  <a:pt x="98" y="254"/>
                </a:lnTo>
                <a:lnTo>
                  <a:pt x="94" y="254"/>
                </a:lnTo>
                <a:lnTo>
                  <a:pt x="94" y="254"/>
                </a:lnTo>
                <a:lnTo>
                  <a:pt x="94" y="254"/>
                </a:lnTo>
                <a:close/>
                <a:moveTo>
                  <a:pt x="288" y="56"/>
                </a:moveTo>
                <a:lnTo>
                  <a:pt x="284" y="60"/>
                </a:lnTo>
                <a:lnTo>
                  <a:pt x="282" y="60"/>
                </a:lnTo>
                <a:lnTo>
                  <a:pt x="282" y="62"/>
                </a:lnTo>
                <a:lnTo>
                  <a:pt x="282" y="66"/>
                </a:lnTo>
                <a:lnTo>
                  <a:pt x="282" y="70"/>
                </a:lnTo>
                <a:lnTo>
                  <a:pt x="278" y="70"/>
                </a:lnTo>
                <a:lnTo>
                  <a:pt x="274" y="66"/>
                </a:lnTo>
                <a:lnTo>
                  <a:pt x="270" y="66"/>
                </a:lnTo>
                <a:lnTo>
                  <a:pt x="266" y="62"/>
                </a:lnTo>
                <a:lnTo>
                  <a:pt x="262" y="62"/>
                </a:lnTo>
                <a:lnTo>
                  <a:pt x="262" y="60"/>
                </a:lnTo>
                <a:lnTo>
                  <a:pt x="258" y="60"/>
                </a:lnTo>
                <a:lnTo>
                  <a:pt x="254" y="60"/>
                </a:lnTo>
                <a:lnTo>
                  <a:pt x="252" y="62"/>
                </a:lnTo>
                <a:lnTo>
                  <a:pt x="248" y="62"/>
                </a:lnTo>
                <a:lnTo>
                  <a:pt x="244" y="60"/>
                </a:lnTo>
                <a:lnTo>
                  <a:pt x="240" y="60"/>
                </a:lnTo>
                <a:lnTo>
                  <a:pt x="240" y="62"/>
                </a:lnTo>
                <a:lnTo>
                  <a:pt x="236" y="62"/>
                </a:lnTo>
                <a:lnTo>
                  <a:pt x="236" y="66"/>
                </a:lnTo>
                <a:lnTo>
                  <a:pt x="240" y="66"/>
                </a:lnTo>
                <a:lnTo>
                  <a:pt x="244" y="66"/>
                </a:lnTo>
                <a:lnTo>
                  <a:pt x="244" y="70"/>
                </a:lnTo>
                <a:lnTo>
                  <a:pt x="248" y="70"/>
                </a:lnTo>
                <a:lnTo>
                  <a:pt x="248" y="74"/>
                </a:lnTo>
                <a:lnTo>
                  <a:pt x="252" y="74"/>
                </a:lnTo>
                <a:lnTo>
                  <a:pt x="248" y="74"/>
                </a:lnTo>
                <a:lnTo>
                  <a:pt x="248" y="78"/>
                </a:lnTo>
                <a:lnTo>
                  <a:pt x="244" y="74"/>
                </a:lnTo>
                <a:lnTo>
                  <a:pt x="240" y="78"/>
                </a:lnTo>
                <a:lnTo>
                  <a:pt x="240" y="82"/>
                </a:lnTo>
                <a:lnTo>
                  <a:pt x="236" y="82"/>
                </a:lnTo>
                <a:lnTo>
                  <a:pt x="232" y="82"/>
                </a:lnTo>
                <a:lnTo>
                  <a:pt x="232" y="78"/>
                </a:lnTo>
                <a:lnTo>
                  <a:pt x="236" y="74"/>
                </a:lnTo>
                <a:lnTo>
                  <a:pt x="236" y="70"/>
                </a:lnTo>
                <a:lnTo>
                  <a:pt x="232" y="70"/>
                </a:lnTo>
                <a:lnTo>
                  <a:pt x="232" y="66"/>
                </a:lnTo>
                <a:lnTo>
                  <a:pt x="228" y="66"/>
                </a:lnTo>
                <a:lnTo>
                  <a:pt x="228" y="62"/>
                </a:lnTo>
                <a:lnTo>
                  <a:pt x="232" y="62"/>
                </a:lnTo>
                <a:lnTo>
                  <a:pt x="232" y="60"/>
                </a:lnTo>
                <a:lnTo>
                  <a:pt x="232" y="56"/>
                </a:lnTo>
                <a:lnTo>
                  <a:pt x="236" y="56"/>
                </a:lnTo>
                <a:lnTo>
                  <a:pt x="240" y="56"/>
                </a:lnTo>
                <a:lnTo>
                  <a:pt x="240" y="52"/>
                </a:lnTo>
                <a:lnTo>
                  <a:pt x="240" y="48"/>
                </a:lnTo>
                <a:lnTo>
                  <a:pt x="240" y="46"/>
                </a:lnTo>
                <a:lnTo>
                  <a:pt x="244" y="46"/>
                </a:lnTo>
                <a:lnTo>
                  <a:pt x="244" y="48"/>
                </a:lnTo>
                <a:lnTo>
                  <a:pt x="248" y="48"/>
                </a:lnTo>
                <a:lnTo>
                  <a:pt x="252" y="48"/>
                </a:lnTo>
                <a:lnTo>
                  <a:pt x="252" y="46"/>
                </a:lnTo>
                <a:lnTo>
                  <a:pt x="254" y="46"/>
                </a:lnTo>
                <a:lnTo>
                  <a:pt x="254" y="42"/>
                </a:lnTo>
                <a:lnTo>
                  <a:pt x="252" y="38"/>
                </a:lnTo>
                <a:lnTo>
                  <a:pt x="254" y="38"/>
                </a:lnTo>
                <a:lnTo>
                  <a:pt x="254" y="34"/>
                </a:lnTo>
                <a:lnTo>
                  <a:pt x="258" y="34"/>
                </a:lnTo>
                <a:lnTo>
                  <a:pt x="258" y="30"/>
                </a:lnTo>
                <a:lnTo>
                  <a:pt x="258" y="26"/>
                </a:lnTo>
                <a:lnTo>
                  <a:pt x="258" y="22"/>
                </a:lnTo>
                <a:lnTo>
                  <a:pt x="258" y="20"/>
                </a:lnTo>
                <a:lnTo>
                  <a:pt x="258" y="16"/>
                </a:lnTo>
                <a:lnTo>
                  <a:pt x="258" y="12"/>
                </a:lnTo>
                <a:lnTo>
                  <a:pt x="254" y="8"/>
                </a:lnTo>
                <a:lnTo>
                  <a:pt x="258" y="4"/>
                </a:lnTo>
                <a:lnTo>
                  <a:pt x="262" y="0"/>
                </a:lnTo>
                <a:lnTo>
                  <a:pt x="262" y="4"/>
                </a:lnTo>
                <a:lnTo>
                  <a:pt x="266" y="4"/>
                </a:lnTo>
                <a:lnTo>
                  <a:pt x="266" y="8"/>
                </a:lnTo>
                <a:lnTo>
                  <a:pt x="270" y="12"/>
                </a:lnTo>
                <a:lnTo>
                  <a:pt x="270" y="16"/>
                </a:lnTo>
                <a:lnTo>
                  <a:pt x="274" y="16"/>
                </a:lnTo>
                <a:lnTo>
                  <a:pt x="274" y="20"/>
                </a:lnTo>
                <a:lnTo>
                  <a:pt x="278" y="20"/>
                </a:lnTo>
                <a:lnTo>
                  <a:pt x="278" y="22"/>
                </a:lnTo>
                <a:lnTo>
                  <a:pt x="282" y="26"/>
                </a:lnTo>
                <a:lnTo>
                  <a:pt x="284" y="26"/>
                </a:lnTo>
                <a:lnTo>
                  <a:pt x="284" y="30"/>
                </a:lnTo>
                <a:lnTo>
                  <a:pt x="288" y="30"/>
                </a:lnTo>
                <a:lnTo>
                  <a:pt x="292" y="30"/>
                </a:lnTo>
                <a:lnTo>
                  <a:pt x="296" y="34"/>
                </a:lnTo>
                <a:lnTo>
                  <a:pt x="300" y="34"/>
                </a:lnTo>
                <a:lnTo>
                  <a:pt x="302" y="34"/>
                </a:lnTo>
                <a:lnTo>
                  <a:pt x="302" y="30"/>
                </a:lnTo>
                <a:lnTo>
                  <a:pt x="306" y="30"/>
                </a:lnTo>
                <a:lnTo>
                  <a:pt x="306" y="26"/>
                </a:lnTo>
                <a:lnTo>
                  <a:pt x="310" y="26"/>
                </a:lnTo>
                <a:lnTo>
                  <a:pt x="306" y="30"/>
                </a:lnTo>
                <a:lnTo>
                  <a:pt x="306" y="34"/>
                </a:lnTo>
                <a:lnTo>
                  <a:pt x="306" y="38"/>
                </a:lnTo>
                <a:lnTo>
                  <a:pt x="306" y="42"/>
                </a:lnTo>
                <a:lnTo>
                  <a:pt x="310" y="42"/>
                </a:lnTo>
                <a:lnTo>
                  <a:pt x="306" y="42"/>
                </a:lnTo>
                <a:lnTo>
                  <a:pt x="306" y="46"/>
                </a:lnTo>
                <a:lnTo>
                  <a:pt x="310" y="46"/>
                </a:lnTo>
                <a:lnTo>
                  <a:pt x="314" y="46"/>
                </a:lnTo>
                <a:lnTo>
                  <a:pt x="310" y="46"/>
                </a:lnTo>
                <a:lnTo>
                  <a:pt x="310" y="48"/>
                </a:lnTo>
                <a:lnTo>
                  <a:pt x="306" y="48"/>
                </a:lnTo>
                <a:lnTo>
                  <a:pt x="302" y="52"/>
                </a:lnTo>
                <a:lnTo>
                  <a:pt x="302" y="48"/>
                </a:lnTo>
                <a:lnTo>
                  <a:pt x="300" y="52"/>
                </a:lnTo>
                <a:lnTo>
                  <a:pt x="296" y="52"/>
                </a:lnTo>
                <a:lnTo>
                  <a:pt x="292" y="52"/>
                </a:lnTo>
                <a:lnTo>
                  <a:pt x="288" y="52"/>
                </a:lnTo>
                <a:lnTo>
                  <a:pt x="288" y="56"/>
                </a:lnTo>
                <a:lnTo>
                  <a:pt x="288" y="56"/>
                </a:lnTo>
                <a:lnTo>
                  <a:pt x="288" y="56"/>
                </a:lnTo>
                <a:close/>
                <a:moveTo>
                  <a:pt x="248" y="4"/>
                </a:moveTo>
                <a:lnTo>
                  <a:pt x="248" y="8"/>
                </a:lnTo>
                <a:lnTo>
                  <a:pt x="248" y="4"/>
                </a:lnTo>
                <a:lnTo>
                  <a:pt x="248" y="4"/>
                </a:lnTo>
                <a:lnTo>
                  <a:pt x="248" y="4"/>
                </a:lnTo>
                <a:close/>
                <a:moveTo>
                  <a:pt x="252" y="8"/>
                </a:moveTo>
                <a:lnTo>
                  <a:pt x="252" y="12"/>
                </a:lnTo>
                <a:lnTo>
                  <a:pt x="252" y="8"/>
                </a:lnTo>
                <a:lnTo>
                  <a:pt x="252" y="8"/>
                </a:lnTo>
                <a:lnTo>
                  <a:pt x="252" y="8"/>
                </a:lnTo>
                <a:close/>
                <a:moveTo>
                  <a:pt x="226" y="66"/>
                </a:moveTo>
                <a:lnTo>
                  <a:pt x="228" y="66"/>
                </a:lnTo>
                <a:lnTo>
                  <a:pt x="226" y="66"/>
                </a:lnTo>
                <a:lnTo>
                  <a:pt x="226" y="70"/>
                </a:lnTo>
                <a:lnTo>
                  <a:pt x="226" y="66"/>
                </a:lnTo>
                <a:lnTo>
                  <a:pt x="226" y="66"/>
                </a:lnTo>
                <a:lnTo>
                  <a:pt x="226" y="66"/>
                </a:lnTo>
                <a:close/>
                <a:moveTo>
                  <a:pt x="154" y="208"/>
                </a:moveTo>
                <a:lnTo>
                  <a:pt x="150" y="208"/>
                </a:lnTo>
                <a:lnTo>
                  <a:pt x="150" y="212"/>
                </a:lnTo>
                <a:lnTo>
                  <a:pt x="146" y="212"/>
                </a:lnTo>
                <a:lnTo>
                  <a:pt x="150" y="212"/>
                </a:lnTo>
                <a:lnTo>
                  <a:pt x="146" y="216"/>
                </a:lnTo>
                <a:lnTo>
                  <a:pt x="142" y="212"/>
                </a:lnTo>
                <a:lnTo>
                  <a:pt x="142" y="216"/>
                </a:lnTo>
                <a:lnTo>
                  <a:pt x="140" y="216"/>
                </a:lnTo>
                <a:lnTo>
                  <a:pt x="136" y="220"/>
                </a:lnTo>
                <a:lnTo>
                  <a:pt x="136" y="216"/>
                </a:lnTo>
                <a:lnTo>
                  <a:pt x="132" y="216"/>
                </a:lnTo>
                <a:lnTo>
                  <a:pt x="132" y="220"/>
                </a:lnTo>
                <a:lnTo>
                  <a:pt x="128" y="220"/>
                </a:lnTo>
                <a:lnTo>
                  <a:pt x="128" y="216"/>
                </a:lnTo>
                <a:lnTo>
                  <a:pt x="124" y="216"/>
                </a:lnTo>
                <a:lnTo>
                  <a:pt x="124" y="220"/>
                </a:lnTo>
                <a:lnTo>
                  <a:pt x="124" y="224"/>
                </a:lnTo>
                <a:lnTo>
                  <a:pt x="120" y="224"/>
                </a:lnTo>
                <a:lnTo>
                  <a:pt x="124" y="228"/>
                </a:lnTo>
                <a:lnTo>
                  <a:pt x="120" y="228"/>
                </a:lnTo>
                <a:lnTo>
                  <a:pt x="116" y="224"/>
                </a:lnTo>
                <a:lnTo>
                  <a:pt x="112" y="224"/>
                </a:lnTo>
                <a:lnTo>
                  <a:pt x="110" y="224"/>
                </a:lnTo>
                <a:lnTo>
                  <a:pt x="106" y="224"/>
                </a:lnTo>
                <a:lnTo>
                  <a:pt x="106" y="220"/>
                </a:lnTo>
                <a:lnTo>
                  <a:pt x="106" y="216"/>
                </a:lnTo>
                <a:lnTo>
                  <a:pt x="110" y="216"/>
                </a:lnTo>
                <a:lnTo>
                  <a:pt x="112" y="216"/>
                </a:lnTo>
                <a:lnTo>
                  <a:pt x="112" y="212"/>
                </a:lnTo>
                <a:lnTo>
                  <a:pt x="116" y="212"/>
                </a:lnTo>
                <a:lnTo>
                  <a:pt x="116" y="208"/>
                </a:lnTo>
                <a:lnTo>
                  <a:pt x="120" y="208"/>
                </a:lnTo>
                <a:lnTo>
                  <a:pt x="120" y="204"/>
                </a:lnTo>
                <a:lnTo>
                  <a:pt x="124" y="204"/>
                </a:lnTo>
                <a:lnTo>
                  <a:pt x="124" y="202"/>
                </a:lnTo>
                <a:lnTo>
                  <a:pt x="128" y="202"/>
                </a:lnTo>
                <a:lnTo>
                  <a:pt x="128" y="198"/>
                </a:lnTo>
                <a:lnTo>
                  <a:pt x="132" y="198"/>
                </a:lnTo>
                <a:lnTo>
                  <a:pt x="128" y="198"/>
                </a:lnTo>
                <a:lnTo>
                  <a:pt x="132" y="198"/>
                </a:lnTo>
                <a:lnTo>
                  <a:pt x="132" y="194"/>
                </a:lnTo>
                <a:lnTo>
                  <a:pt x="136" y="198"/>
                </a:lnTo>
                <a:lnTo>
                  <a:pt x="136" y="194"/>
                </a:lnTo>
                <a:lnTo>
                  <a:pt x="140" y="194"/>
                </a:lnTo>
                <a:lnTo>
                  <a:pt x="140" y="198"/>
                </a:lnTo>
                <a:lnTo>
                  <a:pt x="142" y="198"/>
                </a:lnTo>
                <a:lnTo>
                  <a:pt x="142" y="194"/>
                </a:lnTo>
                <a:lnTo>
                  <a:pt x="142" y="198"/>
                </a:lnTo>
                <a:lnTo>
                  <a:pt x="146" y="198"/>
                </a:lnTo>
                <a:lnTo>
                  <a:pt x="150" y="194"/>
                </a:lnTo>
                <a:lnTo>
                  <a:pt x="154" y="194"/>
                </a:lnTo>
                <a:lnTo>
                  <a:pt x="158" y="194"/>
                </a:lnTo>
                <a:lnTo>
                  <a:pt x="162" y="194"/>
                </a:lnTo>
                <a:lnTo>
                  <a:pt x="166" y="190"/>
                </a:lnTo>
                <a:lnTo>
                  <a:pt x="166" y="194"/>
                </a:lnTo>
                <a:lnTo>
                  <a:pt x="170" y="198"/>
                </a:lnTo>
                <a:lnTo>
                  <a:pt x="170" y="194"/>
                </a:lnTo>
                <a:lnTo>
                  <a:pt x="170" y="198"/>
                </a:lnTo>
                <a:lnTo>
                  <a:pt x="170" y="194"/>
                </a:lnTo>
                <a:lnTo>
                  <a:pt x="170" y="198"/>
                </a:lnTo>
                <a:lnTo>
                  <a:pt x="172" y="198"/>
                </a:lnTo>
                <a:lnTo>
                  <a:pt x="172" y="194"/>
                </a:lnTo>
                <a:lnTo>
                  <a:pt x="176" y="194"/>
                </a:lnTo>
                <a:lnTo>
                  <a:pt x="176" y="190"/>
                </a:lnTo>
                <a:lnTo>
                  <a:pt x="176" y="194"/>
                </a:lnTo>
                <a:lnTo>
                  <a:pt x="176" y="190"/>
                </a:lnTo>
                <a:lnTo>
                  <a:pt x="176" y="186"/>
                </a:lnTo>
                <a:lnTo>
                  <a:pt x="176" y="182"/>
                </a:lnTo>
                <a:lnTo>
                  <a:pt x="180" y="182"/>
                </a:lnTo>
                <a:lnTo>
                  <a:pt x="180" y="178"/>
                </a:lnTo>
                <a:lnTo>
                  <a:pt x="184" y="178"/>
                </a:lnTo>
                <a:lnTo>
                  <a:pt x="184" y="174"/>
                </a:lnTo>
                <a:lnTo>
                  <a:pt x="188" y="174"/>
                </a:lnTo>
                <a:lnTo>
                  <a:pt x="188" y="172"/>
                </a:lnTo>
                <a:lnTo>
                  <a:pt x="188" y="168"/>
                </a:lnTo>
                <a:lnTo>
                  <a:pt x="188" y="164"/>
                </a:lnTo>
                <a:lnTo>
                  <a:pt x="188" y="160"/>
                </a:lnTo>
                <a:lnTo>
                  <a:pt x="192" y="160"/>
                </a:lnTo>
                <a:lnTo>
                  <a:pt x="192" y="156"/>
                </a:lnTo>
                <a:lnTo>
                  <a:pt x="196" y="156"/>
                </a:lnTo>
                <a:lnTo>
                  <a:pt x="196" y="160"/>
                </a:lnTo>
                <a:lnTo>
                  <a:pt x="192" y="160"/>
                </a:lnTo>
                <a:lnTo>
                  <a:pt x="192" y="164"/>
                </a:lnTo>
                <a:lnTo>
                  <a:pt x="188" y="164"/>
                </a:lnTo>
                <a:lnTo>
                  <a:pt x="188" y="168"/>
                </a:lnTo>
                <a:lnTo>
                  <a:pt x="192" y="168"/>
                </a:lnTo>
                <a:lnTo>
                  <a:pt x="192" y="172"/>
                </a:lnTo>
                <a:lnTo>
                  <a:pt x="196" y="172"/>
                </a:lnTo>
                <a:lnTo>
                  <a:pt x="196" y="168"/>
                </a:lnTo>
                <a:lnTo>
                  <a:pt x="198" y="168"/>
                </a:lnTo>
                <a:lnTo>
                  <a:pt x="202" y="168"/>
                </a:lnTo>
                <a:lnTo>
                  <a:pt x="206" y="164"/>
                </a:lnTo>
                <a:lnTo>
                  <a:pt x="210" y="164"/>
                </a:lnTo>
                <a:lnTo>
                  <a:pt x="214" y="160"/>
                </a:lnTo>
                <a:lnTo>
                  <a:pt x="214" y="156"/>
                </a:lnTo>
                <a:lnTo>
                  <a:pt x="218" y="156"/>
                </a:lnTo>
                <a:lnTo>
                  <a:pt x="218" y="152"/>
                </a:lnTo>
                <a:lnTo>
                  <a:pt x="218" y="148"/>
                </a:lnTo>
                <a:lnTo>
                  <a:pt x="222" y="148"/>
                </a:lnTo>
                <a:lnTo>
                  <a:pt x="226" y="148"/>
                </a:lnTo>
                <a:lnTo>
                  <a:pt x="226" y="146"/>
                </a:lnTo>
                <a:lnTo>
                  <a:pt x="226" y="142"/>
                </a:lnTo>
                <a:lnTo>
                  <a:pt x="228" y="138"/>
                </a:lnTo>
                <a:lnTo>
                  <a:pt x="228" y="134"/>
                </a:lnTo>
                <a:lnTo>
                  <a:pt x="228" y="130"/>
                </a:lnTo>
                <a:lnTo>
                  <a:pt x="232" y="126"/>
                </a:lnTo>
                <a:lnTo>
                  <a:pt x="232" y="122"/>
                </a:lnTo>
                <a:lnTo>
                  <a:pt x="232" y="118"/>
                </a:lnTo>
                <a:lnTo>
                  <a:pt x="236" y="118"/>
                </a:lnTo>
                <a:lnTo>
                  <a:pt x="236" y="116"/>
                </a:lnTo>
                <a:lnTo>
                  <a:pt x="232" y="116"/>
                </a:lnTo>
                <a:lnTo>
                  <a:pt x="232" y="112"/>
                </a:lnTo>
                <a:lnTo>
                  <a:pt x="228" y="112"/>
                </a:lnTo>
                <a:lnTo>
                  <a:pt x="228" y="108"/>
                </a:lnTo>
                <a:lnTo>
                  <a:pt x="228" y="112"/>
                </a:lnTo>
                <a:lnTo>
                  <a:pt x="232" y="112"/>
                </a:lnTo>
                <a:lnTo>
                  <a:pt x="232" y="108"/>
                </a:lnTo>
                <a:lnTo>
                  <a:pt x="232" y="104"/>
                </a:lnTo>
                <a:lnTo>
                  <a:pt x="232" y="100"/>
                </a:lnTo>
                <a:lnTo>
                  <a:pt x="232" y="96"/>
                </a:lnTo>
                <a:lnTo>
                  <a:pt x="236" y="96"/>
                </a:lnTo>
                <a:lnTo>
                  <a:pt x="236" y="92"/>
                </a:lnTo>
                <a:lnTo>
                  <a:pt x="240" y="90"/>
                </a:lnTo>
                <a:lnTo>
                  <a:pt x="236" y="90"/>
                </a:lnTo>
                <a:lnTo>
                  <a:pt x="240" y="90"/>
                </a:lnTo>
                <a:lnTo>
                  <a:pt x="240" y="86"/>
                </a:lnTo>
                <a:lnTo>
                  <a:pt x="244" y="86"/>
                </a:lnTo>
                <a:lnTo>
                  <a:pt x="244" y="90"/>
                </a:lnTo>
                <a:lnTo>
                  <a:pt x="244" y="92"/>
                </a:lnTo>
                <a:lnTo>
                  <a:pt x="248" y="92"/>
                </a:lnTo>
                <a:lnTo>
                  <a:pt x="248" y="90"/>
                </a:lnTo>
                <a:lnTo>
                  <a:pt x="248" y="92"/>
                </a:lnTo>
                <a:lnTo>
                  <a:pt x="252" y="92"/>
                </a:lnTo>
                <a:lnTo>
                  <a:pt x="252" y="90"/>
                </a:lnTo>
                <a:lnTo>
                  <a:pt x="252" y="86"/>
                </a:lnTo>
                <a:lnTo>
                  <a:pt x="248" y="86"/>
                </a:lnTo>
                <a:lnTo>
                  <a:pt x="244" y="90"/>
                </a:lnTo>
                <a:lnTo>
                  <a:pt x="244" y="86"/>
                </a:lnTo>
                <a:lnTo>
                  <a:pt x="244" y="82"/>
                </a:lnTo>
                <a:lnTo>
                  <a:pt x="248" y="78"/>
                </a:lnTo>
                <a:lnTo>
                  <a:pt x="248" y="82"/>
                </a:lnTo>
                <a:lnTo>
                  <a:pt x="252" y="82"/>
                </a:lnTo>
                <a:lnTo>
                  <a:pt x="254" y="82"/>
                </a:lnTo>
                <a:lnTo>
                  <a:pt x="254" y="86"/>
                </a:lnTo>
                <a:lnTo>
                  <a:pt x="254" y="92"/>
                </a:lnTo>
                <a:lnTo>
                  <a:pt x="254" y="96"/>
                </a:lnTo>
                <a:lnTo>
                  <a:pt x="254" y="100"/>
                </a:lnTo>
                <a:lnTo>
                  <a:pt x="258" y="100"/>
                </a:lnTo>
                <a:lnTo>
                  <a:pt x="258" y="104"/>
                </a:lnTo>
                <a:lnTo>
                  <a:pt x="258" y="108"/>
                </a:lnTo>
                <a:lnTo>
                  <a:pt x="262" y="108"/>
                </a:lnTo>
                <a:lnTo>
                  <a:pt x="262" y="112"/>
                </a:lnTo>
                <a:lnTo>
                  <a:pt x="262" y="116"/>
                </a:lnTo>
                <a:lnTo>
                  <a:pt x="262" y="118"/>
                </a:lnTo>
                <a:lnTo>
                  <a:pt x="262" y="122"/>
                </a:lnTo>
                <a:lnTo>
                  <a:pt x="258" y="122"/>
                </a:lnTo>
                <a:lnTo>
                  <a:pt x="258" y="126"/>
                </a:lnTo>
                <a:lnTo>
                  <a:pt x="258" y="130"/>
                </a:lnTo>
                <a:lnTo>
                  <a:pt x="254" y="130"/>
                </a:lnTo>
                <a:lnTo>
                  <a:pt x="258" y="130"/>
                </a:lnTo>
                <a:lnTo>
                  <a:pt x="254" y="130"/>
                </a:lnTo>
                <a:lnTo>
                  <a:pt x="254" y="134"/>
                </a:lnTo>
                <a:lnTo>
                  <a:pt x="254" y="138"/>
                </a:lnTo>
                <a:lnTo>
                  <a:pt x="254" y="142"/>
                </a:lnTo>
                <a:lnTo>
                  <a:pt x="252" y="142"/>
                </a:lnTo>
                <a:lnTo>
                  <a:pt x="248" y="142"/>
                </a:lnTo>
                <a:lnTo>
                  <a:pt x="248" y="146"/>
                </a:lnTo>
                <a:lnTo>
                  <a:pt x="248" y="148"/>
                </a:lnTo>
                <a:lnTo>
                  <a:pt x="248" y="152"/>
                </a:lnTo>
                <a:lnTo>
                  <a:pt x="248" y="156"/>
                </a:lnTo>
                <a:lnTo>
                  <a:pt x="248" y="160"/>
                </a:lnTo>
                <a:lnTo>
                  <a:pt x="248" y="164"/>
                </a:lnTo>
                <a:lnTo>
                  <a:pt x="248" y="168"/>
                </a:lnTo>
                <a:lnTo>
                  <a:pt x="244" y="168"/>
                </a:lnTo>
                <a:lnTo>
                  <a:pt x="244" y="172"/>
                </a:lnTo>
                <a:lnTo>
                  <a:pt x="244" y="174"/>
                </a:lnTo>
                <a:lnTo>
                  <a:pt x="244" y="178"/>
                </a:lnTo>
                <a:lnTo>
                  <a:pt x="240" y="182"/>
                </a:lnTo>
                <a:lnTo>
                  <a:pt x="244" y="182"/>
                </a:lnTo>
                <a:lnTo>
                  <a:pt x="244" y="186"/>
                </a:lnTo>
                <a:lnTo>
                  <a:pt x="244" y="190"/>
                </a:lnTo>
                <a:lnTo>
                  <a:pt x="244" y="194"/>
                </a:lnTo>
                <a:lnTo>
                  <a:pt x="240" y="194"/>
                </a:lnTo>
                <a:lnTo>
                  <a:pt x="240" y="198"/>
                </a:lnTo>
                <a:lnTo>
                  <a:pt x="240" y="202"/>
                </a:lnTo>
                <a:lnTo>
                  <a:pt x="236" y="202"/>
                </a:lnTo>
                <a:lnTo>
                  <a:pt x="236" y="204"/>
                </a:lnTo>
                <a:lnTo>
                  <a:pt x="232" y="204"/>
                </a:lnTo>
                <a:lnTo>
                  <a:pt x="232" y="208"/>
                </a:lnTo>
                <a:lnTo>
                  <a:pt x="228" y="204"/>
                </a:lnTo>
                <a:lnTo>
                  <a:pt x="232" y="204"/>
                </a:lnTo>
                <a:lnTo>
                  <a:pt x="232" y="202"/>
                </a:lnTo>
                <a:lnTo>
                  <a:pt x="232" y="198"/>
                </a:lnTo>
                <a:lnTo>
                  <a:pt x="236" y="194"/>
                </a:lnTo>
                <a:lnTo>
                  <a:pt x="232" y="194"/>
                </a:lnTo>
                <a:lnTo>
                  <a:pt x="228" y="194"/>
                </a:lnTo>
                <a:lnTo>
                  <a:pt x="228" y="198"/>
                </a:lnTo>
                <a:lnTo>
                  <a:pt x="228" y="202"/>
                </a:lnTo>
                <a:lnTo>
                  <a:pt x="226" y="198"/>
                </a:lnTo>
                <a:lnTo>
                  <a:pt x="226" y="202"/>
                </a:lnTo>
                <a:lnTo>
                  <a:pt x="222" y="202"/>
                </a:lnTo>
                <a:lnTo>
                  <a:pt x="222" y="204"/>
                </a:lnTo>
                <a:lnTo>
                  <a:pt x="222" y="208"/>
                </a:lnTo>
                <a:lnTo>
                  <a:pt x="218" y="212"/>
                </a:lnTo>
                <a:lnTo>
                  <a:pt x="218" y="208"/>
                </a:lnTo>
                <a:lnTo>
                  <a:pt x="218" y="204"/>
                </a:lnTo>
                <a:lnTo>
                  <a:pt x="218" y="202"/>
                </a:lnTo>
                <a:lnTo>
                  <a:pt x="214" y="202"/>
                </a:lnTo>
                <a:lnTo>
                  <a:pt x="214" y="204"/>
                </a:lnTo>
                <a:lnTo>
                  <a:pt x="210" y="208"/>
                </a:lnTo>
                <a:lnTo>
                  <a:pt x="206" y="212"/>
                </a:lnTo>
                <a:lnTo>
                  <a:pt x="210" y="212"/>
                </a:lnTo>
                <a:lnTo>
                  <a:pt x="206" y="212"/>
                </a:lnTo>
                <a:lnTo>
                  <a:pt x="202" y="212"/>
                </a:lnTo>
                <a:lnTo>
                  <a:pt x="198" y="212"/>
                </a:lnTo>
                <a:lnTo>
                  <a:pt x="196" y="212"/>
                </a:lnTo>
                <a:lnTo>
                  <a:pt x="192" y="212"/>
                </a:lnTo>
                <a:lnTo>
                  <a:pt x="196" y="212"/>
                </a:lnTo>
                <a:lnTo>
                  <a:pt x="196" y="208"/>
                </a:lnTo>
                <a:lnTo>
                  <a:pt x="192" y="208"/>
                </a:lnTo>
                <a:lnTo>
                  <a:pt x="192" y="204"/>
                </a:lnTo>
                <a:lnTo>
                  <a:pt x="192" y="208"/>
                </a:lnTo>
                <a:lnTo>
                  <a:pt x="192" y="212"/>
                </a:lnTo>
                <a:lnTo>
                  <a:pt x="188" y="208"/>
                </a:lnTo>
                <a:lnTo>
                  <a:pt x="188" y="204"/>
                </a:lnTo>
                <a:lnTo>
                  <a:pt x="192" y="204"/>
                </a:lnTo>
                <a:lnTo>
                  <a:pt x="188" y="204"/>
                </a:lnTo>
                <a:lnTo>
                  <a:pt x="188" y="208"/>
                </a:lnTo>
                <a:lnTo>
                  <a:pt x="184" y="208"/>
                </a:lnTo>
                <a:lnTo>
                  <a:pt x="184" y="212"/>
                </a:lnTo>
                <a:lnTo>
                  <a:pt x="188" y="212"/>
                </a:lnTo>
                <a:lnTo>
                  <a:pt x="188" y="216"/>
                </a:lnTo>
                <a:lnTo>
                  <a:pt x="192" y="216"/>
                </a:lnTo>
                <a:lnTo>
                  <a:pt x="192" y="220"/>
                </a:lnTo>
                <a:lnTo>
                  <a:pt x="188" y="220"/>
                </a:lnTo>
                <a:lnTo>
                  <a:pt x="184" y="220"/>
                </a:lnTo>
                <a:lnTo>
                  <a:pt x="180" y="220"/>
                </a:lnTo>
                <a:lnTo>
                  <a:pt x="180" y="224"/>
                </a:lnTo>
                <a:lnTo>
                  <a:pt x="180" y="228"/>
                </a:lnTo>
                <a:lnTo>
                  <a:pt x="176" y="228"/>
                </a:lnTo>
                <a:lnTo>
                  <a:pt x="176" y="230"/>
                </a:lnTo>
                <a:lnTo>
                  <a:pt x="172" y="234"/>
                </a:lnTo>
                <a:lnTo>
                  <a:pt x="170" y="230"/>
                </a:lnTo>
                <a:lnTo>
                  <a:pt x="170" y="228"/>
                </a:lnTo>
                <a:lnTo>
                  <a:pt x="166" y="228"/>
                </a:lnTo>
                <a:lnTo>
                  <a:pt x="166" y="224"/>
                </a:lnTo>
                <a:lnTo>
                  <a:pt x="166" y="220"/>
                </a:lnTo>
                <a:lnTo>
                  <a:pt x="166" y="216"/>
                </a:lnTo>
                <a:lnTo>
                  <a:pt x="170" y="216"/>
                </a:lnTo>
                <a:lnTo>
                  <a:pt x="170" y="212"/>
                </a:lnTo>
                <a:lnTo>
                  <a:pt x="170" y="208"/>
                </a:lnTo>
                <a:lnTo>
                  <a:pt x="166" y="212"/>
                </a:lnTo>
                <a:lnTo>
                  <a:pt x="162" y="212"/>
                </a:lnTo>
                <a:lnTo>
                  <a:pt x="158" y="208"/>
                </a:lnTo>
                <a:lnTo>
                  <a:pt x="154" y="208"/>
                </a:lnTo>
                <a:lnTo>
                  <a:pt x="154" y="212"/>
                </a:lnTo>
                <a:lnTo>
                  <a:pt x="154" y="208"/>
                </a:lnTo>
                <a:lnTo>
                  <a:pt x="154" y="208"/>
                </a:lnTo>
                <a:lnTo>
                  <a:pt x="154" y="208"/>
                </a:lnTo>
                <a:close/>
                <a:moveTo>
                  <a:pt x="214" y="142"/>
                </a:moveTo>
                <a:lnTo>
                  <a:pt x="214" y="146"/>
                </a:lnTo>
                <a:lnTo>
                  <a:pt x="210" y="146"/>
                </a:lnTo>
                <a:lnTo>
                  <a:pt x="210" y="148"/>
                </a:lnTo>
                <a:lnTo>
                  <a:pt x="214" y="146"/>
                </a:lnTo>
                <a:lnTo>
                  <a:pt x="214" y="148"/>
                </a:lnTo>
                <a:lnTo>
                  <a:pt x="210" y="152"/>
                </a:lnTo>
                <a:lnTo>
                  <a:pt x="206" y="152"/>
                </a:lnTo>
                <a:lnTo>
                  <a:pt x="210" y="152"/>
                </a:lnTo>
                <a:lnTo>
                  <a:pt x="210" y="148"/>
                </a:lnTo>
                <a:lnTo>
                  <a:pt x="210" y="146"/>
                </a:lnTo>
                <a:lnTo>
                  <a:pt x="210" y="142"/>
                </a:lnTo>
                <a:lnTo>
                  <a:pt x="214" y="142"/>
                </a:lnTo>
                <a:lnTo>
                  <a:pt x="214" y="142"/>
                </a:lnTo>
                <a:lnTo>
                  <a:pt x="214" y="142"/>
                </a:lnTo>
                <a:close/>
                <a:moveTo>
                  <a:pt x="140" y="178"/>
                </a:moveTo>
                <a:lnTo>
                  <a:pt x="140" y="182"/>
                </a:lnTo>
                <a:lnTo>
                  <a:pt x="136" y="182"/>
                </a:lnTo>
                <a:lnTo>
                  <a:pt x="140" y="178"/>
                </a:lnTo>
                <a:lnTo>
                  <a:pt x="140" y="178"/>
                </a:lnTo>
                <a:lnTo>
                  <a:pt x="140" y="178"/>
                </a:lnTo>
                <a:close/>
                <a:moveTo>
                  <a:pt x="84" y="212"/>
                </a:moveTo>
                <a:lnTo>
                  <a:pt x="84" y="216"/>
                </a:lnTo>
                <a:lnTo>
                  <a:pt x="84" y="220"/>
                </a:lnTo>
                <a:lnTo>
                  <a:pt x="84" y="216"/>
                </a:lnTo>
                <a:lnTo>
                  <a:pt x="80" y="216"/>
                </a:lnTo>
                <a:lnTo>
                  <a:pt x="84" y="212"/>
                </a:lnTo>
                <a:lnTo>
                  <a:pt x="84" y="212"/>
                </a:lnTo>
                <a:lnTo>
                  <a:pt x="84" y="212"/>
                </a:lnTo>
                <a:close/>
                <a:moveTo>
                  <a:pt x="158" y="220"/>
                </a:moveTo>
                <a:lnTo>
                  <a:pt x="158" y="216"/>
                </a:lnTo>
                <a:lnTo>
                  <a:pt x="162" y="216"/>
                </a:lnTo>
                <a:lnTo>
                  <a:pt x="162" y="212"/>
                </a:lnTo>
                <a:lnTo>
                  <a:pt x="162" y="216"/>
                </a:lnTo>
                <a:lnTo>
                  <a:pt x="162" y="220"/>
                </a:lnTo>
                <a:lnTo>
                  <a:pt x="158" y="220"/>
                </a:lnTo>
                <a:lnTo>
                  <a:pt x="158" y="220"/>
                </a:lnTo>
                <a:lnTo>
                  <a:pt x="158" y="220"/>
                </a:lnTo>
                <a:close/>
                <a:moveTo>
                  <a:pt x="154" y="212"/>
                </a:moveTo>
                <a:lnTo>
                  <a:pt x="154" y="216"/>
                </a:lnTo>
                <a:lnTo>
                  <a:pt x="150" y="216"/>
                </a:lnTo>
                <a:lnTo>
                  <a:pt x="150" y="212"/>
                </a:lnTo>
                <a:lnTo>
                  <a:pt x="154" y="212"/>
                </a:lnTo>
                <a:lnTo>
                  <a:pt x="154" y="212"/>
                </a:lnTo>
                <a:lnTo>
                  <a:pt x="154" y="212"/>
                </a:lnTo>
                <a:close/>
                <a:moveTo>
                  <a:pt x="154" y="230"/>
                </a:moveTo>
                <a:lnTo>
                  <a:pt x="154" y="234"/>
                </a:lnTo>
                <a:lnTo>
                  <a:pt x="150" y="234"/>
                </a:lnTo>
                <a:lnTo>
                  <a:pt x="150" y="238"/>
                </a:lnTo>
                <a:lnTo>
                  <a:pt x="150" y="234"/>
                </a:lnTo>
                <a:lnTo>
                  <a:pt x="146" y="234"/>
                </a:lnTo>
                <a:lnTo>
                  <a:pt x="146" y="230"/>
                </a:lnTo>
                <a:lnTo>
                  <a:pt x="142" y="230"/>
                </a:lnTo>
                <a:lnTo>
                  <a:pt x="142" y="234"/>
                </a:lnTo>
                <a:lnTo>
                  <a:pt x="140" y="234"/>
                </a:lnTo>
                <a:lnTo>
                  <a:pt x="140" y="238"/>
                </a:lnTo>
                <a:lnTo>
                  <a:pt x="136" y="242"/>
                </a:lnTo>
                <a:lnTo>
                  <a:pt x="136" y="246"/>
                </a:lnTo>
                <a:lnTo>
                  <a:pt x="132" y="246"/>
                </a:lnTo>
                <a:lnTo>
                  <a:pt x="128" y="246"/>
                </a:lnTo>
                <a:lnTo>
                  <a:pt x="132" y="246"/>
                </a:lnTo>
                <a:lnTo>
                  <a:pt x="132" y="242"/>
                </a:lnTo>
                <a:lnTo>
                  <a:pt x="128" y="242"/>
                </a:lnTo>
                <a:lnTo>
                  <a:pt x="128" y="246"/>
                </a:lnTo>
                <a:lnTo>
                  <a:pt x="128" y="242"/>
                </a:lnTo>
                <a:lnTo>
                  <a:pt x="128" y="238"/>
                </a:lnTo>
                <a:lnTo>
                  <a:pt x="124" y="238"/>
                </a:lnTo>
                <a:lnTo>
                  <a:pt x="124" y="234"/>
                </a:lnTo>
                <a:lnTo>
                  <a:pt x="120" y="234"/>
                </a:lnTo>
                <a:lnTo>
                  <a:pt x="124" y="234"/>
                </a:lnTo>
                <a:lnTo>
                  <a:pt x="128" y="230"/>
                </a:lnTo>
                <a:lnTo>
                  <a:pt x="128" y="228"/>
                </a:lnTo>
                <a:lnTo>
                  <a:pt x="132" y="228"/>
                </a:lnTo>
                <a:lnTo>
                  <a:pt x="132" y="224"/>
                </a:lnTo>
                <a:lnTo>
                  <a:pt x="132" y="220"/>
                </a:lnTo>
                <a:lnTo>
                  <a:pt x="136" y="220"/>
                </a:lnTo>
                <a:lnTo>
                  <a:pt x="136" y="224"/>
                </a:lnTo>
                <a:lnTo>
                  <a:pt x="140" y="224"/>
                </a:lnTo>
                <a:lnTo>
                  <a:pt x="142" y="224"/>
                </a:lnTo>
                <a:lnTo>
                  <a:pt x="142" y="220"/>
                </a:lnTo>
                <a:lnTo>
                  <a:pt x="146" y="220"/>
                </a:lnTo>
                <a:lnTo>
                  <a:pt x="146" y="216"/>
                </a:lnTo>
                <a:lnTo>
                  <a:pt x="150" y="216"/>
                </a:lnTo>
                <a:lnTo>
                  <a:pt x="154" y="220"/>
                </a:lnTo>
                <a:lnTo>
                  <a:pt x="158" y="220"/>
                </a:lnTo>
                <a:lnTo>
                  <a:pt x="158" y="224"/>
                </a:lnTo>
                <a:lnTo>
                  <a:pt x="158" y="228"/>
                </a:lnTo>
                <a:lnTo>
                  <a:pt x="154" y="230"/>
                </a:lnTo>
                <a:lnTo>
                  <a:pt x="154" y="230"/>
                </a:lnTo>
                <a:lnTo>
                  <a:pt x="154" y="230"/>
                </a:lnTo>
                <a:close/>
                <a:moveTo>
                  <a:pt x="84" y="220"/>
                </a:moveTo>
                <a:lnTo>
                  <a:pt x="80" y="224"/>
                </a:lnTo>
                <a:lnTo>
                  <a:pt x="80" y="220"/>
                </a:lnTo>
                <a:lnTo>
                  <a:pt x="80" y="216"/>
                </a:lnTo>
                <a:lnTo>
                  <a:pt x="84" y="216"/>
                </a:lnTo>
                <a:lnTo>
                  <a:pt x="84" y="220"/>
                </a:lnTo>
                <a:lnTo>
                  <a:pt x="84" y="220"/>
                </a:lnTo>
                <a:lnTo>
                  <a:pt x="84" y="220"/>
                </a:lnTo>
                <a:close/>
                <a:moveTo>
                  <a:pt x="128" y="220"/>
                </a:moveTo>
                <a:lnTo>
                  <a:pt x="124" y="220"/>
                </a:lnTo>
                <a:lnTo>
                  <a:pt x="128" y="220"/>
                </a:lnTo>
                <a:lnTo>
                  <a:pt x="128" y="220"/>
                </a:lnTo>
                <a:lnTo>
                  <a:pt x="128" y="220"/>
                </a:lnTo>
                <a:close/>
                <a:moveTo>
                  <a:pt x="86" y="250"/>
                </a:moveTo>
                <a:lnTo>
                  <a:pt x="90" y="250"/>
                </a:lnTo>
                <a:lnTo>
                  <a:pt x="90" y="246"/>
                </a:lnTo>
                <a:lnTo>
                  <a:pt x="86" y="246"/>
                </a:lnTo>
                <a:lnTo>
                  <a:pt x="86" y="242"/>
                </a:lnTo>
                <a:lnTo>
                  <a:pt x="90" y="242"/>
                </a:lnTo>
                <a:lnTo>
                  <a:pt x="90" y="246"/>
                </a:lnTo>
                <a:lnTo>
                  <a:pt x="90" y="242"/>
                </a:lnTo>
                <a:lnTo>
                  <a:pt x="86" y="238"/>
                </a:lnTo>
                <a:lnTo>
                  <a:pt x="86" y="234"/>
                </a:lnTo>
                <a:lnTo>
                  <a:pt x="90" y="238"/>
                </a:lnTo>
                <a:lnTo>
                  <a:pt x="90" y="234"/>
                </a:lnTo>
                <a:lnTo>
                  <a:pt x="90" y="230"/>
                </a:lnTo>
                <a:lnTo>
                  <a:pt x="90" y="234"/>
                </a:lnTo>
                <a:lnTo>
                  <a:pt x="94" y="234"/>
                </a:lnTo>
                <a:lnTo>
                  <a:pt x="94" y="230"/>
                </a:lnTo>
                <a:lnTo>
                  <a:pt x="98" y="230"/>
                </a:lnTo>
                <a:lnTo>
                  <a:pt x="98" y="228"/>
                </a:lnTo>
                <a:lnTo>
                  <a:pt x="102" y="224"/>
                </a:lnTo>
                <a:lnTo>
                  <a:pt x="106" y="224"/>
                </a:lnTo>
                <a:lnTo>
                  <a:pt x="106" y="228"/>
                </a:lnTo>
                <a:lnTo>
                  <a:pt x="106" y="230"/>
                </a:lnTo>
                <a:lnTo>
                  <a:pt x="110" y="230"/>
                </a:lnTo>
                <a:lnTo>
                  <a:pt x="112" y="230"/>
                </a:lnTo>
                <a:lnTo>
                  <a:pt x="116" y="230"/>
                </a:lnTo>
                <a:lnTo>
                  <a:pt x="116" y="234"/>
                </a:lnTo>
                <a:lnTo>
                  <a:pt x="112" y="234"/>
                </a:lnTo>
                <a:lnTo>
                  <a:pt x="112" y="238"/>
                </a:lnTo>
                <a:lnTo>
                  <a:pt x="116" y="238"/>
                </a:lnTo>
                <a:lnTo>
                  <a:pt x="120" y="238"/>
                </a:lnTo>
                <a:lnTo>
                  <a:pt x="116" y="238"/>
                </a:lnTo>
                <a:lnTo>
                  <a:pt x="120" y="242"/>
                </a:lnTo>
                <a:lnTo>
                  <a:pt x="120" y="246"/>
                </a:lnTo>
                <a:lnTo>
                  <a:pt x="116" y="246"/>
                </a:lnTo>
                <a:lnTo>
                  <a:pt x="116" y="250"/>
                </a:lnTo>
                <a:lnTo>
                  <a:pt x="116" y="254"/>
                </a:lnTo>
                <a:lnTo>
                  <a:pt x="112" y="254"/>
                </a:lnTo>
                <a:lnTo>
                  <a:pt x="112" y="258"/>
                </a:lnTo>
                <a:lnTo>
                  <a:pt x="112" y="260"/>
                </a:lnTo>
                <a:lnTo>
                  <a:pt x="112" y="264"/>
                </a:lnTo>
                <a:lnTo>
                  <a:pt x="112" y="268"/>
                </a:lnTo>
                <a:lnTo>
                  <a:pt x="112" y="272"/>
                </a:lnTo>
                <a:lnTo>
                  <a:pt x="110" y="272"/>
                </a:lnTo>
                <a:lnTo>
                  <a:pt x="106" y="272"/>
                </a:lnTo>
                <a:lnTo>
                  <a:pt x="110" y="272"/>
                </a:lnTo>
                <a:lnTo>
                  <a:pt x="110" y="276"/>
                </a:lnTo>
                <a:lnTo>
                  <a:pt x="106" y="276"/>
                </a:lnTo>
                <a:lnTo>
                  <a:pt x="102" y="280"/>
                </a:lnTo>
                <a:lnTo>
                  <a:pt x="102" y="276"/>
                </a:lnTo>
                <a:lnTo>
                  <a:pt x="102" y="272"/>
                </a:lnTo>
                <a:lnTo>
                  <a:pt x="102" y="268"/>
                </a:lnTo>
                <a:lnTo>
                  <a:pt x="102" y="264"/>
                </a:lnTo>
                <a:lnTo>
                  <a:pt x="102" y="268"/>
                </a:lnTo>
                <a:lnTo>
                  <a:pt x="98" y="268"/>
                </a:lnTo>
                <a:lnTo>
                  <a:pt x="98" y="272"/>
                </a:lnTo>
                <a:lnTo>
                  <a:pt x="102" y="272"/>
                </a:lnTo>
                <a:lnTo>
                  <a:pt x="102" y="276"/>
                </a:lnTo>
                <a:lnTo>
                  <a:pt x="98" y="276"/>
                </a:lnTo>
                <a:lnTo>
                  <a:pt x="94" y="276"/>
                </a:lnTo>
                <a:lnTo>
                  <a:pt x="94" y="272"/>
                </a:lnTo>
                <a:lnTo>
                  <a:pt x="98" y="268"/>
                </a:lnTo>
                <a:lnTo>
                  <a:pt x="94" y="264"/>
                </a:lnTo>
                <a:lnTo>
                  <a:pt x="94" y="260"/>
                </a:lnTo>
                <a:lnTo>
                  <a:pt x="94" y="258"/>
                </a:lnTo>
                <a:lnTo>
                  <a:pt x="94" y="260"/>
                </a:lnTo>
                <a:lnTo>
                  <a:pt x="98" y="258"/>
                </a:lnTo>
                <a:lnTo>
                  <a:pt x="98" y="254"/>
                </a:lnTo>
                <a:lnTo>
                  <a:pt x="102" y="250"/>
                </a:lnTo>
                <a:lnTo>
                  <a:pt x="98" y="250"/>
                </a:lnTo>
                <a:lnTo>
                  <a:pt x="102" y="246"/>
                </a:lnTo>
                <a:lnTo>
                  <a:pt x="98" y="246"/>
                </a:lnTo>
                <a:lnTo>
                  <a:pt x="98" y="242"/>
                </a:lnTo>
                <a:lnTo>
                  <a:pt x="98" y="238"/>
                </a:lnTo>
                <a:lnTo>
                  <a:pt x="94" y="238"/>
                </a:lnTo>
                <a:lnTo>
                  <a:pt x="94" y="242"/>
                </a:lnTo>
                <a:lnTo>
                  <a:pt x="94" y="246"/>
                </a:lnTo>
                <a:lnTo>
                  <a:pt x="98" y="246"/>
                </a:lnTo>
                <a:lnTo>
                  <a:pt x="98" y="250"/>
                </a:lnTo>
                <a:lnTo>
                  <a:pt x="94" y="250"/>
                </a:lnTo>
                <a:lnTo>
                  <a:pt x="94" y="246"/>
                </a:lnTo>
                <a:lnTo>
                  <a:pt x="90" y="246"/>
                </a:lnTo>
                <a:lnTo>
                  <a:pt x="90" y="250"/>
                </a:lnTo>
                <a:lnTo>
                  <a:pt x="86" y="250"/>
                </a:lnTo>
                <a:lnTo>
                  <a:pt x="86" y="250"/>
                </a:lnTo>
                <a:lnTo>
                  <a:pt x="86" y="250"/>
                </a:lnTo>
                <a:close/>
                <a:moveTo>
                  <a:pt x="86" y="230"/>
                </a:moveTo>
                <a:lnTo>
                  <a:pt x="86" y="228"/>
                </a:lnTo>
                <a:lnTo>
                  <a:pt x="90" y="228"/>
                </a:lnTo>
                <a:lnTo>
                  <a:pt x="86" y="228"/>
                </a:lnTo>
                <a:lnTo>
                  <a:pt x="86" y="230"/>
                </a:lnTo>
                <a:lnTo>
                  <a:pt x="86" y="230"/>
                </a:lnTo>
                <a:lnTo>
                  <a:pt x="86" y="230"/>
                </a:lnTo>
                <a:close/>
                <a:moveTo>
                  <a:pt x="86" y="234"/>
                </a:moveTo>
                <a:lnTo>
                  <a:pt x="86" y="238"/>
                </a:lnTo>
                <a:lnTo>
                  <a:pt x="84" y="238"/>
                </a:lnTo>
                <a:lnTo>
                  <a:pt x="84" y="234"/>
                </a:lnTo>
                <a:lnTo>
                  <a:pt x="86" y="234"/>
                </a:lnTo>
                <a:lnTo>
                  <a:pt x="86" y="234"/>
                </a:lnTo>
                <a:lnTo>
                  <a:pt x="86" y="234"/>
                </a:lnTo>
                <a:close/>
                <a:moveTo>
                  <a:pt x="80" y="242"/>
                </a:moveTo>
                <a:lnTo>
                  <a:pt x="80" y="246"/>
                </a:lnTo>
                <a:lnTo>
                  <a:pt x="80" y="242"/>
                </a:lnTo>
                <a:lnTo>
                  <a:pt x="80" y="238"/>
                </a:lnTo>
                <a:lnTo>
                  <a:pt x="80" y="242"/>
                </a:lnTo>
                <a:lnTo>
                  <a:pt x="80" y="242"/>
                </a:lnTo>
                <a:lnTo>
                  <a:pt x="80" y="242"/>
                </a:lnTo>
                <a:close/>
                <a:moveTo>
                  <a:pt x="72" y="250"/>
                </a:moveTo>
                <a:lnTo>
                  <a:pt x="72" y="246"/>
                </a:lnTo>
                <a:lnTo>
                  <a:pt x="76" y="246"/>
                </a:lnTo>
                <a:lnTo>
                  <a:pt x="76" y="250"/>
                </a:lnTo>
                <a:lnTo>
                  <a:pt x="72" y="250"/>
                </a:lnTo>
                <a:lnTo>
                  <a:pt x="72" y="250"/>
                </a:lnTo>
                <a:lnTo>
                  <a:pt x="72" y="250"/>
                </a:lnTo>
                <a:close/>
                <a:moveTo>
                  <a:pt x="90" y="258"/>
                </a:moveTo>
                <a:lnTo>
                  <a:pt x="90" y="254"/>
                </a:lnTo>
                <a:lnTo>
                  <a:pt x="94" y="250"/>
                </a:lnTo>
                <a:lnTo>
                  <a:pt x="94" y="254"/>
                </a:lnTo>
                <a:lnTo>
                  <a:pt x="94" y="258"/>
                </a:lnTo>
                <a:lnTo>
                  <a:pt x="90" y="258"/>
                </a:lnTo>
                <a:lnTo>
                  <a:pt x="90" y="258"/>
                </a:lnTo>
                <a:lnTo>
                  <a:pt x="90" y="258"/>
                </a:lnTo>
                <a:close/>
                <a:moveTo>
                  <a:pt x="106" y="284"/>
                </a:moveTo>
                <a:lnTo>
                  <a:pt x="106" y="286"/>
                </a:lnTo>
                <a:lnTo>
                  <a:pt x="106" y="290"/>
                </a:lnTo>
                <a:lnTo>
                  <a:pt x="106" y="286"/>
                </a:lnTo>
                <a:lnTo>
                  <a:pt x="106" y="284"/>
                </a:lnTo>
                <a:lnTo>
                  <a:pt x="106" y="284"/>
                </a:lnTo>
                <a:lnTo>
                  <a:pt x="106" y="284"/>
                </a:lnTo>
                <a:close/>
                <a:moveTo>
                  <a:pt x="98" y="290"/>
                </a:moveTo>
                <a:lnTo>
                  <a:pt x="102" y="290"/>
                </a:lnTo>
                <a:lnTo>
                  <a:pt x="102" y="294"/>
                </a:lnTo>
                <a:lnTo>
                  <a:pt x="98" y="294"/>
                </a:lnTo>
                <a:lnTo>
                  <a:pt x="98" y="290"/>
                </a:lnTo>
                <a:lnTo>
                  <a:pt x="98" y="290"/>
                </a:lnTo>
                <a:lnTo>
                  <a:pt x="98" y="290"/>
                </a:lnTo>
                <a:close/>
                <a:moveTo>
                  <a:pt x="86" y="324"/>
                </a:moveTo>
                <a:lnTo>
                  <a:pt x="86" y="328"/>
                </a:lnTo>
                <a:lnTo>
                  <a:pt x="84" y="328"/>
                </a:lnTo>
                <a:lnTo>
                  <a:pt x="84" y="332"/>
                </a:lnTo>
                <a:lnTo>
                  <a:pt x="80" y="328"/>
                </a:lnTo>
                <a:lnTo>
                  <a:pt x="84" y="328"/>
                </a:lnTo>
                <a:lnTo>
                  <a:pt x="86" y="324"/>
                </a:lnTo>
                <a:lnTo>
                  <a:pt x="86" y="324"/>
                </a:lnTo>
                <a:lnTo>
                  <a:pt x="86" y="324"/>
                </a:lnTo>
                <a:close/>
                <a:moveTo>
                  <a:pt x="76" y="336"/>
                </a:moveTo>
                <a:lnTo>
                  <a:pt x="80" y="340"/>
                </a:lnTo>
                <a:lnTo>
                  <a:pt x="76" y="340"/>
                </a:lnTo>
                <a:lnTo>
                  <a:pt x="76" y="336"/>
                </a:lnTo>
                <a:lnTo>
                  <a:pt x="76" y="336"/>
                </a:lnTo>
                <a:lnTo>
                  <a:pt x="76" y="336"/>
                </a:lnTo>
                <a:close/>
                <a:moveTo>
                  <a:pt x="68" y="354"/>
                </a:moveTo>
                <a:lnTo>
                  <a:pt x="68" y="358"/>
                </a:lnTo>
                <a:lnTo>
                  <a:pt x="64" y="362"/>
                </a:lnTo>
                <a:lnTo>
                  <a:pt x="60" y="362"/>
                </a:lnTo>
                <a:lnTo>
                  <a:pt x="60" y="366"/>
                </a:lnTo>
                <a:lnTo>
                  <a:pt x="60" y="370"/>
                </a:lnTo>
                <a:lnTo>
                  <a:pt x="56" y="370"/>
                </a:lnTo>
                <a:lnTo>
                  <a:pt x="56" y="366"/>
                </a:lnTo>
                <a:lnTo>
                  <a:pt x="60" y="366"/>
                </a:lnTo>
                <a:lnTo>
                  <a:pt x="60" y="362"/>
                </a:lnTo>
                <a:lnTo>
                  <a:pt x="64" y="362"/>
                </a:lnTo>
                <a:lnTo>
                  <a:pt x="64" y="358"/>
                </a:lnTo>
                <a:lnTo>
                  <a:pt x="60" y="358"/>
                </a:lnTo>
                <a:lnTo>
                  <a:pt x="64" y="358"/>
                </a:lnTo>
                <a:lnTo>
                  <a:pt x="68" y="354"/>
                </a:lnTo>
                <a:lnTo>
                  <a:pt x="68" y="354"/>
                </a:lnTo>
                <a:lnTo>
                  <a:pt x="68" y="354"/>
                </a:lnTo>
                <a:close/>
                <a:moveTo>
                  <a:pt x="24" y="392"/>
                </a:moveTo>
                <a:lnTo>
                  <a:pt x="28" y="392"/>
                </a:lnTo>
                <a:lnTo>
                  <a:pt x="24" y="392"/>
                </a:lnTo>
                <a:lnTo>
                  <a:pt x="24" y="392"/>
                </a:lnTo>
                <a:lnTo>
                  <a:pt x="24" y="392"/>
                </a:lnTo>
                <a:close/>
                <a:moveTo>
                  <a:pt x="8" y="398"/>
                </a:moveTo>
                <a:lnTo>
                  <a:pt x="12" y="398"/>
                </a:lnTo>
                <a:lnTo>
                  <a:pt x="12" y="396"/>
                </a:lnTo>
                <a:lnTo>
                  <a:pt x="12" y="398"/>
                </a:lnTo>
                <a:lnTo>
                  <a:pt x="8" y="398"/>
                </a:lnTo>
                <a:lnTo>
                  <a:pt x="8" y="398"/>
                </a:lnTo>
                <a:lnTo>
                  <a:pt x="8" y="398"/>
                </a:lnTo>
                <a:close/>
                <a:moveTo>
                  <a:pt x="4" y="398"/>
                </a:moveTo>
                <a:lnTo>
                  <a:pt x="4" y="402"/>
                </a:lnTo>
                <a:lnTo>
                  <a:pt x="0" y="402"/>
                </a:lnTo>
                <a:lnTo>
                  <a:pt x="0" y="398"/>
                </a:lnTo>
                <a:lnTo>
                  <a:pt x="4" y="398"/>
                </a:lnTo>
                <a:lnTo>
                  <a:pt x="4" y="398"/>
                </a:lnTo>
                <a:lnTo>
                  <a:pt x="4" y="398"/>
                </a:lnTo>
                <a:close/>
              </a:path>
            </a:pathLst>
          </a:custGeom>
          <a:solidFill>
            <a:srgbClr val="A0DCFF"/>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6" name="Freeform 33"/>
          <p:cNvSpPr>
            <a:spLocks/>
          </p:cNvSpPr>
          <p:nvPr/>
        </p:nvSpPr>
        <p:spPr bwMode="auto">
          <a:xfrm>
            <a:off x="4848225" y="2997993"/>
            <a:ext cx="69056" cy="95250"/>
          </a:xfrm>
          <a:custGeom>
            <a:avLst/>
            <a:gdLst>
              <a:gd name="T0" fmla="*/ 6 w 58"/>
              <a:gd name="T1" fmla="*/ 34 h 80"/>
              <a:gd name="T2" fmla="*/ 6 w 58"/>
              <a:gd name="T3" fmla="*/ 34 h 80"/>
              <a:gd name="T4" fmla="*/ 6 w 58"/>
              <a:gd name="T5" fmla="*/ 30 h 80"/>
              <a:gd name="T6" fmla="*/ 6 w 58"/>
              <a:gd name="T7" fmla="*/ 30 h 80"/>
              <a:gd name="T8" fmla="*/ 6 w 58"/>
              <a:gd name="T9" fmla="*/ 26 h 80"/>
              <a:gd name="T10" fmla="*/ 6 w 58"/>
              <a:gd name="T11" fmla="*/ 26 h 80"/>
              <a:gd name="T12" fmla="*/ 6 w 58"/>
              <a:gd name="T13" fmla="*/ 24 h 80"/>
              <a:gd name="T14" fmla="*/ 6 w 58"/>
              <a:gd name="T15" fmla="*/ 20 h 80"/>
              <a:gd name="T16" fmla="*/ 6 w 58"/>
              <a:gd name="T17" fmla="*/ 16 h 80"/>
              <a:gd name="T18" fmla="*/ 6 w 58"/>
              <a:gd name="T19" fmla="*/ 16 h 80"/>
              <a:gd name="T20" fmla="*/ 6 w 58"/>
              <a:gd name="T21" fmla="*/ 12 h 80"/>
              <a:gd name="T22" fmla="*/ 10 w 58"/>
              <a:gd name="T23" fmla="*/ 12 h 80"/>
              <a:gd name="T24" fmla="*/ 14 w 58"/>
              <a:gd name="T25" fmla="*/ 16 h 80"/>
              <a:gd name="T26" fmla="*/ 14 w 58"/>
              <a:gd name="T27" fmla="*/ 16 h 80"/>
              <a:gd name="T28" fmla="*/ 14 w 58"/>
              <a:gd name="T29" fmla="*/ 16 h 80"/>
              <a:gd name="T30" fmla="*/ 18 w 58"/>
              <a:gd name="T31" fmla="*/ 20 h 80"/>
              <a:gd name="T32" fmla="*/ 18 w 58"/>
              <a:gd name="T33" fmla="*/ 20 h 80"/>
              <a:gd name="T34" fmla="*/ 22 w 58"/>
              <a:gd name="T35" fmla="*/ 20 h 80"/>
              <a:gd name="T36" fmla="*/ 22 w 58"/>
              <a:gd name="T37" fmla="*/ 20 h 80"/>
              <a:gd name="T38" fmla="*/ 26 w 58"/>
              <a:gd name="T39" fmla="*/ 20 h 80"/>
              <a:gd name="T40" fmla="*/ 32 w 58"/>
              <a:gd name="T41" fmla="*/ 16 h 80"/>
              <a:gd name="T42" fmla="*/ 32 w 58"/>
              <a:gd name="T43" fmla="*/ 16 h 80"/>
              <a:gd name="T44" fmla="*/ 40 w 58"/>
              <a:gd name="T45" fmla="*/ 8 h 80"/>
              <a:gd name="T46" fmla="*/ 48 w 58"/>
              <a:gd name="T47" fmla="*/ 4 h 80"/>
              <a:gd name="T48" fmla="*/ 52 w 58"/>
              <a:gd name="T49" fmla="*/ 0 h 80"/>
              <a:gd name="T50" fmla="*/ 54 w 58"/>
              <a:gd name="T51" fmla="*/ 20 h 80"/>
              <a:gd name="T52" fmla="*/ 58 w 58"/>
              <a:gd name="T53" fmla="*/ 20 h 80"/>
              <a:gd name="T54" fmla="*/ 58 w 58"/>
              <a:gd name="T55" fmla="*/ 24 h 80"/>
              <a:gd name="T56" fmla="*/ 54 w 58"/>
              <a:gd name="T57" fmla="*/ 26 h 80"/>
              <a:gd name="T58" fmla="*/ 40 w 58"/>
              <a:gd name="T59" fmla="*/ 30 h 80"/>
              <a:gd name="T60" fmla="*/ 36 w 58"/>
              <a:gd name="T61" fmla="*/ 34 h 80"/>
              <a:gd name="T62" fmla="*/ 28 w 58"/>
              <a:gd name="T63" fmla="*/ 34 h 80"/>
              <a:gd name="T64" fmla="*/ 32 w 58"/>
              <a:gd name="T65" fmla="*/ 42 h 80"/>
              <a:gd name="T66" fmla="*/ 36 w 58"/>
              <a:gd name="T67" fmla="*/ 46 h 80"/>
              <a:gd name="T68" fmla="*/ 36 w 58"/>
              <a:gd name="T69" fmla="*/ 56 h 80"/>
              <a:gd name="T70" fmla="*/ 32 w 58"/>
              <a:gd name="T71" fmla="*/ 64 h 80"/>
              <a:gd name="T72" fmla="*/ 22 w 58"/>
              <a:gd name="T73" fmla="*/ 68 h 80"/>
              <a:gd name="T74" fmla="*/ 18 w 58"/>
              <a:gd name="T75" fmla="*/ 76 h 80"/>
              <a:gd name="T76" fmla="*/ 6 w 58"/>
              <a:gd name="T77" fmla="*/ 76 h 80"/>
              <a:gd name="T78" fmla="*/ 0 w 58"/>
              <a:gd name="T79" fmla="*/ 76 h 80"/>
              <a:gd name="T80" fmla="*/ 0 w 58"/>
              <a:gd name="T81" fmla="*/ 76 h 80"/>
              <a:gd name="T82" fmla="*/ 0 w 58"/>
              <a:gd name="T83" fmla="*/ 72 h 80"/>
              <a:gd name="T84" fmla="*/ 0 w 58"/>
              <a:gd name="T85" fmla="*/ 72 h 80"/>
              <a:gd name="T86" fmla="*/ 0 w 58"/>
              <a:gd name="T87" fmla="*/ 72 h 80"/>
              <a:gd name="T88" fmla="*/ 0 w 58"/>
              <a:gd name="T89" fmla="*/ 64 h 80"/>
              <a:gd name="T90" fmla="*/ 0 w 58"/>
              <a:gd name="T91" fmla="*/ 64 h 80"/>
              <a:gd name="T92" fmla="*/ 0 w 58"/>
              <a:gd name="T93" fmla="*/ 64 h 80"/>
              <a:gd name="T94" fmla="*/ 0 w 58"/>
              <a:gd name="T95" fmla="*/ 60 h 80"/>
              <a:gd name="T96" fmla="*/ 0 w 58"/>
              <a:gd name="T97" fmla="*/ 56 h 80"/>
              <a:gd name="T98" fmla="*/ 0 w 58"/>
              <a:gd name="T99" fmla="*/ 56 h 80"/>
              <a:gd name="T100" fmla="*/ 2 w 58"/>
              <a:gd name="T101" fmla="*/ 54 h 80"/>
              <a:gd name="T102" fmla="*/ 2 w 58"/>
              <a:gd name="T103" fmla="*/ 50 h 80"/>
              <a:gd name="T104" fmla="*/ 2 w 58"/>
              <a:gd name="T105" fmla="*/ 46 h 80"/>
              <a:gd name="T106" fmla="*/ 2 w 58"/>
              <a:gd name="T107" fmla="*/ 46 h 80"/>
              <a:gd name="T108" fmla="*/ 6 w 58"/>
              <a:gd name="T109" fmla="*/ 42 h 80"/>
              <a:gd name="T110" fmla="*/ 6 w 58"/>
              <a:gd name="T111" fmla="*/ 42 h 80"/>
              <a:gd name="T112" fmla="*/ 2 w 58"/>
              <a:gd name="T113" fmla="*/ 42 h 80"/>
              <a:gd name="T114" fmla="*/ 6 w 58"/>
              <a:gd name="T115" fmla="*/ 38 h 80"/>
              <a:gd name="T116" fmla="*/ 6 w 58"/>
              <a:gd name="T117" fmla="*/ 38 h 80"/>
              <a:gd name="T118" fmla="*/ 6 w 58"/>
              <a:gd name="T119" fmla="*/ 3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8" h="80">
                <a:moveTo>
                  <a:pt x="6" y="34"/>
                </a:moveTo>
                <a:lnTo>
                  <a:pt x="6" y="34"/>
                </a:lnTo>
                <a:lnTo>
                  <a:pt x="6" y="34"/>
                </a:lnTo>
                <a:lnTo>
                  <a:pt x="6" y="34"/>
                </a:lnTo>
                <a:lnTo>
                  <a:pt x="6" y="34"/>
                </a:lnTo>
                <a:lnTo>
                  <a:pt x="6" y="30"/>
                </a:lnTo>
                <a:lnTo>
                  <a:pt x="6" y="30"/>
                </a:lnTo>
                <a:lnTo>
                  <a:pt x="6" y="30"/>
                </a:lnTo>
                <a:lnTo>
                  <a:pt x="6" y="30"/>
                </a:lnTo>
                <a:lnTo>
                  <a:pt x="6" y="26"/>
                </a:lnTo>
                <a:lnTo>
                  <a:pt x="6" y="26"/>
                </a:lnTo>
                <a:lnTo>
                  <a:pt x="6" y="26"/>
                </a:lnTo>
                <a:lnTo>
                  <a:pt x="6" y="24"/>
                </a:lnTo>
                <a:lnTo>
                  <a:pt x="6" y="24"/>
                </a:lnTo>
                <a:lnTo>
                  <a:pt x="6" y="20"/>
                </a:lnTo>
                <a:lnTo>
                  <a:pt x="6" y="20"/>
                </a:lnTo>
                <a:lnTo>
                  <a:pt x="6" y="20"/>
                </a:lnTo>
                <a:lnTo>
                  <a:pt x="6" y="16"/>
                </a:lnTo>
                <a:lnTo>
                  <a:pt x="6" y="16"/>
                </a:lnTo>
                <a:lnTo>
                  <a:pt x="6" y="16"/>
                </a:lnTo>
                <a:lnTo>
                  <a:pt x="6" y="16"/>
                </a:lnTo>
                <a:lnTo>
                  <a:pt x="6" y="12"/>
                </a:lnTo>
                <a:lnTo>
                  <a:pt x="10" y="12"/>
                </a:lnTo>
                <a:lnTo>
                  <a:pt x="10" y="12"/>
                </a:lnTo>
                <a:lnTo>
                  <a:pt x="10" y="12"/>
                </a:lnTo>
                <a:lnTo>
                  <a:pt x="14" y="16"/>
                </a:lnTo>
                <a:lnTo>
                  <a:pt x="14" y="16"/>
                </a:lnTo>
                <a:lnTo>
                  <a:pt x="14" y="16"/>
                </a:lnTo>
                <a:lnTo>
                  <a:pt x="14" y="16"/>
                </a:lnTo>
                <a:lnTo>
                  <a:pt x="14" y="16"/>
                </a:lnTo>
                <a:lnTo>
                  <a:pt x="14" y="16"/>
                </a:lnTo>
                <a:lnTo>
                  <a:pt x="18" y="20"/>
                </a:lnTo>
                <a:lnTo>
                  <a:pt x="18" y="20"/>
                </a:lnTo>
                <a:lnTo>
                  <a:pt x="18" y="20"/>
                </a:lnTo>
                <a:lnTo>
                  <a:pt x="18" y="20"/>
                </a:lnTo>
                <a:lnTo>
                  <a:pt x="22" y="20"/>
                </a:lnTo>
                <a:lnTo>
                  <a:pt x="22" y="20"/>
                </a:lnTo>
                <a:lnTo>
                  <a:pt x="22" y="20"/>
                </a:lnTo>
                <a:lnTo>
                  <a:pt x="26" y="20"/>
                </a:lnTo>
                <a:lnTo>
                  <a:pt x="26" y="20"/>
                </a:lnTo>
                <a:lnTo>
                  <a:pt x="28" y="16"/>
                </a:lnTo>
                <a:lnTo>
                  <a:pt x="32" y="16"/>
                </a:lnTo>
                <a:lnTo>
                  <a:pt x="32" y="16"/>
                </a:lnTo>
                <a:lnTo>
                  <a:pt x="32" y="16"/>
                </a:lnTo>
                <a:lnTo>
                  <a:pt x="36" y="12"/>
                </a:lnTo>
                <a:lnTo>
                  <a:pt x="40" y="8"/>
                </a:lnTo>
                <a:lnTo>
                  <a:pt x="44" y="4"/>
                </a:lnTo>
                <a:lnTo>
                  <a:pt x="48" y="4"/>
                </a:lnTo>
                <a:lnTo>
                  <a:pt x="52" y="0"/>
                </a:lnTo>
                <a:lnTo>
                  <a:pt x="52" y="0"/>
                </a:lnTo>
                <a:lnTo>
                  <a:pt x="54" y="16"/>
                </a:lnTo>
                <a:lnTo>
                  <a:pt x="54" y="20"/>
                </a:lnTo>
                <a:lnTo>
                  <a:pt x="54" y="20"/>
                </a:lnTo>
                <a:lnTo>
                  <a:pt x="58" y="20"/>
                </a:lnTo>
                <a:lnTo>
                  <a:pt x="58" y="24"/>
                </a:lnTo>
                <a:lnTo>
                  <a:pt x="58" y="24"/>
                </a:lnTo>
                <a:lnTo>
                  <a:pt x="54" y="26"/>
                </a:lnTo>
                <a:lnTo>
                  <a:pt x="54" y="26"/>
                </a:lnTo>
                <a:lnTo>
                  <a:pt x="48" y="30"/>
                </a:lnTo>
                <a:lnTo>
                  <a:pt x="40" y="30"/>
                </a:lnTo>
                <a:lnTo>
                  <a:pt x="40" y="30"/>
                </a:lnTo>
                <a:lnTo>
                  <a:pt x="36" y="34"/>
                </a:lnTo>
                <a:lnTo>
                  <a:pt x="32" y="34"/>
                </a:lnTo>
                <a:lnTo>
                  <a:pt x="28" y="34"/>
                </a:lnTo>
                <a:lnTo>
                  <a:pt x="26" y="34"/>
                </a:lnTo>
                <a:lnTo>
                  <a:pt x="32" y="42"/>
                </a:lnTo>
                <a:lnTo>
                  <a:pt x="32" y="46"/>
                </a:lnTo>
                <a:lnTo>
                  <a:pt x="36" y="46"/>
                </a:lnTo>
                <a:lnTo>
                  <a:pt x="40" y="54"/>
                </a:lnTo>
                <a:lnTo>
                  <a:pt x="36" y="56"/>
                </a:lnTo>
                <a:lnTo>
                  <a:pt x="32" y="64"/>
                </a:lnTo>
                <a:lnTo>
                  <a:pt x="32" y="64"/>
                </a:lnTo>
                <a:lnTo>
                  <a:pt x="28" y="64"/>
                </a:lnTo>
                <a:lnTo>
                  <a:pt x="22" y="68"/>
                </a:lnTo>
                <a:lnTo>
                  <a:pt x="22" y="72"/>
                </a:lnTo>
                <a:lnTo>
                  <a:pt x="18" y="76"/>
                </a:lnTo>
                <a:lnTo>
                  <a:pt x="14" y="80"/>
                </a:lnTo>
                <a:lnTo>
                  <a:pt x="6" y="76"/>
                </a:lnTo>
                <a:lnTo>
                  <a:pt x="2" y="76"/>
                </a:lnTo>
                <a:lnTo>
                  <a:pt x="0" y="76"/>
                </a:lnTo>
                <a:lnTo>
                  <a:pt x="0" y="76"/>
                </a:lnTo>
                <a:lnTo>
                  <a:pt x="0" y="76"/>
                </a:lnTo>
                <a:lnTo>
                  <a:pt x="0" y="72"/>
                </a:lnTo>
                <a:lnTo>
                  <a:pt x="0" y="72"/>
                </a:lnTo>
                <a:lnTo>
                  <a:pt x="0" y="72"/>
                </a:lnTo>
                <a:lnTo>
                  <a:pt x="0" y="72"/>
                </a:lnTo>
                <a:lnTo>
                  <a:pt x="0" y="72"/>
                </a:lnTo>
                <a:lnTo>
                  <a:pt x="0" y="72"/>
                </a:lnTo>
                <a:lnTo>
                  <a:pt x="0" y="64"/>
                </a:lnTo>
                <a:lnTo>
                  <a:pt x="0" y="64"/>
                </a:lnTo>
                <a:lnTo>
                  <a:pt x="0" y="64"/>
                </a:lnTo>
                <a:lnTo>
                  <a:pt x="0" y="64"/>
                </a:lnTo>
                <a:lnTo>
                  <a:pt x="0" y="64"/>
                </a:lnTo>
                <a:lnTo>
                  <a:pt x="0" y="64"/>
                </a:lnTo>
                <a:lnTo>
                  <a:pt x="0" y="60"/>
                </a:lnTo>
                <a:lnTo>
                  <a:pt x="0" y="60"/>
                </a:lnTo>
                <a:lnTo>
                  <a:pt x="0" y="60"/>
                </a:lnTo>
                <a:lnTo>
                  <a:pt x="0" y="56"/>
                </a:lnTo>
                <a:lnTo>
                  <a:pt x="0" y="56"/>
                </a:lnTo>
                <a:lnTo>
                  <a:pt x="0" y="56"/>
                </a:lnTo>
                <a:lnTo>
                  <a:pt x="2" y="54"/>
                </a:lnTo>
                <a:lnTo>
                  <a:pt x="2" y="54"/>
                </a:lnTo>
                <a:lnTo>
                  <a:pt x="2" y="50"/>
                </a:lnTo>
                <a:lnTo>
                  <a:pt x="2" y="50"/>
                </a:lnTo>
                <a:lnTo>
                  <a:pt x="2" y="50"/>
                </a:lnTo>
                <a:lnTo>
                  <a:pt x="2" y="46"/>
                </a:lnTo>
                <a:lnTo>
                  <a:pt x="2" y="46"/>
                </a:lnTo>
                <a:lnTo>
                  <a:pt x="2" y="46"/>
                </a:lnTo>
                <a:lnTo>
                  <a:pt x="2" y="46"/>
                </a:lnTo>
                <a:lnTo>
                  <a:pt x="6" y="42"/>
                </a:lnTo>
                <a:lnTo>
                  <a:pt x="6" y="42"/>
                </a:lnTo>
                <a:lnTo>
                  <a:pt x="6" y="42"/>
                </a:lnTo>
                <a:lnTo>
                  <a:pt x="2" y="42"/>
                </a:lnTo>
                <a:lnTo>
                  <a:pt x="2" y="42"/>
                </a:lnTo>
                <a:lnTo>
                  <a:pt x="6" y="38"/>
                </a:lnTo>
                <a:lnTo>
                  <a:pt x="6" y="38"/>
                </a:lnTo>
                <a:lnTo>
                  <a:pt x="6" y="38"/>
                </a:lnTo>
                <a:lnTo>
                  <a:pt x="6" y="38"/>
                </a:lnTo>
                <a:lnTo>
                  <a:pt x="6" y="34"/>
                </a:lnTo>
                <a:lnTo>
                  <a:pt x="6" y="34"/>
                </a:lnTo>
                <a:lnTo>
                  <a:pt x="6" y="34"/>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7" name="Freeform 34"/>
          <p:cNvSpPr>
            <a:spLocks/>
          </p:cNvSpPr>
          <p:nvPr/>
        </p:nvSpPr>
        <p:spPr bwMode="auto">
          <a:xfrm>
            <a:off x="5038725" y="2474118"/>
            <a:ext cx="688181" cy="359569"/>
          </a:xfrm>
          <a:custGeom>
            <a:avLst/>
            <a:gdLst>
              <a:gd name="T0" fmla="*/ 388 w 578"/>
              <a:gd name="T1" fmla="*/ 254 h 302"/>
              <a:gd name="T2" fmla="*/ 372 w 578"/>
              <a:gd name="T3" fmla="*/ 262 h 302"/>
              <a:gd name="T4" fmla="*/ 342 w 578"/>
              <a:gd name="T5" fmla="*/ 272 h 302"/>
              <a:gd name="T6" fmla="*/ 316 w 578"/>
              <a:gd name="T7" fmla="*/ 294 h 302"/>
              <a:gd name="T8" fmla="*/ 306 w 578"/>
              <a:gd name="T9" fmla="*/ 292 h 302"/>
              <a:gd name="T10" fmla="*/ 278 w 578"/>
              <a:gd name="T11" fmla="*/ 272 h 302"/>
              <a:gd name="T12" fmla="*/ 264 w 578"/>
              <a:gd name="T13" fmla="*/ 248 h 302"/>
              <a:gd name="T14" fmla="*/ 220 w 578"/>
              <a:gd name="T15" fmla="*/ 248 h 302"/>
              <a:gd name="T16" fmla="*/ 156 w 578"/>
              <a:gd name="T17" fmla="*/ 210 h 302"/>
              <a:gd name="T18" fmla="*/ 136 w 578"/>
              <a:gd name="T19" fmla="*/ 254 h 302"/>
              <a:gd name="T20" fmla="*/ 134 w 578"/>
              <a:gd name="T21" fmla="*/ 292 h 302"/>
              <a:gd name="T22" fmla="*/ 110 w 578"/>
              <a:gd name="T23" fmla="*/ 268 h 302"/>
              <a:gd name="T24" fmla="*/ 76 w 578"/>
              <a:gd name="T25" fmla="*/ 288 h 302"/>
              <a:gd name="T26" fmla="*/ 44 w 578"/>
              <a:gd name="T27" fmla="*/ 258 h 302"/>
              <a:gd name="T28" fmla="*/ 36 w 578"/>
              <a:gd name="T29" fmla="*/ 214 h 302"/>
              <a:gd name="T30" fmla="*/ 36 w 578"/>
              <a:gd name="T31" fmla="*/ 188 h 302"/>
              <a:gd name="T32" fmla="*/ 30 w 578"/>
              <a:gd name="T33" fmla="*/ 168 h 302"/>
              <a:gd name="T34" fmla="*/ 6 w 578"/>
              <a:gd name="T35" fmla="*/ 150 h 302"/>
              <a:gd name="T36" fmla="*/ 6 w 578"/>
              <a:gd name="T37" fmla="*/ 128 h 302"/>
              <a:gd name="T38" fmla="*/ 18 w 578"/>
              <a:gd name="T39" fmla="*/ 110 h 302"/>
              <a:gd name="T40" fmla="*/ 34 w 578"/>
              <a:gd name="T41" fmla="*/ 112 h 302"/>
              <a:gd name="T42" fmla="*/ 44 w 578"/>
              <a:gd name="T43" fmla="*/ 90 h 302"/>
              <a:gd name="T44" fmla="*/ 62 w 578"/>
              <a:gd name="T45" fmla="*/ 84 h 302"/>
              <a:gd name="T46" fmla="*/ 76 w 578"/>
              <a:gd name="T47" fmla="*/ 80 h 302"/>
              <a:gd name="T48" fmla="*/ 100 w 578"/>
              <a:gd name="T49" fmla="*/ 84 h 302"/>
              <a:gd name="T50" fmla="*/ 114 w 578"/>
              <a:gd name="T51" fmla="*/ 102 h 302"/>
              <a:gd name="T52" fmla="*/ 130 w 578"/>
              <a:gd name="T53" fmla="*/ 106 h 302"/>
              <a:gd name="T54" fmla="*/ 160 w 578"/>
              <a:gd name="T55" fmla="*/ 98 h 302"/>
              <a:gd name="T56" fmla="*/ 178 w 578"/>
              <a:gd name="T57" fmla="*/ 102 h 302"/>
              <a:gd name="T58" fmla="*/ 204 w 578"/>
              <a:gd name="T59" fmla="*/ 102 h 302"/>
              <a:gd name="T60" fmla="*/ 204 w 578"/>
              <a:gd name="T61" fmla="*/ 84 h 302"/>
              <a:gd name="T62" fmla="*/ 204 w 578"/>
              <a:gd name="T63" fmla="*/ 68 h 302"/>
              <a:gd name="T64" fmla="*/ 216 w 578"/>
              <a:gd name="T65" fmla="*/ 54 h 302"/>
              <a:gd name="T66" fmla="*/ 208 w 578"/>
              <a:gd name="T67" fmla="*/ 46 h 302"/>
              <a:gd name="T68" fmla="*/ 208 w 578"/>
              <a:gd name="T69" fmla="*/ 38 h 302"/>
              <a:gd name="T70" fmla="*/ 226 w 578"/>
              <a:gd name="T71" fmla="*/ 30 h 302"/>
              <a:gd name="T72" fmla="*/ 256 w 578"/>
              <a:gd name="T73" fmla="*/ 24 h 302"/>
              <a:gd name="T74" fmla="*/ 276 w 578"/>
              <a:gd name="T75" fmla="*/ 20 h 302"/>
              <a:gd name="T76" fmla="*/ 306 w 578"/>
              <a:gd name="T77" fmla="*/ 8 h 302"/>
              <a:gd name="T78" fmla="*/ 332 w 578"/>
              <a:gd name="T79" fmla="*/ 4 h 302"/>
              <a:gd name="T80" fmla="*/ 354 w 578"/>
              <a:gd name="T81" fmla="*/ 16 h 302"/>
              <a:gd name="T82" fmla="*/ 366 w 578"/>
              <a:gd name="T83" fmla="*/ 28 h 302"/>
              <a:gd name="T84" fmla="*/ 368 w 578"/>
              <a:gd name="T85" fmla="*/ 30 h 302"/>
              <a:gd name="T86" fmla="*/ 380 w 578"/>
              <a:gd name="T87" fmla="*/ 34 h 302"/>
              <a:gd name="T88" fmla="*/ 398 w 578"/>
              <a:gd name="T89" fmla="*/ 38 h 302"/>
              <a:gd name="T90" fmla="*/ 420 w 578"/>
              <a:gd name="T91" fmla="*/ 24 h 302"/>
              <a:gd name="T92" fmla="*/ 436 w 578"/>
              <a:gd name="T93" fmla="*/ 38 h 302"/>
              <a:gd name="T94" fmla="*/ 462 w 578"/>
              <a:gd name="T95" fmla="*/ 68 h 302"/>
              <a:gd name="T96" fmla="*/ 480 w 578"/>
              <a:gd name="T97" fmla="*/ 90 h 302"/>
              <a:gd name="T98" fmla="*/ 498 w 578"/>
              <a:gd name="T99" fmla="*/ 98 h 302"/>
              <a:gd name="T100" fmla="*/ 524 w 578"/>
              <a:gd name="T101" fmla="*/ 94 h 302"/>
              <a:gd name="T102" fmla="*/ 548 w 578"/>
              <a:gd name="T103" fmla="*/ 116 h 302"/>
              <a:gd name="T104" fmla="*/ 566 w 578"/>
              <a:gd name="T105" fmla="*/ 124 h 302"/>
              <a:gd name="T106" fmla="*/ 570 w 578"/>
              <a:gd name="T107" fmla="*/ 136 h 302"/>
              <a:gd name="T108" fmla="*/ 554 w 578"/>
              <a:gd name="T109" fmla="*/ 158 h 302"/>
              <a:gd name="T110" fmla="*/ 540 w 578"/>
              <a:gd name="T111" fmla="*/ 176 h 302"/>
              <a:gd name="T112" fmla="*/ 514 w 578"/>
              <a:gd name="T113" fmla="*/ 188 h 302"/>
              <a:gd name="T114" fmla="*/ 514 w 578"/>
              <a:gd name="T115" fmla="*/ 214 h 302"/>
              <a:gd name="T116" fmla="*/ 484 w 578"/>
              <a:gd name="T117" fmla="*/ 214 h 302"/>
              <a:gd name="T118" fmla="*/ 480 w 578"/>
              <a:gd name="T119" fmla="*/ 232 h 302"/>
              <a:gd name="T120" fmla="*/ 484 w 578"/>
              <a:gd name="T121" fmla="*/ 258 h 302"/>
              <a:gd name="T122" fmla="*/ 466 w 578"/>
              <a:gd name="T123" fmla="*/ 268 h 302"/>
              <a:gd name="T124" fmla="*/ 436 w 578"/>
              <a:gd name="T125" fmla="*/ 25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78" h="302">
                <a:moveTo>
                  <a:pt x="416" y="258"/>
                </a:moveTo>
                <a:lnTo>
                  <a:pt x="412" y="262"/>
                </a:lnTo>
                <a:lnTo>
                  <a:pt x="408" y="262"/>
                </a:lnTo>
                <a:lnTo>
                  <a:pt x="408" y="258"/>
                </a:lnTo>
                <a:lnTo>
                  <a:pt x="406" y="258"/>
                </a:lnTo>
                <a:lnTo>
                  <a:pt x="402" y="258"/>
                </a:lnTo>
                <a:lnTo>
                  <a:pt x="398" y="254"/>
                </a:lnTo>
                <a:lnTo>
                  <a:pt x="394" y="254"/>
                </a:lnTo>
                <a:lnTo>
                  <a:pt x="392" y="254"/>
                </a:lnTo>
                <a:lnTo>
                  <a:pt x="388" y="254"/>
                </a:lnTo>
                <a:lnTo>
                  <a:pt x="384" y="254"/>
                </a:lnTo>
                <a:lnTo>
                  <a:pt x="384" y="258"/>
                </a:lnTo>
                <a:lnTo>
                  <a:pt x="384" y="262"/>
                </a:lnTo>
                <a:lnTo>
                  <a:pt x="384" y="266"/>
                </a:lnTo>
                <a:lnTo>
                  <a:pt x="384" y="268"/>
                </a:lnTo>
                <a:lnTo>
                  <a:pt x="380" y="268"/>
                </a:lnTo>
                <a:lnTo>
                  <a:pt x="380" y="266"/>
                </a:lnTo>
                <a:lnTo>
                  <a:pt x="376" y="266"/>
                </a:lnTo>
                <a:lnTo>
                  <a:pt x="372" y="266"/>
                </a:lnTo>
                <a:lnTo>
                  <a:pt x="372" y="262"/>
                </a:lnTo>
                <a:lnTo>
                  <a:pt x="368" y="262"/>
                </a:lnTo>
                <a:lnTo>
                  <a:pt x="366" y="262"/>
                </a:lnTo>
                <a:lnTo>
                  <a:pt x="362" y="262"/>
                </a:lnTo>
                <a:lnTo>
                  <a:pt x="358" y="262"/>
                </a:lnTo>
                <a:lnTo>
                  <a:pt x="354" y="262"/>
                </a:lnTo>
                <a:lnTo>
                  <a:pt x="350" y="262"/>
                </a:lnTo>
                <a:lnTo>
                  <a:pt x="350" y="266"/>
                </a:lnTo>
                <a:lnTo>
                  <a:pt x="346" y="268"/>
                </a:lnTo>
                <a:lnTo>
                  <a:pt x="346" y="272"/>
                </a:lnTo>
                <a:lnTo>
                  <a:pt x="342" y="272"/>
                </a:lnTo>
                <a:lnTo>
                  <a:pt x="342" y="276"/>
                </a:lnTo>
                <a:lnTo>
                  <a:pt x="338" y="272"/>
                </a:lnTo>
                <a:lnTo>
                  <a:pt x="338" y="276"/>
                </a:lnTo>
                <a:lnTo>
                  <a:pt x="336" y="280"/>
                </a:lnTo>
                <a:lnTo>
                  <a:pt x="332" y="284"/>
                </a:lnTo>
                <a:lnTo>
                  <a:pt x="328" y="284"/>
                </a:lnTo>
                <a:lnTo>
                  <a:pt x="324" y="288"/>
                </a:lnTo>
                <a:lnTo>
                  <a:pt x="320" y="288"/>
                </a:lnTo>
                <a:lnTo>
                  <a:pt x="320" y="292"/>
                </a:lnTo>
                <a:lnTo>
                  <a:pt x="316" y="294"/>
                </a:lnTo>
                <a:lnTo>
                  <a:pt x="316" y="298"/>
                </a:lnTo>
                <a:lnTo>
                  <a:pt x="312" y="298"/>
                </a:lnTo>
                <a:lnTo>
                  <a:pt x="312" y="302"/>
                </a:lnTo>
                <a:lnTo>
                  <a:pt x="316" y="302"/>
                </a:lnTo>
                <a:lnTo>
                  <a:pt x="312" y="302"/>
                </a:lnTo>
                <a:lnTo>
                  <a:pt x="308" y="302"/>
                </a:lnTo>
                <a:lnTo>
                  <a:pt x="306" y="298"/>
                </a:lnTo>
                <a:lnTo>
                  <a:pt x="308" y="294"/>
                </a:lnTo>
                <a:lnTo>
                  <a:pt x="306" y="294"/>
                </a:lnTo>
                <a:lnTo>
                  <a:pt x="306" y="292"/>
                </a:lnTo>
                <a:lnTo>
                  <a:pt x="302" y="292"/>
                </a:lnTo>
                <a:lnTo>
                  <a:pt x="298" y="292"/>
                </a:lnTo>
                <a:lnTo>
                  <a:pt x="294" y="292"/>
                </a:lnTo>
                <a:lnTo>
                  <a:pt x="290" y="292"/>
                </a:lnTo>
                <a:lnTo>
                  <a:pt x="286" y="292"/>
                </a:lnTo>
                <a:lnTo>
                  <a:pt x="286" y="288"/>
                </a:lnTo>
                <a:lnTo>
                  <a:pt x="286" y="280"/>
                </a:lnTo>
                <a:lnTo>
                  <a:pt x="282" y="276"/>
                </a:lnTo>
                <a:lnTo>
                  <a:pt x="278" y="276"/>
                </a:lnTo>
                <a:lnTo>
                  <a:pt x="278" y="272"/>
                </a:lnTo>
                <a:lnTo>
                  <a:pt x="278" y="268"/>
                </a:lnTo>
                <a:lnTo>
                  <a:pt x="278" y="266"/>
                </a:lnTo>
                <a:lnTo>
                  <a:pt x="278" y="262"/>
                </a:lnTo>
                <a:lnTo>
                  <a:pt x="278" y="258"/>
                </a:lnTo>
                <a:lnTo>
                  <a:pt x="276" y="258"/>
                </a:lnTo>
                <a:lnTo>
                  <a:pt x="272" y="254"/>
                </a:lnTo>
                <a:lnTo>
                  <a:pt x="272" y="252"/>
                </a:lnTo>
                <a:lnTo>
                  <a:pt x="268" y="252"/>
                </a:lnTo>
                <a:lnTo>
                  <a:pt x="268" y="248"/>
                </a:lnTo>
                <a:lnTo>
                  <a:pt x="264" y="248"/>
                </a:lnTo>
                <a:lnTo>
                  <a:pt x="264" y="244"/>
                </a:lnTo>
                <a:lnTo>
                  <a:pt x="260" y="244"/>
                </a:lnTo>
                <a:lnTo>
                  <a:pt x="256" y="248"/>
                </a:lnTo>
                <a:lnTo>
                  <a:pt x="250" y="248"/>
                </a:lnTo>
                <a:lnTo>
                  <a:pt x="246" y="248"/>
                </a:lnTo>
                <a:lnTo>
                  <a:pt x="242" y="244"/>
                </a:lnTo>
                <a:lnTo>
                  <a:pt x="238" y="244"/>
                </a:lnTo>
                <a:lnTo>
                  <a:pt x="230" y="248"/>
                </a:lnTo>
                <a:lnTo>
                  <a:pt x="226" y="248"/>
                </a:lnTo>
                <a:lnTo>
                  <a:pt x="220" y="248"/>
                </a:lnTo>
                <a:lnTo>
                  <a:pt x="220" y="244"/>
                </a:lnTo>
                <a:lnTo>
                  <a:pt x="216" y="240"/>
                </a:lnTo>
                <a:lnTo>
                  <a:pt x="212" y="236"/>
                </a:lnTo>
                <a:lnTo>
                  <a:pt x="208" y="232"/>
                </a:lnTo>
                <a:lnTo>
                  <a:pt x="186" y="218"/>
                </a:lnTo>
                <a:lnTo>
                  <a:pt x="170" y="206"/>
                </a:lnTo>
                <a:lnTo>
                  <a:pt x="166" y="206"/>
                </a:lnTo>
                <a:lnTo>
                  <a:pt x="164" y="210"/>
                </a:lnTo>
                <a:lnTo>
                  <a:pt x="160" y="210"/>
                </a:lnTo>
                <a:lnTo>
                  <a:pt x="156" y="210"/>
                </a:lnTo>
                <a:lnTo>
                  <a:pt x="152" y="214"/>
                </a:lnTo>
                <a:lnTo>
                  <a:pt x="144" y="214"/>
                </a:lnTo>
                <a:lnTo>
                  <a:pt x="140" y="218"/>
                </a:lnTo>
                <a:lnTo>
                  <a:pt x="136" y="218"/>
                </a:lnTo>
                <a:lnTo>
                  <a:pt x="136" y="222"/>
                </a:lnTo>
                <a:lnTo>
                  <a:pt x="136" y="228"/>
                </a:lnTo>
                <a:lnTo>
                  <a:pt x="136" y="240"/>
                </a:lnTo>
                <a:lnTo>
                  <a:pt x="136" y="244"/>
                </a:lnTo>
                <a:lnTo>
                  <a:pt x="136" y="252"/>
                </a:lnTo>
                <a:lnTo>
                  <a:pt x="136" y="254"/>
                </a:lnTo>
                <a:lnTo>
                  <a:pt x="136" y="258"/>
                </a:lnTo>
                <a:lnTo>
                  <a:pt x="136" y="262"/>
                </a:lnTo>
                <a:lnTo>
                  <a:pt x="136" y="266"/>
                </a:lnTo>
                <a:lnTo>
                  <a:pt x="136" y="272"/>
                </a:lnTo>
                <a:lnTo>
                  <a:pt x="136" y="280"/>
                </a:lnTo>
                <a:lnTo>
                  <a:pt x="136" y="284"/>
                </a:lnTo>
                <a:lnTo>
                  <a:pt x="136" y="288"/>
                </a:lnTo>
                <a:lnTo>
                  <a:pt x="136" y="292"/>
                </a:lnTo>
                <a:lnTo>
                  <a:pt x="134" y="288"/>
                </a:lnTo>
                <a:lnTo>
                  <a:pt x="134" y="292"/>
                </a:lnTo>
                <a:lnTo>
                  <a:pt x="130" y="292"/>
                </a:lnTo>
                <a:lnTo>
                  <a:pt x="126" y="292"/>
                </a:lnTo>
                <a:lnTo>
                  <a:pt x="126" y="288"/>
                </a:lnTo>
                <a:lnTo>
                  <a:pt x="126" y="284"/>
                </a:lnTo>
                <a:lnTo>
                  <a:pt x="122" y="284"/>
                </a:lnTo>
                <a:lnTo>
                  <a:pt x="122" y="280"/>
                </a:lnTo>
                <a:lnTo>
                  <a:pt x="118" y="276"/>
                </a:lnTo>
                <a:lnTo>
                  <a:pt x="114" y="272"/>
                </a:lnTo>
                <a:lnTo>
                  <a:pt x="110" y="272"/>
                </a:lnTo>
                <a:lnTo>
                  <a:pt x="110" y="268"/>
                </a:lnTo>
                <a:lnTo>
                  <a:pt x="106" y="268"/>
                </a:lnTo>
                <a:lnTo>
                  <a:pt x="104" y="268"/>
                </a:lnTo>
                <a:lnTo>
                  <a:pt x="100" y="272"/>
                </a:lnTo>
                <a:lnTo>
                  <a:pt x="96" y="272"/>
                </a:lnTo>
                <a:lnTo>
                  <a:pt x="92" y="272"/>
                </a:lnTo>
                <a:lnTo>
                  <a:pt x="92" y="276"/>
                </a:lnTo>
                <a:lnTo>
                  <a:pt x="88" y="276"/>
                </a:lnTo>
                <a:lnTo>
                  <a:pt x="84" y="280"/>
                </a:lnTo>
                <a:lnTo>
                  <a:pt x="80" y="284"/>
                </a:lnTo>
                <a:lnTo>
                  <a:pt x="76" y="288"/>
                </a:lnTo>
                <a:lnTo>
                  <a:pt x="74" y="288"/>
                </a:lnTo>
                <a:lnTo>
                  <a:pt x="66" y="292"/>
                </a:lnTo>
                <a:lnTo>
                  <a:pt x="66" y="288"/>
                </a:lnTo>
                <a:lnTo>
                  <a:pt x="62" y="284"/>
                </a:lnTo>
                <a:lnTo>
                  <a:pt x="60" y="280"/>
                </a:lnTo>
                <a:lnTo>
                  <a:pt x="60" y="276"/>
                </a:lnTo>
                <a:lnTo>
                  <a:pt x="56" y="272"/>
                </a:lnTo>
                <a:lnTo>
                  <a:pt x="52" y="268"/>
                </a:lnTo>
                <a:lnTo>
                  <a:pt x="48" y="262"/>
                </a:lnTo>
                <a:lnTo>
                  <a:pt x="44" y="258"/>
                </a:lnTo>
                <a:lnTo>
                  <a:pt x="44" y="254"/>
                </a:lnTo>
                <a:lnTo>
                  <a:pt x="40" y="252"/>
                </a:lnTo>
                <a:lnTo>
                  <a:pt x="40" y="248"/>
                </a:lnTo>
                <a:lnTo>
                  <a:pt x="36" y="240"/>
                </a:lnTo>
                <a:lnTo>
                  <a:pt x="36" y="236"/>
                </a:lnTo>
                <a:lnTo>
                  <a:pt x="36" y="232"/>
                </a:lnTo>
                <a:lnTo>
                  <a:pt x="34" y="224"/>
                </a:lnTo>
                <a:lnTo>
                  <a:pt x="34" y="222"/>
                </a:lnTo>
                <a:lnTo>
                  <a:pt x="34" y="218"/>
                </a:lnTo>
                <a:lnTo>
                  <a:pt x="36" y="214"/>
                </a:lnTo>
                <a:lnTo>
                  <a:pt x="40" y="210"/>
                </a:lnTo>
                <a:lnTo>
                  <a:pt x="44" y="206"/>
                </a:lnTo>
                <a:lnTo>
                  <a:pt x="48" y="202"/>
                </a:lnTo>
                <a:lnTo>
                  <a:pt x="52" y="202"/>
                </a:lnTo>
                <a:lnTo>
                  <a:pt x="52" y="198"/>
                </a:lnTo>
                <a:lnTo>
                  <a:pt x="48" y="198"/>
                </a:lnTo>
                <a:lnTo>
                  <a:pt x="44" y="196"/>
                </a:lnTo>
                <a:lnTo>
                  <a:pt x="40" y="196"/>
                </a:lnTo>
                <a:lnTo>
                  <a:pt x="40" y="192"/>
                </a:lnTo>
                <a:lnTo>
                  <a:pt x="36" y="188"/>
                </a:lnTo>
                <a:lnTo>
                  <a:pt x="34" y="188"/>
                </a:lnTo>
                <a:lnTo>
                  <a:pt x="30" y="188"/>
                </a:lnTo>
                <a:lnTo>
                  <a:pt x="30" y="184"/>
                </a:lnTo>
                <a:lnTo>
                  <a:pt x="34" y="180"/>
                </a:lnTo>
                <a:lnTo>
                  <a:pt x="34" y="184"/>
                </a:lnTo>
                <a:lnTo>
                  <a:pt x="36" y="184"/>
                </a:lnTo>
                <a:lnTo>
                  <a:pt x="36" y="180"/>
                </a:lnTo>
                <a:lnTo>
                  <a:pt x="34" y="176"/>
                </a:lnTo>
                <a:lnTo>
                  <a:pt x="34" y="172"/>
                </a:lnTo>
                <a:lnTo>
                  <a:pt x="30" y="168"/>
                </a:lnTo>
                <a:lnTo>
                  <a:pt x="26" y="166"/>
                </a:lnTo>
                <a:lnTo>
                  <a:pt x="26" y="162"/>
                </a:lnTo>
                <a:lnTo>
                  <a:pt x="22" y="162"/>
                </a:lnTo>
                <a:lnTo>
                  <a:pt x="18" y="162"/>
                </a:lnTo>
                <a:lnTo>
                  <a:pt x="14" y="162"/>
                </a:lnTo>
                <a:lnTo>
                  <a:pt x="10" y="162"/>
                </a:lnTo>
                <a:lnTo>
                  <a:pt x="10" y="158"/>
                </a:lnTo>
                <a:lnTo>
                  <a:pt x="10" y="154"/>
                </a:lnTo>
                <a:lnTo>
                  <a:pt x="10" y="150"/>
                </a:lnTo>
                <a:lnTo>
                  <a:pt x="6" y="150"/>
                </a:lnTo>
                <a:lnTo>
                  <a:pt x="4" y="150"/>
                </a:lnTo>
                <a:lnTo>
                  <a:pt x="0" y="146"/>
                </a:lnTo>
                <a:lnTo>
                  <a:pt x="4" y="146"/>
                </a:lnTo>
                <a:lnTo>
                  <a:pt x="4" y="142"/>
                </a:lnTo>
                <a:lnTo>
                  <a:pt x="6" y="140"/>
                </a:lnTo>
                <a:lnTo>
                  <a:pt x="6" y="136"/>
                </a:lnTo>
                <a:lnTo>
                  <a:pt x="10" y="136"/>
                </a:lnTo>
                <a:lnTo>
                  <a:pt x="10" y="132"/>
                </a:lnTo>
                <a:lnTo>
                  <a:pt x="6" y="132"/>
                </a:lnTo>
                <a:lnTo>
                  <a:pt x="6" y="128"/>
                </a:lnTo>
                <a:lnTo>
                  <a:pt x="6" y="124"/>
                </a:lnTo>
                <a:lnTo>
                  <a:pt x="6" y="116"/>
                </a:lnTo>
                <a:lnTo>
                  <a:pt x="10" y="116"/>
                </a:lnTo>
                <a:lnTo>
                  <a:pt x="14" y="116"/>
                </a:lnTo>
                <a:lnTo>
                  <a:pt x="14" y="112"/>
                </a:lnTo>
                <a:lnTo>
                  <a:pt x="10" y="112"/>
                </a:lnTo>
                <a:lnTo>
                  <a:pt x="14" y="110"/>
                </a:lnTo>
                <a:lnTo>
                  <a:pt x="14" y="106"/>
                </a:lnTo>
                <a:lnTo>
                  <a:pt x="18" y="106"/>
                </a:lnTo>
                <a:lnTo>
                  <a:pt x="18" y="110"/>
                </a:lnTo>
                <a:lnTo>
                  <a:pt x="22" y="110"/>
                </a:lnTo>
                <a:lnTo>
                  <a:pt x="22" y="112"/>
                </a:lnTo>
                <a:lnTo>
                  <a:pt x="26" y="112"/>
                </a:lnTo>
                <a:lnTo>
                  <a:pt x="26" y="116"/>
                </a:lnTo>
                <a:lnTo>
                  <a:pt x="30" y="120"/>
                </a:lnTo>
                <a:lnTo>
                  <a:pt x="30" y="116"/>
                </a:lnTo>
                <a:lnTo>
                  <a:pt x="34" y="116"/>
                </a:lnTo>
                <a:lnTo>
                  <a:pt x="36" y="116"/>
                </a:lnTo>
                <a:lnTo>
                  <a:pt x="36" y="112"/>
                </a:lnTo>
                <a:lnTo>
                  <a:pt x="34" y="112"/>
                </a:lnTo>
                <a:lnTo>
                  <a:pt x="34" y="110"/>
                </a:lnTo>
                <a:lnTo>
                  <a:pt x="34" y="106"/>
                </a:lnTo>
                <a:lnTo>
                  <a:pt x="34" y="102"/>
                </a:lnTo>
                <a:lnTo>
                  <a:pt x="36" y="102"/>
                </a:lnTo>
                <a:lnTo>
                  <a:pt x="36" y="98"/>
                </a:lnTo>
                <a:lnTo>
                  <a:pt x="40" y="98"/>
                </a:lnTo>
                <a:lnTo>
                  <a:pt x="44" y="98"/>
                </a:lnTo>
                <a:lnTo>
                  <a:pt x="40" y="94"/>
                </a:lnTo>
                <a:lnTo>
                  <a:pt x="44" y="94"/>
                </a:lnTo>
                <a:lnTo>
                  <a:pt x="44" y="90"/>
                </a:lnTo>
                <a:lnTo>
                  <a:pt x="44" y="94"/>
                </a:lnTo>
                <a:lnTo>
                  <a:pt x="48" y="90"/>
                </a:lnTo>
                <a:lnTo>
                  <a:pt x="52" y="90"/>
                </a:lnTo>
                <a:lnTo>
                  <a:pt x="56" y="90"/>
                </a:lnTo>
                <a:lnTo>
                  <a:pt x="56" y="86"/>
                </a:lnTo>
                <a:lnTo>
                  <a:pt x="60" y="86"/>
                </a:lnTo>
                <a:lnTo>
                  <a:pt x="60" y="84"/>
                </a:lnTo>
                <a:lnTo>
                  <a:pt x="60" y="80"/>
                </a:lnTo>
                <a:lnTo>
                  <a:pt x="60" y="84"/>
                </a:lnTo>
                <a:lnTo>
                  <a:pt x="62" y="84"/>
                </a:lnTo>
                <a:lnTo>
                  <a:pt x="62" y="80"/>
                </a:lnTo>
                <a:lnTo>
                  <a:pt x="66" y="80"/>
                </a:lnTo>
                <a:lnTo>
                  <a:pt x="70" y="80"/>
                </a:lnTo>
                <a:lnTo>
                  <a:pt x="70" y="84"/>
                </a:lnTo>
                <a:lnTo>
                  <a:pt x="74" y="84"/>
                </a:lnTo>
                <a:lnTo>
                  <a:pt x="74" y="86"/>
                </a:lnTo>
                <a:lnTo>
                  <a:pt x="76" y="84"/>
                </a:lnTo>
                <a:lnTo>
                  <a:pt x="74" y="84"/>
                </a:lnTo>
                <a:lnTo>
                  <a:pt x="76" y="84"/>
                </a:lnTo>
                <a:lnTo>
                  <a:pt x="76" y="80"/>
                </a:lnTo>
                <a:lnTo>
                  <a:pt x="80" y="80"/>
                </a:lnTo>
                <a:lnTo>
                  <a:pt x="84" y="80"/>
                </a:lnTo>
                <a:lnTo>
                  <a:pt x="84" y="84"/>
                </a:lnTo>
                <a:lnTo>
                  <a:pt x="88" y="86"/>
                </a:lnTo>
                <a:lnTo>
                  <a:pt x="88" y="84"/>
                </a:lnTo>
                <a:lnTo>
                  <a:pt x="92" y="84"/>
                </a:lnTo>
                <a:lnTo>
                  <a:pt x="92" y="86"/>
                </a:lnTo>
                <a:lnTo>
                  <a:pt x="92" y="84"/>
                </a:lnTo>
                <a:lnTo>
                  <a:pt x="96" y="84"/>
                </a:lnTo>
                <a:lnTo>
                  <a:pt x="100" y="84"/>
                </a:lnTo>
                <a:lnTo>
                  <a:pt x="104" y="86"/>
                </a:lnTo>
                <a:lnTo>
                  <a:pt x="100" y="86"/>
                </a:lnTo>
                <a:lnTo>
                  <a:pt x="104" y="90"/>
                </a:lnTo>
                <a:lnTo>
                  <a:pt x="106" y="90"/>
                </a:lnTo>
                <a:lnTo>
                  <a:pt x="106" y="94"/>
                </a:lnTo>
                <a:lnTo>
                  <a:pt x="110" y="94"/>
                </a:lnTo>
                <a:lnTo>
                  <a:pt x="110" y="98"/>
                </a:lnTo>
                <a:lnTo>
                  <a:pt x="114" y="98"/>
                </a:lnTo>
                <a:lnTo>
                  <a:pt x="110" y="102"/>
                </a:lnTo>
                <a:lnTo>
                  <a:pt x="114" y="102"/>
                </a:lnTo>
                <a:lnTo>
                  <a:pt x="114" y="106"/>
                </a:lnTo>
                <a:lnTo>
                  <a:pt x="118" y="102"/>
                </a:lnTo>
                <a:lnTo>
                  <a:pt x="114" y="102"/>
                </a:lnTo>
                <a:lnTo>
                  <a:pt x="114" y="98"/>
                </a:lnTo>
                <a:lnTo>
                  <a:pt x="114" y="94"/>
                </a:lnTo>
                <a:lnTo>
                  <a:pt x="118" y="94"/>
                </a:lnTo>
                <a:lnTo>
                  <a:pt x="122" y="98"/>
                </a:lnTo>
                <a:lnTo>
                  <a:pt x="126" y="102"/>
                </a:lnTo>
                <a:lnTo>
                  <a:pt x="130" y="102"/>
                </a:lnTo>
                <a:lnTo>
                  <a:pt x="130" y="106"/>
                </a:lnTo>
                <a:lnTo>
                  <a:pt x="134" y="102"/>
                </a:lnTo>
                <a:lnTo>
                  <a:pt x="136" y="102"/>
                </a:lnTo>
                <a:lnTo>
                  <a:pt x="136" y="98"/>
                </a:lnTo>
                <a:lnTo>
                  <a:pt x="140" y="98"/>
                </a:lnTo>
                <a:lnTo>
                  <a:pt x="140" y="94"/>
                </a:lnTo>
                <a:lnTo>
                  <a:pt x="144" y="94"/>
                </a:lnTo>
                <a:lnTo>
                  <a:pt x="148" y="94"/>
                </a:lnTo>
                <a:lnTo>
                  <a:pt x="152" y="94"/>
                </a:lnTo>
                <a:lnTo>
                  <a:pt x="156" y="98"/>
                </a:lnTo>
                <a:lnTo>
                  <a:pt x="160" y="98"/>
                </a:lnTo>
                <a:lnTo>
                  <a:pt x="160" y="94"/>
                </a:lnTo>
                <a:lnTo>
                  <a:pt x="160" y="90"/>
                </a:lnTo>
                <a:lnTo>
                  <a:pt x="164" y="94"/>
                </a:lnTo>
                <a:lnTo>
                  <a:pt x="166" y="94"/>
                </a:lnTo>
                <a:lnTo>
                  <a:pt x="166" y="90"/>
                </a:lnTo>
                <a:lnTo>
                  <a:pt x="170" y="90"/>
                </a:lnTo>
                <a:lnTo>
                  <a:pt x="170" y="94"/>
                </a:lnTo>
                <a:lnTo>
                  <a:pt x="170" y="98"/>
                </a:lnTo>
                <a:lnTo>
                  <a:pt x="174" y="98"/>
                </a:lnTo>
                <a:lnTo>
                  <a:pt x="178" y="102"/>
                </a:lnTo>
                <a:lnTo>
                  <a:pt x="182" y="102"/>
                </a:lnTo>
                <a:lnTo>
                  <a:pt x="186" y="102"/>
                </a:lnTo>
                <a:lnTo>
                  <a:pt x="186" y="106"/>
                </a:lnTo>
                <a:lnTo>
                  <a:pt x="190" y="106"/>
                </a:lnTo>
                <a:lnTo>
                  <a:pt x="190" y="102"/>
                </a:lnTo>
                <a:lnTo>
                  <a:pt x="190" y="98"/>
                </a:lnTo>
                <a:lnTo>
                  <a:pt x="192" y="98"/>
                </a:lnTo>
                <a:lnTo>
                  <a:pt x="196" y="102"/>
                </a:lnTo>
                <a:lnTo>
                  <a:pt x="200" y="102"/>
                </a:lnTo>
                <a:lnTo>
                  <a:pt x="204" y="102"/>
                </a:lnTo>
                <a:lnTo>
                  <a:pt x="208" y="102"/>
                </a:lnTo>
                <a:lnTo>
                  <a:pt x="212" y="98"/>
                </a:lnTo>
                <a:lnTo>
                  <a:pt x="212" y="94"/>
                </a:lnTo>
                <a:lnTo>
                  <a:pt x="216" y="90"/>
                </a:lnTo>
                <a:lnTo>
                  <a:pt x="216" y="86"/>
                </a:lnTo>
                <a:lnTo>
                  <a:pt x="212" y="86"/>
                </a:lnTo>
                <a:lnTo>
                  <a:pt x="208" y="84"/>
                </a:lnTo>
                <a:lnTo>
                  <a:pt x="208" y="86"/>
                </a:lnTo>
                <a:lnTo>
                  <a:pt x="208" y="84"/>
                </a:lnTo>
                <a:lnTo>
                  <a:pt x="204" y="84"/>
                </a:lnTo>
                <a:lnTo>
                  <a:pt x="200" y="84"/>
                </a:lnTo>
                <a:lnTo>
                  <a:pt x="196" y="80"/>
                </a:lnTo>
                <a:lnTo>
                  <a:pt x="200" y="80"/>
                </a:lnTo>
                <a:lnTo>
                  <a:pt x="196" y="80"/>
                </a:lnTo>
                <a:lnTo>
                  <a:pt x="196" y="76"/>
                </a:lnTo>
                <a:lnTo>
                  <a:pt x="192" y="76"/>
                </a:lnTo>
                <a:lnTo>
                  <a:pt x="192" y="72"/>
                </a:lnTo>
                <a:lnTo>
                  <a:pt x="196" y="72"/>
                </a:lnTo>
                <a:lnTo>
                  <a:pt x="200" y="72"/>
                </a:lnTo>
                <a:lnTo>
                  <a:pt x="204" y="68"/>
                </a:lnTo>
                <a:lnTo>
                  <a:pt x="208" y="68"/>
                </a:lnTo>
                <a:lnTo>
                  <a:pt x="208" y="64"/>
                </a:lnTo>
                <a:lnTo>
                  <a:pt x="204" y="64"/>
                </a:lnTo>
                <a:lnTo>
                  <a:pt x="204" y="60"/>
                </a:lnTo>
                <a:lnTo>
                  <a:pt x="200" y="60"/>
                </a:lnTo>
                <a:lnTo>
                  <a:pt x="200" y="56"/>
                </a:lnTo>
                <a:lnTo>
                  <a:pt x="204" y="56"/>
                </a:lnTo>
                <a:lnTo>
                  <a:pt x="208" y="54"/>
                </a:lnTo>
                <a:lnTo>
                  <a:pt x="212" y="54"/>
                </a:lnTo>
                <a:lnTo>
                  <a:pt x="216" y="54"/>
                </a:lnTo>
                <a:lnTo>
                  <a:pt x="220" y="54"/>
                </a:lnTo>
                <a:lnTo>
                  <a:pt x="222" y="54"/>
                </a:lnTo>
                <a:lnTo>
                  <a:pt x="222" y="50"/>
                </a:lnTo>
                <a:lnTo>
                  <a:pt x="220" y="50"/>
                </a:lnTo>
                <a:lnTo>
                  <a:pt x="216" y="50"/>
                </a:lnTo>
                <a:lnTo>
                  <a:pt x="216" y="46"/>
                </a:lnTo>
                <a:lnTo>
                  <a:pt x="216" y="50"/>
                </a:lnTo>
                <a:lnTo>
                  <a:pt x="212" y="50"/>
                </a:lnTo>
                <a:lnTo>
                  <a:pt x="212" y="46"/>
                </a:lnTo>
                <a:lnTo>
                  <a:pt x="208" y="46"/>
                </a:lnTo>
                <a:lnTo>
                  <a:pt x="208" y="42"/>
                </a:lnTo>
                <a:lnTo>
                  <a:pt x="212" y="42"/>
                </a:lnTo>
                <a:lnTo>
                  <a:pt x="216" y="42"/>
                </a:lnTo>
                <a:lnTo>
                  <a:pt x="216" y="38"/>
                </a:lnTo>
                <a:lnTo>
                  <a:pt x="212" y="38"/>
                </a:lnTo>
                <a:lnTo>
                  <a:pt x="212" y="42"/>
                </a:lnTo>
                <a:lnTo>
                  <a:pt x="208" y="42"/>
                </a:lnTo>
                <a:lnTo>
                  <a:pt x="208" y="38"/>
                </a:lnTo>
                <a:lnTo>
                  <a:pt x="204" y="38"/>
                </a:lnTo>
                <a:lnTo>
                  <a:pt x="208" y="38"/>
                </a:lnTo>
                <a:lnTo>
                  <a:pt x="208" y="34"/>
                </a:lnTo>
                <a:lnTo>
                  <a:pt x="204" y="34"/>
                </a:lnTo>
                <a:lnTo>
                  <a:pt x="208" y="30"/>
                </a:lnTo>
                <a:lnTo>
                  <a:pt x="212" y="30"/>
                </a:lnTo>
                <a:lnTo>
                  <a:pt x="216" y="30"/>
                </a:lnTo>
                <a:lnTo>
                  <a:pt x="220" y="30"/>
                </a:lnTo>
                <a:lnTo>
                  <a:pt x="222" y="30"/>
                </a:lnTo>
                <a:lnTo>
                  <a:pt x="226" y="30"/>
                </a:lnTo>
                <a:lnTo>
                  <a:pt x="226" y="34"/>
                </a:lnTo>
                <a:lnTo>
                  <a:pt x="226" y="30"/>
                </a:lnTo>
                <a:lnTo>
                  <a:pt x="230" y="30"/>
                </a:lnTo>
                <a:lnTo>
                  <a:pt x="234" y="30"/>
                </a:lnTo>
                <a:lnTo>
                  <a:pt x="234" y="28"/>
                </a:lnTo>
                <a:lnTo>
                  <a:pt x="238" y="28"/>
                </a:lnTo>
                <a:lnTo>
                  <a:pt x="242" y="28"/>
                </a:lnTo>
                <a:lnTo>
                  <a:pt x="246" y="28"/>
                </a:lnTo>
                <a:lnTo>
                  <a:pt x="250" y="28"/>
                </a:lnTo>
                <a:lnTo>
                  <a:pt x="250" y="24"/>
                </a:lnTo>
                <a:lnTo>
                  <a:pt x="252" y="24"/>
                </a:lnTo>
                <a:lnTo>
                  <a:pt x="256" y="24"/>
                </a:lnTo>
                <a:lnTo>
                  <a:pt x="260" y="24"/>
                </a:lnTo>
                <a:lnTo>
                  <a:pt x="264" y="24"/>
                </a:lnTo>
                <a:lnTo>
                  <a:pt x="268" y="24"/>
                </a:lnTo>
                <a:lnTo>
                  <a:pt x="264" y="24"/>
                </a:lnTo>
                <a:lnTo>
                  <a:pt x="264" y="20"/>
                </a:lnTo>
                <a:lnTo>
                  <a:pt x="268" y="20"/>
                </a:lnTo>
                <a:lnTo>
                  <a:pt x="268" y="16"/>
                </a:lnTo>
                <a:lnTo>
                  <a:pt x="272" y="16"/>
                </a:lnTo>
                <a:lnTo>
                  <a:pt x="272" y="20"/>
                </a:lnTo>
                <a:lnTo>
                  <a:pt x="276" y="20"/>
                </a:lnTo>
                <a:lnTo>
                  <a:pt x="276" y="16"/>
                </a:lnTo>
                <a:lnTo>
                  <a:pt x="278" y="16"/>
                </a:lnTo>
                <a:lnTo>
                  <a:pt x="282" y="16"/>
                </a:lnTo>
                <a:lnTo>
                  <a:pt x="286" y="16"/>
                </a:lnTo>
                <a:lnTo>
                  <a:pt x="290" y="16"/>
                </a:lnTo>
                <a:lnTo>
                  <a:pt x="294" y="12"/>
                </a:lnTo>
                <a:lnTo>
                  <a:pt x="298" y="12"/>
                </a:lnTo>
                <a:lnTo>
                  <a:pt x="302" y="12"/>
                </a:lnTo>
                <a:lnTo>
                  <a:pt x="302" y="8"/>
                </a:lnTo>
                <a:lnTo>
                  <a:pt x="306" y="8"/>
                </a:lnTo>
                <a:lnTo>
                  <a:pt x="306" y="12"/>
                </a:lnTo>
                <a:lnTo>
                  <a:pt x="308" y="8"/>
                </a:lnTo>
                <a:lnTo>
                  <a:pt x="308" y="4"/>
                </a:lnTo>
                <a:lnTo>
                  <a:pt x="312" y="4"/>
                </a:lnTo>
                <a:lnTo>
                  <a:pt x="316" y="0"/>
                </a:lnTo>
                <a:lnTo>
                  <a:pt x="320" y="4"/>
                </a:lnTo>
                <a:lnTo>
                  <a:pt x="320" y="0"/>
                </a:lnTo>
                <a:lnTo>
                  <a:pt x="324" y="0"/>
                </a:lnTo>
                <a:lnTo>
                  <a:pt x="328" y="0"/>
                </a:lnTo>
                <a:lnTo>
                  <a:pt x="332" y="4"/>
                </a:lnTo>
                <a:lnTo>
                  <a:pt x="336" y="4"/>
                </a:lnTo>
                <a:lnTo>
                  <a:pt x="338" y="4"/>
                </a:lnTo>
                <a:lnTo>
                  <a:pt x="342" y="4"/>
                </a:lnTo>
                <a:lnTo>
                  <a:pt x="342" y="0"/>
                </a:lnTo>
                <a:lnTo>
                  <a:pt x="346" y="0"/>
                </a:lnTo>
                <a:lnTo>
                  <a:pt x="346" y="4"/>
                </a:lnTo>
                <a:lnTo>
                  <a:pt x="346" y="8"/>
                </a:lnTo>
                <a:lnTo>
                  <a:pt x="346" y="12"/>
                </a:lnTo>
                <a:lnTo>
                  <a:pt x="350" y="16"/>
                </a:lnTo>
                <a:lnTo>
                  <a:pt x="354" y="16"/>
                </a:lnTo>
                <a:lnTo>
                  <a:pt x="350" y="16"/>
                </a:lnTo>
                <a:lnTo>
                  <a:pt x="350" y="20"/>
                </a:lnTo>
                <a:lnTo>
                  <a:pt x="350" y="24"/>
                </a:lnTo>
                <a:lnTo>
                  <a:pt x="346" y="24"/>
                </a:lnTo>
                <a:lnTo>
                  <a:pt x="350" y="24"/>
                </a:lnTo>
                <a:lnTo>
                  <a:pt x="350" y="28"/>
                </a:lnTo>
                <a:lnTo>
                  <a:pt x="354" y="28"/>
                </a:lnTo>
                <a:lnTo>
                  <a:pt x="358" y="28"/>
                </a:lnTo>
                <a:lnTo>
                  <a:pt x="362" y="28"/>
                </a:lnTo>
                <a:lnTo>
                  <a:pt x="366" y="28"/>
                </a:lnTo>
                <a:lnTo>
                  <a:pt x="362" y="24"/>
                </a:lnTo>
                <a:lnTo>
                  <a:pt x="366" y="24"/>
                </a:lnTo>
                <a:lnTo>
                  <a:pt x="368" y="28"/>
                </a:lnTo>
                <a:lnTo>
                  <a:pt x="366" y="28"/>
                </a:lnTo>
                <a:lnTo>
                  <a:pt x="368" y="28"/>
                </a:lnTo>
                <a:lnTo>
                  <a:pt x="368" y="30"/>
                </a:lnTo>
                <a:lnTo>
                  <a:pt x="368" y="34"/>
                </a:lnTo>
                <a:lnTo>
                  <a:pt x="368" y="30"/>
                </a:lnTo>
                <a:lnTo>
                  <a:pt x="372" y="30"/>
                </a:lnTo>
                <a:lnTo>
                  <a:pt x="368" y="30"/>
                </a:lnTo>
                <a:lnTo>
                  <a:pt x="368" y="28"/>
                </a:lnTo>
                <a:lnTo>
                  <a:pt x="372" y="28"/>
                </a:lnTo>
                <a:lnTo>
                  <a:pt x="376" y="28"/>
                </a:lnTo>
                <a:lnTo>
                  <a:pt x="376" y="30"/>
                </a:lnTo>
                <a:lnTo>
                  <a:pt x="380" y="30"/>
                </a:lnTo>
                <a:lnTo>
                  <a:pt x="384" y="30"/>
                </a:lnTo>
                <a:lnTo>
                  <a:pt x="388" y="30"/>
                </a:lnTo>
                <a:lnTo>
                  <a:pt x="388" y="34"/>
                </a:lnTo>
                <a:lnTo>
                  <a:pt x="384" y="34"/>
                </a:lnTo>
                <a:lnTo>
                  <a:pt x="380" y="34"/>
                </a:lnTo>
                <a:lnTo>
                  <a:pt x="380" y="38"/>
                </a:lnTo>
                <a:lnTo>
                  <a:pt x="380" y="42"/>
                </a:lnTo>
                <a:lnTo>
                  <a:pt x="384" y="42"/>
                </a:lnTo>
                <a:lnTo>
                  <a:pt x="380" y="42"/>
                </a:lnTo>
                <a:lnTo>
                  <a:pt x="384" y="42"/>
                </a:lnTo>
                <a:lnTo>
                  <a:pt x="388" y="38"/>
                </a:lnTo>
                <a:lnTo>
                  <a:pt x="392" y="38"/>
                </a:lnTo>
                <a:lnTo>
                  <a:pt x="394" y="38"/>
                </a:lnTo>
                <a:lnTo>
                  <a:pt x="394" y="42"/>
                </a:lnTo>
                <a:lnTo>
                  <a:pt x="398" y="38"/>
                </a:lnTo>
                <a:lnTo>
                  <a:pt x="394" y="38"/>
                </a:lnTo>
                <a:lnTo>
                  <a:pt x="398" y="38"/>
                </a:lnTo>
                <a:lnTo>
                  <a:pt x="398" y="34"/>
                </a:lnTo>
                <a:lnTo>
                  <a:pt x="402" y="34"/>
                </a:lnTo>
                <a:lnTo>
                  <a:pt x="406" y="34"/>
                </a:lnTo>
                <a:lnTo>
                  <a:pt x="408" y="30"/>
                </a:lnTo>
                <a:lnTo>
                  <a:pt x="412" y="28"/>
                </a:lnTo>
                <a:lnTo>
                  <a:pt x="416" y="28"/>
                </a:lnTo>
                <a:lnTo>
                  <a:pt x="420" y="28"/>
                </a:lnTo>
                <a:lnTo>
                  <a:pt x="420" y="24"/>
                </a:lnTo>
                <a:lnTo>
                  <a:pt x="424" y="24"/>
                </a:lnTo>
                <a:lnTo>
                  <a:pt x="428" y="24"/>
                </a:lnTo>
                <a:lnTo>
                  <a:pt x="428" y="20"/>
                </a:lnTo>
                <a:lnTo>
                  <a:pt x="432" y="24"/>
                </a:lnTo>
                <a:lnTo>
                  <a:pt x="428" y="28"/>
                </a:lnTo>
                <a:lnTo>
                  <a:pt x="424" y="28"/>
                </a:lnTo>
                <a:lnTo>
                  <a:pt x="424" y="30"/>
                </a:lnTo>
                <a:lnTo>
                  <a:pt x="428" y="34"/>
                </a:lnTo>
                <a:lnTo>
                  <a:pt x="432" y="34"/>
                </a:lnTo>
                <a:lnTo>
                  <a:pt x="436" y="38"/>
                </a:lnTo>
                <a:lnTo>
                  <a:pt x="438" y="42"/>
                </a:lnTo>
                <a:lnTo>
                  <a:pt x="442" y="46"/>
                </a:lnTo>
                <a:lnTo>
                  <a:pt x="446" y="46"/>
                </a:lnTo>
                <a:lnTo>
                  <a:pt x="446" y="50"/>
                </a:lnTo>
                <a:lnTo>
                  <a:pt x="450" y="56"/>
                </a:lnTo>
                <a:lnTo>
                  <a:pt x="454" y="56"/>
                </a:lnTo>
                <a:lnTo>
                  <a:pt x="454" y="60"/>
                </a:lnTo>
                <a:lnTo>
                  <a:pt x="454" y="64"/>
                </a:lnTo>
                <a:lnTo>
                  <a:pt x="458" y="64"/>
                </a:lnTo>
                <a:lnTo>
                  <a:pt x="462" y="68"/>
                </a:lnTo>
                <a:lnTo>
                  <a:pt x="466" y="80"/>
                </a:lnTo>
                <a:lnTo>
                  <a:pt x="468" y="84"/>
                </a:lnTo>
                <a:lnTo>
                  <a:pt x="468" y="86"/>
                </a:lnTo>
                <a:lnTo>
                  <a:pt x="468" y="90"/>
                </a:lnTo>
                <a:lnTo>
                  <a:pt x="472" y="90"/>
                </a:lnTo>
                <a:lnTo>
                  <a:pt x="472" y="98"/>
                </a:lnTo>
                <a:lnTo>
                  <a:pt x="476" y="98"/>
                </a:lnTo>
                <a:lnTo>
                  <a:pt x="480" y="98"/>
                </a:lnTo>
                <a:lnTo>
                  <a:pt x="480" y="94"/>
                </a:lnTo>
                <a:lnTo>
                  <a:pt x="480" y="90"/>
                </a:lnTo>
                <a:lnTo>
                  <a:pt x="484" y="90"/>
                </a:lnTo>
                <a:lnTo>
                  <a:pt x="484" y="86"/>
                </a:lnTo>
                <a:lnTo>
                  <a:pt x="488" y="90"/>
                </a:lnTo>
                <a:lnTo>
                  <a:pt x="492" y="90"/>
                </a:lnTo>
                <a:lnTo>
                  <a:pt x="492" y="94"/>
                </a:lnTo>
                <a:lnTo>
                  <a:pt x="496" y="94"/>
                </a:lnTo>
                <a:lnTo>
                  <a:pt x="496" y="98"/>
                </a:lnTo>
                <a:lnTo>
                  <a:pt x="496" y="102"/>
                </a:lnTo>
                <a:lnTo>
                  <a:pt x="498" y="102"/>
                </a:lnTo>
                <a:lnTo>
                  <a:pt x="498" y="98"/>
                </a:lnTo>
                <a:lnTo>
                  <a:pt x="502" y="98"/>
                </a:lnTo>
                <a:lnTo>
                  <a:pt x="502" y="102"/>
                </a:lnTo>
                <a:lnTo>
                  <a:pt x="506" y="102"/>
                </a:lnTo>
                <a:lnTo>
                  <a:pt x="510" y="98"/>
                </a:lnTo>
                <a:lnTo>
                  <a:pt x="510" y="102"/>
                </a:lnTo>
                <a:lnTo>
                  <a:pt x="514" y="98"/>
                </a:lnTo>
                <a:lnTo>
                  <a:pt x="518" y="98"/>
                </a:lnTo>
                <a:lnTo>
                  <a:pt x="518" y="94"/>
                </a:lnTo>
                <a:lnTo>
                  <a:pt x="522" y="94"/>
                </a:lnTo>
                <a:lnTo>
                  <a:pt x="524" y="94"/>
                </a:lnTo>
                <a:lnTo>
                  <a:pt x="528" y="98"/>
                </a:lnTo>
                <a:lnTo>
                  <a:pt x="532" y="98"/>
                </a:lnTo>
                <a:lnTo>
                  <a:pt x="532" y="102"/>
                </a:lnTo>
                <a:lnTo>
                  <a:pt x="536" y="106"/>
                </a:lnTo>
                <a:lnTo>
                  <a:pt x="536" y="110"/>
                </a:lnTo>
                <a:lnTo>
                  <a:pt x="536" y="112"/>
                </a:lnTo>
                <a:lnTo>
                  <a:pt x="540" y="112"/>
                </a:lnTo>
                <a:lnTo>
                  <a:pt x="544" y="112"/>
                </a:lnTo>
                <a:lnTo>
                  <a:pt x="548" y="112"/>
                </a:lnTo>
                <a:lnTo>
                  <a:pt x="548" y="116"/>
                </a:lnTo>
                <a:lnTo>
                  <a:pt x="544" y="116"/>
                </a:lnTo>
                <a:lnTo>
                  <a:pt x="548" y="116"/>
                </a:lnTo>
                <a:lnTo>
                  <a:pt x="548" y="120"/>
                </a:lnTo>
                <a:lnTo>
                  <a:pt x="548" y="124"/>
                </a:lnTo>
                <a:lnTo>
                  <a:pt x="552" y="124"/>
                </a:lnTo>
                <a:lnTo>
                  <a:pt x="554" y="124"/>
                </a:lnTo>
                <a:lnTo>
                  <a:pt x="558" y="124"/>
                </a:lnTo>
                <a:lnTo>
                  <a:pt x="562" y="128"/>
                </a:lnTo>
                <a:lnTo>
                  <a:pt x="562" y="124"/>
                </a:lnTo>
                <a:lnTo>
                  <a:pt x="566" y="124"/>
                </a:lnTo>
                <a:lnTo>
                  <a:pt x="566" y="120"/>
                </a:lnTo>
                <a:lnTo>
                  <a:pt x="570" y="120"/>
                </a:lnTo>
                <a:lnTo>
                  <a:pt x="570" y="124"/>
                </a:lnTo>
                <a:lnTo>
                  <a:pt x="574" y="124"/>
                </a:lnTo>
                <a:lnTo>
                  <a:pt x="574" y="128"/>
                </a:lnTo>
                <a:lnTo>
                  <a:pt x="574" y="132"/>
                </a:lnTo>
                <a:lnTo>
                  <a:pt x="578" y="132"/>
                </a:lnTo>
                <a:lnTo>
                  <a:pt x="578" y="136"/>
                </a:lnTo>
                <a:lnTo>
                  <a:pt x="574" y="136"/>
                </a:lnTo>
                <a:lnTo>
                  <a:pt x="570" y="136"/>
                </a:lnTo>
                <a:lnTo>
                  <a:pt x="570" y="140"/>
                </a:lnTo>
                <a:lnTo>
                  <a:pt x="570" y="142"/>
                </a:lnTo>
                <a:lnTo>
                  <a:pt x="570" y="146"/>
                </a:lnTo>
                <a:lnTo>
                  <a:pt x="566" y="146"/>
                </a:lnTo>
                <a:lnTo>
                  <a:pt x="562" y="146"/>
                </a:lnTo>
                <a:lnTo>
                  <a:pt x="558" y="146"/>
                </a:lnTo>
                <a:lnTo>
                  <a:pt x="558" y="150"/>
                </a:lnTo>
                <a:lnTo>
                  <a:pt x="554" y="150"/>
                </a:lnTo>
                <a:lnTo>
                  <a:pt x="554" y="154"/>
                </a:lnTo>
                <a:lnTo>
                  <a:pt x="554" y="158"/>
                </a:lnTo>
                <a:lnTo>
                  <a:pt x="554" y="162"/>
                </a:lnTo>
                <a:lnTo>
                  <a:pt x="554" y="166"/>
                </a:lnTo>
                <a:lnTo>
                  <a:pt x="554" y="168"/>
                </a:lnTo>
                <a:lnTo>
                  <a:pt x="554" y="172"/>
                </a:lnTo>
                <a:lnTo>
                  <a:pt x="554" y="176"/>
                </a:lnTo>
                <a:lnTo>
                  <a:pt x="552" y="176"/>
                </a:lnTo>
                <a:lnTo>
                  <a:pt x="548" y="176"/>
                </a:lnTo>
                <a:lnTo>
                  <a:pt x="548" y="180"/>
                </a:lnTo>
                <a:lnTo>
                  <a:pt x="544" y="180"/>
                </a:lnTo>
                <a:lnTo>
                  <a:pt x="540" y="176"/>
                </a:lnTo>
                <a:lnTo>
                  <a:pt x="536" y="176"/>
                </a:lnTo>
                <a:lnTo>
                  <a:pt x="532" y="176"/>
                </a:lnTo>
                <a:lnTo>
                  <a:pt x="528" y="176"/>
                </a:lnTo>
                <a:lnTo>
                  <a:pt x="524" y="176"/>
                </a:lnTo>
                <a:lnTo>
                  <a:pt x="522" y="172"/>
                </a:lnTo>
                <a:lnTo>
                  <a:pt x="518" y="172"/>
                </a:lnTo>
                <a:lnTo>
                  <a:pt x="518" y="176"/>
                </a:lnTo>
                <a:lnTo>
                  <a:pt x="518" y="180"/>
                </a:lnTo>
                <a:lnTo>
                  <a:pt x="514" y="184"/>
                </a:lnTo>
                <a:lnTo>
                  <a:pt x="514" y="188"/>
                </a:lnTo>
                <a:lnTo>
                  <a:pt x="514" y="192"/>
                </a:lnTo>
                <a:lnTo>
                  <a:pt x="510" y="192"/>
                </a:lnTo>
                <a:lnTo>
                  <a:pt x="510" y="196"/>
                </a:lnTo>
                <a:lnTo>
                  <a:pt x="510" y="198"/>
                </a:lnTo>
                <a:lnTo>
                  <a:pt x="510" y="202"/>
                </a:lnTo>
                <a:lnTo>
                  <a:pt x="506" y="206"/>
                </a:lnTo>
                <a:lnTo>
                  <a:pt x="510" y="206"/>
                </a:lnTo>
                <a:lnTo>
                  <a:pt x="510" y="210"/>
                </a:lnTo>
                <a:lnTo>
                  <a:pt x="514" y="210"/>
                </a:lnTo>
                <a:lnTo>
                  <a:pt x="514" y="214"/>
                </a:lnTo>
                <a:lnTo>
                  <a:pt x="510" y="214"/>
                </a:lnTo>
                <a:lnTo>
                  <a:pt x="506" y="214"/>
                </a:lnTo>
                <a:lnTo>
                  <a:pt x="502" y="214"/>
                </a:lnTo>
                <a:lnTo>
                  <a:pt x="498" y="214"/>
                </a:lnTo>
                <a:lnTo>
                  <a:pt x="498" y="210"/>
                </a:lnTo>
                <a:lnTo>
                  <a:pt x="496" y="210"/>
                </a:lnTo>
                <a:lnTo>
                  <a:pt x="496" y="214"/>
                </a:lnTo>
                <a:lnTo>
                  <a:pt x="492" y="214"/>
                </a:lnTo>
                <a:lnTo>
                  <a:pt x="488" y="214"/>
                </a:lnTo>
                <a:lnTo>
                  <a:pt x="484" y="214"/>
                </a:lnTo>
                <a:lnTo>
                  <a:pt x="480" y="218"/>
                </a:lnTo>
                <a:lnTo>
                  <a:pt x="476" y="218"/>
                </a:lnTo>
                <a:lnTo>
                  <a:pt x="472" y="222"/>
                </a:lnTo>
                <a:lnTo>
                  <a:pt x="476" y="222"/>
                </a:lnTo>
                <a:lnTo>
                  <a:pt x="480" y="222"/>
                </a:lnTo>
                <a:lnTo>
                  <a:pt x="484" y="222"/>
                </a:lnTo>
                <a:lnTo>
                  <a:pt x="484" y="224"/>
                </a:lnTo>
                <a:lnTo>
                  <a:pt x="480" y="224"/>
                </a:lnTo>
                <a:lnTo>
                  <a:pt x="480" y="228"/>
                </a:lnTo>
                <a:lnTo>
                  <a:pt x="480" y="232"/>
                </a:lnTo>
                <a:lnTo>
                  <a:pt x="480" y="236"/>
                </a:lnTo>
                <a:lnTo>
                  <a:pt x="480" y="240"/>
                </a:lnTo>
                <a:lnTo>
                  <a:pt x="484" y="240"/>
                </a:lnTo>
                <a:lnTo>
                  <a:pt x="484" y="244"/>
                </a:lnTo>
                <a:lnTo>
                  <a:pt x="484" y="248"/>
                </a:lnTo>
                <a:lnTo>
                  <a:pt x="488" y="252"/>
                </a:lnTo>
                <a:lnTo>
                  <a:pt x="488" y="254"/>
                </a:lnTo>
                <a:lnTo>
                  <a:pt x="484" y="254"/>
                </a:lnTo>
                <a:lnTo>
                  <a:pt x="480" y="258"/>
                </a:lnTo>
                <a:lnTo>
                  <a:pt x="484" y="258"/>
                </a:lnTo>
                <a:lnTo>
                  <a:pt x="480" y="262"/>
                </a:lnTo>
                <a:lnTo>
                  <a:pt x="476" y="266"/>
                </a:lnTo>
                <a:lnTo>
                  <a:pt x="476" y="268"/>
                </a:lnTo>
                <a:lnTo>
                  <a:pt x="480" y="268"/>
                </a:lnTo>
                <a:lnTo>
                  <a:pt x="480" y="272"/>
                </a:lnTo>
                <a:lnTo>
                  <a:pt x="476" y="272"/>
                </a:lnTo>
                <a:lnTo>
                  <a:pt x="476" y="268"/>
                </a:lnTo>
                <a:lnTo>
                  <a:pt x="472" y="268"/>
                </a:lnTo>
                <a:lnTo>
                  <a:pt x="468" y="268"/>
                </a:lnTo>
                <a:lnTo>
                  <a:pt x="466" y="268"/>
                </a:lnTo>
                <a:lnTo>
                  <a:pt x="466" y="266"/>
                </a:lnTo>
                <a:lnTo>
                  <a:pt x="466" y="262"/>
                </a:lnTo>
                <a:lnTo>
                  <a:pt x="462" y="262"/>
                </a:lnTo>
                <a:lnTo>
                  <a:pt x="458" y="262"/>
                </a:lnTo>
                <a:lnTo>
                  <a:pt x="454" y="258"/>
                </a:lnTo>
                <a:lnTo>
                  <a:pt x="450" y="258"/>
                </a:lnTo>
                <a:lnTo>
                  <a:pt x="446" y="258"/>
                </a:lnTo>
                <a:lnTo>
                  <a:pt x="442" y="258"/>
                </a:lnTo>
                <a:lnTo>
                  <a:pt x="438" y="258"/>
                </a:lnTo>
                <a:lnTo>
                  <a:pt x="436" y="258"/>
                </a:lnTo>
                <a:lnTo>
                  <a:pt x="432" y="258"/>
                </a:lnTo>
                <a:lnTo>
                  <a:pt x="428" y="258"/>
                </a:lnTo>
                <a:lnTo>
                  <a:pt x="424" y="258"/>
                </a:lnTo>
                <a:lnTo>
                  <a:pt x="420" y="258"/>
                </a:lnTo>
                <a:lnTo>
                  <a:pt x="416" y="258"/>
                </a:lnTo>
                <a:lnTo>
                  <a:pt x="416" y="258"/>
                </a:lnTo>
                <a:lnTo>
                  <a:pt x="416" y="258"/>
                </a:lnTo>
                <a:close/>
              </a:path>
            </a:pathLst>
          </a:custGeom>
          <a:solidFill>
            <a:srgbClr val="A0DCFF"/>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8" name="Freeform 35"/>
          <p:cNvSpPr>
            <a:spLocks noEditPoints="1"/>
          </p:cNvSpPr>
          <p:nvPr/>
        </p:nvSpPr>
        <p:spPr bwMode="auto">
          <a:xfrm>
            <a:off x="5043488" y="3071812"/>
            <a:ext cx="30956" cy="33338"/>
          </a:xfrm>
          <a:custGeom>
            <a:avLst/>
            <a:gdLst>
              <a:gd name="T0" fmla="*/ 10 w 26"/>
              <a:gd name="T1" fmla="*/ 22 h 28"/>
              <a:gd name="T2" fmla="*/ 4 w 26"/>
              <a:gd name="T3" fmla="*/ 18 h 28"/>
              <a:gd name="T4" fmla="*/ 0 w 26"/>
              <a:gd name="T5" fmla="*/ 18 h 28"/>
              <a:gd name="T6" fmla="*/ 0 w 26"/>
              <a:gd name="T7" fmla="*/ 18 h 28"/>
              <a:gd name="T8" fmla="*/ 0 w 26"/>
              <a:gd name="T9" fmla="*/ 18 h 28"/>
              <a:gd name="T10" fmla="*/ 0 w 26"/>
              <a:gd name="T11" fmla="*/ 18 h 28"/>
              <a:gd name="T12" fmla="*/ 0 w 26"/>
              <a:gd name="T13" fmla="*/ 18 h 28"/>
              <a:gd name="T14" fmla="*/ 4 w 26"/>
              <a:gd name="T15" fmla="*/ 14 h 28"/>
              <a:gd name="T16" fmla="*/ 4 w 26"/>
              <a:gd name="T17" fmla="*/ 10 h 28"/>
              <a:gd name="T18" fmla="*/ 4 w 26"/>
              <a:gd name="T19" fmla="*/ 10 h 28"/>
              <a:gd name="T20" fmla="*/ 6 w 26"/>
              <a:gd name="T21" fmla="*/ 6 h 28"/>
              <a:gd name="T22" fmla="*/ 6 w 26"/>
              <a:gd name="T23" fmla="*/ 2 h 28"/>
              <a:gd name="T24" fmla="*/ 6 w 26"/>
              <a:gd name="T25" fmla="*/ 2 h 28"/>
              <a:gd name="T26" fmla="*/ 6 w 26"/>
              <a:gd name="T27" fmla="*/ 2 h 28"/>
              <a:gd name="T28" fmla="*/ 10 w 26"/>
              <a:gd name="T29" fmla="*/ 0 h 28"/>
              <a:gd name="T30" fmla="*/ 14 w 26"/>
              <a:gd name="T31" fmla="*/ 0 h 28"/>
              <a:gd name="T32" fmla="*/ 18 w 26"/>
              <a:gd name="T33" fmla="*/ 2 h 28"/>
              <a:gd name="T34" fmla="*/ 18 w 26"/>
              <a:gd name="T35" fmla="*/ 6 h 28"/>
              <a:gd name="T36" fmla="*/ 18 w 26"/>
              <a:gd name="T37" fmla="*/ 6 h 28"/>
              <a:gd name="T38" fmla="*/ 18 w 26"/>
              <a:gd name="T39" fmla="*/ 6 h 28"/>
              <a:gd name="T40" fmla="*/ 22 w 26"/>
              <a:gd name="T41" fmla="*/ 10 h 28"/>
              <a:gd name="T42" fmla="*/ 22 w 26"/>
              <a:gd name="T43" fmla="*/ 10 h 28"/>
              <a:gd name="T44" fmla="*/ 18 w 26"/>
              <a:gd name="T45" fmla="*/ 10 h 28"/>
              <a:gd name="T46" fmla="*/ 18 w 26"/>
              <a:gd name="T47" fmla="*/ 10 h 28"/>
              <a:gd name="T48" fmla="*/ 14 w 26"/>
              <a:gd name="T49" fmla="*/ 14 h 28"/>
              <a:gd name="T50" fmla="*/ 14 w 26"/>
              <a:gd name="T51" fmla="*/ 14 h 28"/>
              <a:gd name="T52" fmla="*/ 18 w 26"/>
              <a:gd name="T53" fmla="*/ 14 h 28"/>
              <a:gd name="T54" fmla="*/ 18 w 26"/>
              <a:gd name="T55" fmla="*/ 14 h 28"/>
              <a:gd name="T56" fmla="*/ 18 w 26"/>
              <a:gd name="T57" fmla="*/ 14 h 28"/>
              <a:gd name="T58" fmla="*/ 18 w 26"/>
              <a:gd name="T59" fmla="*/ 14 h 28"/>
              <a:gd name="T60" fmla="*/ 18 w 26"/>
              <a:gd name="T61" fmla="*/ 18 h 28"/>
              <a:gd name="T62" fmla="*/ 22 w 26"/>
              <a:gd name="T63" fmla="*/ 18 h 28"/>
              <a:gd name="T64" fmla="*/ 22 w 26"/>
              <a:gd name="T65" fmla="*/ 22 h 28"/>
              <a:gd name="T66" fmla="*/ 22 w 26"/>
              <a:gd name="T67" fmla="*/ 26 h 28"/>
              <a:gd name="T68" fmla="*/ 26 w 26"/>
              <a:gd name="T69" fmla="*/ 26 h 28"/>
              <a:gd name="T70" fmla="*/ 26 w 26"/>
              <a:gd name="T71" fmla="*/ 26 h 28"/>
              <a:gd name="T72" fmla="*/ 22 w 26"/>
              <a:gd name="T73" fmla="*/ 28 h 28"/>
              <a:gd name="T74" fmla="*/ 14 w 26"/>
              <a:gd name="T75" fmla="*/ 28 h 28"/>
              <a:gd name="T76" fmla="*/ 14 w 26"/>
              <a:gd name="T77" fmla="*/ 26 h 28"/>
              <a:gd name="T78" fmla="*/ 14 w 26"/>
              <a:gd name="T79" fmla="*/ 26 h 28"/>
              <a:gd name="T80" fmla="*/ 10 w 26"/>
              <a:gd name="T81" fmla="*/ 22 h 28"/>
              <a:gd name="T82" fmla="*/ 10 w 26"/>
              <a:gd name="T83" fmla="*/ 22 h 28"/>
              <a:gd name="T84" fmla="*/ 10 w 26"/>
              <a:gd name="T85" fmla="*/ 22 h 28"/>
              <a:gd name="T86" fmla="*/ 22 w 26"/>
              <a:gd name="T87" fmla="*/ 2 h 28"/>
              <a:gd name="T88" fmla="*/ 22 w 26"/>
              <a:gd name="T89" fmla="*/ 6 h 28"/>
              <a:gd name="T90" fmla="*/ 22 w 26"/>
              <a:gd name="T91" fmla="*/ 6 h 28"/>
              <a:gd name="T92" fmla="*/ 26 w 26"/>
              <a:gd name="T93" fmla="*/ 6 h 28"/>
              <a:gd name="T94" fmla="*/ 26 w 26"/>
              <a:gd name="T95" fmla="*/ 6 h 28"/>
              <a:gd name="T96" fmla="*/ 22 w 26"/>
              <a:gd name="T97" fmla="*/ 6 h 28"/>
              <a:gd name="T98" fmla="*/ 22 w 26"/>
              <a:gd name="T99" fmla="*/ 10 h 28"/>
              <a:gd name="T100" fmla="*/ 22 w 26"/>
              <a:gd name="T101" fmla="*/ 10 h 28"/>
              <a:gd name="T102" fmla="*/ 22 w 26"/>
              <a:gd name="T103" fmla="*/ 10 h 28"/>
              <a:gd name="T104" fmla="*/ 22 w 26"/>
              <a:gd name="T105" fmla="*/ 10 h 28"/>
              <a:gd name="T106" fmla="*/ 22 w 26"/>
              <a:gd name="T107" fmla="*/ 10 h 28"/>
              <a:gd name="T108" fmla="*/ 22 w 26"/>
              <a:gd name="T109" fmla="*/ 10 h 28"/>
              <a:gd name="T110" fmla="*/ 22 w 26"/>
              <a:gd name="T111" fmla="*/ 2 h 28"/>
              <a:gd name="T112" fmla="*/ 22 w 26"/>
              <a:gd name="T113" fmla="*/ 2 h 28"/>
              <a:gd name="T114" fmla="*/ 22 w 26"/>
              <a:gd name="T115" fmla="*/ 2 h 28"/>
              <a:gd name="T116" fmla="*/ 22 w 26"/>
              <a:gd name="T117" fmla="*/ 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 h="28">
                <a:moveTo>
                  <a:pt x="10" y="22"/>
                </a:moveTo>
                <a:lnTo>
                  <a:pt x="10" y="22"/>
                </a:lnTo>
                <a:lnTo>
                  <a:pt x="4" y="18"/>
                </a:lnTo>
                <a:lnTo>
                  <a:pt x="4" y="18"/>
                </a:lnTo>
                <a:lnTo>
                  <a:pt x="0" y="18"/>
                </a:lnTo>
                <a:lnTo>
                  <a:pt x="0" y="18"/>
                </a:lnTo>
                <a:lnTo>
                  <a:pt x="0" y="18"/>
                </a:lnTo>
                <a:lnTo>
                  <a:pt x="0" y="18"/>
                </a:lnTo>
                <a:lnTo>
                  <a:pt x="0" y="18"/>
                </a:lnTo>
                <a:lnTo>
                  <a:pt x="0" y="18"/>
                </a:lnTo>
                <a:lnTo>
                  <a:pt x="0" y="18"/>
                </a:lnTo>
                <a:lnTo>
                  <a:pt x="0" y="18"/>
                </a:lnTo>
                <a:lnTo>
                  <a:pt x="0" y="18"/>
                </a:lnTo>
                <a:lnTo>
                  <a:pt x="0" y="18"/>
                </a:lnTo>
                <a:lnTo>
                  <a:pt x="0" y="14"/>
                </a:lnTo>
                <a:lnTo>
                  <a:pt x="4" y="14"/>
                </a:lnTo>
                <a:lnTo>
                  <a:pt x="4" y="14"/>
                </a:lnTo>
                <a:lnTo>
                  <a:pt x="4" y="10"/>
                </a:lnTo>
                <a:lnTo>
                  <a:pt x="4" y="10"/>
                </a:lnTo>
                <a:lnTo>
                  <a:pt x="4" y="10"/>
                </a:lnTo>
                <a:lnTo>
                  <a:pt x="4" y="10"/>
                </a:lnTo>
                <a:lnTo>
                  <a:pt x="6" y="6"/>
                </a:lnTo>
                <a:lnTo>
                  <a:pt x="6" y="2"/>
                </a:lnTo>
                <a:lnTo>
                  <a:pt x="6" y="2"/>
                </a:lnTo>
                <a:lnTo>
                  <a:pt x="6" y="2"/>
                </a:lnTo>
                <a:lnTo>
                  <a:pt x="6" y="2"/>
                </a:lnTo>
                <a:lnTo>
                  <a:pt x="6" y="2"/>
                </a:lnTo>
                <a:lnTo>
                  <a:pt x="6" y="2"/>
                </a:lnTo>
                <a:lnTo>
                  <a:pt x="10" y="0"/>
                </a:lnTo>
                <a:lnTo>
                  <a:pt x="10" y="0"/>
                </a:lnTo>
                <a:lnTo>
                  <a:pt x="10" y="0"/>
                </a:lnTo>
                <a:lnTo>
                  <a:pt x="14" y="0"/>
                </a:lnTo>
                <a:lnTo>
                  <a:pt x="18" y="2"/>
                </a:lnTo>
                <a:lnTo>
                  <a:pt x="18" y="2"/>
                </a:lnTo>
                <a:lnTo>
                  <a:pt x="18" y="2"/>
                </a:lnTo>
                <a:lnTo>
                  <a:pt x="18" y="6"/>
                </a:lnTo>
                <a:lnTo>
                  <a:pt x="18" y="6"/>
                </a:lnTo>
                <a:lnTo>
                  <a:pt x="18" y="6"/>
                </a:lnTo>
                <a:lnTo>
                  <a:pt x="18" y="6"/>
                </a:lnTo>
                <a:lnTo>
                  <a:pt x="18" y="6"/>
                </a:lnTo>
                <a:lnTo>
                  <a:pt x="18" y="6"/>
                </a:lnTo>
                <a:lnTo>
                  <a:pt x="22" y="10"/>
                </a:lnTo>
                <a:lnTo>
                  <a:pt x="22" y="10"/>
                </a:lnTo>
                <a:lnTo>
                  <a:pt x="22" y="10"/>
                </a:lnTo>
                <a:lnTo>
                  <a:pt x="22" y="10"/>
                </a:lnTo>
                <a:lnTo>
                  <a:pt x="18" y="10"/>
                </a:lnTo>
                <a:lnTo>
                  <a:pt x="18" y="10"/>
                </a:lnTo>
                <a:lnTo>
                  <a:pt x="18" y="10"/>
                </a:lnTo>
                <a:lnTo>
                  <a:pt x="18" y="10"/>
                </a:lnTo>
                <a:lnTo>
                  <a:pt x="14" y="14"/>
                </a:lnTo>
                <a:lnTo>
                  <a:pt x="14" y="14"/>
                </a:lnTo>
                <a:lnTo>
                  <a:pt x="14" y="14"/>
                </a:lnTo>
                <a:lnTo>
                  <a:pt x="18" y="14"/>
                </a:lnTo>
                <a:lnTo>
                  <a:pt x="18" y="14"/>
                </a:lnTo>
                <a:lnTo>
                  <a:pt x="18" y="14"/>
                </a:lnTo>
                <a:lnTo>
                  <a:pt x="18" y="14"/>
                </a:lnTo>
                <a:lnTo>
                  <a:pt x="18" y="14"/>
                </a:lnTo>
                <a:lnTo>
                  <a:pt x="18" y="14"/>
                </a:lnTo>
                <a:lnTo>
                  <a:pt x="18" y="14"/>
                </a:lnTo>
                <a:lnTo>
                  <a:pt x="18" y="14"/>
                </a:lnTo>
                <a:lnTo>
                  <a:pt x="18" y="14"/>
                </a:lnTo>
                <a:lnTo>
                  <a:pt x="18" y="18"/>
                </a:lnTo>
                <a:lnTo>
                  <a:pt x="22" y="18"/>
                </a:lnTo>
                <a:lnTo>
                  <a:pt x="22" y="18"/>
                </a:lnTo>
                <a:lnTo>
                  <a:pt x="22" y="22"/>
                </a:lnTo>
                <a:lnTo>
                  <a:pt x="22" y="22"/>
                </a:lnTo>
                <a:lnTo>
                  <a:pt x="22" y="22"/>
                </a:lnTo>
                <a:lnTo>
                  <a:pt x="22" y="26"/>
                </a:lnTo>
                <a:lnTo>
                  <a:pt x="26" y="26"/>
                </a:lnTo>
                <a:lnTo>
                  <a:pt x="26" y="26"/>
                </a:lnTo>
                <a:lnTo>
                  <a:pt x="26" y="26"/>
                </a:lnTo>
                <a:lnTo>
                  <a:pt x="26" y="26"/>
                </a:lnTo>
                <a:lnTo>
                  <a:pt x="26" y="28"/>
                </a:lnTo>
                <a:lnTo>
                  <a:pt x="22" y="28"/>
                </a:lnTo>
                <a:lnTo>
                  <a:pt x="14" y="28"/>
                </a:lnTo>
                <a:lnTo>
                  <a:pt x="14" y="28"/>
                </a:lnTo>
                <a:lnTo>
                  <a:pt x="14" y="28"/>
                </a:lnTo>
                <a:lnTo>
                  <a:pt x="14" y="26"/>
                </a:lnTo>
                <a:lnTo>
                  <a:pt x="14" y="26"/>
                </a:lnTo>
                <a:lnTo>
                  <a:pt x="14" y="26"/>
                </a:lnTo>
                <a:lnTo>
                  <a:pt x="14" y="26"/>
                </a:lnTo>
                <a:lnTo>
                  <a:pt x="10" y="22"/>
                </a:lnTo>
                <a:lnTo>
                  <a:pt x="10" y="22"/>
                </a:lnTo>
                <a:lnTo>
                  <a:pt x="10" y="22"/>
                </a:lnTo>
                <a:lnTo>
                  <a:pt x="10" y="22"/>
                </a:lnTo>
                <a:lnTo>
                  <a:pt x="10" y="22"/>
                </a:lnTo>
                <a:close/>
                <a:moveTo>
                  <a:pt x="22" y="2"/>
                </a:moveTo>
                <a:lnTo>
                  <a:pt x="22" y="2"/>
                </a:lnTo>
                <a:lnTo>
                  <a:pt x="22" y="2"/>
                </a:lnTo>
                <a:lnTo>
                  <a:pt x="22" y="6"/>
                </a:lnTo>
                <a:lnTo>
                  <a:pt x="22" y="6"/>
                </a:lnTo>
                <a:lnTo>
                  <a:pt x="22" y="6"/>
                </a:lnTo>
                <a:lnTo>
                  <a:pt x="22" y="6"/>
                </a:lnTo>
                <a:lnTo>
                  <a:pt x="26" y="6"/>
                </a:lnTo>
                <a:lnTo>
                  <a:pt x="26" y="6"/>
                </a:lnTo>
                <a:lnTo>
                  <a:pt x="26" y="6"/>
                </a:lnTo>
                <a:lnTo>
                  <a:pt x="22" y="6"/>
                </a:lnTo>
                <a:lnTo>
                  <a:pt x="22" y="6"/>
                </a:lnTo>
                <a:lnTo>
                  <a:pt x="22" y="6"/>
                </a:lnTo>
                <a:lnTo>
                  <a:pt x="22" y="10"/>
                </a:lnTo>
                <a:lnTo>
                  <a:pt x="22" y="10"/>
                </a:lnTo>
                <a:lnTo>
                  <a:pt x="22" y="10"/>
                </a:lnTo>
                <a:lnTo>
                  <a:pt x="22" y="10"/>
                </a:lnTo>
                <a:lnTo>
                  <a:pt x="22" y="10"/>
                </a:lnTo>
                <a:lnTo>
                  <a:pt x="22" y="10"/>
                </a:lnTo>
                <a:lnTo>
                  <a:pt x="22" y="10"/>
                </a:lnTo>
                <a:lnTo>
                  <a:pt x="22" y="10"/>
                </a:lnTo>
                <a:lnTo>
                  <a:pt x="22" y="10"/>
                </a:lnTo>
                <a:lnTo>
                  <a:pt x="22" y="10"/>
                </a:lnTo>
                <a:lnTo>
                  <a:pt x="22" y="10"/>
                </a:lnTo>
                <a:lnTo>
                  <a:pt x="18" y="6"/>
                </a:lnTo>
                <a:lnTo>
                  <a:pt x="22" y="2"/>
                </a:lnTo>
                <a:lnTo>
                  <a:pt x="22" y="2"/>
                </a:lnTo>
                <a:lnTo>
                  <a:pt x="22" y="2"/>
                </a:lnTo>
                <a:lnTo>
                  <a:pt x="22" y="2"/>
                </a:lnTo>
                <a:lnTo>
                  <a:pt x="22" y="2"/>
                </a:lnTo>
                <a:lnTo>
                  <a:pt x="22" y="2"/>
                </a:lnTo>
                <a:lnTo>
                  <a:pt x="22" y="2"/>
                </a:lnTo>
                <a:lnTo>
                  <a:pt x="22" y="2"/>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9" name="Freeform 36"/>
          <p:cNvSpPr>
            <a:spLocks/>
          </p:cNvSpPr>
          <p:nvPr/>
        </p:nvSpPr>
        <p:spPr bwMode="auto">
          <a:xfrm>
            <a:off x="5424487" y="2778918"/>
            <a:ext cx="185738" cy="90488"/>
          </a:xfrm>
          <a:custGeom>
            <a:avLst/>
            <a:gdLst>
              <a:gd name="T0" fmla="*/ 74 w 156"/>
              <a:gd name="T1" fmla="*/ 54 h 76"/>
              <a:gd name="T2" fmla="*/ 68 w 156"/>
              <a:gd name="T3" fmla="*/ 58 h 76"/>
              <a:gd name="T4" fmla="*/ 68 w 156"/>
              <a:gd name="T5" fmla="*/ 66 h 76"/>
              <a:gd name="T6" fmla="*/ 60 w 156"/>
              <a:gd name="T7" fmla="*/ 68 h 76"/>
              <a:gd name="T8" fmla="*/ 52 w 156"/>
              <a:gd name="T9" fmla="*/ 72 h 76"/>
              <a:gd name="T10" fmla="*/ 42 w 156"/>
              <a:gd name="T11" fmla="*/ 72 h 76"/>
              <a:gd name="T12" fmla="*/ 38 w 156"/>
              <a:gd name="T13" fmla="*/ 72 h 76"/>
              <a:gd name="T14" fmla="*/ 30 w 156"/>
              <a:gd name="T15" fmla="*/ 68 h 76"/>
              <a:gd name="T16" fmla="*/ 30 w 156"/>
              <a:gd name="T17" fmla="*/ 68 h 76"/>
              <a:gd name="T18" fmla="*/ 22 w 156"/>
              <a:gd name="T19" fmla="*/ 68 h 76"/>
              <a:gd name="T20" fmla="*/ 14 w 156"/>
              <a:gd name="T21" fmla="*/ 66 h 76"/>
              <a:gd name="T22" fmla="*/ 8 w 156"/>
              <a:gd name="T23" fmla="*/ 68 h 76"/>
              <a:gd name="T24" fmla="*/ 0 w 156"/>
              <a:gd name="T25" fmla="*/ 66 h 76"/>
              <a:gd name="T26" fmla="*/ 0 w 156"/>
              <a:gd name="T27" fmla="*/ 62 h 76"/>
              <a:gd name="T28" fmla="*/ 8 w 156"/>
              <a:gd name="T29" fmla="*/ 58 h 76"/>
              <a:gd name="T30" fmla="*/ 18 w 156"/>
              <a:gd name="T31" fmla="*/ 58 h 76"/>
              <a:gd name="T32" fmla="*/ 18 w 156"/>
              <a:gd name="T33" fmla="*/ 62 h 76"/>
              <a:gd name="T34" fmla="*/ 22 w 156"/>
              <a:gd name="T35" fmla="*/ 54 h 76"/>
              <a:gd name="T36" fmla="*/ 34 w 156"/>
              <a:gd name="T37" fmla="*/ 58 h 76"/>
              <a:gd name="T38" fmla="*/ 44 w 156"/>
              <a:gd name="T39" fmla="*/ 50 h 76"/>
              <a:gd name="T40" fmla="*/ 48 w 156"/>
              <a:gd name="T41" fmla="*/ 50 h 76"/>
              <a:gd name="T42" fmla="*/ 52 w 156"/>
              <a:gd name="T43" fmla="*/ 42 h 76"/>
              <a:gd name="T44" fmla="*/ 48 w 156"/>
              <a:gd name="T45" fmla="*/ 42 h 76"/>
              <a:gd name="T46" fmla="*/ 42 w 156"/>
              <a:gd name="T47" fmla="*/ 36 h 76"/>
              <a:gd name="T48" fmla="*/ 34 w 156"/>
              <a:gd name="T49" fmla="*/ 28 h 76"/>
              <a:gd name="T50" fmla="*/ 30 w 156"/>
              <a:gd name="T51" fmla="*/ 36 h 76"/>
              <a:gd name="T52" fmla="*/ 30 w 156"/>
              <a:gd name="T53" fmla="*/ 40 h 76"/>
              <a:gd name="T54" fmla="*/ 22 w 156"/>
              <a:gd name="T55" fmla="*/ 32 h 76"/>
              <a:gd name="T56" fmla="*/ 12 w 156"/>
              <a:gd name="T57" fmla="*/ 32 h 76"/>
              <a:gd name="T58" fmla="*/ 14 w 156"/>
              <a:gd name="T59" fmla="*/ 24 h 76"/>
              <a:gd name="T60" fmla="*/ 22 w 156"/>
              <a:gd name="T61" fmla="*/ 20 h 76"/>
              <a:gd name="T62" fmla="*/ 22 w 156"/>
              <a:gd name="T63" fmla="*/ 16 h 76"/>
              <a:gd name="T64" fmla="*/ 26 w 156"/>
              <a:gd name="T65" fmla="*/ 6 h 76"/>
              <a:gd name="T66" fmla="*/ 38 w 156"/>
              <a:gd name="T67" fmla="*/ 6 h 76"/>
              <a:gd name="T68" fmla="*/ 48 w 156"/>
              <a:gd name="T69" fmla="*/ 6 h 76"/>
              <a:gd name="T70" fmla="*/ 56 w 156"/>
              <a:gd name="T71" fmla="*/ 10 h 76"/>
              <a:gd name="T72" fmla="*/ 60 w 156"/>
              <a:gd name="T73" fmla="*/ 10 h 76"/>
              <a:gd name="T74" fmla="*/ 60 w 156"/>
              <a:gd name="T75" fmla="*/ 0 h 76"/>
              <a:gd name="T76" fmla="*/ 72 w 156"/>
              <a:gd name="T77" fmla="*/ 0 h 76"/>
              <a:gd name="T78" fmla="*/ 82 w 156"/>
              <a:gd name="T79" fmla="*/ 4 h 76"/>
              <a:gd name="T80" fmla="*/ 88 w 156"/>
              <a:gd name="T81" fmla="*/ 6 h 76"/>
              <a:gd name="T82" fmla="*/ 100 w 156"/>
              <a:gd name="T83" fmla="*/ 4 h 76"/>
              <a:gd name="T84" fmla="*/ 112 w 156"/>
              <a:gd name="T85" fmla="*/ 4 h 76"/>
              <a:gd name="T86" fmla="*/ 122 w 156"/>
              <a:gd name="T87" fmla="*/ 4 h 76"/>
              <a:gd name="T88" fmla="*/ 134 w 156"/>
              <a:gd name="T89" fmla="*/ 6 h 76"/>
              <a:gd name="T90" fmla="*/ 142 w 156"/>
              <a:gd name="T91" fmla="*/ 10 h 76"/>
              <a:gd name="T92" fmla="*/ 148 w 156"/>
              <a:gd name="T93" fmla="*/ 14 h 76"/>
              <a:gd name="T94" fmla="*/ 156 w 156"/>
              <a:gd name="T95" fmla="*/ 16 h 76"/>
              <a:gd name="T96" fmla="*/ 148 w 156"/>
              <a:gd name="T97" fmla="*/ 20 h 76"/>
              <a:gd name="T98" fmla="*/ 142 w 156"/>
              <a:gd name="T99" fmla="*/ 24 h 76"/>
              <a:gd name="T100" fmla="*/ 134 w 156"/>
              <a:gd name="T101" fmla="*/ 28 h 76"/>
              <a:gd name="T102" fmla="*/ 126 w 156"/>
              <a:gd name="T103" fmla="*/ 36 h 76"/>
              <a:gd name="T104" fmla="*/ 118 w 156"/>
              <a:gd name="T105" fmla="*/ 40 h 76"/>
              <a:gd name="T106" fmla="*/ 108 w 156"/>
              <a:gd name="T107" fmla="*/ 40 h 76"/>
              <a:gd name="T108" fmla="*/ 104 w 156"/>
              <a:gd name="T109" fmla="*/ 50 h 76"/>
              <a:gd name="T110" fmla="*/ 100 w 156"/>
              <a:gd name="T111" fmla="*/ 50 h 76"/>
              <a:gd name="T112" fmla="*/ 88 w 156"/>
              <a:gd name="T113" fmla="*/ 54 h 76"/>
              <a:gd name="T114" fmla="*/ 86 w 156"/>
              <a:gd name="T115" fmla="*/ 46 h 76"/>
              <a:gd name="T116" fmla="*/ 78 w 156"/>
              <a:gd name="T117" fmla="*/ 5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6" h="76">
                <a:moveTo>
                  <a:pt x="78" y="50"/>
                </a:moveTo>
                <a:lnTo>
                  <a:pt x="78" y="54"/>
                </a:lnTo>
                <a:lnTo>
                  <a:pt x="74" y="54"/>
                </a:lnTo>
                <a:lnTo>
                  <a:pt x="74" y="58"/>
                </a:lnTo>
                <a:lnTo>
                  <a:pt x="72" y="58"/>
                </a:lnTo>
                <a:lnTo>
                  <a:pt x="68" y="58"/>
                </a:lnTo>
                <a:lnTo>
                  <a:pt x="64" y="62"/>
                </a:lnTo>
                <a:lnTo>
                  <a:pt x="64" y="66"/>
                </a:lnTo>
                <a:lnTo>
                  <a:pt x="68" y="66"/>
                </a:lnTo>
                <a:lnTo>
                  <a:pt x="68" y="68"/>
                </a:lnTo>
                <a:lnTo>
                  <a:pt x="64" y="68"/>
                </a:lnTo>
                <a:lnTo>
                  <a:pt x="60" y="68"/>
                </a:lnTo>
                <a:lnTo>
                  <a:pt x="56" y="68"/>
                </a:lnTo>
                <a:lnTo>
                  <a:pt x="56" y="72"/>
                </a:lnTo>
                <a:lnTo>
                  <a:pt x="52" y="72"/>
                </a:lnTo>
                <a:lnTo>
                  <a:pt x="48" y="72"/>
                </a:lnTo>
                <a:lnTo>
                  <a:pt x="44" y="72"/>
                </a:lnTo>
                <a:lnTo>
                  <a:pt x="42" y="72"/>
                </a:lnTo>
                <a:lnTo>
                  <a:pt x="42" y="76"/>
                </a:lnTo>
                <a:lnTo>
                  <a:pt x="42" y="72"/>
                </a:lnTo>
                <a:lnTo>
                  <a:pt x="38" y="72"/>
                </a:lnTo>
                <a:lnTo>
                  <a:pt x="34" y="72"/>
                </a:lnTo>
                <a:lnTo>
                  <a:pt x="34" y="68"/>
                </a:lnTo>
                <a:lnTo>
                  <a:pt x="30" y="68"/>
                </a:lnTo>
                <a:lnTo>
                  <a:pt x="34" y="68"/>
                </a:lnTo>
                <a:lnTo>
                  <a:pt x="30" y="66"/>
                </a:lnTo>
                <a:lnTo>
                  <a:pt x="30" y="68"/>
                </a:lnTo>
                <a:lnTo>
                  <a:pt x="26" y="68"/>
                </a:lnTo>
                <a:lnTo>
                  <a:pt x="22" y="72"/>
                </a:lnTo>
                <a:lnTo>
                  <a:pt x="22" y="68"/>
                </a:lnTo>
                <a:lnTo>
                  <a:pt x="18" y="68"/>
                </a:lnTo>
                <a:lnTo>
                  <a:pt x="18" y="66"/>
                </a:lnTo>
                <a:lnTo>
                  <a:pt x="14" y="66"/>
                </a:lnTo>
                <a:lnTo>
                  <a:pt x="14" y="68"/>
                </a:lnTo>
                <a:lnTo>
                  <a:pt x="12" y="68"/>
                </a:lnTo>
                <a:lnTo>
                  <a:pt x="8" y="68"/>
                </a:lnTo>
                <a:lnTo>
                  <a:pt x="4" y="68"/>
                </a:lnTo>
                <a:lnTo>
                  <a:pt x="0" y="68"/>
                </a:lnTo>
                <a:lnTo>
                  <a:pt x="0" y="66"/>
                </a:lnTo>
                <a:lnTo>
                  <a:pt x="0" y="62"/>
                </a:lnTo>
                <a:lnTo>
                  <a:pt x="0" y="58"/>
                </a:lnTo>
                <a:lnTo>
                  <a:pt x="0" y="62"/>
                </a:lnTo>
                <a:lnTo>
                  <a:pt x="4" y="62"/>
                </a:lnTo>
                <a:lnTo>
                  <a:pt x="4" y="58"/>
                </a:lnTo>
                <a:lnTo>
                  <a:pt x="8" y="58"/>
                </a:lnTo>
                <a:lnTo>
                  <a:pt x="12" y="54"/>
                </a:lnTo>
                <a:lnTo>
                  <a:pt x="14" y="58"/>
                </a:lnTo>
                <a:lnTo>
                  <a:pt x="18" y="58"/>
                </a:lnTo>
                <a:lnTo>
                  <a:pt x="18" y="62"/>
                </a:lnTo>
                <a:lnTo>
                  <a:pt x="14" y="62"/>
                </a:lnTo>
                <a:lnTo>
                  <a:pt x="18" y="62"/>
                </a:lnTo>
                <a:lnTo>
                  <a:pt x="18" y="58"/>
                </a:lnTo>
                <a:lnTo>
                  <a:pt x="22" y="58"/>
                </a:lnTo>
                <a:lnTo>
                  <a:pt x="22" y="54"/>
                </a:lnTo>
                <a:lnTo>
                  <a:pt x="26" y="54"/>
                </a:lnTo>
                <a:lnTo>
                  <a:pt x="30" y="54"/>
                </a:lnTo>
                <a:lnTo>
                  <a:pt x="34" y="58"/>
                </a:lnTo>
                <a:lnTo>
                  <a:pt x="38" y="54"/>
                </a:lnTo>
                <a:lnTo>
                  <a:pt x="42" y="50"/>
                </a:lnTo>
                <a:lnTo>
                  <a:pt x="44" y="50"/>
                </a:lnTo>
                <a:lnTo>
                  <a:pt x="44" y="46"/>
                </a:lnTo>
                <a:lnTo>
                  <a:pt x="44" y="50"/>
                </a:lnTo>
                <a:lnTo>
                  <a:pt x="48" y="50"/>
                </a:lnTo>
                <a:lnTo>
                  <a:pt x="48" y="46"/>
                </a:lnTo>
                <a:lnTo>
                  <a:pt x="52" y="46"/>
                </a:lnTo>
                <a:lnTo>
                  <a:pt x="52" y="42"/>
                </a:lnTo>
                <a:lnTo>
                  <a:pt x="56" y="42"/>
                </a:lnTo>
                <a:lnTo>
                  <a:pt x="52" y="42"/>
                </a:lnTo>
                <a:lnTo>
                  <a:pt x="48" y="42"/>
                </a:lnTo>
                <a:lnTo>
                  <a:pt x="44" y="40"/>
                </a:lnTo>
                <a:lnTo>
                  <a:pt x="42" y="40"/>
                </a:lnTo>
                <a:lnTo>
                  <a:pt x="42" y="36"/>
                </a:lnTo>
                <a:lnTo>
                  <a:pt x="38" y="36"/>
                </a:lnTo>
                <a:lnTo>
                  <a:pt x="38" y="32"/>
                </a:lnTo>
                <a:lnTo>
                  <a:pt x="34" y="28"/>
                </a:lnTo>
                <a:lnTo>
                  <a:pt x="34" y="32"/>
                </a:lnTo>
                <a:lnTo>
                  <a:pt x="34" y="36"/>
                </a:lnTo>
                <a:lnTo>
                  <a:pt x="30" y="36"/>
                </a:lnTo>
                <a:lnTo>
                  <a:pt x="30" y="32"/>
                </a:lnTo>
                <a:lnTo>
                  <a:pt x="30" y="36"/>
                </a:lnTo>
                <a:lnTo>
                  <a:pt x="30" y="40"/>
                </a:lnTo>
                <a:lnTo>
                  <a:pt x="26" y="36"/>
                </a:lnTo>
                <a:lnTo>
                  <a:pt x="22" y="36"/>
                </a:lnTo>
                <a:lnTo>
                  <a:pt x="22" y="32"/>
                </a:lnTo>
                <a:lnTo>
                  <a:pt x="18" y="32"/>
                </a:lnTo>
                <a:lnTo>
                  <a:pt x="14" y="32"/>
                </a:lnTo>
                <a:lnTo>
                  <a:pt x="12" y="32"/>
                </a:lnTo>
                <a:lnTo>
                  <a:pt x="12" y="28"/>
                </a:lnTo>
                <a:lnTo>
                  <a:pt x="14" y="28"/>
                </a:lnTo>
                <a:lnTo>
                  <a:pt x="14" y="24"/>
                </a:lnTo>
                <a:lnTo>
                  <a:pt x="18" y="24"/>
                </a:lnTo>
                <a:lnTo>
                  <a:pt x="18" y="20"/>
                </a:lnTo>
                <a:lnTo>
                  <a:pt x="22" y="20"/>
                </a:lnTo>
                <a:lnTo>
                  <a:pt x="26" y="16"/>
                </a:lnTo>
                <a:lnTo>
                  <a:pt x="26" y="14"/>
                </a:lnTo>
                <a:lnTo>
                  <a:pt x="22" y="16"/>
                </a:lnTo>
                <a:lnTo>
                  <a:pt x="22" y="14"/>
                </a:lnTo>
                <a:lnTo>
                  <a:pt x="26" y="10"/>
                </a:lnTo>
                <a:lnTo>
                  <a:pt x="26" y="6"/>
                </a:lnTo>
                <a:lnTo>
                  <a:pt x="30" y="6"/>
                </a:lnTo>
                <a:lnTo>
                  <a:pt x="34" y="6"/>
                </a:lnTo>
                <a:lnTo>
                  <a:pt x="38" y="6"/>
                </a:lnTo>
                <a:lnTo>
                  <a:pt x="42" y="6"/>
                </a:lnTo>
                <a:lnTo>
                  <a:pt x="44" y="6"/>
                </a:lnTo>
                <a:lnTo>
                  <a:pt x="48" y="6"/>
                </a:lnTo>
                <a:lnTo>
                  <a:pt x="48" y="10"/>
                </a:lnTo>
                <a:lnTo>
                  <a:pt x="52" y="10"/>
                </a:lnTo>
                <a:lnTo>
                  <a:pt x="56" y="10"/>
                </a:lnTo>
                <a:lnTo>
                  <a:pt x="56" y="14"/>
                </a:lnTo>
                <a:lnTo>
                  <a:pt x="60" y="14"/>
                </a:lnTo>
                <a:lnTo>
                  <a:pt x="60" y="10"/>
                </a:lnTo>
                <a:lnTo>
                  <a:pt x="60" y="6"/>
                </a:lnTo>
                <a:lnTo>
                  <a:pt x="60" y="4"/>
                </a:lnTo>
                <a:lnTo>
                  <a:pt x="60" y="0"/>
                </a:lnTo>
                <a:lnTo>
                  <a:pt x="64" y="0"/>
                </a:lnTo>
                <a:lnTo>
                  <a:pt x="68" y="0"/>
                </a:lnTo>
                <a:lnTo>
                  <a:pt x="72" y="0"/>
                </a:lnTo>
                <a:lnTo>
                  <a:pt x="74" y="0"/>
                </a:lnTo>
                <a:lnTo>
                  <a:pt x="78" y="4"/>
                </a:lnTo>
                <a:lnTo>
                  <a:pt x="82" y="4"/>
                </a:lnTo>
                <a:lnTo>
                  <a:pt x="86" y="4"/>
                </a:lnTo>
                <a:lnTo>
                  <a:pt x="86" y="6"/>
                </a:lnTo>
                <a:lnTo>
                  <a:pt x="88" y="6"/>
                </a:lnTo>
                <a:lnTo>
                  <a:pt x="92" y="4"/>
                </a:lnTo>
                <a:lnTo>
                  <a:pt x="96" y="4"/>
                </a:lnTo>
                <a:lnTo>
                  <a:pt x="100" y="4"/>
                </a:lnTo>
                <a:lnTo>
                  <a:pt x="104" y="4"/>
                </a:lnTo>
                <a:lnTo>
                  <a:pt x="108" y="4"/>
                </a:lnTo>
                <a:lnTo>
                  <a:pt x="112" y="4"/>
                </a:lnTo>
                <a:lnTo>
                  <a:pt x="116" y="4"/>
                </a:lnTo>
                <a:lnTo>
                  <a:pt x="118" y="4"/>
                </a:lnTo>
                <a:lnTo>
                  <a:pt x="122" y="4"/>
                </a:lnTo>
                <a:lnTo>
                  <a:pt x="126" y="4"/>
                </a:lnTo>
                <a:lnTo>
                  <a:pt x="130" y="4"/>
                </a:lnTo>
                <a:lnTo>
                  <a:pt x="134" y="6"/>
                </a:lnTo>
                <a:lnTo>
                  <a:pt x="138" y="6"/>
                </a:lnTo>
                <a:lnTo>
                  <a:pt x="142" y="6"/>
                </a:lnTo>
                <a:lnTo>
                  <a:pt x="142" y="10"/>
                </a:lnTo>
                <a:lnTo>
                  <a:pt x="142" y="14"/>
                </a:lnTo>
                <a:lnTo>
                  <a:pt x="146" y="14"/>
                </a:lnTo>
                <a:lnTo>
                  <a:pt x="148" y="14"/>
                </a:lnTo>
                <a:lnTo>
                  <a:pt x="152" y="14"/>
                </a:lnTo>
                <a:lnTo>
                  <a:pt x="152" y="16"/>
                </a:lnTo>
                <a:lnTo>
                  <a:pt x="156" y="16"/>
                </a:lnTo>
                <a:lnTo>
                  <a:pt x="156" y="20"/>
                </a:lnTo>
                <a:lnTo>
                  <a:pt x="152" y="20"/>
                </a:lnTo>
                <a:lnTo>
                  <a:pt x="148" y="20"/>
                </a:lnTo>
                <a:lnTo>
                  <a:pt x="148" y="24"/>
                </a:lnTo>
                <a:lnTo>
                  <a:pt x="146" y="24"/>
                </a:lnTo>
                <a:lnTo>
                  <a:pt x="142" y="24"/>
                </a:lnTo>
                <a:lnTo>
                  <a:pt x="138" y="24"/>
                </a:lnTo>
                <a:lnTo>
                  <a:pt x="138" y="28"/>
                </a:lnTo>
                <a:lnTo>
                  <a:pt x="134" y="28"/>
                </a:lnTo>
                <a:lnTo>
                  <a:pt x="130" y="32"/>
                </a:lnTo>
                <a:lnTo>
                  <a:pt x="126" y="32"/>
                </a:lnTo>
                <a:lnTo>
                  <a:pt x="126" y="36"/>
                </a:lnTo>
                <a:lnTo>
                  <a:pt x="126" y="40"/>
                </a:lnTo>
                <a:lnTo>
                  <a:pt x="122" y="40"/>
                </a:lnTo>
                <a:lnTo>
                  <a:pt x="118" y="40"/>
                </a:lnTo>
                <a:lnTo>
                  <a:pt x="116" y="40"/>
                </a:lnTo>
                <a:lnTo>
                  <a:pt x="112" y="40"/>
                </a:lnTo>
                <a:lnTo>
                  <a:pt x="108" y="40"/>
                </a:lnTo>
                <a:lnTo>
                  <a:pt x="104" y="40"/>
                </a:lnTo>
                <a:lnTo>
                  <a:pt x="104" y="46"/>
                </a:lnTo>
                <a:lnTo>
                  <a:pt x="104" y="50"/>
                </a:lnTo>
                <a:lnTo>
                  <a:pt x="100" y="50"/>
                </a:lnTo>
                <a:lnTo>
                  <a:pt x="100" y="54"/>
                </a:lnTo>
                <a:lnTo>
                  <a:pt x="100" y="50"/>
                </a:lnTo>
                <a:lnTo>
                  <a:pt x="96" y="50"/>
                </a:lnTo>
                <a:lnTo>
                  <a:pt x="92" y="54"/>
                </a:lnTo>
                <a:lnTo>
                  <a:pt x="88" y="54"/>
                </a:lnTo>
                <a:lnTo>
                  <a:pt x="88" y="50"/>
                </a:lnTo>
                <a:lnTo>
                  <a:pt x="88" y="46"/>
                </a:lnTo>
                <a:lnTo>
                  <a:pt x="86" y="46"/>
                </a:lnTo>
                <a:lnTo>
                  <a:pt x="86" y="50"/>
                </a:lnTo>
                <a:lnTo>
                  <a:pt x="82" y="50"/>
                </a:lnTo>
                <a:lnTo>
                  <a:pt x="78" y="50"/>
                </a:lnTo>
                <a:lnTo>
                  <a:pt x="78" y="50"/>
                </a:lnTo>
                <a:lnTo>
                  <a:pt x="78" y="50"/>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0" name="Freeform 37"/>
          <p:cNvSpPr>
            <a:spLocks/>
          </p:cNvSpPr>
          <p:nvPr/>
        </p:nvSpPr>
        <p:spPr bwMode="auto">
          <a:xfrm>
            <a:off x="5941219" y="3236118"/>
            <a:ext cx="130969" cy="176213"/>
          </a:xfrm>
          <a:custGeom>
            <a:avLst/>
            <a:gdLst>
              <a:gd name="T0" fmla="*/ 54 w 110"/>
              <a:gd name="T1" fmla="*/ 72 h 148"/>
              <a:gd name="T2" fmla="*/ 46 w 110"/>
              <a:gd name="T3" fmla="*/ 72 h 148"/>
              <a:gd name="T4" fmla="*/ 34 w 110"/>
              <a:gd name="T5" fmla="*/ 80 h 148"/>
              <a:gd name="T6" fmla="*/ 26 w 110"/>
              <a:gd name="T7" fmla="*/ 72 h 148"/>
              <a:gd name="T8" fmla="*/ 20 w 110"/>
              <a:gd name="T9" fmla="*/ 80 h 148"/>
              <a:gd name="T10" fmla="*/ 12 w 110"/>
              <a:gd name="T11" fmla="*/ 88 h 148"/>
              <a:gd name="T12" fmla="*/ 16 w 110"/>
              <a:gd name="T13" fmla="*/ 76 h 148"/>
              <a:gd name="T14" fmla="*/ 16 w 110"/>
              <a:gd name="T15" fmla="*/ 62 h 148"/>
              <a:gd name="T16" fmla="*/ 16 w 110"/>
              <a:gd name="T17" fmla="*/ 54 h 148"/>
              <a:gd name="T18" fmla="*/ 4 w 110"/>
              <a:gd name="T19" fmla="*/ 50 h 148"/>
              <a:gd name="T20" fmla="*/ 4 w 110"/>
              <a:gd name="T21" fmla="*/ 40 h 148"/>
              <a:gd name="T22" fmla="*/ 0 w 110"/>
              <a:gd name="T23" fmla="*/ 36 h 148"/>
              <a:gd name="T24" fmla="*/ 8 w 110"/>
              <a:gd name="T25" fmla="*/ 30 h 148"/>
              <a:gd name="T26" fmla="*/ 8 w 110"/>
              <a:gd name="T27" fmla="*/ 22 h 148"/>
              <a:gd name="T28" fmla="*/ 16 w 110"/>
              <a:gd name="T29" fmla="*/ 14 h 148"/>
              <a:gd name="T30" fmla="*/ 24 w 110"/>
              <a:gd name="T31" fmla="*/ 22 h 148"/>
              <a:gd name="T32" fmla="*/ 24 w 110"/>
              <a:gd name="T33" fmla="*/ 22 h 148"/>
              <a:gd name="T34" fmla="*/ 20 w 110"/>
              <a:gd name="T35" fmla="*/ 4 h 148"/>
              <a:gd name="T36" fmla="*/ 30 w 110"/>
              <a:gd name="T37" fmla="*/ 0 h 148"/>
              <a:gd name="T38" fmla="*/ 38 w 110"/>
              <a:gd name="T39" fmla="*/ 10 h 148"/>
              <a:gd name="T40" fmla="*/ 38 w 110"/>
              <a:gd name="T41" fmla="*/ 18 h 148"/>
              <a:gd name="T42" fmla="*/ 42 w 110"/>
              <a:gd name="T43" fmla="*/ 26 h 148"/>
              <a:gd name="T44" fmla="*/ 50 w 110"/>
              <a:gd name="T45" fmla="*/ 32 h 148"/>
              <a:gd name="T46" fmla="*/ 60 w 110"/>
              <a:gd name="T47" fmla="*/ 30 h 148"/>
              <a:gd name="T48" fmla="*/ 68 w 110"/>
              <a:gd name="T49" fmla="*/ 40 h 148"/>
              <a:gd name="T50" fmla="*/ 64 w 110"/>
              <a:gd name="T51" fmla="*/ 50 h 148"/>
              <a:gd name="T52" fmla="*/ 56 w 110"/>
              <a:gd name="T53" fmla="*/ 50 h 148"/>
              <a:gd name="T54" fmla="*/ 54 w 110"/>
              <a:gd name="T55" fmla="*/ 54 h 148"/>
              <a:gd name="T56" fmla="*/ 64 w 110"/>
              <a:gd name="T57" fmla="*/ 66 h 148"/>
              <a:gd name="T58" fmla="*/ 72 w 110"/>
              <a:gd name="T59" fmla="*/ 72 h 148"/>
              <a:gd name="T60" fmla="*/ 80 w 110"/>
              <a:gd name="T61" fmla="*/ 80 h 148"/>
              <a:gd name="T62" fmla="*/ 86 w 110"/>
              <a:gd name="T63" fmla="*/ 88 h 148"/>
              <a:gd name="T64" fmla="*/ 90 w 110"/>
              <a:gd name="T65" fmla="*/ 98 h 148"/>
              <a:gd name="T66" fmla="*/ 98 w 110"/>
              <a:gd name="T67" fmla="*/ 102 h 148"/>
              <a:gd name="T68" fmla="*/ 106 w 110"/>
              <a:gd name="T69" fmla="*/ 110 h 148"/>
              <a:gd name="T70" fmla="*/ 102 w 110"/>
              <a:gd name="T71" fmla="*/ 122 h 148"/>
              <a:gd name="T72" fmla="*/ 106 w 110"/>
              <a:gd name="T73" fmla="*/ 128 h 148"/>
              <a:gd name="T74" fmla="*/ 102 w 110"/>
              <a:gd name="T75" fmla="*/ 140 h 148"/>
              <a:gd name="T76" fmla="*/ 90 w 110"/>
              <a:gd name="T77" fmla="*/ 140 h 148"/>
              <a:gd name="T78" fmla="*/ 86 w 110"/>
              <a:gd name="T79" fmla="*/ 144 h 148"/>
              <a:gd name="T80" fmla="*/ 80 w 110"/>
              <a:gd name="T81" fmla="*/ 144 h 148"/>
              <a:gd name="T82" fmla="*/ 72 w 110"/>
              <a:gd name="T83" fmla="*/ 144 h 148"/>
              <a:gd name="T84" fmla="*/ 76 w 110"/>
              <a:gd name="T85" fmla="*/ 132 h 148"/>
              <a:gd name="T86" fmla="*/ 80 w 110"/>
              <a:gd name="T87" fmla="*/ 124 h 148"/>
              <a:gd name="T88" fmla="*/ 76 w 110"/>
              <a:gd name="T89" fmla="*/ 114 h 148"/>
              <a:gd name="T90" fmla="*/ 68 w 110"/>
              <a:gd name="T91" fmla="*/ 102 h 148"/>
              <a:gd name="T92" fmla="*/ 64 w 110"/>
              <a:gd name="T93" fmla="*/ 96 h 148"/>
              <a:gd name="T94" fmla="*/ 64 w 110"/>
              <a:gd name="T95" fmla="*/ 88 h 148"/>
              <a:gd name="T96" fmla="*/ 60 w 110"/>
              <a:gd name="T97" fmla="*/ 8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0" h="148">
                <a:moveTo>
                  <a:pt x="60" y="80"/>
                </a:moveTo>
                <a:lnTo>
                  <a:pt x="56" y="76"/>
                </a:lnTo>
                <a:lnTo>
                  <a:pt x="56" y="72"/>
                </a:lnTo>
                <a:lnTo>
                  <a:pt x="54" y="72"/>
                </a:lnTo>
                <a:lnTo>
                  <a:pt x="50" y="72"/>
                </a:lnTo>
                <a:lnTo>
                  <a:pt x="50" y="70"/>
                </a:lnTo>
                <a:lnTo>
                  <a:pt x="46" y="70"/>
                </a:lnTo>
                <a:lnTo>
                  <a:pt x="46" y="72"/>
                </a:lnTo>
                <a:lnTo>
                  <a:pt x="42" y="76"/>
                </a:lnTo>
                <a:lnTo>
                  <a:pt x="38" y="76"/>
                </a:lnTo>
                <a:lnTo>
                  <a:pt x="38" y="80"/>
                </a:lnTo>
                <a:lnTo>
                  <a:pt x="34" y="80"/>
                </a:lnTo>
                <a:lnTo>
                  <a:pt x="34" y="76"/>
                </a:lnTo>
                <a:lnTo>
                  <a:pt x="30" y="76"/>
                </a:lnTo>
                <a:lnTo>
                  <a:pt x="30" y="72"/>
                </a:lnTo>
                <a:lnTo>
                  <a:pt x="26" y="72"/>
                </a:lnTo>
                <a:lnTo>
                  <a:pt x="26" y="76"/>
                </a:lnTo>
                <a:lnTo>
                  <a:pt x="24" y="76"/>
                </a:lnTo>
                <a:lnTo>
                  <a:pt x="24" y="80"/>
                </a:lnTo>
                <a:lnTo>
                  <a:pt x="20" y="80"/>
                </a:lnTo>
                <a:lnTo>
                  <a:pt x="20" y="84"/>
                </a:lnTo>
                <a:lnTo>
                  <a:pt x="16" y="84"/>
                </a:lnTo>
                <a:lnTo>
                  <a:pt x="16" y="88"/>
                </a:lnTo>
                <a:lnTo>
                  <a:pt x="12" y="88"/>
                </a:lnTo>
                <a:lnTo>
                  <a:pt x="12" y="84"/>
                </a:lnTo>
                <a:lnTo>
                  <a:pt x="12" y="80"/>
                </a:lnTo>
                <a:lnTo>
                  <a:pt x="16" y="80"/>
                </a:lnTo>
                <a:lnTo>
                  <a:pt x="16" y="76"/>
                </a:lnTo>
                <a:lnTo>
                  <a:pt x="16" y="72"/>
                </a:lnTo>
                <a:lnTo>
                  <a:pt x="16" y="70"/>
                </a:lnTo>
                <a:lnTo>
                  <a:pt x="16" y="66"/>
                </a:lnTo>
                <a:lnTo>
                  <a:pt x="16" y="62"/>
                </a:lnTo>
                <a:lnTo>
                  <a:pt x="20" y="62"/>
                </a:lnTo>
                <a:lnTo>
                  <a:pt x="20" y="58"/>
                </a:lnTo>
                <a:lnTo>
                  <a:pt x="16" y="58"/>
                </a:lnTo>
                <a:lnTo>
                  <a:pt x="16" y="54"/>
                </a:lnTo>
                <a:lnTo>
                  <a:pt x="16" y="50"/>
                </a:lnTo>
                <a:lnTo>
                  <a:pt x="12" y="50"/>
                </a:lnTo>
                <a:lnTo>
                  <a:pt x="8" y="50"/>
                </a:lnTo>
                <a:lnTo>
                  <a:pt x="4" y="50"/>
                </a:lnTo>
                <a:lnTo>
                  <a:pt x="4" y="46"/>
                </a:lnTo>
                <a:lnTo>
                  <a:pt x="8" y="44"/>
                </a:lnTo>
                <a:lnTo>
                  <a:pt x="8" y="40"/>
                </a:lnTo>
                <a:lnTo>
                  <a:pt x="4" y="40"/>
                </a:lnTo>
                <a:lnTo>
                  <a:pt x="4" y="36"/>
                </a:lnTo>
                <a:lnTo>
                  <a:pt x="0" y="36"/>
                </a:lnTo>
                <a:lnTo>
                  <a:pt x="0" y="40"/>
                </a:lnTo>
                <a:lnTo>
                  <a:pt x="0" y="36"/>
                </a:lnTo>
                <a:lnTo>
                  <a:pt x="0" y="32"/>
                </a:lnTo>
                <a:lnTo>
                  <a:pt x="0" y="30"/>
                </a:lnTo>
                <a:lnTo>
                  <a:pt x="4" y="30"/>
                </a:lnTo>
                <a:lnTo>
                  <a:pt x="8" y="30"/>
                </a:lnTo>
                <a:lnTo>
                  <a:pt x="4" y="30"/>
                </a:lnTo>
                <a:lnTo>
                  <a:pt x="4" y="26"/>
                </a:lnTo>
                <a:lnTo>
                  <a:pt x="8" y="26"/>
                </a:lnTo>
                <a:lnTo>
                  <a:pt x="8" y="22"/>
                </a:lnTo>
                <a:lnTo>
                  <a:pt x="12" y="22"/>
                </a:lnTo>
                <a:lnTo>
                  <a:pt x="12" y="18"/>
                </a:lnTo>
                <a:lnTo>
                  <a:pt x="16" y="18"/>
                </a:lnTo>
                <a:lnTo>
                  <a:pt x="16" y="14"/>
                </a:lnTo>
                <a:lnTo>
                  <a:pt x="16" y="18"/>
                </a:lnTo>
                <a:lnTo>
                  <a:pt x="16" y="22"/>
                </a:lnTo>
                <a:lnTo>
                  <a:pt x="20" y="22"/>
                </a:lnTo>
                <a:lnTo>
                  <a:pt x="24" y="22"/>
                </a:lnTo>
                <a:lnTo>
                  <a:pt x="24" y="26"/>
                </a:lnTo>
                <a:lnTo>
                  <a:pt x="24" y="22"/>
                </a:lnTo>
                <a:lnTo>
                  <a:pt x="26" y="22"/>
                </a:lnTo>
                <a:lnTo>
                  <a:pt x="24" y="22"/>
                </a:lnTo>
                <a:lnTo>
                  <a:pt x="24" y="18"/>
                </a:lnTo>
                <a:lnTo>
                  <a:pt x="24" y="14"/>
                </a:lnTo>
                <a:lnTo>
                  <a:pt x="24" y="10"/>
                </a:lnTo>
                <a:lnTo>
                  <a:pt x="20" y="4"/>
                </a:lnTo>
                <a:lnTo>
                  <a:pt x="24" y="4"/>
                </a:lnTo>
                <a:lnTo>
                  <a:pt x="24" y="0"/>
                </a:lnTo>
                <a:lnTo>
                  <a:pt x="26" y="0"/>
                </a:lnTo>
                <a:lnTo>
                  <a:pt x="30" y="0"/>
                </a:lnTo>
                <a:lnTo>
                  <a:pt x="30" y="4"/>
                </a:lnTo>
                <a:lnTo>
                  <a:pt x="34" y="6"/>
                </a:lnTo>
                <a:lnTo>
                  <a:pt x="34" y="10"/>
                </a:lnTo>
                <a:lnTo>
                  <a:pt x="38" y="10"/>
                </a:lnTo>
                <a:lnTo>
                  <a:pt x="38" y="14"/>
                </a:lnTo>
                <a:lnTo>
                  <a:pt x="42" y="14"/>
                </a:lnTo>
                <a:lnTo>
                  <a:pt x="42" y="18"/>
                </a:lnTo>
                <a:lnTo>
                  <a:pt x="38" y="18"/>
                </a:lnTo>
                <a:lnTo>
                  <a:pt x="42" y="18"/>
                </a:lnTo>
                <a:lnTo>
                  <a:pt x="38" y="22"/>
                </a:lnTo>
                <a:lnTo>
                  <a:pt x="42" y="22"/>
                </a:lnTo>
                <a:lnTo>
                  <a:pt x="42" y="26"/>
                </a:lnTo>
                <a:lnTo>
                  <a:pt x="42" y="30"/>
                </a:lnTo>
                <a:lnTo>
                  <a:pt x="46" y="30"/>
                </a:lnTo>
                <a:lnTo>
                  <a:pt x="50" y="30"/>
                </a:lnTo>
                <a:lnTo>
                  <a:pt x="50" y="32"/>
                </a:lnTo>
                <a:lnTo>
                  <a:pt x="54" y="32"/>
                </a:lnTo>
                <a:lnTo>
                  <a:pt x="54" y="30"/>
                </a:lnTo>
                <a:lnTo>
                  <a:pt x="56" y="26"/>
                </a:lnTo>
                <a:lnTo>
                  <a:pt x="60" y="30"/>
                </a:lnTo>
                <a:lnTo>
                  <a:pt x="64" y="32"/>
                </a:lnTo>
                <a:lnTo>
                  <a:pt x="60" y="36"/>
                </a:lnTo>
                <a:lnTo>
                  <a:pt x="64" y="36"/>
                </a:lnTo>
                <a:lnTo>
                  <a:pt x="68" y="40"/>
                </a:lnTo>
                <a:lnTo>
                  <a:pt x="68" y="44"/>
                </a:lnTo>
                <a:lnTo>
                  <a:pt x="68" y="46"/>
                </a:lnTo>
                <a:lnTo>
                  <a:pt x="64" y="46"/>
                </a:lnTo>
                <a:lnTo>
                  <a:pt x="64" y="50"/>
                </a:lnTo>
                <a:lnTo>
                  <a:pt x="60" y="50"/>
                </a:lnTo>
                <a:lnTo>
                  <a:pt x="60" y="46"/>
                </a:lnTo>
                <a:lnTo>
                  <a:pt x="56" y="46"/>
                </a:lnTo>
                <a:lnTo>
                  <a:pt x="56" y="50"/>
                </a:lnTo>
                <a:lnTo>
                  <a:pt x="56" y="46"/>
                </a:lnTo>
                <a:lnTo>
                  <a:pt x="56" y="50"/>
                </a:lnTo>
                <a:lnTo>
                  <a:pt x="56" y="54"/>
                </a:lnTo>
                <a:lnTo>
                  <a:pt x="54" y="54"/>
                </a:lnTo>
                <a:lnTo>
                  <a:pt x="56" y="58"/>
                </a:lnTo>
                <a:lnTo>
                  <a:pt x="60" y="58"/>
                </a:lnTo>
                <a:lnTo>
                  <a:pt x="64" y="62"/>
                </a:lnTo>
                <a:lnTo>
                  <a:pt x="64" y="66"/>
                </a:lnTo>
                <a:lnTo>
                  <a:pt x="68" y="66"/>
                </a:lnTo>
                <a:lnTo>
                  <a:pt x="72" y="66"/>
                </a:lnTo>
                <a:lnTo>
                  <a:pt x="72" y="70"/>
                </a:lnTo>
                <a:lnTo>
                  <a:pt x="72" y="72"/>
                </a:lnTo>
                <a:lnTo>
                  <a:pt x="76" y="72"/>
                </a:lnTo>
                <a:lnTo>
                  <a:pt x="76" y="76"/>
                </a:lnTo>
                <a:lnTo>
                  <a:pt x="80" y="76"/>
                </a:lnTo>
                <a:lnTo>
                  <a:pt x="80" y="80"/>
                </a:lnTo>
                <a:lnTo>
                  <a:pt x="80" y="84"/>
                </a:lnTo>
                <a:lnTo>
                  <a:pt x="84" y="84"/>
                </a:lnTo>
                <a:lnTo>
                  <a:pt x="84" y="88"/>
                </a:lnTo>
                <a:lnTo>
                  <a:pt x="86" y="88"/>
                </a:lnTo>
                <a:lnTo>
                  <a:pt x="86" y="92"/>
                </a:lnTo>
                <a:lnTo>
                  <a:pt x="90" y="92"/>
                </a:lnTo>
                <a:lnTo>
                  <a:pt x="90" y="96"/>
                </a:lnTo>
                <a:lnTo>
                  <a:pt x="90" y="98"/>
                </a:lnTo>
                <a:lnTo>
                  <a:pt x="90" y="102"/>
                </a:lnTo>
                <a:lnTo>
                  <a:pt x="94" y="106"/>
                </a:lnTo>
                <a:lnTo>
                  <a:pt x="94" y="102"/>
                </a:lnTo>
                <a:lnTo>
                  <a:pt x="98" y="102"/>
                </a:lnTo>
                <a:lnTo>
                  <a:pt x="98" y="106"/>
                </a:lnTo>
                <a:lnTo>
                  <a:pt x="102" y="106"/>
                </a:lnTo>
                <a:lnTo>
                  <a:pt x="102" y="110"/>
                </a:lnTo>
                <a:lnTo>
                  <a:pt x="106" y="110"/>
                </a:lnTo>
                <a:lnTo>
                  <a:pt x="106" y="114"/>
                </a:lnTo>
                <a:lnTo>
                  <a:pt x="102" y="114"/>
                </a:lnTo>
                <a:lnTo>
                  <a:pt x="102" y="118"/>
                </a:lnTo>
                <a:lnTo>
                  <a:pt x="102" y="122"/>
                </a:lnTo>
                <a:lnTo>
                  <a:pt x="106" y="122"/>
                </a:lnTo>
                <a:lnTo>
                  <a:pt x="106" y="124"/>
                </a:lnTo>
                <a:lnTo>
                  <a:pt x="110" y="124"/>
                </a:lnTo>
                <a:lnTo>
                  <a:pt x="106" y="128"/>
                </a:lnTo>
                <a:lnTo>
                  <a:pt x="106" y="132"/>
                </a:lnTo>
                <a:lnTo>
                  <a:pt x="106" y="136"/>
                </a:lnTo>
                <a:lnTo>
                  <a:pt x="102" y="136"/>
                </a:lnTo>
                <a:lnTo>
                  <a:pt x="102" y="140"/>
                </a:lnTo>
                <a:lnTo>
                  <a:pt x="94" y="144"/>
                </a:lnTo>
                <a:lnTo>
                  <a:pt x="94" y="140"/>
                </a:lnTo>
                <a:lnTo>
                  <a:pt x="90" y="136"/>
                </a:lnTo>
                <a:lnTo>
                  <a:pt x="90" y="140"/>
                </a:lnTo>
                <a:lnTo>
                  <a:pt x="86" y="140"/>
                </a:lnTo>
                <a:lnTo>
                  <a:pt x="84" y="140"/>
                </a:lnTo>
                <a:lnTo>
                  <a:pt x="84" y="144"/>
                </a:lnTo>
                <a:lnTo>
                  <a:pt x="86" y="144"/>
                </a:lnTo>
                <a:lnTo>
                  <a:pt x="86" y="148"/>
                </a:lnTo>
                <a:lnTo>
                  <a:pt x="84" y="148"/>
                </a:lnTo>
                <a:lnTo>
                  <a:pt x="80" y="148"/>
                </a:lnTo>
                <a:lnTo>
                  <a:pt x="80" y="144"/>
                </a:lnTo>
                <a:lnTo>
                  <a:pt x="76" y="144"/>
                </a:lnTo>
                <a:lnTo>
                  <a:pt x="76" y="148"/>
                </a:lnTo>
                <a:lnTo>
                  <a:pt x="76" y="144"/>
                </a:lnTo>
                <a:lnTo>
                  <a:pt x="72" y="144"/>
                </a:lnTo>
                <a:lnTo>
                  <a:pt x="72" y="140"/>
                </a:lnTo>
                <a:lnTo>
                  <a:pt x="76" y="140"/>
                </a:lnTo>
                <a:lnTo>
                  <a:pt x="76" y="136"/>
                </a:lnTo>
                <a:lnTo>
                  <a:pt x="76" y="132"/>
                </a:lnTo>
                <a:lnTo>
                  <a:pt x="80" y="132"/>
                </a:lnTo>
                <a:lnTo>
                  <a:pt x="80" y="128"/>
                </a:lnTo>
                <a:lnTo>
                  <a:pt x="76" y="128"/>
                </a:lnTo>
                <a:lnTo>
                  <a:pt x="80" y="124"/>
                </a:lnTo>
                <a:lnTo>
                  <a:pt x="80" y="122"/>
                </a:lnTo>
                <a:lnTo>
                  <a:pt x="80" y="118"/>
                </a:lnTo>
                <a:lnTo>
                  <a:pt x="76" y="118"/>
                </a:lnTo>
                <a:lnTo>
                  <a:pt x="76" y="114"/>
                </a:lnTo>
                <a:lnTo>
                  <a:pt x="72" y="114"/>
                </a:lnTo>
                <a:lnTo>
                  <a:pt x="72" y="110"/>
                </a:lnTo>
                <a:lnTo>
                  <a:pt x="68" y="106"/>
                </a:lnTo>
                <a:lnTo>
                  <a:pt x="68" y="102"/>
                </a:lnTo>
                <a:lnTo>
                  <a:pt x="64" y="102"/>
                </a:lnTo>
                <a:lnTo>
                  <a:pt x="68" y="102"/>
                </a:lnTo>
                <a:lnTo>
                  <a:pt x="68" y="98"/>
                </a:lnTo>
                <a:lnTo>
                  <a:pt x="64" y="96"/>
                </a:lnTo>
                <a:lnTo>
                  <a:pt x="68" y="96"/>
                </a:lnTo>
                <a:lnTo>
                  <a:pt x="68" y="92"/>
                </a:lnTo>
                <a:lnTo>
                  <a:pt x="68" y="88"/>
                </a:lnTo>
                <a:lnTo>
                  <a:pt x="64" y="88"/>
                </a:lnTo>
                <a:lnTo>
                  <a:pt x="64" y="84"/>
                </a:lnTo>
                <a:lnTo>
                  <a:pt x="60" y="84"/>
                </a:lnTo>
                <a:lnTo>
                  <a:pt x="60" y="80"/>
                </a:lnTo>
                <a:lnTo>
                  <a:pt x="60" y="80"/>
                </a:lnTo>
                <a:lnTo>
                  <a:pt x="60" y="80"/>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1" name="Freeform 38"/>
          <p:cNvSpPr>
            <a:spLocks/>
          </p:cNvSpPr>
          <p:nvPr/>
        </p:nvSpPr>
        <p:spPr bwMode="auto">
          <a:xfrm>
            <a:off x="4848225" y="2971800"/>
            <a:ext cx="26194" cy="35719"/>
          </a:xfrm>
          <a:custGeom>
            <a:avLst/>
            <a:gdLst>
              <a:gd name="T0" fmla="*/ 14 w 22"/>
              <a:gd name="T1" fmla="*/ 0 h 30"/>
              <a:gd name="T2" fmla="*/ 14 w 22"/>
              <a:gd name="T3" fmla="*/ 0 h 30"/>
              <a:gd name="T4" fmla="*/ 14 w 22"/>
              <a:gd name="T5" fmla="*/ 0 h 30"/>
              <a:gd name="T6" fmla="*/ 18 w 22"/>
              <a:gd name="T7" fmla="*/ 0 h 30"/>
              <a:gd name="T8" fmla="*/ 18 w 22"/>
              <a:gd name="T9" fmla="*/ 0 h 30"/>
              <a:gd name="T10" fmla="*/ 18 w 22"/>
              <a:gd name="T11" fmla="*/ 0 h 30"/>
              <a:gd name="T12" fmla="*/ 18 w 22"/>
              <a:gd name="T13" fmla="*/ 0 h 30"/>
              <a:gd name="T14" fmla="*/ 22 w 22"/>
              <a:gd name="T15" fmla="*/ 4 h 30"/>
              <a:gd name="T16" fmla="*/ 22 w 22"/>
              <a:gd name="T17" fmla="*/ 8 h 30"/>
              <a:gd name="T18" fmla="*/ 22 w 22"/>
              <a:gd name="T19" fmla="*/ 8 h 30"/>
              <a:gd name="T20" fmla="*/ 18 w 22"/>
              <a:gd name="T21" fmla="*/ 12 h 30"/>
              <a:gd name="T22" fmla="*/ 18 w 22"/>
              <a:gd name="T23" fmla="*/ 12 h 30"/>
              <a:gd name="T24" fmla="*/ 18 w 22"/>
              <a:gd name="T25" fmla="*/ 16 h 30"/>
              <a:gd name="T26" fmla="*/ 18 w 22"/>
              <a:gd name="T27" fmla="*/ 16 h 30"/>
              <a:gd name="T28" fmla="*/ 18 w 22"/>
              <a:gd name="T29" fmla="*/ 16 h 30"/>
              <a:gd name="T30" fmla="*/ 14 w 22"/>
              <a:gd name="T31" fmla="*/ 16 h 30"/>
              <a:gd name="T32" fmla="*/ 10 w 22"/>
              <a:gd name="T33" fmla="*/ 20 h 30"/>
              <a:gd name="T34" fmla="*/ 14 w 22"/>
              <a:gd name="T35" fmla="*/ 20 h 30"/>
              <a:gd name="T36" fmla="*/ 14 w 22"/>
              <a:gd name="T37" fmla="*/ 20 h 30"/>
              <a:gd name="T38" fmla="*/ 10 w 22"/>
              <a:gd name="T39" fmla="*/ 22 h 30"/>
              <a:gd name="T40" fmla="*/ 10 w 22"/>
              <a:gd name="T41" fmla="*/ 22 h 30"/>
              <a:gd name="T42" fmla="*/ 10 w 22"/>
              <a:gd name="T43" fmla="*/ 22 h 30"/>
              <a:gd name="T44" fmla="*/ 10 w 22"/>
              <a:gd name="T45" fmla="*/ 22 h 30"/>
              <a:gd name="T46" fmla="*/ 6 w 22"/>
              <a:gd name="T47" fmla="*/ 26 h 30"/>
              <a:gd name="T48" fmla="*/ 6 w 22"/>
              <a:gd name="T49" fmla="*/ 26 h 30"/>
              <a:gd name="T50" fmla="*/ 6 w 22"/>
              <a:gd name="T51" fmla="*/ 26 h 30"/>
              <a:gd name="T52" fmla="*/ 6 w 22"/>
              <a:gd name="T53" fmla="*/ 30 h 30"/>
              <a:gd name="T54" fmla="*/ 2 w 22"/>
              <a:gd name="T55" fmla="*/ 30 h 30"/>
              <a:gd name="T56" fmla="*/ 2 w 22"/>
              <a:gd name="T57" fmla="*/ 30 h 30"/>
              <a:gd name="T58" fmla="*/ 0 w 22"/>
              <a:gd name="T59" fmla="*/ 30 h 30"/>
              <a:gd name="T60" fmla="*/ 0 w 22"/>
              <a:gd name="T61" fmla="*/ 26 h 30"/>
              <a:gd name="T62" fmla="*/ 2 w 22"/>
              <a:gd name="T63" fmla="*/ 26 h 30"/>
              <a:gd name="T64" fmla="*/ 2 w 22"/>
              <a:gd name="T65" fmla="*/ 22 h 30"/>
              <a:gd name="T66" fmla="*/ 2 w 22"/>
              <a:gd name="T67" fmla="*/ 22 h 30"/>
              <a:gd name="T68" fmla="*/ 2 w 22"/>
              <a:gd name="T69" fmla="*/ 22 h 30"/>
              <a:gd name="T70" fmla="*/ 2 w 22"/>
              <a:gd name="T71" fmla="*/ 20 h 30"/>
              <a:gd name="T72" fmla="*/ 2 w 22"/>
              <a:gd name="T73" fmla="*/ 20 h 30"/>
              <a:gd name="T74" fmla="*/ 6 w 22"/>
              <a:gd name="T75" fmla="*/ 16 h 30"/>
              <a:gd name="T76" fmla="*/ 6 w 22"/>
              <a:gd name="T77" fmla="*/ 16 h 30"/>
              <a:gd name="T78" fmla="*/ 6 w 22"/>
              <a:gd name="T79" fmla="*/ 16 h 30"/>
              <a:gd name="T80" fmla="*/ 6 w 22"/>
              <a:gd name="T81" fmla="*/ 12 h 30"/>
              <a:gd name="T82" fmla="*/ 6 w 22"/>
              <a:gd name="T83" fmla="*/ 12 h 30"/>
              <a:gd name="T84" fmla="*/ 6 w 22"/>
              <a:gd name="T85" fmla="*/ 8 h 30"/>
              <a:gd name="T86" fmla="*/ 6 w 22"/>
              <a:gd name="T87" fmla="*/ 8 h 30"/>
              <a:gd name="T88" fmla="*/ 6 w 22"/>
              <a:gd name="T89" fmla="*/ 8 h 30"/>
              <a:gd name="T90" fmla="*/ 10 w 22"/>
              <a:gd name="T91" fmla="*/ 4 h 30"/>
              <a:gd name="T92" fmla="*/ 14 w 22"/>
              <a:gd name="T93" fmla="*/ 0 h 30"/>
              <a:gd name="T94" fmla="*/ 14 w 22"/>
              <a:gd name="T95" fmla="*/ 0 h 30"/>
              <a:gd name="T96" fmla="*/ 14 w 22"/>
              <a:gd name="T9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 h="30">
                <a:moveTo>
                  <a:pt x="14" y="0"/>
                </a:moveTo>
                <a:lnTo>
                  <a:pt x="14" y="0"/>
                </a:lnTo>
                <a:lnTo>
                  <a:pt x="14" y="0"/>
                </a:lnTo>
                <a:lnTo>
                  <a:pt x="14" y="0"/>
                </a:lnTo>
                <a:lnTo>
                  <a:pt x="14" y="0"/>
                </a:lnTo>
                <a:lnTo>
                  <a:pt x="14" y="0"/>
                </a:lnTo>
                <a:lnTo>
                  <a:pt x="18" y="0"/>
                </a:lnTo>
                <a:lnTo>
                  <a:pt x="18" y="0"/>
                </a:lnTo>
                <a:lnTo>
                  <a:pt x="18" y="0"/>
                </a:lnTo>
                <a:lnTo>
                  <a:pt x="18" y="0"/>
                </a:lnTo>
                <a:lnTo>
                  <a:pt x="18" y="0"/>
                </a:lnTo>
                <a:lnTo>
                  <a:pt x="18" y="0"/>
                </a:lnTo>
                <a:lnTo>
                  <a:pt x="18" y="4"/>
                </a:lnTo>
                <a:lnTo>
                  <a:pt x="18" y="0"/>
                </a:lnTo>
                <a:lnTo>
                  <a:pt x="18" y="4"/>
                </a:lnTo>
                <a:lnTo>
                  <a:pt x="22" y="4"/>
                </a:lnTo>
                <a:lnTo>
                  <a:pt x="22" y="4"/>
                </a:lnTo>
                <a:lnTo>
                  <a:pt x="22" y="8"/>
                </a:lnTo>
                <a:lnTo>
                  <a:pt x="22" y="8"/>
                </a:lnTo>
                <a:lnTo>
                  <a:pt x="22" y="8"/>
                </a:lnTo>
                <a:lnTo>
                  <a:pt x="18" y="12"/>
                </a:lnTo>
                <a:lnTo>
                  <a:pt x="18" y="12"/>
                </a:lnTo>
                <a:lnTo>
                  <a:pt x="18" y="12"/>
                </a:lnTo>
                <a:lnTo>
                  <a:pt x="18" y="12"/>
                </a:lnTo>
                <a:lnTo>
                  <a:pt x="18" y="16"/>
                </a:lnTo>
                <a:lnTo>
                  <a:pt x="18" y="16"/>
                </a:lnTo>
                <a:lnTo>
                  <a:pt x="18" y="16"/>
                </a:lnTo>
                <a:lnTo>
                  <a:pt x="18" y="16"/>
                </a:lnTo>
                <a:lnTo>
                  <a:pt x="18" y="16"/>
                </a:lnTo>
                <a:lnTo>
                  <a:pt x="18" y="16"/>
                </a:lnTo>
                <a:lnTo>
                  <a:pt x="14" y="16"/>
                </a:lnTo>
                <a:lnTo>
                  <a:pt x="14" y="16"/>
                </a:lnTo>
                <a:lnTo>
                  <a:pt x="14" y="16"/>
                </a:lnTo>
                <a:lnTo>
                  <a:pt x="10" y="20"/>
                </a:lnTo>
                <a:lnTo>
                  <a:pt x="10" y="20"/>
                </a:lnTo>
                <a:lnTo>
                  <a:pt x="14" y="20"/>
                </a:lnTo>
                <a:lnTo>
                  <a:pt x="14" y="20"/>
                </a:lnTo>
                <a:lnTo>
                  <a:pt x="14" y="20"/>
                </a:lnTo>
                <a:lnTo>
                  <a:pt x="10" y="22"/>
                </a:lnTo>
                <a:lnTo>
                  <a:pt x="10" y="22"/>
                </a:lnTo>
                <a:lnTo>
                  <a:pt x="10" y="22"/>
                </a:lnTo>
                <a:lnTo>
                  <a:pt x="10" y="22"/>
                </a:lnTo>
                <a:lnTo>
                  <a:pt x="10" y="22"/>
                </a:lnTo>
                <a:lnTo>
                  <a:pt x="10" y="22"/>
                </a:lnTo>
                <a:lnTo>
                  <a:pt x="10" y="22"/>
                </a:lnTo>
                <a:lnTo>
                  <a:pt x="10" y="22"/>
                </a:lnTo>
                <a:lnTo>
                  <a:pt x="10" y="22"/>
                </a:lnTo>
                <a:lnTo>
                  <a:pt x="6" y="26"/>
                </a:lnTo>
                <a:lnTo>
                  <a:pt x="6" y="26"/>
                </a:lnTo>
                <a:lnTo>
                  <a:pt x="6" y="26"/>
                </a:lnTo>
                <a:lnTo>
                  <a:pt x="6" y="26"/>
                </a:lnTo>
                <a:lnTo>
                  <a:pt x="6" y="26"/>
                </a:lnTo>
                <a:lnTo>
                  <a:pt x="6" y="26"/>
                </a:lnTo>
                <a:lnTo>
                  <a:pt x="6" y="30"/>
                </a:lnTo>
                <a:lnTo>
                  <a:pt x="2" y="30"/>
                </a:lnTo>
                <a:lnTo>
                  <a:pt x="2" y="30"/>
                </a:lnTo>
                <a:lnTo>
                  <a:pt x="2" y="30"/>
                </a:lnTo>
                <a:lnTo>
                  <a:pt x="2" y="30"/>
                </a:lnTo>
                <a:lnTo>
                  <a:pt x="2" y="30"/>
                </a:lnTo>
                <a:lnTo>
                  <a:pt x="0" y="30"/>
                </a:lnTo>
                <a:lnTo>
                  <a:pt x="0" y="30"/>
                </a:lnTo>
                <a:lnTo>
                  <a:pt x="0" y="26"/>
                </a:lnTo>
                <a:lnTo>
                  <a:pt x="2" y="26"/>
                </a:lnTo>
                <a:lnTo>
                  <a:pt x="2" y="26"/>
                </a:lnTo>
                <a:lnTo>
                  <a:pt x="2" y="26"/>
                </a:lnTo>
                <a:lnTo>
                  <a:pt x="2" y="22"/>
                </a:lnTo>
                <a:lnTo>
                  <a:pt x="2" y="22"/>
                </a:lnTo>
                <a:lnTo>
                  <a:pt x="2" y="22"/>
                </a:lnTo>
                <a:lnTo>
                  <a:pt x="2" y="22"/>
                </a:lnTo>
                <a:lnTo>
                  <a:pt x="2" y="22"/>
                </a:lnTo>
                <a:lnTo>
                  <a:pt x="2" y="20"/>
                </a:lnTo>
                <a:lnTo>
                  <a:pt x="2" y="20"/>
                </a:lnTo>
                <a:lnTo>
                  <a:pt x="2" y="20"/>
                </a:lnTo>
                <a:lnTo>
                  <a:pt x="2" y="20"/>
                </a:lnTo>
                <a:lnTo>
                  <a:pt x="2" y="16"/>
                </a:lnTo>
                <a:lnTo>
                  <a:pt x="6" y="16"/>
                </a:lnTo>
                <a:lnTo>
                  <a:pt x="6" y="16"/>
                </a:lnTo>
                <a:lnTo>
                  <a:pt x="6" y="16"/>
                </a:lnTo>
                <a:lnTo>
                  <a:pt x="6" y="16"/>
                </a:lnTo>
                <a:lnTo>
                  <a:pt x="6" y="16"/>
                </a:lnTo>
                <a:lnTo>
                  <a:pt x="6" y="16"/>
                </a:lnTo>
                <a:lnTo>
                  <a:pt x="6" y="12"/>
                </a:lnTo>
                <a:lnTo>
                  <a:pt x="6" y="16"/>
                </a:lnTo>
                <a:lnTo>
                  <a:pt x="6" y="12"/>
                </a:lnTo>
                <a:lnTo>
                  <a:pt x="6" y="12"/>
                </a:lnTo>
                <a:lnTo>
                  <a:pt x="6" y="8"/>
                </a:lnTo>
                <a:lnTo>
                  <a:pt x="6" y="8"/>
                </a:lnTo>
                <a:lnTo>
                  <a:pt x="6" y="8"/>
                </a:lnTo>
                <a:lnTo>
                  <a:pt x="6" y="8"/>
                </a:lnTo>
                <a:lnTo>
                  <a:pt x="6" y="8"/>
                </a:lnTo>
                <a:lnTo>
                  <a:pt x="6" y="4"/>
                </a:lnTo>
                <a:lnTo>
                  <a:pt x="10" y="4"/>
                </a:lnTo>
                <a:lnTo>
                  <a:pt x="10" y="4"/>
                </a:lnTo>
                <a:lnTo>
                  <a:pt x="14" y="0"/>
                </a:lnTo>
                <a:lnTo>
                  <a:pt x="14" y="0"/>
                </a:lnTo>
                <a:lnTo>
                  <a:pt x="14" y="0"/>
                </a:lnTo>
                <a:lnTo>
                  <a:pt x="14" y="0"/>
                </a:lnTo>
                <a:lnTo>
                  <a:pt x="14" y="0"/>
                </a:lnTo>
                <a:lnTo>
                  <a:pt x="14" y="0"/>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2" name="Freeform 39"/>
          <p:cNvSpPr>
            <a:spLocks noEditPoints="1"/>
          </p:cNvSpPr>
          <p:nvPr/>
        </p:nvSpPr>
        <p:spPr bwMode="auto">
          <a:xfrm>
            <a:off x="5934075" y="3550443"/>
            <a:ext cx="333375" cy="133350"/>
          </a:xfrm>
          <a:custGeom>
            <a:avLst/>
            <a:gdLst>
              <a:gd name="T0" fmla="*/ 8 w 280"/>
              <a:gd name="T1" fmla="*/ 14 h 112"/>
              <a:gd name="T2" fmla="*/ 18 w 280"/>
              <a:gd name="T3" fmla="*/ 18 h 112"/>
              <a:gd name="T4" fmla="*/ 22 w 280"/>
              <a:gd name="T5" fmla="*/ 30 h 112"/>
              <a:gd name="T6" fmla="*/ 34 w 280"/>
              <a:gd name="T7" fmla="*/ 26 h 112"/>
              <a:gd name="T8" fmla="*/ 42 w 280"/>
              <a:gd name="T9" fmla="*/ 26 h 112"/>
              <a:gd name="T10" fmla="*/ 52 w 280"/>
              <a:gd name="T11" fmla="*/ 36 h 112"/>
              <a:gd name="T12" fmla="*/ 52 w 280"/>
              <a:gd name="T13" fmla="*/ 56 h 112"/>
              <a:gd name="T14" fmla="*/ 56 w 280"/>
              <a:gd name="T15" fmla="*/ 66 h 112"/>
              <a:gd name="T16" fmla="*/ 60 w 280"/>
              <a:gd name="T17" fmla="*/ 86 h 112"/>
              <a:gd name="T18" fmla="*/ 64 w 280"/>
              <a:gd name="T19" fmla="*/ 100 h 112"/>
              <a:gd name="T20" fmla="*/ 56 w 280"/>
              <a:gd name="T21" fmla="*/ 100 h 112"/>
              <a:gd name="T22" fmla="*/ 38 w 280"/>
              <a:gd name="T23" fmla="*/ 90 h 112"/>
              <a:gd name="T24" fmla="*/ 22 w 280"/>
              <a:gd name="T25" fmla="*/ 78 h 112"/>
              <a:gd name="T26" fmla="*/ 22 w 280"/>
              <a:gd name="T27" fmla="*/ 64 h 112"/>
              <a:gd name="T28" fmla="*/ 14 w 280"/>
              <a:gd name="T29" fmla="*/ 52 h 112"/>
              <a:gd name="T30" fmla="*/ 12 w 280"/>
              <a:gd name="T31" fmla="*/ 30 h 112"/>
              <a:gd name="T32" fmla="*/ 242 w 280"/>
              <a:gd name="T33" fmla="*/ 4 h 112"/>
              <a:gd name="T34" fmla="*/ 246 w 280"/>
              <a:gd name="T35" fmla="*/ 0 h 112"/>
              <a:gd name="T36" fmla="*/ 254 w 280"/>
              <a:gd name="T37" fmla="*/ 10 h 112"/>
              <a:gd name="T38" fmla="*/ 266 w 280"/>
              <a:gd name="T39" fmla="*/ 44 h 112"/>
              <a:gd name="T40" fmla="*/ 258 w 280"/>
              <a:gd name="T41" fmla="*/ 52 h 112"/>
              <a:gd name="T42" fmla="*/ 168 w 280"/>
              <a:gd name="T43" fmla="*/ 86 h 112"/>
              <a:gd name="T44" fmla="*/ 210 w 280"/>
              <a:gd name="T45" fmla="*/ 48 h 112"/>
              <a:gd name="T46" fmla="*/ 216 w 280"/>
              <a:gd name="T47" fmla="*/ 44 h 112"/>
              <a:gd name="T48" fmla="*/ 224 w 280"/>
              <a:gd name="T49" fmla="*/ 52 h 112"/>
              <a:gd name="T50" fmla="*/ 224 w 280"/>
              <a:gd name="T51" fmla="*/ 36 h 112"/>
              <a:gd name="T52" fmla="*/ 232 w 280"/>
              <a:gd name="T53" fmla="*/ 30 h 112"/>
              <a:gd name="T54" fmla="*/ 240 w 280"/>
              <a:gd name="T55" fmla="*/ 14 h 112"/>
              <a:gd name="T56" fmla="*/ 242 w 280"/>
              <a:gd name="T57" fmla="*/ 10 h 112"/>
              <a:gd name="T58" fmla="*/ 250 w 280"/>
              <a:gd name="T59" fmla="*/ 10 h 112"/>
              <a:gd name="T60" fmla="*/ 258 w 280"/>
              <a:gd name="T61" fmla="*/ 18 h 112"/>
              <a:gd name="T62" fmla="*/ 262 w 280"/>
              <a:gd name="T63" fmla="*/ 26 h 112"/>
              <a:gd name="T64" fmla="*/ 272 w 280"/>
              <a:gd name="T65" fmla="*/ 30 h 112"/>
              <a:gd name="T66" fmla="*/ 272 w 280"/>
              <a:gd name="T67" fmla="*/ 36 h 112"/>
              <a:gd name="T68" fmla="*/ 262 w 280"/>
              <a:gd name="T69" fmla="*/ 40 h 112"/>
              <a:gd name="T70" fmla="*/ 262 w 280"/>
              <a:gd name="T71" fmla="*/ 52 h 112"/>
              <a:gd name="T72" fmla="*/ 242 w 280"/>
              <a:gd name="T73" fmla="*/ 52 h 112"/>
              <a:gd name="T74" fmla="*/ 228 w 280"/>
              <a:gd name="T75" fmla="*/ 52 h 112"/>
              <a:gd name="T76" fmla="*/ 224 w 280"/>
              <a:gd name="T77" fmla="*/ 70 h 112"/>
              <a:gd name="T78" fmla="*/ 216 w 280"/>
              <a:gd name="T79" fmla="*/ 92 h 112"/>
              <a:gd name="T80" fmla="*/ 202 w 280"/>
              <a:gd name="T81" fmla="*/ 100 h 112"/>
              <a:gd name="T82" fmla="*/ 186 w 280"/>
              <a:gd name="T83" fmla="*/ 96 h 112"/>
              <a:gd name="T84" fmla="*/ 172 w 280"/>
              <a:gd name="T85" fmla="*/ 108 h 112"/>
              <a:gd name="T86" fmla="*/ 154 w 280"/>
              <a:gd name="T87" fmla="*/ 112 h 112"/>
              <a:gd name="T88" fmla="*/ 142 w 280"/>
              <a:gd name="T89" fmla="*/ 92 h 112"/>
              <a:gd name="T90" fmla="*/ 154 w 280"/>
              <a:gd name="T91" fmla="*/ 92 h 112"/>
              <a:gd name="T92" fmla="*/ 160 w 280"/>
              <a:gd name="T93" fmla="*/ 100 h 112"/>
              <a:gd name="T94" fmla="*/ 164 w 280"/>
              <a:gd name="T95" fmla="*/ 92 h 112"/>
              <a:gd name="T96" fmla="*/ 164 w 280"/>
              <a:gd name="T97" fmla="*/ 86 h 112"/>
              <a:gd name="T98" fmla="*/ 176 w 280"/>
              <a:gd name="T99" fmla="*/ 74 h 112"/>
              <a:gd name="T100" fmla="*/ 194 w 280"/>
              <a:gd name="T101" fmla="*/ 66 h 112"/>
              <a:gd name="T102" fmla="*/ 206 w 280"/>
              <a:gd name="T103" fmla="*/ 48 h 112"/>
              <a:gd name="T104" fmla="*/ 4 w 280"/>
              <a:gd name="T105" fmla="*/ 14 h 112"/>
              <a:gd name="T106" fmla="*/ 12 w 280"/>
              <a:gd name="T107" fmla="*/ 34 h 112"/>
              <a:gd name="T108" fmla="*/ 12 w 280"/>
              <a:gd name="T109" fmla="*/ 34 h 112"/>
              <a:gd name="T110" fmla="*/ 64 w 280"/>
              <a:gd name="T111" fmla="*/ 7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80" h="112">
                <a:moveTo>
                  <a:pt x="12" y="30"/>
                </a:moveTo>
                <a:lnTo>
                  <a:pt x="12" y="26"/>
                </a:lnTo>
                <a:lnTo>
                  <a:pt x="12" y="22"/>
                </a:lnTo>
                <a:lnTo>
                  <a:pt x="12" y="18"/>
                </a:lnTo>
                <a:lnTo>
                  <a:pt x="8" y="18"/>
                </a:lnTo>
                <a:lnTo>
                  <a:pt x="8" y="14"/>
                </a:lnTo>
                <a:lnTo>
                  <a:pt x="8" y="10"/>
                </a:lnTo>
                <a:lnTo>
                  <a:pt x="12" y="10"/>
                </a:lnTo>
                <a:lnTo>
                  <a:pt x="12" y="14"/>
                </a:lnTo>
                <a:lnTo>
                  <a:pt x="14" y="14"/>
                </a:lnTo>
                <a:lnTo>
                  <a:pt x="18" y="14"/>
                </a:lnTo>
                <a:lnTo>
                  <a:pt x="18" y="18"/>
                </a:lnTo>
                <a:lnTo>
                  <a:pt x="22" y="18"/>
                </a:lnTo>
                <a:lnTo>
                  <a:pt x="22" y="22"/>
                </a:lnTo>
                <a:lnTo>
                  <a:pt x="18" y="22"/>
                </a:lnTo>
                <a:lnTo>
                  <a:pt x="18" y="26"/>
                </a:lnTo>
                <a:lnTo>
                  <a:pt x="22" y="26"/>
                </a:lnTo>
                <a:lnTo>
                  <a:pt x="22" y="30"/>
                </a:lnTo>
                <a:lnTo>
                  <a:pt x="22" y="26"/>
                </a:lnTo>
                <a:lnTo>
                  <a:pt x="26" y="26"/>
                </a:lnTo>
                <a:lnTo>
                  <a:pt x="26" y="22"/>
                </a:lnTo>
                <a:lnTo>
                  <a:pt x="30" y="22"/>
                </a:lnTo>
                <a:lnTo>
                  <a:pt x="30" y="26"/>
                </a:lnTo>
                <a:lnTo>
                  <a:pt x="34" y="26"/>
                </a:lnTo>
                <a:lnTo>
                  <a:pt x="34" y="22"/>
                </a:lnTo>
                <a:lnTo>
                  <a:pt x="34" y="18"/>
                </a:lnTo>
                <a:lnTo>
                  <a:pt x="38" y="18"/>
                </a:lnTo>
                <a:lnTo>
                  <a:pt x="42" y="18"/>
                </a:lnTo>
                <a:lnTo>
                  <a:pt x="42" y="22"/>
                </a:lnTo>
                <a:lnTo>
                  <a:pt x="42" y="26"/>
                </a:lnTo>
                <a:lnTo>
                  <a:pt x="44" y="26"/>
                </a:lnTo>
                <a:lnTo>
                  <a:pt x="44" y="30"/>
                </a:lnTo>
                <a:lnTo>
                  <a:pt x="48" y="30"/>
                </a:lnTo>
                <a:lnTo>
                  <a:pt x="48" y="34"/>
                </a:lnTo>
                <a:lnTo>
                  <a:pt x="52" y="34"/>
                </a:lnTo>
                <a:lnTo>
                  <a:pt x="52" y="36"/>
                </a:lnTo>
                <a:lnTo>
                  <a:pt x="52" y="40"/>
                </a:lnTo>
                <a:lnTo>
                  <a:pt x="56" y="44"/>
                </a:lnTo>
                <a:lnTo>
                  <a:pt x="56" y="48"/>
                </a:lnTo>
                <a:lnTo>
                  <a:pt x="56" y="52"/>
                </a:lnTo>
                <a:lnTo>
                  <a:pt x="52" y="52"/>
                </a:lnTo>
                <a:lnTo>
                  <a:pt x="52" y="56"/>
                </a:lnTo>
                <a:lnTo>
                  <a:pt x="52" y="60"/>
                </a:lnTo>
                <a:lnTo>
                  <a:pt x="52" y="64"/>
                </a:lnTo>
                <a:lnTo>
                  <a:pt x="56" y="64"/>
                </a:lnTo>
                <a:lnTo>
                  <a:pt x="56" y="66"/>
                </a:lnTo>
                <a:lnTo>
                  <a:pt x="52" y="66"/>
                </a:lnTo>
                <a:lnTo>
                  <a:pt x="56" y="66"/>
                </a:lnTo>
                <a:lnTo>
                  <a:pt x="56" y="70"/>
                </a:lnTo>
                <a:lnTo>
                  <a:pt x="56" y="74"/>
                </a:lnTo>
                <a:lnTo>
                  <a:pt x="56" y="78"/>
                </a:lnTo>
                <a:lnTo>
                  <a:pt x="60" y="78"/>
                </a:lnTo>
                <a:lnTo>
                  <a:pt x="60" y="82"/>
                </a:lnTo>
                <a:lnTo>
                  <a:pt x="60" y="86"/>
                </a:lnTo>
                <a:lnTo>
                  <a:pt x="64" y="86"/>
                </a:lnTo>
                <a:lnTo>
                  <a:pt x="64" y="90"/>
                </a:lnTo>
                <a:lnTo>
                  <a:pt x="64" y="92"/>
                </a:lnTo>
                <a:lnTo>
                  <a:pt x="68" y="96"/>
                </a:lnTo>
                <a:lnTo>
                  <a:pt x="68" y="100"/>
                </a:lnTo>
                <a:lnTo>
                  <a:pt x="64" y="100"/>
                </a:lnTo>
                <a:lnTo>
                  <a:pt x="64" y="96"/>
                </a:lnTo>
                <a:lnTo>
                  <a:pt x="64" y="100"/>
                </a:lnTo>
                <a:lnTo>
                  <a:pt x="60" y="100"/>
                </a:lnTo>
                <a:lnTo>
                  <a:pt x="56" y="100"/>
                </a:lnTo>
                <a:lnTo>
                  <a:pt x="56" y="104"/>
                </a:lnTo>
                <a:lnTo>
                  <a:pt x="56" y="100"/>
                </a:lnTo>
                <a:lnTo>
                  <a:pt x="52" y="100"/>
                </a:lnTo>
                <a:lnTo>
                  <a:pt x="52" y="96"/>
                </a:lnTo>
                <a:lnTo>
                  <a:pt x="48" y="96"/>
                </a:lnTo>
                <a:lnTo>
                  <a:pt x="44" y="92"/>
                </a:lnTo>
                <a:lnTo>
                  <a:pt x="42" y="90"/>
                </a:lnTo>
                <a:lnTo>
                  <a:pt x="38" y="90"/>
                </a:lnTo>
                <a:lnTo>
                  <a:pt x="38" y="86"/>
                </a:lnTo>
                <a:lnTo>
                  <a:pt x="34" y="86"/>
                </a:lnTo>
                <a:lnTo>
                  <a:pt x="34" y="82"/>
                </a:lnTo>
                <a:lnTo>
                  <a:pt x="30" y="82"/>
                </a:lnTo>
                <a:lnTo>
                  <a:pt x="26" y="78"/>
                </a:lnTo>
                <a:lnTo>
                  <a:pt x="22" y="78"/>
                </a:lnTo>
                <a:lnTo>
                  <a:pt x="22" y="74"/>
                </a:lnTo>
                <a:lnTo>
                  <a:pt x="26" y="74"/>
                </a:lnTo>
                <a:lnTo>
                  <a:pt x="26" y="70"/>
                </a:lnTo>
                <a:lnTo>
                  <a:pt x="22" y="70"/>
                </a:lnTo>
                <a:lnTo>
                  <a:pt x="22" y="66"/>
                </a:lnTo>
                <a:lnTo>
                  <a:pt x="22" y="64"/>
                </a:lnTo>
                <a:lnTo>
                  <a:pt x="18" y="64"/>
                </a:lnTo>
                <a:lnTo>
                  <a:pt x="18" y="60"/>
                </a:lnTo>
                <a:lnTo>
                  <a:pt x="14" y="60"/>
                </a:lnTo>
                <a:lnTo>
                  <a:pt x="14" y="56"/>
                </a:lnTo>
                <a:lnTo>
                  <a:pt x="18" y="56"/>
                </a:lnTo>
                <a:lnTo>
                  <a:pt x="14" y="52"/>
                </a:lnTo>
                <a:lnTo>
                  <a:pt x="14" y="48"/>
                </a:lnTo>
                <a:lnTo>
                  <a:pt x="14" y="44"/>
                </a:lnTo>
                <a:lnTo>
                  <a:pt x="12" y="40"/>
                </a:lnTo>
                <a:lnTo>
                  <a:pt x="12" y="36"/>
                </a:lnTo>
                <a:lnTo>
                  <a:pt x="12" y="34"/>
                </a:lnTo>
                <a:lnTo>
                  <a:pt x="12" y="30"/>
                </a:lnTo>
                <a:lnTo>
                  <a:pt x="12" y="30"/>
                </a:lnTo>
                <a:lnTo>
                  <a:pt x="12" y="30"/>
                </a:lnTo>
                <a:close/>
                <a:moveTo>
                  <a:pt x="242" y="4"/>
                </a:moveTo>
                <a:lnTo>
                  <a:pt x="246" y="0"/>
                </a:lnTo>
                <a:lnTo>
                  <a:pt x="242" y="4"/>
                </a:lnTo>
                <a:lnTo>
                  <a:pt x="242" y="4"/>
                </a:lnTo>
                <a:lnTo>
                  <a:pt x="242" y="4"/>
                </a:lnTo>
                <a:close/>
                <a:moveTo>
                  <a:pt x="246" y="0"/>
                </a:moveTo>
                <a:lnTo>
                  <a:pt x="250" y="0"/>
                </a:lnTo>
                <a:lnTo>
                  <a:pt x="250" y="4"/>
                </a:lnTo>
                <a:lnTo>
                  <a:pt x="246" y="4"/>
                </a:lnTo>
                <a:lnTo>
                  <a:pt x="246" y="0"/>
                </a:lnTo>
                <a:lnTo>
                  <a:pt x="246" y="0"/>
                </a:lnTo>
                <a:lnTo>
                  <a:pt x="246" y="0"/>
                </a:lnTo>
                <a:close/>
                <a:moveTo>
                  <a:pt x="250" y="10"/>
                </a:moveTo>
                <a:lnTo>
                  <a:pt x="254" y="10"/>
                </a:lnTo>
                <a:lnTo>
                  <a:pt x="254" y="6"/>
                </a:lnTo>
                <a:lnTo>
                  <a:pt x="254" y="10"/>
                </a:lnTo>
                <a:lnTo>
                  <a:pt x="250" y="10"/>
                </a:lnTo>
                <a:lnTo>
                  <a:pt x="250" y="10"/>
                </a:lnTo>
                <a:lnTo>
                  <a:pt x="250" y="10"/>
                </a:lnTo>
                <a:close/>
                <a:moveTo>
                  <a:pt x="266" y="44"/>
                </a:moveTo>
                <a:lnTo>
                  <a:pt x="270" y="44"/>
                </a:lnTo>
                <a:lnTo>
                  <a:pt x="266" y="44"/>
                </a:lnTo>
                <a:lnTo>
                  <a:pt x="266" y="44"/>
                </a:lnTo>
                <a:lnTo>
                  <a:pt x="266" y="44"/>
                </a:lnTo>
                <a:close/>
                <a:moveTo>
                  <a:pt x="258" y="52"/>
                </a:moveTo>
                <a:lnTo>
                  <a:pt x="254" y="52"/>
                </a:lnTo>
                <a:lnTo>
                  <a:pt x="258" y="52"/>
                </a:lnTo>
                <a:lnTo>
                  <a:pt x="258" y="52"/>
                </a:lnTo>
                <a:lnTo>
                  <a:pt x="258" y="52"/>
                </a:lnTo>
                <a:close/>
                <a:moveTo>
                  <a:pt x="164" y="82"/>
                </a:moveTo>
                <a:lnTo>
                  <a:pt x="164" y="78"/>
                </a:lnTo>
                <a:lnTo>
                  <a:pt x="168" y="78"/>
                </a:lnTo>
                <a:lnTo>
                  <a:pt x="168" y="82"/>
                </a:lnTo>
                <a:lnTo>
                  <a:pt x="168" y="86"/>
                </a:lnTo>
                <a:lnTo>
                  <a:pt x="164" y="82"/>
                </a:lnTo>
                <a:lnTo>
                  <a:pt x="164" y="82"/>
                </a:lnTo>
                <a:lnTo>
                  <a:pt x="164" y="82"/>
                </a:lnTo>
                <a:close/>
                <a:moveTo>
                  <a:pt x="206" y="44"/>
                </a:moveTo>
                <a:lnTo>
                  <a:pt x="206" y="48"/>
                </a:lnTo>
                <a:lnTo>
                  <a:pt x="210" y="48"/>
                </a:lnTo>
                <a:lnTo>
                  <a:pt x="210" y="52"/>
                </a:lnTo>
                <a:lnTo>
                  <a:pt x="214" y="56"/>
                </a:lnTo>
                <a:lnTo>
                  <a:pt x="216" y="56"/>
                </a:lnTo>
                <a:lnTo>
                  <a:pt x="216" y="52"/>
                </a:lnTo>
                <a:lnTo>
                  <a:pt x="216" y="48"/>
                </a:lnTo>
                <a:lnTo>
                  <a:pt x="216" y="44"/>
                </a:lnTo>
                <a:lnTo>
                  <a:pt x="216" y="40"/>
                </a:lnTo>
                <a:lnTo>
                  <a:pt x="220" y="40"/>
                </a:lnTo>
                <a:lnTo>
                  <a:pt x="216" y="44"/>
                </a:lnTo>
                <a:lnTo>
                  <a:pt x="220" y="44"/>
                </a:lnTo>
                <a:lnTo>
                  <a:pt x="220" y="48"/>
                </a:lnTo>
                <a:lnTo>
                  <a:pt x="224" y="52"/>
                </a:lnTo>
                <a:lnTo>
                  <a:pt x="224" y="48"/>
                </a:lnTo>
                <a:lnTo>
                  <a:pt x="220" y="48"/>
                </a:lnTo>
                <a:lnTo>
                  <a:pt x="220" y="44"/>
                </a:lnTo>
                <a:lnTo>
                  <a:pt x="220" y="40"/>
                </a:lnTo>
                <a:lnTo>
                  <a:pt x="224" y="40"/>
                </a:lnTo>
                <a:lnTo>
                  <a:pt x="224" y="36"/>
                </a:lnTo>
                <a:lnTo>
                  <a:pt x="228" y="36"/>
                </a:lnTo>
                <a:lnTo>
                  <a:pt x="224" y="36"/>
                </a:lnTo>
                <a:lnTo>
                  <a:pt x="224" y="34"/>
                </a:lnTo>
                <a:lnTo>
                  <a:pt x="224" y="30"/>
                </a:lnTo>
                <a:lnTo>
                  <a:pt x="228" y="30"/>
                </a:lnTo>
                <a:lnTo>
                  <a:pt x="232" y="30"/>
                </a:lnTo>
                <a:lnTo>
                  <a:pt x="232" y="26"/>
                </a:lnTo>
                <a:lnTo>
                  <a:pt x="232" y="22"/>
                </a:lnTo>
                <a:lnTo>
                  <a:pt x="236" y="22"/>
                </a:lnTo>
                <a:lnTo>
                  <a:pt x="236" y="18"/>
                </a:lnTo>
                <a:lnTo>
                  <a:pt x="236" y="14"/>
                </a:lnTo>
                <a:lnTo>
                  <a:pt x="240" y="14"/>
                </a:lnTo>
                <a:lnTo>
                  <a:pt x="240" y="10"/>
                </a:lnTo>
                <a:lnTo>
                  <a:pt x="242" y="10"/>
                </a:lnTo>
                <a:lnTo>
                  <a:pt x="242" y="6"/>
                </a:lnTo>
                <a:lnTo>
                  <a:pt x="242" y="4"/>
                </a:lnTo>
                <a:lnTo>
                  <a:pt x="242" y="6"/>
                </a:lnTo>
                <a:lnTo>
                  <a:pt x="242" y="10"/>
                </a:lnTo>
                <a:lnTo>
                  <a:pt x="246" y="10"/>
                </a:lnTo>
                <a:lnTo>
                  <a:pt x="246" y="6"/>
                </a:lnTo>
                <a:lnTo>
                  <a:pt x="246" y="4"/>
                </a:lnTo>
                <a:lnTo>
                  <a:pt x="250" y="4"/>
                </a:lnTo>
                <a:lnTo>
                  <a:pt x="250" y="6"/>
                </a:lnTo>
                <a:lnTo>
                  <a:pt x="250" y="10"/>
                </a:lnTo>
                <a:lnTo>
                  <a:pt x="254" y="10"/>
                </a:lnTo>
                <a:lnTo>
                  <a:pt x="254" y="14"/>
                </a:lnTo>
                <a:lnTo>
                  <a:pt x="254" y="10"/>
                </a:lnTo>
                <a:lnTo>
                  <a:pt x="254" y="14"/>
                </a:lnTo>
                <a:lnTo>
                  <a:pt x="258" y="14"/>
                </a:lnTo>
                <a:lnTo>
                  <a:pt x="258" y="18"/>
                </a:lnTo>
                <a:lnTo>
                  <a:pt x="254" y="18"/>
                </a:lnTo>
                <a:lnTo>
                  <a:pt x="258" y="22"/>
                </a:lnTo>
                <a:lnTo>
                  <a:pt x="254" y="22"/>
                </a:lnTo>
                <a:lnTo>
                  <a:pt x="258" y="22"/>
                </a:lnTo>
                <a:lnTo>
                  <a:pt x="262" y="22"/>
                </a:lnTo>
                <a:lnTo>
                  <a:pt x="262" y="26"/>
                </a:lnTo>
                <a:lnTo>
                  <a:pt x="258" y="26"/>
                </a:lnTo>
                <a:lnTo>
                  <a:pt x="262" y="26"/>
                </a:lnTo>
                <a:lnTo>
                  <a:pt x="266" y="26"/>
                </a:lnTo>
                <a:lnTo>
                  <a:pt x="270" y="26"/>
                </a:lnTo>
                <a:lnTo>
                  <a:pt x="270" y="30"/>
                </a:lnTo>
                <a:lnTo>
                  <a:pt x="272" y="30"/>
                </a:lnTo>
                <a:lnTo>
                  <a:pt x="272" y="34"/>
                </a:lnTo>
                <a:lnTo>
                  <a:pt x="276" y="34"/>
                </a:lnTo>
                <a:lnTo>
                  <a:pt x="280" y="34"/>
                </a:lnTo>
                <a:lnTo>
                  <a:pt x="280" y="36"/>
                </a:lnTo>
                <a:lnTo>
                  <a:pt x="276" y="36"/>
                </a:lnTo>
                <a:lnTo>
                  <a:pt x="272" y="36"/>
                </a:lnTo>
                <a:lnTo>
                  <a:pt x="272" y="40"/>
                </a:lnTo>
                <a:lnTo>
                  <a:pt x="270" y="40"/>
                </a:lnTo>
                <a:lnTo>
                  <a:pt x="266" y="40"/>
                </a:lnTo>
                <a:lnTo>
                  <a:pt x="266" y="36"/>
                </a:lnTo>
                <a:lnTo>
                  <a:pt x="266" y="40"/>
                </a:lnTo>
                <a:lnTo>
                  <a:pt x="262" y="40"/>
                </a:lnTo>
                <a:lnTo>
                  <a:pt x="266" y="44"/>
                </a:lnTo>
                <a:lnTo>
                  <a:pt x="270" y="44"/>
                </a:lnTo>
                <a:lnTo>
                  <a:pt x="270" y="48"/>
                </a:lnTo>
                <a:lnTo>
                  <a:pt x="270" y="52"/>
                </a:lnTo>
                <a:lnTo>
                  <a:pt x="266" y="52"/>
                </a:lnTo>
                <a:lnTo>
                  <a:pt x="262" y="52"/>
                </a:lnTo>
                <a:lnTo>
                  <a:pt x="258" y="52"/>
                </a:lnTo>
                <a:lnTo>
                  <a:pt x="258" y="48"/>
                </a:lnTo>
                <a:lnTo>
                  <a:pt x="254" y="52"/>
                </a:lnTo>
                <a:lnTo>
                  <a:pt x="250" y="52"/>
                </a:lnTo>
                <a:lnTo>
                  <a:pt x="246" y="52"/>
                </a:lnTo>
                <a:lnTo>
                  <a:pt x="242" y="52"/>
                </a:lnTo>
                <a:lnTo>
                  <a:pt x="240" y="52"/>
                </a:lnTo>
                <a:lnTo>
                  <a:pt x="236" y="52"/>
                </a:lnTo>
                <a:lnTo>
                  <a:pt x="232" y="52"/>
                </a:lnTo>
                <a:lnTo>
                  <a:pt x="232" y="48"/>
                </a:lnTo>
                <a:lnTo>
                  <a:pt x="232" y="52"/>
                </a:lnTo>
                <a:lnTo>
                  <a:pt x="228" y="52"/>
                </a:lnTo>
                <a:lnTo>
                  <a:pt x="228" y="56"/>
                </a:lnTo>
                <a:lnTo>
                  <a:pt x="228" y="60"/>
                </a:lnTo>
                <a:lnTo>
                  <a:pt x="228" y="64"/>
                </a:lnTo>
                <a:lnTo>
                  <a:pt x="228" y="66"/>
                </a:lnTo>
                <a:lnTo>
                  <a:pt x="224" y="66"/>
                </a:lnTo>
                <a:lnTo>
                  <a:pt x="224" y="70"/>
                </a:lnTo>
                <a:lnTo>
                  <a:pt x="224" y="74"/>
                </a:lnTo>
                <a:lnTo>
                  <a:pt x="220" y="74"/>
                </a:lnTo>
                <a:lnTo>
                  <a:pt x="220" y="82"/>
                </a:lnTo>
                <a:lnTo>
                  <a:pt x="216" y="86"/>
                </a:lnTo>
                <a:lnTo>
                  <a:pt x="216" y="90"/>
                </a:lnTo>
                <a:lnTo>
                  <a:pt x="216" y="92"/>
                </a:lnTo>
                <a:lnTo>
                  <a:pt x="214" y="92"/>
                </a:lnTo>
                <a:lnTo>
                  <a:pt x="214" y="96"/>
                </a:lnTo>
                <a:lnTo>
                  <a:pt x="214" y="100"/>
                </a:lnTo>
                <a:lnTo>
                  <a:pt x="210" y="100"/>
                </a:lnTo>
                <a:lnTo>
                  <a:pt x="206" y="100"/>
                </a:lnTo>
                <a:lnTo>
                  <a:pt x="202" y="100"/>
                </a:lnTo>
                <a:lnTo>
                  <a:pt x="202" y="104"/>
                </a:lnTo>
                <a:lnTo>
                  <a:pt x="198" y="104"/>
                </a:lnTo>
                <a:lnTo>
                  <a:pt x="194" y="100"/>
                </a:lnTo>
                <a:lnTo>
                  <a:pt x="190" y="100"/>
                </a:lnTo>
                <a:lnTo>
                  <a:pt x="190" y="96"/>
                </a:lnTo>
                <a:lnTo>
                  <a:pt x="186" y="96"/>
                </a:lnTo>
                <a:lnTo>
                  <a:pt x="184" y="96"/>
                </a:lnTo>
                <a:lnTo>
                  <a:pt x="180" y="100"/>
                </a:lnTo>
                <a:lnTo>
                  <a:pt x="180" y="104"/>
                </a:lnTo>
                <a:lnTo>
                  <a:pt x="176" y="104"/>
                </a:lnTo>
                <a:lnTo>
                  <a:pt x="176" y="108"/>
                </a:lnTo>
                <a:lnTo>
                  <a:pt x="172" y="108"/>
                </a:lnTo>
                <a:lnTo>
                  <a:pt x="168" y="108"/>
                </a:lnTo>
                <a:lnTo>
                  <a:pt x="164" y="108"/>
                </a:lnTo>
                <a:lnTo>
                  <a:pt x="160" y="108"/>
                </a:lnTo>
                <a:lnTo>
                  <a:pt x="156" y="108"/>
                </a:lnTo>
                <a:lnTo>
                  <a:pt x="156" y="112"/>
                </a:lnTo>
                <a:lnTo>
                  <a:pt x="154" y="112"/>
                </a:lnTo>
                <a:lnTo>
                  <a:pt x="154" y="108"/>
                </a:lnTo>
                <a:lnTo>
                  <a:pt x="150" y="104"/>
                </a:lnTo>
                <a:lnTo>
                  <a:pt x="146" y="104"/>
                </a:lnTo>
                <a:lnTo>
                  <a:pt x="146" y="100"/>
                </a:lnTo>
                <a:lnTo>
                  <a:pt x="142" y="96"/>
                </a:lnTo>
                <a:lnTo>
                  <a:pt x="142" y="92"/>
                </a:lnTo>
                <a:lnTo>
                  <a:pt x="142" y="90"/>
                </a:lnTo>
                <a:lnTo>
                  <a:pt x="142" y="92"/>
                </a:lnTo>
                <a:lnTo>
                  <a:pt x="146" y="92"/>
                </a:lnTo>
                <a:lnTo>
                  <a:pt x="146" y="96"/>
                </a:lnTo>
                <a:lnTo>
                  <a:pt x="150" y="96"/>
                </a:lnTo>
                <a:lnTo>
                  <a:pt x="154" y="92"/>
                </a:lnTo>
                <a:lnTo>
                  <a:pt x="154" y="96"/>
                </a:lnTo>
                <a:lnTo>
                  <a:pt x="156" y="96"/>
                </a:lnTo>
                <a:lnTo>
                  <a:pt x="156" y="100"/>
                </a:lnTo>
                <a:lnTo>
                  <a:pt x="156" y="96"/>
                </a:lnTo>
                <a:lnTo>
                  <a:pt x="160" y="96"/>
                </a:lnTo>
                <a:lnTo>
                  <a:pt x="160" y="100"/>
                </a:lnTo>
                <a:lnTo>
                  <a:pt x="164" y="100"/>
                </a:lnTo>
                <a:lnTo>
                  <a:pt x="168" y="100"/>
                </a:lnTo>
                <a:lnTo>
                  <a:pt x="164" y="100"/>
                </a:lnTo>
                <a:lnTo>
                  <a:pt x="160" y="100"/>
                </a:lnTo>
                <a:lnTo>
                  <a:pt x="160" y="96"/>
                </a:lnTo>
                <a:lnTo>
                  <a:pt x="164" y="92"/>
                </a:lnTo>
                <a:lnTo>
                  <a:pt x="164" y="90"/>
                </a:lnTo>
                <a:lnTo>
                  <a:pt x="168" y="90"/>
                </a:lnTo>
                <a:lnTo>
                  <a:pt x="164" y="90"/>
                </a:lnTo>
                <a:lnTo>
                  <a:pt x="164" y="86"/>
                </a:lnTo>
                <a:lnTo>
                  <a:pt x="164" y="82"/>
                </a:lnTo>
                <a:lnTo>
                  <a:pt x="164" y="86"/>
                </a:lnTo>
                <a:lnTo>
                  <a:pt x="168" y="86"/>
                </a:lnTo>
                <a:lnTo>
                  <a:pt x="168" y="82"/>
                </a:lnTo>
                <a:lnTo>
                  <a:pt x="168" y="78"/>
                </a:lnTo>
                <a:lnTo>
                  <a:pt x="172" y="78"/>
                </a:lnTo>
                <a:lnTo>
                  <a:pt x="172" y="74"/>
                </a:lnTo>
                <a:lnTo>
                  <a:pt x="176" y="74"/>
                </a:lnTo>
                <a:lnTo>
                  <a:pt x="180" y="74"/>
                </a:lnTo>
                <a:lnTo>
                  <a:pt x="184" y="74"/>
                </a:lnTo>
                <a:lnTo>
                  <a:pt x="186" y="74"/>
                </a:lnTo>
                <a:lnTo>
                  <a:pt x="186" y="70"/>
                </a:lnTo>
                <a:lnTo>
                  <a:pt x="190" y="70"/>
                </a:lnTo>
                <a:lnTo>
                  <a:pt x="194" y="66"/>
                </a:lnTo>
                <a:lnTo>
                  <a:pt x="194" y="64"/>
                </a:lnTo>
                <a:lnTo>
                  <a:pt x="198" y="60"/>
                </a:lnTo>
                <a:lnTo>
                  <a:pt x="198" y="56"/>
                </a:lnTo>
                <a:lnTo>
                  <a:pt x="202" y="56"/>
                </a:lnTo>
                <a:lnTo>
                  <a:pt x="202" y="52"/>
                </a:lnTo>
                <a:lnTo>
                  <a:pt x="206" y="48"/>
                </a:lnTo>
                <a:lnTo>
                  <a:pt x="202" y="48"/>
                </a:lnTo>
                <a:lnTo>
                  <a:pt x="202" y="44"/>
                </a:lnTo>
                <a:lnTo>
                  <a:pt x="206" y="44"/>
                </a:lnTo>
                <a:lnTo>
                  <a:pt x="206" y="44"/>
                </a:lnTo>
                <a:lnTo>
                  <a:pt x="206" y="44"/>
                </a:lnTo>
                <a:close/>
                <a:moveTo>
                  <a:pt x="4" y="14"/>
                </a:moveTo>
                <a:lnTo>
                  <a:pt x="4" y="18"/>
                </a:lnTo>
                <a:lnTo>
                  <a:pt x="0" y="14"/>
                </a:lnTo>
                <a:lnTo>
                  <a:pt x="4" y="14"/>
                </a:lnTo>
                <a:lnTo>
                  <a:pt x="4" y="14"/>
                </a:lnTo>
                <a:lnTo>
                  <a:pt x="4" y="14"/>
                </a:lnTo>
                <a:close/>
                <a:moveTo>
                  <a:pt x="12" y="34"/>
                </a:moveTo>
                <a:lnTo>
                  <a:pt x="8" y="34"/>
                </a:lnTo>
                <a:lnTo>
                  <a:pt x="8" y="30"/>
                </a:lnTo>
                <a:lnTo>
                  <a:pt x="12" y="30"/>
                </a:lnTo>
                <a:lnTo>
                  <a:pt x="12" y="34"/>
                </a:lnTo>
                <a:lnTo>
                  <a:pt x="12" y="34"/>
                </a:lnTo>
                <a:lnTo>
                  <a:pt x="12" y="34"/>
                </a:lnTo>
                <a:close/>
                <a:moveTo>
                  <a:pt x="64" y="74"/>
                </a:moveTo>
                <a:lnTo>
                  <a:pt x="64" y="78"/>
                </a:lnTo>
                <a:lnTo>
                  <a:pt x="68" y="78"/>
                </a:lnTo>
                <a:lnTo>
                  <a:pt x="64" y="78"/>
                </a:lnTo>
                <a:lnTo>
                  <a:pt x="64" y="74"/>
                </a:lnTo>
                <a:lnTo>
                  <a:pt x="64" y="74"/>
                </a:lnTo>
                <a:lnTo>
                  <a:pt x="64" y="74"/>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3" name="Freeform 40"/>
          <p:cNvSpPr>
            <a:spLocks noEditPoints="1"/>
          </p:cNvSpPr>
          <p:nvPr/>
        </p:nvSpPr>
        <p:spPr bwMode="auto">
          <a:xfrm>
            <a:off x="5486400" y="3555206"/>
            <a:ext cx="9525" cy="154781"/>
          </a:xfrm>
          <a:custGeom>
            <a:avLst/>
            <a:gdLst>
              <a:gd name="T0" fmla="*/ 0 w 8"/>
              <a:gd name="T1" fmla="*/ 0 h 130"/>
              <a:gd name="T2" fmla="*/ 0 w 8"/>
              <a:gd name="T3" fmla="*/ 0 h 130"/>
              <a:gd name="T4" fmla="*/ 4 w 8"/>
              <a:gd name="T5" fmla="*/ 6 h 130"/>
              <a:gd name="T6" fmla="*/ 4 w 8"/>
              <a:gd name="T7" fmla="*/ 2 h 130"/>
              <a:gd name="T8" fmla="*/ 4 w 8"/>
              <a:gd name="T9" fmla="*/ 2 h 130"/>
              <a:gd name="T10" fmla="*/ 0 w 8"/>
              <a:gd name="T11" fmla="*/ 10 h 130"/>
              <a:gd name="T12" fmla="*/ 0 w 8"/>
              <a:gd name="T13" fmla="*/ 10 h 130"/>
              <a:gd name="T14" fmla="*/ 0 w 8"/>
              <a:gd name="T15" fmla="*/ 18 h 130"/>
              <a:gd name="T16" fmla="*/ 0 w 8"/>
              <a:gd name="T17" fmla="*/ 18 h 130"/>
              <a:gd name="T18" fmla="*/ 4 w 8"/>
              <a:gd name="T19" fmla="*/ 22 h 130"/>
              <a:gd name="T20" fmla="*/ 8 w 8"/>
              <a:gd name="T21" fmla="*/ 22 h 130"/>
              <a:gd name="T22" fmla="*/ 8 w 8"/>
              <a:gd name="T23" fmla="*/ 30 h 130"/>
              <a:gd name="T24" fmla="*/ 8 w 8"/>
              <a:gd name="T25" fmla="*/ 30 h 130"/>
              <a:gd name="T26" fmla="*/ 8 w 8"/>
              <a:gd name="T27" fmla="*/ 30 h 130"/>
              <a:gd name="T28" fmla="*/ 0 w 8"/>
              <a:gd name="T29" fmla="*/ 36 h 130"/>
              <a:gd name="T30" fmla="*/ 0 w 8"/>
              <a:gd name="T31" fmla="*/ 36 h 130"/>
              <a:gd name="T32" fmla="*/ 0 w 8"/>
              <a:gd name="T33" fmla="*/ 44 h 130"/>
              <a:gd name="T34" fmla="*/ 0 w 8"/>
              <a:gd name="T35" fmla="*/ 44 h 130"/>
              <a:gd name="T36" fmla="*/ 8 w 8"/>
              <a:gd name="T37" fmla="*/ 48 h 130"/>
              <a:gd name="T38" fmla="*/ 8 w 8"/>
              <a:gd name="T39" fmla="*/ 48 h 130"/>
              <a:gd name="T40" fmla="*/ 8 w 8"/>
              <a:gd name="T41" fmla="*/ 48 h 130"/>
              <a:gd name="T42" fmla="*/ 8 w 8"/>
              <a:gd name="T43" fmla="*/ 62 h 130"/>
              <a:gd name="T44" fmla="*/ 8 w 8"/>
              <a:gd name="T45" fmla="*/ 62 h 130"/>
              <a:gd name="T46" fmla="*/ 8 w 8"/>
              <a:gd name="T47" fmla="*/ 62 h 130"/>
              <a:gd name="T48" fmla="*/ 0 w 8"/>
              <a:gd name="T49" fmla="*/ 66 h 130"/>
              <a:gd name="T50" fmla="*/ 0 w 8"/>
              <a:gd name="T51" fmla="*/ 66 h 130"/>
              <a:gd name="T52" fmla="*/ 0 w 8"/>
              <a:gd name="T53" fmla="*/ 66 h 130"/>
              <a:gd name="T54" fmla="*/ 0 w 8"/>
              <a:gd name="T55" fmla="*/ 66 h 130"/>
              <a:gd name="T56" fmla="*/ 0 w 8"/>
              <a:gd name="T57" fmla="*/ 70 h 130"/>
              <a:gd name="T58" fmla="*/ 0 w 8"/>
              <a:gd name="T59" fmla="*/ 70 h 130"/>
              <a:gd name="T60" fmla="*/ 8 w 8"/>
              <a:gd name="T61" fmla="*/ 70 h 130"/>
              <a:gd name="T62" fmla="*/ 8 w 8"/>
              <a:gd name="T63" fmla="*/ 70 h 130"/>
              <a:gd name="T64" fmla="*/ 4 w 8"/>
              <a:gd name="T65" fmla="*/ 78 h 130"/>
              <a:gd name="T66" fmla="*/ 4 w 8"/>
              <a:gd name="T67" fmla="*/ 82 h 130"/>
              <a:gd name="T68" fmla="*/ 4 w 8"/>
              <a:gd name="T69" fmla="*/ 78 h 130"/>
              <a:gd name="T70" fmla="*/ 8 w 8"/>
              <a:gd name="T71" fmla="*/ 88 h 130"/>
              <a:gd name="T72" fmla="*/ 8 w 8"/>
              <a:gd name="T73" fmla="*/ 88 h 130"/>
              <a:gd name="T74" fmla="*/ 8 w 8"/>
              <a:gd name="T75" fmla="*/ 88 h 130"/>
              <a:gd name="T76" fmla="*/ 8 w 8"/>
              <a:gd name="T77" fmla="*/ 114 h 130"/>
              <a:gd name="T78" fmla="*/ 8 w 8"/>
              <a:gd name="T79" fmla="*/ 114 h 130"/>
              <a:gd name="T80" fmla="*/ 0 w 8"/>
              <a:gd name="T81" fmla="*/ 118 h 130"/>
              <a:gd name="T82" fmla="*/ 0 w 8"/>
              <a:gd name="T83" fmla="*/ 114 h 130"/>
              <a:gd name="T84" fmla="*/ 8 w 8"/>
              <a:gd name="T85" fmla="*/ 126 h 130"/>
              <a:gd name="T86" fmla="*/ 8 w 8"/>
              <a:gd name="T87" fmla="*/ 126 h 130"/>
              <a:gd name="T88" fmla="*/ 0 w 8"/>
              <a:gd name="T89" fmla="*/ 130 h 130"/>
              <a:gd name="T90" fmla="*/ 0 w 8"/>
              <a:gd name="T91" fmla="*/ 130 h 130"/>
              <a:gd name="T92" fmla="*/ 0 w 8"/>
              <a:gd name="T93" fmla="*/ 1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 h="130">
                <a:moveTo>
                  <a:pt x="0" y="0"/>
                </a:moveTo>
                <a:lnTo>
                  <a:pt x="0" y="0"/>
                </a:lnTo>
                <a:lnTo>
                  <a:pt x="0" y="0"/>
                </a:lnTo>
                <a:lnTo>
                  <a:pt x="0" y="0"/>
                </a:lnTo>
                <a:lnTo>
                  <a:pt x="0" y="0"/>
                </a:lnTo>
                <a:lnTo>
                  <a:pt x="0" y="0"/>
                </a:lnTo>
                <a:close/>
                <a:moveTo>
                  <a:pt x="4" y="2"/>
                </a:moveTo>
                <a:lnTo>
                  <a:pt x="4" y="6"/>
                </a:lnTo>
                <a:lnTo>
                  <a:pt x="4" y="6"/>
                </a:lnTo>
                <a:lnTo>
                  <a:pt x="4" y="6"/>
                </a:lnTo>
                <a:lnTo>
                  <a:pt x="4" y="6"/>
                </a:lnTo>
                <a:lnTo>
                  <a:pt x="4" y="2"/>
                </a:lnTo>
                <a:lnTo>
                  <a:pt x="4" y="2"/>
                </a:lnTo>
                <a:lnTo>
                  <a:pt x="4" y="2"/>
                </a:lnTo>
                <a:lnTo>
                  <a:pt x="4" y="2"/>
                </a:lnTo>
                <a:close/>
                <a:moveTo>
                  <a:pt x="0" y="10"/>
                </a:moveTo>
                <a:lnTo>
                  <a:pt x="0" y="10"/>
                </a:lnTo>
                <a:lnTo>
                  <a:pt x="0" y="10"/>
                </a:lnTo>
                <a:lnTo>
                  <a:pt x="0" y="10"/>
                </a:lnTo>
                <a:lnTo>
                  <a:pt x="0" y="10"/>
                </a:lnTo>
                <a:lnTo>
                  <a:pt x="0" y="10"/>
                </a:lnTo>
                <a:close/>
                <a:moveTo>
                  <a:pt x="0" y="18"/>
                </a:moveTo>
                <a:lnTo>
                  <a:pt x="0" y="18"/>
                </a:lnTo>
                <a:lnTo>
                  <a:pt x="0" y="18"/>
                </a:lnTo>
                <a:lnTo>
                  <a:pt x="0" y="18"/>
                </a:lnTo>
                <a:lnTo>
                  <a:pt x="0" y="18"/>
                </a:lnTo>
                <a:lnTo>
                  <a:pt x="0" y="18"/>
                </a:lnTo>
                <a:close/>
                <a:moveTo>
                  <a:pt x="8" y="22"/>
                </a:moveTo>
                <a:lnTo>
                  <a:pt x="8" y="22"/>
                </a:lnTo>
                <a:lnTo>
                  <a:pt x="4" y="22"/>
                </a:lnTo>
                <a:lnTo>
                  <a:pt x="8" y="22"/>
                </a:lnTo>
                <a:lnTo>
                  <a:pt x="8" y="22"/>
                </a:lnTo>
                <a:lnTo>
                  <a:pt x="8" y="22"/>
                </a:lnTo>
                <a:lnTo>
                  <a:pt x="8" y="22"/>
                </a:lnTo>
                <a:close/>
                <a:moveTo>
                  <a:pt x="8" y="30"/>
                </a:moveTo>
                <a:lnTo>
                  <a:pt x="8" y="30"/>
                </a:lnTo>
                <a:lnTo>
                  <a:pt x="8" y="30"/>
                </a:lnTo>
                <a:lnTo>
                  <a:pt x="8" y="30"/>
                </a:lnTo>
                <a:lnTo>
                  <a:pt x="8" y="30"/>
                </a:lnTo>
                <a:lnTo>
                  <a:pt x="8" y="30"/>
                </a:lnTo>
                <a:lnTo>
                  <a:pt x="8" y="30"/>
                </a:lnTo>
                <a:lnTo>
                  <a:pt x="8" y="30"/>
                </a:lnTo>
                <a:close/>
                <a:moveTo>
                  <a:pt x="0" y="36"/>
                </a:moveTo>
                <a:lnTo>
                  <a:pt x="0" y="36"/>
                </a:lnTo>
                <a:lnTo>
                  <a:pt x="0" y="36"/>
                </a:lnTo>
                <a:lnTo>
                  <a:pt x="0" y="36"/>
                </a:lnTo>
                <a:lnTo>
                  <a:pt x="0" y="36"/>
                </a:lnTo>
                <a:lnTo>
                  <a:pt x="0" y="36"/>
                </a:lnTo>
                <a:close/>
                <a:moveTo>
                  <a:pt x="0" y="44"/>
                </a:moveTo>
                <a:lnTo>
                  <a:pt x="0" y="44"/>
                </a:lnTo>
                <a:lnTo>
                  <a:pt x="0" y="44"/>
                </a:lnTo>
                <a:lnTo>
                  <a:pt x="0" y="44"/>
                </a:lnTo>
                <a:lnTo>
                  <a:pt x="0" y="44"/>
                </a:lnTo>
                <a:lnTo>
                  <a:pt x="0" y="44"/>
                </a:lnTo>
                <a:lnTo>
                  <a:pt x="0" y="44"/>
                </a:lnTo>
                <a:lnTo>
                  <a:pt x="0" y="44"/>
                </a:lnTo>
                <a:close/>
                <a:moveTo>
                  <a:pt x="8" y="48"/>
                </a:moveTo>
                <a:lnTo>
                  <a:pt x="8" y="48"/>
                </a:lnTo>
                <a:lnTo>
                  <a:pt x="8" y="48"/>
                </a:lnTo>
                <a:lnTo>
                  <a:pt x="8" y="48"/>
                </a:lnTo>
                <a:lnTo>
                  <a:pt x="8" y="48"/>
                </a:lnTo>
                <a:lnTo>
                  <a:pt x="8" y="48"/>
                </a:lnTo>
                <a:lnTo>
                  <a:pt x="8" y="48"/>
                </a:lnTo>
                <a:close/>
                <a:moveTo>
                  <a:pt x="8" y="62"/>
                </a:moveTo>
                <a:lnTo>
                  <a:pt x="8" y="62"/>
                </a:lnTo>
                <a:lnTo>
                  <a:pt x="8" y="62"/>
                </a:lnTo>
                <a:lnTo>
                  <a:pt x="8" y="62"/>
                </a:lnTo>
                <a:lnTo>
                  <a:pt x="8" y="62"/>
                </a:lnTo>
                <a:lnTo>
                  <a:pt x="8" y="62"/>
                </a:lnTo>
                <a:lnTo>
                  <a:pt x="8" y="62"/>
                </a:lnTo>
                <a:lnTo>
                  <a:pt x="8" y="62"/>
                </a:lnTo>
                <a:lnTo>
                  <a:pt x="8" y="62"/>
                </a:lnTo>
                <a:lnTo>
                  <a:pt x="8" y="62"/>
                </a:lnTo>
                <a:lnTo>
                  <a:pt x="8" y="62"/>
                </a:lnTo>
                <a:close/>
                <a:moveTo>
                  <a:pt x="0" y="66"/>
                </a:moveTo>
                <a:lnTo>
                  <a:pt x="0" y="66"/>
                </a:lnTo>
                <a:lnTo>
                  <a:pt x="0" y="66"/>
                </a:lnTo>
                <a:lnTo>
                  <a:pt x="0" y="66"/>
                </a:lnTo>
                <a:lnTo>
                  <a:pt x="0" y="66"/>
                </a:lnTo>
                <a:lnTo>
                  <a:pt x="0" y="66"/>
                </a:lnTo>
                <a:lnTo>
                  <a:pt x="0" y="66"/>
                </a:lnTo>
                <a:lnTo>
                  <a:pt x="0" y="66"/>
                </a:lnTo>
                <a:lnTo>
                  <a:pt x="0" y="66"/>
                </a:lnTo>
                <a:lnTo>
                  <a:pt x="0" y="66"/>
                </a:lnTo>
                <a:lnTo>
                  <a:pt x="0" y="66"/>
                </a:lnTo>
                <a:lnTo>
                  <a:pt x="0" y="66"/>
                </a:lnTo>
                <a:close/>
                <a:moveTo>
                  <a:pt x="0" y="70"/>
                </a:moveTo>
                <a:lnTo>
                  <a:pt x="0" y="70"/>
                </a:lnTo>
                <a:lnTo>
                  <a:pt x="0" y="70"/>
                </a:lnTo>
                <a:lnTo>
                  <a:pt x="0" y="70"/>
                </a:lnTo>
                <a:lnTo>
                  <a:pt x="0" y="70"/>
                </a:lnTo>
                <a:lnTo>
                  <a:pt x="0" y="70"/>
                </a:lnTo>
                <a:close/>
                <a:moveTo>
                  <a:pt x="8" y="70"/>
                </a:moveTo>
                <a:lnTo>
                  <a:pt x="8" y="70"/>
                </a:lnTo>
                <a:lnTo>
                  <a:pt x="8" y="70"/>
                </a:lnTo>
                <a:lnTo>
                  <a:pt x="8" y="70"/>
                </a:lnTo>
                <a:lnTo>
                  <a:pt x="8" y="70"/>
                </a:lnTo>
                <a:lnTo>
                  <a:pt x="8" y="70"/>
                </a:lnTo>
                <a:close/>
                <a:moveTo>
                  <a:pt x="4" y="78"/>
                </a:moveTo>
                <a:lnTo>
                  <a:pt x="4" y="78"/>
                </a:lnTo>
                <a:lnTo>
                  <a:pt x="4" y="78"/>
                </a:lnTo>
                <a:lnTo>
                  <a:pt x="4" y="82"/>
                </a:lnTo>
                <a:lnTo>
                  <a:pt x="4" y="78"/>
                </a:lnTo>
                <a:lnTo>
                  <a:pt x="4" y="78"/>
                </a:lnTo>
                <a:lnTo>
                  <a:pt x="4" y="78"/>
                </a:lnTo>
                <a:lnTo>
                  <a:pt x="4" y="78"/>
                </a:lnTo>
                <a:close/>
                <a:moveTo>
                  <a:pt x="8" y="88"/>
                </a:moveTo>
                <a:lnTo>
                  <a:pt x="8" y="88"/>
                </a:lnTo>
                <a:lnTo>
                  <a:pt x="8" y="88"/>
                </a:lnTo>
                <a:lnTo>
                  <a:pt x="8" y="88"/>
                </a:lnTo>
                <a:lnTo>
                  <a:pt x="8" y="88"/>
                </a:lnTo>
                <a:lnTo>
                  <a:pt x="8" y="88"/>
                </a:lnTo>
                <a:lnTo>
                  <a:pt x="8" y="88"/>
                </a:lnTo>
                <a:lnTo>
                  <a:pt x="8" y="88"/>
                </a:lnTo>
                <a:close/>
                <a:moveTo>
                  <a:pt x="8" y="114"/>
                </a:moveTo>
                <a:lnTo>
                  <a:pt x="8" y="114"/>
                </a:lnTo>
                <a:lnTo>
                  <a:pt x="8" y="114"/>
                </a:lnTo>
                <a:lnTo>
                  <a:pt x="8" y="114"/>
                </a:lnTo>
                <a:lnTo>
                  <a:pt x="8" y="114"/>
                </a:lnTo>
                <a:lnTo>
                  <a:pt x="8" y="114"/>
                </a:lnTo>
                <a:close/>
                <a:moveTo>
                  <a:pt x="0" y="114"/>
                </a:moveTo>
                <a:lnTo>
                  <a:pt x="0" y="114"/>
                </a:lnTo>
                <a:lnTo>
                  <a:pt x="0" y="118"/>
                </a:lnTo>
                <a:lnTo>
                  <a:pt x="0" y="114"/>
                </a:lnTo>
                <a:lnTo>
                  <a:pt x="0" y="114"/>
                </a:lnTo>
                <a:lnTo>
                  <a:pt x="0" y="114"/>
                </a:lnTo>
                <a:lnTo>
                  <a:pt x="0" y="114"/>
                </a:lnTo>
                <a:close/>
                <a:moveTo>
                  <a:pt x="8" y="126"/>
                </a:moveTo>
                <a:lnTo>
                  <a:pt x="8" y="126"/>
                </a:lnTo>
                <a:lnTo>
                  <a:pt x="8" y="126"/>
                </a:lnTo>
                <a:lnTo>
                  <a:pt x="8" y="126"/>
                </a:lnTo>
                <a:lnTo>
                  <a:pt x="8" y="126"/>
                </a:lnTo>
                <a:lnTo>
                  <a:pt x="8" y="126"/>
                </a:lnTo>
                <a:lnTo>
                  <a:pt x="8" y="126"/>
                </a:lnTo>
                <a:close/>
                <a:moveTo>
                  <a:pt x="0" y="130"/>
                </a:moveTo>
                <a:lnTo>
                  <a:pt x="0" y="130"/>
                </a:lnTo>
                <a:lnTo>
                  <a:pt x="0" y="130"/>
                </a:lnTo>
                <a:lnTo>
                  <a:pt x="0" y="130"/>
                </a:lnTo>
                <a:lnTo>
                  <a:pt x="0" y="130"/>
                </a:lnTo>
                <a:lnTo>
                  <a:pt x="0" y="130"/>
                </a:lnTo>
                <a:lnTo>
                  <a:pt x="0" y="130"/>
                </a:lnTo>
                <a:lnTo>
                  <a:pt x="0" y="130"/>
                </a:lnTo>
                <a:lnTo>
                  <a:pt x="0" y="130"/>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4" name="Freeform 41"/>
          <p:cNvSpPr>
            <a:spLocks/>
          </p:cNvSpPr>
          <p:nvPr/>
        </p:nvSpPr>
        <p:spPr bwMode="auto">
          <a:xfrm>
            <a:off x="5734050" y="2559843"/>
            <a:ext cx="542925" cy="252413"/>
          </a:xfrm>
          <a:custGeom>
            <a:avLst/>
            <a:gdLst>
              <a:gd name="T0" fmla="*/ 400 w 456"/>
              <a:gd name="T1" fmla="*/ 134 h 212"/>
              <a:gd name="T2" fmla="*/ 376 w 456"/>
              <a:gd name="T3" fmla="*/ 142 h 212"/>
              <a:gd name="T4" fmla="*/ 358 w 456"/>
              <a:gd name="T5" fmla="*/ 150 h 212"/>
              <a:gd name="T6" fmla="*/ 336 w 456"/>
              <a:gd name="T7" fmla="*/ 154 h 212"/>
              <a:gd name="T8" fmla="*/ 340 w 456"/>
              <a:gd name="T9" fmla="*/ 176 h 212"/>
              <a:gd name="T10" fmla="*/ 324 w 456"/>
              <a:gd name="T11" fmla="*/ 186 h 212"/>
              <a:gd name="T12" fmla="*/ 310 w 456"/>
              <a:gd name="T13" fmla="*/ 198 h 212"/>
              <a:gd name="T14" fmla="*/ 280 w 456"/>
              <a:gd name="T15" fmla="*/ 198 h 212"/>
              <a:gd name="T16" fmla="*/ 254 w 456"/>
              <a:gd name="T17" fmla="*/ 208 h 212"/>
              <a:gd name="T18" fmla="*/ 228 w 456"/>
              <a:gd name="T19" fmla="*/ 208 h 212"/>
              <a:gd name="T20" fmla="*/ 202 w 456"/>
              <a:gd name="T21" fmla="*/ 198 h 212"/>
              <a:gd name="T22" fmla="*/ 180 w 456"/>
              <a:gd name="T23" fmla="*/ 190 h 212"/>
              <a:gd name="T24" fmla="*/ 152 w 456"/>
              <a:gd name="T25" fmla="*/ 194 h 212"/>
              <a:gd name="T26" fmla="*/ 128 w 456"/>
              <a:gd name="T27" fmla="*/ 190 h 212"/>
              <a:gd name="T28" fmla="*/ 112 w 456"/>
              <a:gd name="T29" fmla="*/ 176 h 212"/>
              <a:gd name="T30" fmla="*/ 98 w 456"/>
              <a:gd name="T31" fmla="*/ 160 h 212"/>
              <a:gd name="T32" fmla="*/ 84 w 456"/>
              <a:gd name="T33" fmla="*/ 150 h 212"/>
              <a:gd name="T34" fmla="*/ 60 w 456"/>
              <a:gd name="T35" fmla="*/ 146 h 212"/>
              <a:gd name="T36" fmla="*/ 42 w 456"/>
              <a:gd name="T37" fmla="*/ 134 h 212"/>
              <a:gd name="T38" fmla="*/ 50 w 456"/>
              <a:gd name="T39" fmla="*/ 112 h 212"/>
              <a:gd name="T40" fmla="*/ 38 w 456"/>
              <a:gd name="T41" fmla="*/ 98 h 212"/>
              <a:gd name="T42" fmla="*/ 28 w 456"/>
              <a:gd name="T43" fmla="*/ 86 h 212"/>
              <a:gd name="T44" fmla="*/ 8 w 456"/>
              <a:gd name="T45" fmla="*/ 74 h 212"/>
              <a:gd name="T46" fmla="*/ 4 w 456"/>
              <a:gd name="T47" fmla="*/ 60 h 212"/>
              <a:gd name="T48" fmla="*/ 20 w 456"/>
              <a:gd name="T49" fmla="*/ 52 h 212"/>
              <a:gd name="T50" fmla="*/ 28 w 456"/>
              <a:gd name="T51" fmla="*/ 48 h 212"/>
              <a:gd name="T52" fmla="*/ 42 w 456"/>
              <a:gd name="T53" fmla="*/ 38 h 212"/>
              <a:gd name="T54" fmla="*/ 56 w 456"/>
              <a:gd name="T55" fmla="*/ 30 h 212"/>
              <a:gd name="T56" fmla="*/ 76 w 456"/>
              <a:gd name="T57" fmla="*/ 26 h 212"/>
              <a:gd name="T58" fmla="*/ 94 w 456"/>
              <a:gd name="T59" fmla="*/ 34 h 212"/>
              <a:gd name="T60" fmla="*/ 110 w 456"/>
              <a:gd name="T61" fmla="*/ 44 h 212"/>
              <a:gd name="T62" fmla="*/ 136 w 456"/>
              <a:gd name="T63" fmla="*/ 48 h 212"/>
              <a:gd name="T64" fmla="*/ 150 w 456"/>
              <a:gd name="T65" fmla="*/ 38 h 212"/>
              <a:gd name="T66" fmla="*/ 146 w 456"/>
              <a:gd name="T67" fmla="*/ 12 h 212"/>
              <a:gd name="T68" fmla="*/ 156 w 456"/>
              <a:gd name="T69" fmla="*/ 4 h 212"/>
              <a:gd name="T70" fmla="*/ 176 w 456"/>
              <a:gd name="T71" fmla="*/ 8 h 212"/>
              <a:gd name="T72" fmla="*/ 198 w 456"/>
              <a:gd name="T73" fmla="*/ 12 h 212"/>
              <a:gd name="T74" fmla="*/ 206 w 456"/>
              <a:gd name="T75" fmla="*/ 30 h 212"/>
              <a:gd name="T76" fmla="*/ 220 w 456"/>
              <a:gd name="T77" fmla="*/ 42 h 212"/>
              <a:gd name="T78" fmla="*/ 242 w 456"/>
              <a:gd name="T79" fmla="*/ 34 h 212"/>
              <a:gd name="T80" fmla="*/ 262 w 456"/>
              <a:gd name="T81" fmla="*/ 38 h 212"/>
              <a:gd name="T82" fmla="*/ 288 w 456"/>
              <a:gd name="T83" fmla="*/ 44 h 212"/>
              <a:gd name="T84" fmla="*/ 306 w 456"/>
              <a:gd name="T85" fmla="*/ 56 h 212"/>
              <a:gd name="T86" fmla="*/ 332 w 456"/>
              <a:gd name="T87" fmla="*/ 60 h 212"/>
              <a:gd name="T88" fmla="*/ 354 w 456"/>
              <a:gd name="T89" fmla="*/ 52 h 212"/>
              <a:gd name="T90" fmla="*/ 370 w 456"/>
              <a:gd name="T91" fmla="*/ 42 h 212"/>
              <a:gd name="T92" fmla="*/ 388 w 456"/>
              <a:gd name="T93" fmla="*/ 42 h 212"/>
              <a:gd name="T94" fmla="*/ 410 w 456"/>
              <a:gd name="T95" fmla="*/ 44 h 212"/>
              <a:gd name="T96" fmla="*/ 400 w 456"/>
              <a:gd name="T97" fmla="*/ 68 h 212"/>
              <a:gd name="T98" fmla="*/ 396 w 456"/>
              <a:gd name="T99" fmla="*/ 86 h 212"/>
              <a:gd name="T100" fmla="*/ 414 w 456"/>
              <a:gd name="T101" fmla="*/ 90 h 212"/>
              <a:gd name="T102" fmla="*/ 436 w 456"/>
              <a:gd name="T103" fmla="*/ 86 h 212"/>
              <a:gd name="T104" fmla="*/ 456 w 456"/>
              <a:gd name="T105" fmla="*/ 104 h 212"/>
              <a:gd name="T106" fmla="*/ 440 w 456"/>
              <a:gd name="T107" fmla="*/ 108 h 212"/>
              <a:gd name="T108" fmla="*/ 422 w 456"/>
              <a:gd name="T109" fmla="*/ 116 h 212"/>
              <a:gd name="T110" fmla="*/ 410 w 456"/>
              <a:gd name="T111" fmla="*/ 12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6" h="212">
                <a:moveTo>
                  <a:pt x="410" y="120"/>
                </a:moveTo>
                <a:lnTo>
                  <a:pt x="406" y="120"/>
                </a:lnTo>
                <a:lnTo>
                  <a:pt x="406" y="124"/>
                </a:lnTo>
                <a:lnTo>
                  <a:pt x="402" y="128"/>
                </a:lnTo>
                <a:lnTo>
                  <a:pt x="402" y="130"/>
                </a:lnTo>
                <a:lnTo>
                  <a:pt x="400" y="130"/>
                </a:lnTo>
                <a:lnTo>
                  <a:pt x="400" y="134"/>
                </a:lnTo>
                <a:lnTo>
                  <a:pt x="396" y="134"/>
                </a:lnTo>
                <a:lnTo>
                  <a:pt x="396" y="138"/>
                </a:lnTo>
                <a:lnTo>
                  <a:pt x="392" y="138"/>
                </a:lnTo>
                <a:lnTo>
                  <a:pt x="388" y="138"/>
                </a:lnTo>
                <a:lnTo>
                  <a:pt x="384" y="138"/>
                </a:lnTo>
                <a:lnTo>
                  <a:pt x="380" y="138"/>
                </a:lnTo>
                <a:lnTo>
                  <a:pt x="376" y="142"/>
                </a:lnTo>
                <a:lnTo>
                  <a:pt x="376" y="146"/>
                </a:lnTo>
                <a:lnTo>
                  <a:pt x="374" y="146"/>
                </a:lnTo>
                <a:lnTo>
                  <a:pt x="370" y="146"/>
                </a:lnTo>
                <a:lnTo>
                  <a:pt x="370" y="150"/>
                </a:lnTo>
                <a:lnTo>
                  <a:pt x="366" y="150"/>
                </a:lnTo>
                <a:lnTo>
                  <a:pt x="362" y="150"/>
                </a:lnTo>
                <a:lnTo>
                  <a:pt x="358" y="150"/>
                </a:lnTo>
                <a:lnTo>
                  <a:pt x="354" y="150"/>
                </a:lnTo>
                <a:lnTo>
                  <a:pt x="350" y="146"/>
                </a:lnTo>
                <a:lnTo>
                  <a:pt x="346" y="146"/>
                </a:lnTo>
                <a:lnTo>
                  <a:pt x="344" y="146"/>
                </a:lnTo>
                <a:lnTo>
                  <a:pt x="340" y="146"/>
                </a:lnTo>
                <a:lnTo>
                  <a:pt x="340" y="150"/>
                </a:lnTo>
                <a:lnTo>
                  <a:pt x="336" y="154"/>
                </a:lnTo>
                <a:lnTo>
                  <a:pt x="336" y="158"/>
                </a:lnTo>
                <a:lnTo>
                  <a:pt x="336" y="160"/>
                </a:lnTo>
                <a:lnTo>
                  <a:pt x="340" y="164"/>
                </a:lnTo>
                <a:lnTo>
                  <a:pt x="344" y="168"/>
                </a:lnTo>
                <a:lnTo>
                  <a:pt x="344" y="172"/>
                </a:lnTo>
                <a:lnTo>
                  <a:pt x="340" y="172"/>
                </a:lnTo>
                <a:lnTo>
                  <a:pt x="340" y="176"/>
                </a:lnTo>
                <a:lnTo>
                  <a:pt x="336" y="176"/>
                </a:lnTo>
                <a:lnTo>
                  <a:pt x="332" y="176"/>
                </a:lnTo>
                <a:lnTo>
                  <a:pt x="332" y="180"/>
                </a:lnTo>
                <a:lnTo>
                  <a:pt x="328" y="180"/>
                </a:lnTo>
                <a:lnTo>
                  <a:pt x="328" y="184"/>
                </a:lnTo>
                <a:lnTo>
                  <a:pt x="324" y="184"/>
                </a:lnTo>
                <a:lnTo>
                  <a:pt x="324" y="186"/>
                </a:lnTo>
                <a:lnTo>
                  <a:pt x="320" y="186"/>
                </a:lnTo>
                <a:lnTo>
                  <a:pt x="320" y="190"/>
                </a:lnTo>
                <a:lnTo>
                  <a:pt x="318" y="190"/>
                </a:lnTo>
                <a:lnTo>
                  <a:pt x="318" y="194"/>
                </a:lnTo>
                <a:lnTo>
                  <a:pt x="314" y="194"/>
                </a:lnTo>
                <a:lnTo>
                  <a:pt x="310" y="194"/>
                </a:lnTo>
                <a:lnTo>
                  <a:pt x="310" y="198"/>
                </a:lnTo>
                <a:lnTo>
                  <a:pt x="306" y="198"/>
                </a:lnTo>
                <a:lnTo>
                  <a:pt x="302" y="198"/>
                </a:lnTo>
                <a:lnTo>
                  <a:pt x="298" y="198"/>
                </a:lnTo>
                <a:lnTo>
                  <a:pt x="294" y="198"/>
                </a:lnTo>
                <a:lnTo>
                  <a:pt x="290" y="198"/>
                </a:lnTo>
                <a:lnTo>
                  <a:pt x="284" y="198"/>
                </a:lnTo>
                <a:lnTo>
                  <a:pt x="280" y="198"/>
                </a:lnTo>
                <a:lnTo>
                  <a:pt x="276" y="198"/>
                </a:lnTo>
                <a:lnTo>
                  <a:pt x="272" y="198"/>
                </a:lnTo>
                <a:lnTo>
                  <a:pt x="268" y="198"/>
                </a:lnTo>
                <a:lnTo>
                  <a:pt x="264" y="200"/>
                </a:lnTo>
                <a:lnTo>
                  <a:pt x="262" y="204"/>
                </a:lnTo>
                <a:lnTo>
                  <a:pt x="258" y="204"/>
                </a:lnTo>
                <a:lnTo>
                  <a:pt x="254" y="208"/>
                </a:lnTo>
                <a:lnTo>
                  <a:pt x="250" y="208"/>
                </a:lnTo>
                <a:lnTo>
                  <a:pt x="246" y="208"/>
                </a:lnTo>
                <a:lnTo>
                  <a:pt x="242" y="212"/>
                </a:lnTo>
                <a:lnTo>
                  <a:pt x="238" y="212"/>
                </a:lnTo>
                <a:lnTo>
                  <a:pt x="238" y="208"/>
                </a:lnTo>
                <a:lnTo>
                  <a:pt x="232" y="208"/>
                </a:lnTo>
                <a:lnTo>
                  <a:pt x="228" y="208"/>
                </a:lnTo>
                <a:lnTo>
                  <a:pt x="220" y="208"/>
                </a:lnTo>
                <a:lnTo>
                  <a:pt x="220" y="204"/>
                </a:lnTo>
                <a:lnTo>
                  <a:pt x="216" y="204"/>
                </a:lnTo>
                <a:lnTo>
                  <a:pt x="212" y="200"/>
                </a:lnTo>
                <a:lnTo>
                  <a:pt x="208" y="200"/>
                </a:lnTo>
                <a:lnTo>
                  <a:pt x="202" y="200"/>
                </a:lnTo>
                <a:lnTo>
                  <a:pt x="202" y="198"/>
                </a:lnTo>
                <a:lnTo>
                  <a:pt x="198" y="194"/>
                </a:lnTo>
                <a:lnTo>
                  <a:pt x="194" y="194"/>
                </a:lnTo>
                <a:lnTo>
                  <a:pt x="190" y="194"/>
                </a:lnTo>
                <a:lnTo>
                  <a:pt x="186" y="194"/>
                </a:lnTo>
                <a:lnTo>
                  <a:pt x="186" y="190"/>
                </a:lnTo>
                <a:lnTo>
                  <a:pt x="182" y="190"/>
                </a:lnTo>
                <a:lnTo>
                  <a:pt x="180" y="190"/>
                </a:lnTo>
                <a:lnTo>
                  <a:pt x="176" y="194"/>
                </a:lnTo>
                <a:lnTo>
                  <a:pt x="172" y="194"/>
                </a:lnTo>
                <a:lnTo>
                  <a:pt x="168" y="194"/>
                </a:lnTo>
                <a:lnTo>
                  <a:pt x="164" y="194"/>
                </a:lnTo>
                <a:lnTo>
                  <a:pt x="160" y="194"/>
                </a:lnTo>
                <a:lnTo>
                  <a:pt x="156" y="194"/>
                </a:lnTo>
                <a:lnTo>
                  <a:pt x="152" y="194"/>
                </a:lnTo>
                <a:lnTo>
                  <a:pt x="150" y="194"/>
                </a:lnTo>
                <a:lnTo>
                  <a:pt x="146" y="190"/>
                </a:lnTo>
                <a:lnTo>
                  <a:pt x="142" y="190"/>
                </a:lnTo>
                <a:lnTo>
                  <a:pt x="138" y="190"/>
                </a:lnTo>
                <a:lnTo>
                  <a:pt x="136" y="190"/>
                </a:lnTo>
                <a:lnTo>
                  <a:pt x="132" y="190"/>
                </a:lnTo>
                <a:lnTo>
                  <a:pt x="128" y="190"/>
                </a:lnTo>
                <a:lnTo>
                  <a:pt x="124" y="190"/>
                </a:lnTo>
                <a:lnTo>
                  <a:pt x="124" y="186"/>
                </a:lnTo>
                <a:lnTo>
                  <a:pt x="120" y="184"/>
                </a:lnTo>
                <a:lnTo>
                  <a:pt x="116" y="184"/>
                </a:lnTo>
                <a:lnTo>
                  <a:pt x="116" y="180"/>
                </a:lnTo>
                <a:lnTo>
                  <a:pt x="116" y="176"/>
                </a:lnTo>
                <a:lnTo>
                  <a:pt x="112" y="176"/>
                </a:lnTo>
                <a:lnTo>
                  <a:pt x="112" y="172"/>
                </a:lnTo>
                <a:lnTo>
                  <a:pt x="112" y="168"/>
                </a:lnTo>
                <a:lnTo>
                  <a:pt x="112" y="164"/>
                </a:lnTo>
                <a:lnTo>
                  <a:pt x="110" y="164"/>
                </a:lnTo>
                <a:lnTo>
                  <a:pt x="110" y="160"/>
                </a:lnTo>
                <a:lnTo>
                  <a:pt x="106" y="160"/>
                </a:lnTo>
                <a:lnTo>
                  <a:pt x="98" y="160"/>
                </a:lnTo>
                <a:lnTo>
                  <a:pt x="98" y="158"/>
                </a:lnTo>
                <a:lnTo>
                  <a:pt x="94" y="158"/>
                </a:lnTo>
                <a:lnTo>
                  <a:pt x="94" y="154"/>
                </a:lnTo>
                <a:lnTo>
                  <a:pt x="90" y="154"/>
                </a:lnTo>
                <a:lnTo>
                  <a:pt x="90" y="150"/>
                </a:lnTo>
                <a:lnTo>
                  <a:pt x="86" y="150"/>
                </a:lnTo>
                <a:lnTo>
                  <a:pt x="84" y="150"/>
                </a:lnTo>
                <a:lnTo>
                  <a:pt x="84" y="146"/>
                </a:lnTo>
                <a:lnTo>
                  <a:pt x="80" y="146"/>
                </a:lnTo>
                <a:lnTo>
                  <a:pt x="76" y="146"/>
                </a:lnTo>
                <a:lnTo>
                  <a:pt x="72" y="146"/>
                </a:lnTo>
                <a:lnTo>
                  <a:pt x="68" y="146"/>
                </a:lnTo>
                <a:lnTo>
                  <a:pt x="64" y="146"/>
                </a:lnTo>
                <a:lnTo>
                  <a:pt x="60" y="146"/>
                </a:lnTo>
                <a:lnTo>
                  <a:pt x="54" y="146"/>
                </a:lnTo>
                <a:lnTo>
                  <a:pt x="54" y="142"/>
                </a:lnTo>
                <a:lnTo>
                  <a:pt x="50" y="142"/>
                </a:lnTo>
                <a:lnTo>
                  <a:pt x="46" y="142"/>
                </a:lnTo>
                <a:lnTo>
                  <a:pt x="46" y="138"/>
                </a:lnTo>
                <a:lnTo>
                  <a:pt x="42" y="138"/>
                </a:lnTo>
                <a:lnTo>
                  <a:pt x="42" y="134"/>
                </a:lnTo>
                <a:lnTo>
                  <a:pt x="42" y="130"/>
                </a:lnTo>
                <a:lnTo>
                  <a:pt x="46" y="128"/>
                </a:lnTo>
                <a:lnTo>
                  <a:pt x="46" y="124"/>
                </a:lnTo>
                <a:lnTo>
                  <a:pt x="46" y="120"/>
                </a:lnTo>
                <a:lnTo>
                  <a:pt x="50" y="116"/>
                </a:lnTo>
                <a:lnTo>
                  <a:pt x="46" y="112"/>
                </a:lnTo>
                <a:lnTo>
                  <a:pt x="50" y="112"/>
                </a:lnTo>
                <a:lnTo>
                  <a:pt x="46" y="112"/>
                </a:lnTo>
                <a:lnTo>
                  <a:pt x="46" y="108"/>
                </a:lnTo>
                <a:lnTo>
                  <a:pt x="46" y="104"/>
                </a:lnTo>
                <a:lnTo>
                  <a:pt x="42" y="104"/>
                </a:lnTo>
                <a:lnTo>
                  <a:pt x="42" y="100"/>
                </a:lnTo>
                <a:lnTo>
                  <a:pt x="38" y="100"/>
                </a:lnTo>
                <a:lnTo>
                  <a:pt x="38" y="98"/>
                </a:lnTo>
                <a:lnTo>
                  <a:pt x="38" y="94"/>
                </a:lnTo>
                <a:lnTo>
                  <a:pt x="38" y="90"/>
                </a:lnTo>
                <a:lnTo>
                  <a:pt x="34" y="90"/>
                </a:lnTo>
                <a:lnTo>
                  <a:pt x="34" y="86"/>
                </a:lnTo>
                <a:lnTo>
                  <a:pt x="30" y="86"/>
                </a:lnTo>
                <a:lnTo>
                  <a:pt x="30" y="90"/>
                </a:lnTo>
                <a:lnTo>
                  <a:pt x="28" y="86"/>
                </a:lnTo>
                <a:lnTo>
                  <a:pt x="24" y="86"/>
                </a:lnTo>
                <a:lnTo>
                  <a:pt x="20" y="86"/>
                </a:lnTo>
                <a:lnTo>
                  <a:pt x="20" y="82"/>
                </a:lnTo>
                <a:lnTo>
                  <a:pt x="16" y="82"/>
                </a:lnTo>
                <a:lnTo>
                  <a:pt x="12" y="82"/>
                </a:lnTo>
                <a:lnTo>
                  <a:pt x="12" y="78"/>
                </a:lnTo>
                <a:lnTo>
                  <a:pt x="8" y="74"/>
                </a:lnTo>
                <a:lnTo>
                  <a:pt x="4" y="74"/>
                </a:lnTo>
                <a:lnTo>
                  <a:pt x="4" y="72"/>
                </a:lnTo>
                <a:lnTo>
                  <a:pt x="0" y="68"/>
                </a:lnTo>
                <a:lnTo>
                  <a:pt x="4" y="64"/>
                </a:lnTo>
                <a:lnTo>
                  <a:pt x="0" y="64"/>
                </a:lnTo>
                <a:lnTo>
                  <a:pt x="0" y="60"/>
                </a:lnTo>
                <a:lnTo>
                  <a:pt x="4" y="60"/>
                </a:lnTo>
                <a:lnTo>
                  <a:pt x="8" y="60"/>
                </a:lnTo>
                <a:lnTo>
                  <a:pt x="4" y="56"/>
                </a:lnTo>
                <a:lnTo>
                  <a:pt x="8" y="56"/>
                </a:lnTo>
                <a:lnTo>
                  <a:pt x="12" y="56"/>
                </a:lnTo>
                <a:lnTo>
                  <a:pt x="16" y="56"/>
                </a:lnTo>
                <a:lnTo>
                  <a:pt x="16" y="52"/>
                </a:lnTo>
                <a:lnTo>
                  <a:pt x="20" y="52"/>
                </a:lnTo>
                <a:lnTo>
                  <a:pt x="20" y="56"/>
                </a:lnTo>
                <a:lnTo>
                  <a:pt x="20" y="52"/>
                </a:lnTo>
                <a:lnTo>
                  <a:pt x="24" y="52"/>
                </a:lnTo>
                <a:lnTo>
                  <a:pt x="28" y="52"/>
                </a:lnTo>
                <a:lnTo>
                  <a:pt x="28" y="48"/>
                </a:lnTo>
                <a:lnTo>
                  <a:pt x="30" y="48"/>
                </a:lnTo>
                <a:lnTo>
                  <a:pt x="28" y="48"/>
                </a:lnTo>
                <a:lnTo>
                  <a:pt x="28" y="44"/>
                </a:lnTo>
                <a:lnTo>
                  <a:pt x="30" y="44"/>
                </a:lnTo>
                <a:lnTo>
                  <a:pt x="34" y="44"/>
                </a:lnTo>
                <a:lnTo>
                  <a:pt x="34" y="42"/>
                </a:lnTo>
                <a:lnTo>
                  <a:pt x="38" y="42"/>
                </a:lnTo>
                <a:lnTo>
                  <a:pt x="38" y="38"/>
                </a:lnTo>
                <a:lnTo>
                  <a:pt x="42" y="38"/>
                </a:lnTo>
                <a:lnTo>
                  <a:pt x="42" y="42"/>
                </a:lnTo>
                <a:lnTo>
                  <a:pt x="42" y="38"/>
                </a:lnTo>
                <a:lnTo>
                  <a:pt x="46" y="38"/>
                </a:lnTo>
                <a:lnTo>
                  <a:pt x="46" y="34"/>
                </a:lnTo>
                <a:lnTo>
                  <a:pt x="50" y="34"/>
                </a:lnTo>
                <a:lnTo>
                  <a:pt x="54" y="34"/>
                </a:lnTo>
                <a:lnTo>
                  <a:pt x="56" y="30"/>
                </a:lnTo>
                <a:lnTo>
                  <a:pt x="60" y="30"/>
                </a:lnTo>
                <a:lnTo>
                  <a:pt x="64" y="30"/>
                </a:lnTo>
                <a:lnTo>
                  <a:pt x="64" y="26"/>
                </a:lnTo>
                <a:lnTo>
                  <a:pt x="68" y="26"/>
                </a:lnTo>
                <a:lnTo>
                  <a:pt x="72" y="30"/>
                </a:lnTo>
                <a:lnTo>
                  <a:pt x="72" y="26"/>
                </a:lnTo>
                <a:lnTo>
                  <a:pt x="76" y="26"/>
                </a:lnTo>
                <a:lnTo>
                  <a:pt x="76" y="30"/>
                </a:lnTo>
                <a:lnTo>
                  <a:pt x="80" y="30"/>
                </a:lnTo>
                <a:lnTo>
                  <a:pt x="84" y="30"/>
                </a:lnTo>
                <a:lnTo>
                  <a:pt x="86" y="30"/>
                </a:lnTo>
                <a:lnTo>
                  <a:pt x="90" y="30"/>
                </a:lnTo>
                <a:lnTo>
                  <a:pt x="94" y="30"/>
                </a:lnTo>
                <a:lnTo>
                  <a:pt x="94" y="34"/>
                </a:lnTo>
                <a:lnTo>
                  <a:pt x="94" y="38"/>
                </a:lnTo>
                <a:lnTo>
                  <a:pt x="94" y="42"/>
                </a:lnTo>
                <a:lnTo>
                  <a:pt x="98" y="42"/>
                </a:lnTo>
                <a:lnTo>
                  <a:pt x="98" y="44"/>
                </a:lnTo>
                <a:lnTo>
                  <a:pt x="102" y="42"/>
                </a:lnTo>
                <a:lnTo>
                  <a:pt x="106" y="44"/>
                </a:lnTo>
                <a:lnTo>
                  <a:pt x="110" y="44"/>
                </a:lnTo>
                <a:lnTo>
                  <a:pt x="112" y="44"/>
                </a:lnTo>
                <a:lnTo>
                  <a:pt x="116" y="44"/>
                </a:lnTo>
                <a:lnTo>
                  <a:pt x="120" y="44"/>
                </a:lnTo>
                <a:lnTo>
                  <a:pt x="124" y="44"/>
                </a:lnTo>
                <a:lnTo>
                  <a:pt x="128" y="44"/>
                </a:lnTo>
                <a:lnTo>
                  <a:pt x="132" y="44"/>
                </a:lnTo>
                <a:lnTo>
                  <a:pt x="136" y="48"/>
                </a:lnTo>
                <a:lnTo>
                  <a:pt x="138" y="48"/>
                </a:lnTo>
                <a:lnTo>
                  <a:pt x="138" y="44"/>
                </a:lnTo>
                <a:lnTo>
                  <a:pt x="142" y="44"/>
                </a:lnTo>
                <a:lnTo>
                  <a:pt x="146" y="44"/>
                </a:lnTo>
                <a:lnTo>
                  <a:pt x="146" y="42"/>
                </a:lnTo>
                <a:lnTo>
                  <a:pt x="150" y="42"/>
                </a:lnTo>
                <a:lnTo>
                  <a:pt x="150" y="38"/>
                </a:lnTo>
                <a:lnTo>
                  <a:pt x="150" y="34"/>
                </a:lnTo>
                <a:lnTo>
                  <a:pt x="146" y="30"/>
                </a:lnTo>
                <a:lnTo>
                  <a:pt x="146" y="26"/>
                </a:lnTo>
                <a:lnTo>
                  <a:pt x="142" y="22"/>
                </a:lnTo>
                <a:lnTo>
                  <a:pt x="146" y="18"/>
                </a:lnTo>
                <a:lnTo>
                  <a:pt x="146" y="14"/>
                </a:lnTo>
                <a:lnTo>
                  <a:pt x="146" y="12"/>
                </a:lnTo>
                <a:lnTo>
                  <a:pt x="150" y="12"/>
                </a:lnTo>
                <a:lnTo>
                  <a:pt x="150" y="14"/>
                </a:lnTo>
                <a:lnTo>
                  <a:pt x="150" y="12"/>
                </a:lnTo>
                <a:lnTo>
                  <a:pt x="150" y="8"/>
                </a:lnTo>
                <a:lnTo>
                  <a:pt x="152" y="8"/>
                </a:lnTo>
                <a:lnTo>
                  <a:pt x="156" y="8"/>
                </a:lnTo>
                <a:lnTo>
                  <a:pt x="156" y="4"/>
                </a:lnTo>
                <a:lnTo>
                  <a:pt x="156" y="0"/>
                </a:lnTo>
                <a:lnTo>
                  <a:pt x="160" y="0"/>
                </a:lnTo>
                <a:lnTo>
                  <a:pt x="164" y="4"/>
                </a:lnTo>
                <a:lnTo>
                  <a:pt x="168" y="4"/>
                </a:lnTo>
                <a:lnTo>
                  <a:pt x="172" y="4"/>
                </a:lnTo>
                <a:lnTo>
                  <a:pt x="172" y="8"/>
                </a:lnTo>
                <a:lnTo>
                  <a:pt x="176" y="8"/>
                </a:lnTo>
                <a:lnTo>
                  <a:pt x="180" y="8"/>
                </a:lnTo>
                <a:lnTo>
                  <a:pt x="182" y="8"/>
                </a:lnTo>
                <a:lnTo>
                  <a:pt x="186" y="12"/>
                </a:lnTo>
                <a:lnTo>
                  <a:pt x="190" y="12"/>
                </a:lnTo>
                <a:lnTo>
                  <a:pt x="194" y="14"/>
                </a:lnTo>
                <a:lnTo>
                  <a:pt x="194" y="12"/>
                </a:lnTo>
                <a:lnTo>
                  <a:pt x="198" y="12"/>
                </a:lnTo>
                <a:lnTo>
                  <a:pt x="198" y="14"/>
                </a:lnTo>
                <a:lnTo>
                  <a:pt x="202" y="14"/>
                </a:lnTo>
                <a:lnTo>
                  <a:pt x="206" y="14"/>
                </a:lnTo>
                <a:lnTo>
                  <a:pt x="206" y="18"/>
                </a:lnTo>
                <a:lnTo>
                  <a:pt x="206" y="22"/>
                </a:lnTo>
                <a:lnTo>
                  <a:pt x="206" y="26"/>
                </a:lnTo>
                <a:lnTo>
                  <a:pt x="206" y="30"/>
                </a:lnTo>
                <a:lnTo>
                  <a:pt x="206" y="34"/>
                </a:lnTo>
                <a:lnTo>
                  <a:pt x="208" y="34"/>
                </a:lnTo>
                <a:lnTo>
                  <a:pt x="212" y="34"/>
                </a:lnTo>
                <a:lnTo>
                  <a:pt x="212" y="38"/>
                </a:lnTo>
                <a:lnTo>
                  <a:pt x="216" y="38"/>
                </a:lnTo>
                <a:lnTo>
                  <a:pt x="220" y="38"/>
                </a:lnTo>
                <a:lnTo>
                  <a:pt x="220" y="42"/>
                </a:lnTo>
                <a:lnTo>
                  <a:pt x="224" y="42"/>
                </a:lnTo>
                <a:lnTo>
                  <a:pt x="228" y="42"/>
                </a:lnTo>
                <a:lnTo>
                  <a:pt x="232" y="42"/>
                </a:lnTo>
                <a:lnTo>
                  <a:pt x="236" y="42"/>
                </a:lnTo>
                <a:lnTo>
                  <a:pt x="236" y="38"/>
                </a:lnTo>
                <a:lnTo>
                  <a:pt x="238" y="38"/>
                </a:lnTo>
                <a:lnTo>
                  <a:pt x="242" y="34"/>
                </a:lnTo>
                <a:lnTo>
                  <a:pt x="246" y="38"/>
                </a:lnTo>
                <a:lnTo>
                  <a:pt x="246" y="34"/>
                </a:lnTo>
                <a:lnTo>
                  <a:pt x="250" y="34"/>
                </a:lnTo>
                <a:lnTo>
                  <a:pt x="254" y="34"/>
                </a:lnTo>
                <a:lnTo>
                  <a:pt x="258" y="34"/>
                </a:lnTo>
                <a:lnTo>
                  <a:pt x="258" y="38"/>
                </a:lnTo>
                <a:lnTo>
                  <a:pt x="262" y="38"/>
                </a:lnTo>
                <a:lnTo>
                  <a:pt x="264" y="38"/>
                </a:lnTo>
                <a:lnTo>
                  <a:pt x="268" y="38"/>
                </a:lnTo>
                <a:lnTo>
                  <a:pt x="272" y="42"/>
                </a:lnTo>
                <a:lnTo>
                  <a:pt x="276" y="44"/>
                </a:lnTo>
                <a:lnTo>
                  <a:pt x="280" y="44"/>
                </a:lnTo>
                <a:lnTo>
                  <a:pt x="284" y="44"/>
                </a:lnTo>
                <a:lnTo>
                  <a:pt x="288" y="44"/>
                </a:lnTo>
                <a:lnTo>
                  <a:pt x="288" y="48"/>
                </a:lnTo>
                <a:lnTo>
                  <a:pt x="288" y="52"/>
                </a:lnTo>
                <a:lnTo>
                  <a:pt x="290" y="56"/>
                </a:lnTo>
                <a:lnTo>
                  <a:pt x="294" y="56"/>
                </a:lnTo>
                <a:lnTo>
                  <a:pt x="298" y="56"/>
                </a:lnTo>
                <a:lnTo>
                  <a:pt x="302" y="56"/>
                </a:lnTo>
                <a:lnTo>
                  <a:pt x="306" y="56"/>
                </a:lnTo>
                <a:lnTo>
                  <a:pt x="310" y="60"/>
                </a:lnTo>
                <a:lnTo>
                  <a:pt x="314" y="60"/>
                </a:lnTo>
                <a:lnTo>
                  <a:pt x="318" y="60"/>
                </a:lnTo>
                <a:lnTo>
                  <a:pt x="320" y="60"/>
                </a:lnTo>
                <a:lnTo>
                  <a:pt x="324" y="60"/>
                </a:lnTo>
                <a:lnTo>
                  <a:pt x="328" y="60"/>
                </a:lnTo>
                <a:lnTo>
                  <a:pt x="332" y="60"/>
                </a:lnTo>
                <a:lnTo>
                  <a:pt x="332" y="56"/>
                </a:lnTo>
                <a:lnTo>
                  <a:pt x="336" y="56"/>
                </a:lnTo>
                <a:lnTo>
                  <a:pt x="340" y="56"/>
                </a:lnTo>
                <a:lnTo>
                  <a:pt x="344" y="56"/>
                </a:lnTo>
                <a:lnTo>
                  <a:pt x="346" y="56"/>
                </a:lnTo>
                <a:lnTo>
                  <a:pt x="350" y="52"/>
                </a:lnTo>
                <a:lnTo>
                  <a:pt x="354" y="52"/>
                </a:lnTo>
                <a:lnTo>
                  <a:pt x="354" y="56"/>
                </a:lnTo>
                <a:lnTo>
                  <a:pt x="354" y="52"/>
                </a:lnTo>
                <a:lnTo>
                  <a:pt x="358" y="52"/>
                </a:lnTo>
                <a:lnTo>
                  <a:pt x="362" y="48"/>
                </a:lnTo>
                <a:lnTo>
                  <a:pt x="362" y="44"/>
                </a:lnTo>
                <a:lnTo>
                  <a:pt x="366" y="44"/>
                </a:lnTo>
                <a:lnTo>
                  <a:pt x="370" y="42"/>
                </a:lnTo>
                <a:lnTo>
                  <a:pt x="374" y="42"/>
                </a:lnTo>
                <a:lnTo>
                  <a:pt x="374" y="38"/>
                </a:lnTo>
                <a:lnTo>
                  <a:pt x="376" y="38"/>
                </a:lnTo>
                <a:lnTo>
                  <a:pt x="380" y="38"/>
                </a:lnTo>
                <a:lnTo>
                  <a:pt x="384" y="38"/>
                </a:lnTo>
                <a:lnTo>
                  <a:pt x="384" y="42"/>
                </a:lnTo>
                <a:lnTo>
                  <a:pt x="388" y="42"/>
                </a:lnTo>
                <a:lnTo>
                  <a:pt x="388" y="44"/>
                </a:lnTo>
                <a:lnTo>
                  <a:pt x="392" y="44"/>
                </a:lnTo>
                <a:lnTo>
                  <a:pt x="396" y="44"/>
                </a:lnTo>
                <a:lnTo>
                  <a:pt x="400" y="44"/>
                </a:lnTo>
                <a:lnTo>
                  <a:pt x="402" y="44"/>
                </a:lnTo>
                <a:lnTo>
                  <a:pt x="406" y="44"/>
                </a:lnTo>
                <a:lnTo>
                  <a:pt x="410" y="44"/>
                </a:lnTo>
                <a:lnTo>
                  <a:pt x="410" y="48"/>
                </a:lnTo>
                <a:lnTo>
                  <a:pt x="406" y="52"/>
                </a:lnTo>
                <a:lnTo>
                  <a:pt x="406" y="56"/>
                </a:lnTo>
                <a:lnTo>
                  <a:pt x="406" y="60"/>
                </a:lnTo>
                <a:lnTo>
                  <a:pt x="402" y="60"/>
                </a:lnTo>
                <a:lnTo>
                  <a:pt x="402" y="64"/>
                </a:lnTo>
                <a:lnTo>
                  <a:pt x="400" y="68"/>
                </a:lnTo>
                <a:lnTo>
                  <a:pt x="402" y="68"/>
                </a:lnTo>
                <a:lnTo>
                  <a:pt x="400" y="72"/>
                </a:lnTo>
                <a:lnTo>
                  <a:pt x="396" y="74"/>
                </a:lnTo>
                <a:lnTo>
                  <a:pt x="400" y="78"/>
                </a:lnTo>
                <a:lnTo>
                  <a:pt x="396" y="82"/>
                </a:lnTo>
                <a:lnTo>
                  <a:pt x="392" y="82"/>
                </a:lnTo>
                <a:lnTo>
                  <a:pt x="396" y="86"/>
                </a:lnTo>
                <a:lnTo>
                  <a:pt x="400" y="90"/>
                </a:lnTo>
                <a:lnTo>
                  <a:pt x="402" y="90"/>
                </a:lnTo>
                <a:lnTo>
                  <a:pt x="402" y="86"/>
                </a:lnTo>
                <a:lnTo>
                  <a:pt x="406" y="90"/>
                </a:lnTo>
                <a:lnTo>
                  <a:pt x="410" y="86"/>
                </a:lnTo>
                <a:lnTo>
                  <a:pt x="414" y="86"/>
                </a:lnTo>
                <a:lnTo>
                  <a:pt x="414" y="90"/>
                </a:lnTo>
                <a:lnTo>
                  <a:pt x="418" y="94"/>
                </a:lnTo>
                <a:lnTo>
                  <a:pt x="422" y="90"/>
                </a:lnTo>
                <a:lnTo>
                  <a:pt x="422" y="86"/>
                </a:lnTo>
                <a:lnTo>
                  <a:pt x="426" y="86"/>
                </a:lnTo>
                <a:lnTo>
                  <a:pt x="428" y="86"/>
                </a:lnTo>
                <a:lnTo>
                  <a:pt x="432" y="86"/>
                </a:lnTo>
                <a:lnTo>
                  <a:pt x="436" y="86"/>
                </a:lnTo>
                <a:lnTo>
                  <a:pt x="440" y="90"/>
                </a:lnTo>
                <a:lnTo>
                  <a:pt x="444" y="94"/>
                </a:lnTo>
                <a:lnTo>
                  <a:pt x="448" y="94"/>
                </a:lnTo>
                <a:lnTo>
                  <a:pt x="448" y="98"/>
                </a:lnTo>
                <a:lnTo>
                  <a:pt x="448" y="100"/>
                </a:lnTo>
                <a:lnTo>
                  <a:pt x="452" y="100"/>
                </a:lnTo>
                <a:lnTo>
                  <a:pt x="456" y="104"/>
                </a:lnTo>
                <a:lnTo>
                  <a:pt x="456" y="108"/>
                </a:lnTo>
                <a:lnTo>
                  <a:pt x="456" y="112"/>
                </a:lnTo>
                <a:lnTo>
                  <a:pt x="452" y="112"/>
                </a:lnTo>
                <a:lnTo>
                  <a:pt x="448" y="112"/>
                </a:lnTo>
                <a:lnTo>
                  <a:pt x="444" y="112"/>
                </a:lnTo>
                <a:lnTo>
                  <a:pt x="440" y="112"/>
                </a:lnTo>
                <a:lnTo>
                  <a:pt x="440" y="108"/>
                </a:lnTo>
                <a:lnTo>
                  <a:pt x="440" y="112"/>
                </a:lnTo>
                <a:lnTo>
                  <a:pt x="436" y="112"/>
                </a:lnTo>
                <a:lnTo>
                  <a:pt x="432" y="112"/>
                </a:lnTo>
                <a:lnTo>
                  <a:pt x="428" y="112"/>
                </a:lnTo>
                <a:lnTo>
                  <a:pt x="426" y="112"/>
                </a:lnTo>
                <a:lnTo>
                  <a:pt x="426" y="116"/>
                </a:lnTo>
                <a:lnTo>
                  <a:pt x="422" y="116"/>
                </a:lnTo>
                <a:lnTo>
                  <a:pt x="422" y="112"/>
                </a:lnTo>
                <a:lnTo>
                  <a:pt x="422" y="116"/>
                </a:lnTo>
                <a:lnTo>
                  <a:pt x="418" y="116"/>
                </a:lnTo>
                <a:lnTo>
                  <a:pt x="418" y="120"/>
                </a:lnTo>
                <a:lnTo>
                  <a:pt x="414" y="120"/>
                </a:lnTo>
                <a:lnTo>
                  <a:pt x="410" y="120"/>
                </a:lnTo>
                <a:lnTo>
                  <a:pt x="410" y="120"/>
                </a:lnTo>
                <a:lnTo>
                  <a:pt x="410" y="120"/>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5" name="Freeform 42"/>
          <p:cNvSpPr>
            <a:spLocks noEditPoints="1"/>
          </p:cNvSpPr>
          <p:nvPr/>
        </p:nvSpPr>
        <p:spPr bwMode="auto">
          <a:xfrm>
            <a:off x="5810250" y="3105149"/>
            <a:ext cx="150019" cy="390525"/>
          </a:xfrm>
          <a:custGeom>
            <a:avLst/>
            <a:gdLst>
              <a:gd name="T0" fmla="*/ 88 w 126"/>
              <a:gd name="T1" fmla="*/ 314 h 328"/>
              <a:gd name="T2" fmla="*/ 88 w 126"/>
              <a:gd name="T3" fmla="*/ 294 h 328"/>
              <a:gd name="T4" fmla="*/ 88 w 126"/>
              <a:gd name="T5" fmla="*/ 280 h 328"/>
              <a:gd name="T6" fmla="*/ 86 w 126"/>
              <a:gd name="T7" fmla="*/ 262 h 328"/>
              <a:gd name="T8" fmla="*/ 78 w 126"/>
              <a:gd name="T9" fmla="*/ 242 h 328"/>
              <a:gd name="T10" fmla="*/ 78 w 126"/>
              <a:gd name="T11" fmla="*/ 220 h 328"/>
              <a:gd name="T12" fmla="*/ 72 w 126"/>
              <a:gd name="T13" fmla="*/ 202 h 328"/>
              <a:gd name="T14" fmla="*/ 64 w 126"/>
              <a:gd name="T15" fmla="*/ 208 h 328"/>
              <a:gd name="T16" fmla="*/ 56 w 126"/>
              <a:gd name="T17" fmla="*/ 216 h 328"/>
              <a:gd name="T18" fmla="*/ 42 w 126"/>
              <a:gd name="T19" fmla="*/ 224 h 328"/>
              <a:gd name="T20" fmla="*/ 38 w 126"/>
              <a:gd name="T21" fmla="*/ 228 h 328"/>
              <a:gd name="T22" fmla="*/ 34 w 126"/>
              <a:gd name="T23" fmla="*/ 220 h 328"/>
              <a:gd name="T24" fmla="*/ 30 w 126"/>
              <a:gd name="T25" fmla="*/ 208 h 328"/>
              <a:gd name="T26" fmla="*/ 30 w 126"/>
              <a:gd name="T27" fmla="*/ 182 h 328"/>
              <a:gd name="T28" fmla="*/ 22 w 126"/>
              <a:gd name="T29" fmla="*/ 164 h 328"/>
              <a:gd name="T30" fmla="*/ 18 w 126"/>
              <a:gd name="T31" fmla="*/ 152 h 328"/>
              <a:gd name="T32" fmla="*/ 12 w 126"/>
              <a:gd name="T33" fmla="*/ 152 h 328"/>
              <a:gd name="T34" fmla="*/ 12 w 126"/>
              <a:gd name="T35" fmla="*/ 146 h 328"/>
              <a:gd name="T36" fmla="*/ 8 w 126"/>
              <a:gd name="T37" fmla="*/ 146 h 328"/>
              <a:gd name="T38" fmla="*/ 4 w 126"/>
              <a:gd name="T39" fmla="*/ 128 h 328"/>
              <a:gd name="T40" fmla="*/ 12 w 126"/>
              <a:gd name="T41" fmla="*/ 116 h 328"/>
              <a:gd name="T42" fmla="*/ 12 w 126"/>
              <a:gd name="T43" fmla="*/ 102 h 328"/>
              <a:gd name="T44" fmla="*/ 16 w 126"/>
              <a:gd name="T45" fmla="*/ 82 h 328"/>
              <a:gd name="T46" fmla="*/ 30 w 126"/>
              <a:gd name="T47" fmla="*/ 80 h 328"/>
              <a:gd name="T48" fmla="*/ 38 w 126"/>
              <a:gd name="T49" fmla="*/ 54 h 328"/>
              <a:gd name="T50" fmla="*/ 46 w 126"/>
              <a:gd name="T51" fmla="*/ 30 h 328"/>
              <a:gd name="T52" fmla="*/ 72 w 126"/>
              <a:gd name="T53" fmla="*/ 26 h 328"/>
              <a:gd name="T54" fmla="*/ 72 w 126"/>
              <a:gd name="T55" fmla="*/ 4 h 328"/>
              <a:gd name="T56" fmla="*/ 86 w 126"/>
              <a:gd name="T57" fmla="*/ 12 h 328"/>
              <a:gd name="T58" fmla="*/ 92 w 126"/>
              <a:gd name="T59" fmla="*/ 26 h 328"/>
              <a:gd name="T60" fmla="*/ 92 w 126"/>
              <a:gd name="T61" fmla="*/ 50 h 328"/>
              <a:gd name="T62" fmla="*/ 78 w 126"/>
              <a:gd name="T63" fmla="*/ 68 h 328"/>
              <a:gd name="T64" fmla="*/ 78 w 126"/>
              <a:gd name="T65" fmla="*/ 82 h 328"/>
              <a:gd name="T66" fmla="*/ 92 w 126"/>
              <a:gd name="T67" fmla="*/ 82 h 328"/>
              <a:gd name="T68" fmla="*/ 104 w 126"/>
              <a:gd name="T69" fmla="*/ 98 h 328"/>
              <a:gd name="T70" fmla="*/ 104 w 126"/>
              <a:gd name="T71" fmla="*/ 116 h 328"/>
              <a:gd name="T72" fmla="*/ 122 w 126"/>
              <a:gd name="T73" fmla="*/ 124 h 328"/>
              <a:gd name="T74" fmla="*/ 114 w 126"/>
              <a:gd name="T75" fmla="*/ 138 h 328"/>
              <a:gd name="T76" fmla="*/ 104 w 126"/>
              <a:gd name="T77" fmla="*/ 150 h 328"/>
              <a:gd name="T78" fmla="*/ 88 w 126"/>
              <a:gd name="T79" fmla="*/ 156 h 328"/>
              <a:gd name="T80" fmla="*/ 78 w 126"/>
              <a:gd name="T81" fmla="*/ 176 h 328"/>
              <a:gd name="T82" fmla="*/ 78 w 126"/>
              <a:gd name="T83" fmla="*/ 186 h 328"/>
              <a:gd name="T84" fmla="*/ 88 w 126"/>
              <a:gd name="T85" fmla="*/ 206 h 328"/>
              <a:gd name="T86" fmla="*/ 88 w 126"/>
              <a:gd name="T87" fmla="*/ 228 h 328"/>
              <a:gd name="T88" fmla="*/ 88 w 126"/>
              <a:gd name="T89" fmla="*/ 250 h 328"/>
              <a:gd name="T90" fmla="*/ 100 w 126"/>
              <a:gd name="T91" fmla="*/ 268 h 328"/>
              <a:gd name="T92" fmla="*/ 104 w 126"/>
              <a:gd name="T93" fmla="*/ 294 h 328"/>
              <a:gd name="T94" fmla="*/ 92 w 126"/>
              <a:gd name="T95" fmla="*/ 314 h 328"/>
              <a:gd name="T96" fmla="*/ 22 w 126"/>
              <a:gd name="T97" fmla="*/ 164 h 328"/>
              <a:gd name="T98" fmla="*/ 8 w 126"/>
              <a:gd name="T99" fmla="*/ 146 h 328"/>
              <a:gd name="T100" fmla="*/ 26 w 126"/>
              <a:gd name="T101" fmla="*/ 164 h 328"/>
              <a:gd name="T102" fmla="*/ 74 w 126"/>
              <a:gd name="T103" fmla="*/ 212 h 328"/>
              <a:gd name="T104" fmla="*/ 34 w 126"/>
              <a:gd name="T105" fmla="*/ 224 h 328"/>
              <a:gd name="T106" fmla="*/ 82 w 126"/>
              <a:gd name="T107" fmla="*/ 290 h 328"/>
              <a:gd name="T108" fmla="*/ 86 w 126"/>
              <a:gd name="T109" fmla="*/ 328 h 328"/>
              <a:gd name="T110" fmla="*/ 86 w 126"/>
              <a:gd name="T111" fmla="*/ 288 h 328"/>
              <a:gd name="T112" fmla="*/ 82 w 126"/>
              <a:gd name="T113" fmla="*/ 284 h 328"/>
              <a:gd name="T114" fmla="*/ 88 w 126"/>
              <a:gd name="T115" fmla="*/ 290 h 328"/>
              <a:gd name="T116" fmla="*/ 86 w 126"/>
              <a:gd name="T117" fmla="*/ 302 h 328"/>
              <a:gd name="T118" fmla="*/ 82 w 126"/>
              <a:gd name="T119" fmla="*/ 310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6" h="328">
                <a:moveTo>
                  <a:pt x="92" y="314"/>
                </a:moveTo>
                <a:lnTo>
                  <a:pt x="92" y="318"/>
                </a:lnTo>
                <a:lnTo>
                  <a:pt x="92" y="320"/>
                </a:lnTo>
                <a:lnTo>
                  <a:pt x="88" y="324"/>
                </a:lnTo>
                <a:lnTo>
                  <a:pt x="88" y="328"/>
                </a:lnTo>
                <a:lnTo>
                  <a:pt x="88" y="324"/>
                </a:lnTo>
                <a:lnTo>
                  <a:pt x="88" y="320"/>
                </a:lnTo>
                <a:lnTo>
                  <a:pt x="88" y="314"/>
                </a:lnTo>
                <a:lnTo>
                  <a:pt x="92" y="310"/>
                </a:lnTo>
                <a:lnTo>
                  <a:pt x="92" y="306"/>
                </a:lnTo>
                <a:lnTo>
                  <a:pt x="92" y="302"/>
                </a:lnTo>
                <a:lnTo>
                  <a:pt x="92" y="298"/>
                </a:lnTo>
                <a:lnTo>
                  <a:pt x="92" y="294"/>
                </a:lnTo>
                <a:lnTo>
                  <a:pt x="92" y="298"/>
                </a:lnTo>
                <a:lnTo>
                  <a:pt x="88" y="298"/>
                </a:lnTo>
                <a:lnTo>
                  <a:pt x="88" y="294"/>
                </a:lnTo>
                <a:lnTo>
                  <a:pt x="92" y="290"/>
                </a:lnTo>
                <a:lnTo>
                  <a:pt x="88" y="290"/>
                </a:lnTo>
                <a:lnTo>
                  <a:pt x="92" y="288"/>
                </a:lnTo>
                <a:lnTo>
                  <a:pt x="88" y="288"/>
                </a:lnTo>
                <a:lnTo>
                  <a:pt x="92" y="288"/>
                </a:lnTo>
                <a:lnTo>
                  <a:pt x="88" y="288"/>
                </a:lnTo>
                <a:lnTo>
                  <a:pt x="88" y="284"/>
                </a:lnTo>
                <a:lnTo>
                  <a:pt x="88" y="280"/>
                </a:lnTo>
                <a:lnTo>
                  <a:pt x="88" y="276"/>
                </a:lnTo>
                <a:lnTo>
                  <a:pt x="88" y="272"/>
                </a:lnTo>
                <a:lnTo>
                  <a:pt x="88" y="268"/>
                </a:lnTo>
                <a:lnTo>
                  <a:pt x="88" y="264"/>
                </a:lnTo>
                <a:lnTo>
                  <a:pt x="86" y="264"/>
                </a:lnTo>
                <a:lnTo>
                  <a:pt x="86" y="262"/>
                </a:lnTo>
                <a:lnTo>
                  <a:pt x="86" y="258"/>
                </a:lnTo>
                <a:lnTo>
                  <a:pt x="86" y="262"/>
                </a:lnTo>
                <a:lnTo>
                  <a:pt x="86" y="264"/>
                </a:lnTo>
                <a:lnTo>
                  <a:pt x="82" y="264"/>
                </a:lnTo>
                <a:lnTo>
                  <a:pt x="82" y="262"/>
                </a:lnTo>
                <a:lnTo>
                  <a:pt x="82" y="258"/>
                </a:lnTo>
                <a:lnTo>
                  <a:pt x="82" y="254"/>
                </a:lnTo>
                <a:lnTo>
                  <a:pt x="82" y="250"/>
                </a:lnTo>
                <a:lnTo>
                  <a:pt x="78" y="246"/>
                </a:lnTo>
                <a:lnTo>
                  <a:pt x="78" y="242"/>
                </a:lnTo>
                <a:lnTo>
                  <a:pt x="78" y="238"/>
                </a:lnTo>
                <a:lnTo>
                  <a:pt x="78" y="234"/>
                </a:lnTo>
                <a:lnTo>
                  <a:pt x="78" y="232"/>
                </a:lnTo>
                <a:lnTo>
                  <a:pt x="78" y="228"/>
                </a:lnTo>
                <a:lnTo>
                  <a:pt x="78" y="224"/>
                </a:lnTo>
                <a:lnTo>
                  <a:pt x="74" y="224"/>
                </a:lnTo>
                <a:lnTo>
                  <a:pt x="74" y="220"/>
                </a:lnTo>
                <a:lnTo>
                  <a:pt x="78" y="220"/>
                </a:lnTo>
                <a:lnTo>
                  <a:pt x="78" y="216"/>
                </a:lnTo>
                <a:lnTo>
                  <a:pt x="74" y="216"/>
                </a:lnTo>
                <a:lnTo>
                  <a:pt x="78" y="212"/>
                </a:lnTo>
                <a:lnTo>
                  <a:pt x="74" y="212"/>
                </a:lnTo>
                <a:lnTo>
                  <a:pt x="72" y="212"/>
                </a:lnTo>
                <a:lnTo>
                  <a:pt x="72" y="208"/>
                </a:lnTo>
                <a:lnTo>
                  <a:pt x="72" y="206"/>
                </a:lnTo>
                <a:lnTo>
                  <a:pt x="72" y="202"/>
                </a:lnTo>
                <a:lnTo>
                  <a:pt x="68" y="202"/>
                </a:lnTo>
                <a:lnTo>
                  <a:pt x="68" y="198"/>
                </a:lnTo>
                <a:lnTo>
                  <a:pt x="68" y="202"/>
                </a:lnTo>
                <a:lnTo>
                  <a:pt x="68" y="206"/>
                </a:lnTo>
                <a:lnTo>
                  <a:pt x="64" y="206"/>
                </a:lnTo>
                <a:lnTo>
                  <a:pt x="64" y="208"/>
                </a:lnTo>
                <a:lnTo>
                  <a:pt x="68" y="208"/>
                </a:lnTo>
                <a:lnTo>
                  <a:pt x="64" y="208"/>
                </a:lnTo>
                <a:lnTo>
                  <a:pt x="64" y="212"/>
                </a:lnTo>
                <a:lnTo>
                  <a:pt x="60" y="212"/>
                </a:lnTo>
                <a:lnTo>
                  <a:pt x="56" y="212"/>
                </a:lnTo>
                <a:lnTo>
                  <a:pt x="56" y="208"/>
                </a:lnTo>
                <a:lnTo>
                  <a:pt x="56" y="212"/>
                </a:lnTo>
                <a:lnTo>
                  <a:pt x="56" y="216"/>
                </a:lnTo>
                <a:lnTo>
                  <a:pt x="52" y="216"/>
                </a:lnTo>
                <a:lnTo>
                  <a:pt x="56" y="216"/>
                </a:lnTo>
                <a:lnTo>
                  <a:pt x="52" y="220"/>
                </a:lnTo>
                <a:lnTo>
                  <a:pt x="48" y="220"/>
                </a:lnTo>
                <a:lnTo>
                  <a:pt x="48" y="224"/>
                </a:lnTo>
                <a:lnTo>
                  <a:pt x="46" y="228"/>
                </a:lnTo>
                <a:lnTo>
                  <a:pt x="46" y="224"/>
                </a:lnTo>
                <a:lnTo>
                  <a:pt x="46" y="220"/>
                </a:lnTo>
                <a:lnTo>
                  <a:pt x="46" y="224"/>
                </a:lnTo>
                <a:lnTo>
                  <a:pt x="42" y="224"/>
                </a:lnTo>
                <a:lnTo>
                  <a:pt x="46" y="224"/>
                </a:lnTo>
                <a:lnTo>
                  <a:pt x="42" y="224"/>
                </a:lnTo>
                <a:lnTo>
                  <a:pt x="42" y="228"/>
                </a:lnTo>
                <a:lnTo>
                  <a:pt x="42" y="224"/>
                </a:lnTo>
                <a:lnTo>
                  <a:pt x="42" y="220"/>
                </a:lnTo>
                <a:lnTo>
                  <a:pt x="42" y="224"/>
                </a:lnTo>
                <a:lnTo>
                  <a:pt x="42" y="228"/>
                </a:lnTo>
                <a:lnTo>
                  <a:pt x="38" y="228"/>
                </a:lnTo>
                <a:lnTo>
                  <a:pt x="38" y="224"/>
                </a:lnTo>
                <a:lnTo>
                  <a:pt x="38" y="220"/>
                </a:lnTo>
                <a:lnTo>
                  <a:pt x="38" y="224"/>
                </a:lnTo>
                <a:lnTo>
                  <a:pt x="34" y="224"/>
                </a:lnTo>
                <a:lnTo>
                  <a:pt x="38" y="220"/>
                </a:lnTo>
                <a:lnTo>
                  <a:pt x="34" y="220"/>
                </a:lnTo>
                <a:lnTo>
                  <a:pt x="34" y="224"/>
                </a:lnTo>
                <a:lnTo>
                  <a:pt x="34" y="220"/>
                </a:lnTo>
                <a:lnTo>
                  <a:pt x="34" y="216"/>
                </a:lnTo>
                <a:lnTo>
                  <a:pt x="34" y="220"/>
                </a:lnTo>
                <a:lnTo>
                  <a:pt x="30" y="220"/>
                </a:lnTo>
                <a:lnTo>
                  <a:pt x="30" y="224"/>
                </a:lnTo>
                <a:lnTo>
                  <a:pt x="26" y="224"/>
                </a:lnTo>
                <a:lnTo>
                  <a:pt x="30" y="216"/>
                </a:lnTo>
                <a:lnTo>
                  <a:pt x="30" y="212"/>
                </a:lnTo>
                <a:lnTo>
                  <a:pt x="30" y="208"/>
                </a:lnTo>
                <a:lnTo>
                  <a:pt x="30" y="206"/>
                </a:lnTo>
                <a:lnTo>
                  <a:pt x="34" y="202"/>
                </a:lnTo>
                <a:lnTo>
                  <a:pt x="34" y="198"/>
                </a:lnTo>
                <a:lnTo>
                  <a:pt x="34" y="194"/>
                </a:lnTo>
                <a:lnTo>
                  <a:pt x="34" y="190"/>
                </a:lnTo>
                <a:lnTo>
                  <a:pt x="30" y="186"/>
                </a:lnTo>
                <a:lnTo>
                  <a:pt x="34" y="186"/>
                </a:lnTo>
                <a:lnTo>
                  <a:pt x="30" y="182"/>
                </a:lnTo>
                <a:lnTo>
                  <a:pt x="30" y="180"/>
                </a:lnTo>
                <a:lnTo>
                  <a:pt x="30" y="176"/>
                </a:lnTo>
                <a:lnTo>
                  <a:pt x="26" y="172"/>
                </a:lnTo>
                <a:lnTo>
                  <a:pt x="26" y="176"/>
                </a:lnTo>
                <a:lnTo>
                  <a:pt x="26" y="172"/>
                </a:lnTo>
                <a:lnTo>
                  <a:pt x="26" y="168"/>
                </a:lnTo>
                <a:lnTo>
                  <a:pt x="22" y="168"/>
                </a:lnTo>
                <a:lnTo>
                  <a:pt x="22" y="164"/>
                </a:lnTo>
                <a:lnTo>
                  <a:pt x="26" y="164"/>
                </a:lnTo>
                <a:lnTo>
                  <a:pt x="22" y="160"/>
                </a:lnTo>
                <a:lnTo>
                  <a:pt x="22" y="156"/>
                </a:lnTo>
                <a:lnTo>
                  <a:pt x="18" y="156"/>
                </a:lnTo>
                <a:lnTo>
                  <a:pt x="22" y="152"/>
                </a:lnTo>
                <a:lnTo>
                  <a:pt x="22" y="156"/>
                </a:lnTo>
                <a:lnTo>
                  <a:pt x="22" y="152"/>
                </a:lnTo>
                <a:lnTo>
                  <a:pt x="18" y="152"/>
                </a:lnTo>
                <a:lnTo>
                  <a:pt x="18" y="156"/>
                </a:lnTo>
                <a:lnTo>
                  <a:pt x="18" y="152"/>
                </a:lnTo>
                <a:lnTo>
                  <a:pt x="16" y="152"/>
                </a:lnTo>
                <a:lnTo>
                  <a:pt x="12" y="152"/>
                </a:lnTo>
                <a:lnTo>
                  <a:pt x="16" y="152"/>
                </a:lnTo>
                <a:lnTo>
                  <a:pt x="16" y="156"/>
                </a:lnTo>
                <a:lnTo>
                  <a:pt x="16" y="152"/>
                </a:lnTo>
                <a:lnTo>
                  <a:pt x="12" y="152"/>
                </a:lnTo>
                <a:lnTo>
                  <a:pt x="12" y="156"/>
                </a:lnTo>
                <a:lnTo>
                  <a:pt x="16" y="156"/>
                </a:lnTo>
                <a:lnTo>
                  <a:pt x="12" y="156"/>
                </a:lnTo>
                <a:lnTo>
                  <a:pt x="12" y="152"/>
                </a:lnTo>
                <a:lnTo>
                  <a:pt x="12" y="150"/>
                </a:lnTo>
                <a:lnTo>
                  <a:pt x="12" y="146"/>
                </a:lnTo>
                <a:lnTo>
                  <a:pt x="12" y="142"/>
                </a:lnTo>
                <a:lnTo>
                  <a:pt x="12" y="146"/>
                </a:lnTo>
                <a:lnTo>
                  <a:pt x="12" y="150"/>
                </a:lnTo>
                <a:lnTo>
                  <a:pt x="8" y="150"/>
                </a:lnTo>
                <a:lnTo>
                  <a:pt x="12" y="146"/>
                </a:lnTo>
                <a:lnTo>
                  <a:pt x="8" y="146"/>
                </a:lnTo>
                <a:lnTo>
                  <a:pt x="8" y="142"/>
                </a:lnTo>
                <a:lnTo>
                  <a:pt x="8" y="146"/>
                </a:lnTo>
                <a:lnTo>
                  <a:pt x="8" y="150"/>
                </a:lnTo>
                <a:lnTo>
                  <a:pt x="8" y="146"/>
                </a:lnTo>
                <a:lnTo>
                  <a:pt x="4" y="146"/>
                </a:lnTo>
                <a:lnTo>
                  <a:pt x="4" y="142"/>
                </a:lnTo>
                <a:lnTo>
                  <a:pt x="4" y="138"/>
                </a:lnTo>
                <a:lnTo>
                  <a:pt x="0" y="138"/>
                </a:lnTo>
                <a:lnTo>
                  <a:pt x="0" y="136"/>
                </a:lnTo>
                <a:lnTo>
                  <a:pt x="0" y="132"/>
                </a:lnTo>
                <a:lnTo>
                  <a:pt x="0" y="128"/>
                </a:lnTo>
                <a:lnTo>
                  <a:pt x="4" y="128"/>
                </a:lnTo>
                <a:lnTo>
                  <a:pt x="4" y="132"/>
                </a:lnTo>
                <a:lnTo>
                  <a:pt x="8" y="132"/>
                </a:lnTo>
                <a:lnTo>
                  <a:pt x="8" y="128"/>
                </a:lnTo>
                <a:lnTo>
                  <a:pt x="4" y="128"/>
                </a:lnTo>
                <a:lnTo>
                  <a:pt x="4" y="124"/>
                </a:lnTo>
                <a:lnTo>
                  <a:pt x="4" y="120"/>
                </a:lnTo>
                <a:lnTo>
                  <a:pt x="8" y="116"/>
                </a:lnTo>
                <a:lnTo>
                  <a:pt x="12" y="116"/>
                </a:lnTo>
                <a:lnTo>
                  <a:pt x="12" y="112"/>
                </a:lnTo>
                <a:lnTo>
                  <a:pt x="12" y="116"/>
                </a:lnTo>
                <a:lnTo>
                  <a:pt x="16" y="116"/>
                </a:lnTo>
                <a:lnTo>
                  <a:pt x="16" y="112"/>
                </a:lnTo>
                <a:lnTo>
                  <a:pt x="16" y="110"/>
                </a:lnTo>
                <a:lnTo>
                  <a:pt x="12" y="110"/>
                </a:lnTo>
                <a:lnTo>
                  <a:pt x="12" y="106"/>
                </a:lnTo>
                <a:lnTo>
                  <a:pt x="12" y="102"/>
                </a:lnTo>
                <a:lnTo>
                  <a:pt x="12" y="98"/>
                </a:lnTo>
                <a:lnTo>
                  <a:pt x="16" y="98"/>
                </a:lnTo>
                <a:lnTo>
                  <a:pt x="16" y="102"/>
                </a:lnTo>
                <a:lnTo>
                  <a:pt x="16" y="98"/>
                </a:lnTo>
                <a:lnTo>
                  <a:pt x="16" y="94"/>
                </a:lnTo>
                <a:lnTo>
                  <a:pt x="18" y="90"/>
                </a:lnTo>
                <a:lnTo>
                  <a:pt x="16" y="86"/>
                </a:lnTo>
                <a:lnTo>
                  <a:pt x="16" y="82"/>
                </a:lnTo>
                <a:lnTo>
                  <a:pt x="16" y="80"/>
                </a:lnTo>
                <a:lnTo>
                  <a:pt x="16" y="82"/>
                </a:lnTo>
                <a:lnTo>
                  <a:pt x="18" y="82"/>
                </a:lnTo>
                <a:lnTo>
                  <a:pt x="22" y="82"/>
                </a:lnTo>
                <a:lnTo>
                  <a:pt x="26" y="82"/>
                </a:lnTo>
                <a:lnTo>
                  <a:pt x="26" y="86"/>
                </a:lnTo>
                <a:lnTo>
                  <a:pt x="30" y="82"/>
                </a:lnTo>
                <a:lnTo>
                  <a:pt x="30" y="80"/>
                </a:lnTo>
                <a:lnTo>
                  <a:pt x="30" y="76"/>
                </a:lnTo>
                <a:lnTo>
                  <a:pt x="34" y="72"/>
                </a:lnTo>
                <a:lnTo>
                  <a:pt x="34" y="68"/>
                </a:lnTo>
                <a:lnTo>
                  <a:pt x="38" y="64"/>
                </a:lnTo>
                <a:lnTo>
                  <a:pt x="34" y="60"/>
                </a:lnTo>
                <a:lnTo>
                  <a:pt x="34" y="56"/>
                </a:lnTo>
                <a:lnTo>
                  <a:pt x="38" y="56"/>
                </a:lnTo>
                <a:lnTo>
                  <a:pt x="38" y="54"/>
                </a:lnTo>
                <a:lnTo>
                  <a:pt x="42" y="54"/>
                </a:lnTo>
                <a:lnTo>
                  <a:pt x="42" y="50"/>
                </a:lnTo>
                <a:lnTo>
                  <a:pt x="42" y="46"/>
                </a:lnTo>
                <a:lnTo>
                  <a:pt x="42" y="42"/>
                </a:lnTo>
                <a:lnTo>
                  <a:pt x="42" y="38"/>
                </a:lnTo>
                <a:lnTo>
                  <a:pt x="42" y="34"/>
                </a:lnTo>
                <a:lnTo>
                  <a:pt x="46" y="34"/>
                </a:lnTo>
                <a:lnTo>
                  <a:pt x="46" y="30"/>
                </a:lnTo>
                <a:lnTo>
                  <a:pt x="48" y="30"/>
                </a:lnTo>
                <a:lnTo>
                  <a:pt x="52" y="26"/>
                </a:lnTo>
                <a:lnTo>
                  <a:pt x="56" y="24"/>
                </a:lnTo>
                <a:lnTo>
                  <a:pt x="60" y="24"/>
                </a:lnTo>
                <a:lnTo>
                  <a:pt x="64" y="24"/>
                </a:lnTo>
                <a:lnTo>
                  <a:pt x="68" y="24"/>
                </a:lnTo>
                <a:lnTo>
                  <a:pt x="68" y="26"/>
                </a:lnTo>
                <a:lnTo>
                  <a:pt x="72" y="26"/>
                </a:lnTo>
                <a:lnTo>
                  <a:pt x="68" y="24"/>
                </a:lnTo>
                <a:lnTo>
                  <a:pt x="68" y="20"/>
                </a:lnTo>
                <a:lnTo>
                  <a:pt x="68" y="16"/>
                </a:lnTo>
                <a:lnTo>
                  <a:pt x="72" y="16"/>
                </a:lnTo>
                <a:lnTo>
                  <a:pt x="72" y="12"/>
                </a:lnTo>
                <a:lnTo>
                  <a:pt x="74" y="12"/>
                </a:lnTo>
                <a:lnTo>
                  <a:pt x="72" y="8"/>
                </a:lnTo>
                <a:lnTo>
                  <a:pt x="72" y="4"/>
                </a:lnTo>
                <a:lnTo>
                  <a:pt x="74" y="4"/>
                </a:lnTo>
                <a:lnTo>
                  <a:pt x="74" y="0"/>
                </a:lnTo>
                <a:lnTo>
                  <a:pt x="78" y="0"/>
                </a:lnTo>
                <a:lnTo>
                  <a:pt x="78" y="4"/>
                </a:lnTo>
                <a:lnTo>
                  <a:pt x="82" y="4"/>
                </a:lnTo>
                <a:lnTo>
                  <a:pt x="82" y="8"/>
                </a:lnTo>
                <a:lnTo>
                  <a:pt x="82" y="12"/>
                </a:lnTo>
                <a:lnTo>
                  <a:pt x="86" y="12"/>
                </a:lnTo>
                <a:lnTo>
                  <a:pt x="86" y="16"/>
                </a:lnTo>
                <a:lnTo>
                  <a:pt x="86" y="20"/>
                </a:lnTo>
                <a:lnTo>
                  <a:pt x="88" y="20"/>
                </a:lnTo>
                <a:lnTo>
                  <a:pt x="88" y="16"/>
                </a:lnTo>
                <a:lnTo>
                  <a:pt x="88" y="20"/>
                </a:lnTo>
                <a:lnTo>
                  <a:pt x="92" y="20"/>
                </a:lnTo>
                <a:lnTo>
                  <a:pt x="92" y="24"/>
                </a:lnTo>
                <a:lnTo>
                  <a:pt x="92" y="26"/>
                </a:lnTo>
                <a:lnTo>
                  <a:pt x="92" y="30"/>
                </a:lnTo>
                <a:lnTo>
                  <a:pt x="92" y="34"/>
                </a:lnTo>
                <a:lnTo>
                  <a:pt x="92" y="38"/>
                </a:lnTo>
                <a:lnTo>
                  <a:pt x="92" y="42"/>
                </a:lnTo>
                <a:lnTo>
                  <a:pt x="92" y="46"/>
                </a:lnTo>
                <a:lnTo>
                  <a:pt x="88" y="46"/>
                </a:lnTo>
                <a:lnTo>
                  <a:pt x="88" y="50"/>
                </a:lnTo>
                <a:lnTo>
                  <a:pt x="92" y="50"/>
                </a:lnTo>
                <a:lnTo>
                  <a:pt x="88" y="50"/>
                </a:lnTo>
                <a:lnTo>
                  <a:pt x="88" y="54"/>
                </a:lnTo>
                <a:lnTo>
                  <a:pt x="86" y="54"/>
                </a:lnTo>
                <a:lnTo>
                  <a:pt x="82" y="56"/>
                </a:lnTo>
                <a:lnTo>
                  <a:pt x="82" y="60"/>
                </a:lnTo>
                <a:lnTo>
                  <a:pt x="78" y="60"/>
                </a:lnTo>
                <a:lnTo>
                  <a:pt x="78" y="64"/>
                </a:lnTo>
                <a:lnTo>
                  <a:pt x="78" y="68"/>
                </a:lnTo>
                <a:lnTo>
                  <a:pt x="74" y="68"/>
                </a:lnTo>
                <a:lnTo>
                  <a:pt x="74" y="72"/>
                </a:lnTo>
                <a:lnTo>
                  <a:pt x="74" y="76"/>
                </a:lnTo>
                <a:lnTo>
                  <a:pt x="78" y="76"/>
                </a:lnTo>
                <a:lnTo>
                  <a:pt x="78" y="80"/>
                </a:lnTo>
                <a:lnTo>
                  <a:pt x="78" y="82"/>
                </a:lnTo>
                <a:lnTo>
                  <a:pt x="74" y="82"/>
                </a:lnTo>
                <a:lnTo>
                  <a:pt x="78" y="82"/>
                </a:lnTo>
                <a:lnTo>
                  <a:pt x="78" y="86"/>
                </a:lnTo>
                <a:lnTo>
                  <a:pt x="78" y="82"/>
                </a:lnTo>
                <a:lnTo>
                  <a:pt x="82" y="82"/>
                </a:lnTo>
                <a:lnTo>
                  <a:pt x="82" y="80"/>
                </a:lnTo>
                <a:lnTo>
                  <a:pt x="86" y="80"/>
                </a:lnTo>
                <a:lnTo>
                  <a:pt x="88" y="80"/>
                </a:lnTo>
                <a:lnTo>
                  <a:pt x="92" y="80"/>
                </a:lnTo>
                <a:lnTo>
                  <a:pt x="92" y="82"/>
                </a:lnTo>
                <a:lnTo>
                  <a:pt x="88" y="82"/>
                </a:lnTo>
                <a:lnTo>
                  <a:pt x="92" y="86"/>
                </a:lnTo>
                <a:lnTo>
                  <a:pt x="92" y="90"/>
                </a:lnTo>
                <a:lnTo>
                  <a:pt x="92" y="94"/>
                </a:lnTo>
                <a:lnTo>
                  <a:pt x="92" y="98"/>
                </a:lnTo>
                <a:lnTo>
                  <a:pt x="96" y="98"/>
                </a:lnTo>
                <a:lnTo>
                  <a:pt x="100" y="98"/>
                </a:lnTo>
                <a:lnTo>
                  <a:pt x="104" y="98"/>
                </a:lnTo>
                <a:lnTo>
                  <a:pt x="104" y="102"/>
                </a:lnTo>
                <a:lnTo>
                  <a:pt x="100" y="102"/>
                </a:lnTo>
                <a:lnTo>
                  <a:pt x="100" y="106"/>
                </a:lnTo>
                <a:lnTo>
                  <a:pt x="100" y="110"/>
                </a:lnTo>
                <a:lnTo>
                  <a:pt x="100" y="112"/>
                </a:lnTo>
                <a:lnTo>
                  <a:pt x="96" y="116"/>
                </a:lnTo>
                <a:lnTo>
                  <a:pt x="100" y="116"/>
                </a:lnTo>
                <a:lnTo>
                  <a:pt x="104" y="116"/>
                </a:lnTo>
                <a:lnTo>
                  <a:pt x="108" y="116"/>
                </a:lnTo>
                <a:lnTo>
                  <a:pt x="108" y="120"/>
                </a:lnTo>
                <a:lnTo>
                  <a:pt x="108" y="124"/>
                </a:lnTo>
                <a:lnTo>
                  <a:pt x="112" y="124"/>
                </a:lnTo>
                <a:lnTo>
                  <a:pt x="112" y="128"/>
                </a:lnTo>
                <a:lnTo>
                  <a:pt x="114" y="128"/>
                </a:lnTo>
                <a:lnTo>
                  <a:pt x="118" y="128"/>
                </a:lnTo>
                <a:lnTo>
                  <a:pt x="122" y="124"/>
                </a:lnTo>
                <a:lnTo>
                  <a:pt x="126" y="124"/>
                </a:lnTo>
                <a:lnTo>
                  <a:pt x="126" y="128"/>
                </a:lnTo>
                <a:lnTo>
                  <a:pt x="122" y="128"/>
                </a:lnTo>
                <a:lnTo>
                  <a:pt x="122" y="132"/>
                </a:lnTo>
                <a:lnTo>
                  <a:pt x="118" y="132"/>
                </a:lnTo>
                <a:lnTo>
                  <a:pt x="118" y="136"/>
                </a:lnTo>
                <a:lnTo>
                  <a:pt x="114" y="136"/>
                </a:lnTo>
                <a:lnTo>
                  <a:pt x="114" y="138"/>
                </a:lnTo>
                <a:lnTo>
                  <a:pt x="118" y="138"/>
                </a:lnTo>
                <a:lnTo>
                  <a:pt x="114" y="138"/>
                </a:lnTo>
                <a:lnTo>
                  <a:pt x="112" y="138"/>
                </a:lnTo>
                <a:lnTo>
                  <a:pt x="112" y="142"/>
                </a:lnTo>
                <a:lnTo>
                  <a:pt x="112" y="146"/>
                </a:lnTo>
                <a:lnTo>
                  <a:pt x="108" y="146"/>
                </a:lnTo>
                <a:lnTo>
                  <a:pt x="104" y="146"/>
                </a:lnTo>
                <a:lnTo>
                  <a:pt x="104" y="150"/>
                </a:lnTo>
                <a:lnTo>
                  <a:pt x="100" y="150"/>
                </a:lnTo>
                <a:lnTo>
                  <a:pt x="100" y="152"/>
                </a:lnTo>
                <a:lnTo>
                  <a:pt x="100" y="150"/>
                </a:lnTo>
                <a:lnTo>
                  <a:pt x="96" y="150"/>
                </a:lnTo>
                <a:lnTo>
                  <a:pt x="96" y="152"/>
                </a:lnTo>
                <a:lnTo>
                  <a:pt x="96" y="156"/>
                </a:lnTo>
                <a:lnTo>
                  <a:pt x="92" y="156"/>
                </a:lnTo>
                <a:lnTo>
                  <a:pt x="88" y="156"/>
                </a:lnTo>
                <a:lnTo>
                  <a:pt x="86" y="156"/>
                </a:lnTo>
                <a:lnTo>
                  <a:pt x="82" y="156"/>
                </a:lnTo>
                <a:lnTo>
                  <a:pt x="82" y="160"/>
                </a:lnTo>
                <a:lnTo>
                  <a:pt x="78" y="160"/>
                </a:lnTo>
                <a:lnTo>
                  <a:pt x="78" y="164"/>
                </a:lnTo>
                <a:lnTo>
                  <a:pt x="78" y="168"/>
                </a:lnTo>
                <a:lnTo>
                  <a:pt x="78" y="172"/>
                </a:lnTo>
                <a:lnTo>
                  <a:pt x="78" y="176"/>
                </a:lnTo>
                <a:lnTo>
                  <a:pt x="78" y="180"/>
                </a:lnTo>
                <a:lnTo>
                  <a:pt x="74" y="180"/>
                </a:lnTo>
                <a:lnTo>
                  <a:pt x="72" y="180"/>
                </a:lnTo>
                <a:lnTo>
                  <a:pt x="74" y="180"/>
                </a:lnTo>
                <a:lnTo>
                  <a:pt x="74" y="182"/>
                </a:lnTo>
                <a:lnTo>
                  <a:pt x="78" y="182"/>
                </a:lnTo>
                <a:lnTo>
                  <a:pt x="74" y="182"/>
                </a:lnTo>
                <a:lnTo>
                  <a:pt x="78" y="186"/>
                </a:lnTo>
                <a:lnTo>
                  <a:pt x="78" y="190"/>
                </a:lnTo>
                <a:lnTo>
                  <a:pt x="78" y="194"/>
                </a:lnTo>
                <a:lnTo>
                  <a:pt x="82" y="194"/>
                </a:lnTo>
                <a:lnTo>
                  <a:pt x="82" y="198"/>
                </a:lnTo>
                <a:lnTo>
                  <a:pt x="82" y="202"/>
                </a:lnTo>
                <a:lnTo>
                  <a:pt x="86" y="202"/>
                </a:lnTo>
                <a:lnTo>
                  <a:pt x="86" y="206"/>
                </a:lnTo>
                <a:lnTo>
                  <a:pt x="88" y="206"/>
                </a:lnTo>
                <a:lnTo>
                  <a:pt x="88" y="208"/>
                </a:lnTo>
                <a:lnTo>
                  <a:pt x="88" y="212"/>
                </a:lnTo>
                <a:lnTo>
                  <a:pt x="88" y="216"/>
                </a:lnTo>
                <a:lnTo>
                  <a:pt x="92" y="216"/>
                </a:lnTo>
                <a:lnTo>
                  <a:pt x="92" y="220"/>
                </a:lnTo>
                <a:lnTo>
                  <a:pt x="88" y="220"/>
                </a:lnTo>
                <a:lnTo>
                  <a:pt x="88" y="224"/>
                </a:lnTo>
                <a:lnTo>
                  <a:pt x="88" y="228"/>
                </a:lnTo>
                <a:lnTo>
                  <a:pt x="88" y="232"/>
                </a:lnTo>
                <a:lnTo>
                  <a:pt x="88" y="234"/>
                </a:lnTo>
                <a:lnTo>
                  <a:pt x="86" y="234"/>
                </a:lnTo>
                <a:lnTo>
                  <a:pt x="86" y="238"/>
                </a:lnTo>
                <a:lnTo>
                  <a:pt x="86" y="242"/>
                </a:lnTo>
                <a:lnTo>
                  <a:pt x="86" y="246"/>
                </a:lnTo>
                <a:lnTo>
                  <a:pt x="88" y="246"/>
                </a:lnTo>
                <a:lnTo>
                  <a:pt x="88" y="250"/>
                </a:lnTo>
                <a:lnTo>
                  <a:pt x="88" y="254"/>
                </a:lnTo>
                <a:lnTo>
                  <a:pt x="92" y="254"/>
                </a:lnTo>
                <a:lnTo>
                  <a:pt x="92" y="258"/>
                </a:lnTo>
                <a:lnTo>
                  <a:pt x="96" y="258"/>
                </a:lnTo>
                <a:lnTo>
                  <a:pt x="96" y="262"/>
                </a:lnTo>
                <a:lnTo>
                  <a:pt x="96" y="264"/>
                </a:lnTo>
                <a:lnTo>
                  <a:pt x="96" y="268"/>
                </a:lnTo>
                <a:lnTo>
                  <a:pt x="100" y="268"/>
                </a:lnTo>
                <a:lnTo>
                  <a:pt x="100" y="272"/>
                </a:lnTo>
                <a:lnTo>
                  <a:pt x="96" y="272"/>
                </a:lnTo>
                <a:lnTo>
                  <a:pt x="100" y="280"/>
                </a:lnTo>
                <a:lnTo>
                  <a:pt x="100" y="284"/>
                </a:lnTo>
                <a:lnTo>
                  <a:pt x="100" y="288"/>
                </a:lnTo>
                <a:lnTo>
                  <a:pt x="104" y="288"/>
                </a:lnTo>
                <a:lnTo>
                  <a:pt x="104" y="290"/>
                </a:lnTo>
                <a:lnTo>
                  <a:pt x="104" y="294"/>
                </a:lnTo>
                <a:lnTo>
                  <a:pt x="104" y="298"/>
                </a:lnTo>
                <a:lnTo>
                  <a:pt x="100" y="298"/>
                </a:lnTo>
                <a:lnTo>
                  <a:pt x="100" y="302"/>
                </a:lnTo>
                <a:lnTo>
                  <a:pt x="100" y="306"/>
                </a:lnTo>
                <a:lnTo>
                  <a:pt x="96" y="310"/>
                </a:lnTo>
                <a:lnTo>
                  <a:pt x="92" y="314"/>
                </a:lnTo>
                <a:lnTo>
                  <a:pt x="92" y="314"/>
                </a:lnTo>
                <a:lnTo>
                  <a:pt x="92" y="314"/>
                </a:lnTo>
                <a:close/>
                <a:moveTo>
                  <a:pt x="22" y="164"/>
                </a:moveTo>
                <a:lnTo>
                  <a:pt x="22" y="168"/>
                </a:lnTo>
                <a:lnTo>
                  <a:pt x="26" y="168"/>
                </a:lnTo>
                <a:lnTo>
                  <a:pt x="26" y="172"/>
                </a:lnTo>
                <a:lnTo>
                  <a:pt x="22" y="172"/>
                </a:lnTo>
                <a:lnTo>
                  <a:pt x="18" y="168"/>
                </a:lnTo>
                <a:lnTo>
                  <a:pt x="18" y="164"/>
                </a:lnTo>
                <a:lnTo>
                  <a:pt x="22" y="164"/>
                </a:lnTo>
                <a:lnTo>
                  <a:pt x="22" y="168"/>
                </a:lnTo>
                <a:lnTo>
                  <a:pt x="22" y="164"/>
                </a:lnTo>
                <a:lnTo>
                  <a:pt x="22" y="164"/>
                </a:lnTo>
                <a:lnTo>
                  <a:pt x="22" y="164"/>
                </a:lnTo>
                <a:close/>
                <a:moveTo>
                  <a:pt x="8" y="146"/>
                </a:moveTo>
                <a:lnTo>
                  <a:pt x="8" y="150"/>
                </a:lnTo>
                <a:lnTo>
                  <a:pt x="8" y="146"/>
                </a:lnTo>
                <a:lnTo>
                  <a:pt x="8" y="146"/>
                </a:lnTo>
                <a:lnTo>
                  <a:pt x="8" y="146"/>
                </a:lnTo>
                <a:close/>
                <a:moveTo>
                  <a:pt x="18" y="152"/>
                </a:moveTo>
                <a:lnTo>
                  <a:pt x="18" y="156"/>
                </a:lnTo>
                <a:lnTo>
                  <a:pt x="16" y="152"/>
                </a:lnTo>
                <a:lnTo>
                  <a:pt x="18" y="152"/>
                </a:lnTo>
                <a:lnTo>
                  <a:pt x="18" y="152"/>
                </a:lnTo>
                <a:lnTo>
                  <a:pt x="18" y="152"/>
                </a:lnTo>
                <a:close/>
                <a:moveTo>
                  <a:pt x="26" y="164"/>
                </a:moveTo>
                <a:lnTo>
                  <a:pt x="22" y="164"/>
                </a:lnTo>
                <a:lnTo>
                  <a:pt x="18" y="164"/>
                </a:lnTo>
                <a:lnTo>
                  <a:pt x="18" y="160"/>
                </a:lnTo>
                <a:lnTo>
                  <a:pt x="22" y="160"/>
                </a:lnTo>
                <a:lnTo>
                  <a:pt x="26" y="164"/>
                </a:lnTo>
                <a:lnTo>
                  <a:pt x="26" y="164"/>
                </a:lnTo>
                <a:lnTo>
                  <a:pt x="26" y="164"/>
                </a:lnTo>
                <a:close/>
                <a:moveTo>
                  <a:pt x="74" y="212"/>
                </a:moveTo>
                <a:lnTo>
                  <a:pt x="74" y="216"/>
                </a:lnTo>
                <a:lnTo>
                  <a:pt x="74" y="220"/>
                </a:lnTo>
                <a:lnTo>
                  <a:pt x="74" y="216"/>
                </a:lnTo>
                <a:lnTo>
                  <a:pt x="74" y="212"/>
                </a:lnTo>
                <a:lnTo>
                  <a:pt x="74" y="212"/>
                </a:lnTo>
                <a:lnTo>
                  <a:pt x="74" y="212"/>
                </a:lnTo>
                <a:close/>
                <a:moveTo>
                  <a:pt x="34" y="220"/>
                </a:moveTo>
                <a:lnTo>
                  <a:pt x="34" y="224"/>
                </a:lnTo>
                <a:lnTo>
                  <a:pt x="30" y="224"/>
                </a:lnTo>
                <a:lnTo>
                  <a:pt x="34" y="220"/>
                </a:lnTo>
                <a:lnTo>
                  <a:pt x="34" y="220"/>
                </a:lnTo>
                <a:lnTo>
                  <a:pt x="34" y="220"/>
                </a:lnTo>
                <a:close/>
                <a:moveTo>
                  <a:pt x="82" y="290"/>
                </a:moveTo>
                <a:lnTo>
                  <a:pt x="82" y="288"/>
                </a:lnTo>
                <a:lnTo>
                  <a:pt x="82" y="290"/>
                </a:lnTo>
                <a:lnTo>
                  <a:pt x="82" y="290"/>
                </a:lnTo>
                <a:lnTo>
                  <a:pt x="82" y="290"/>
                </a:lnTo>
                <a:close/>
                <a:moveTo>
                  <a:pt x="86" y="328"/>
                </a:moveTo>
                <a:lnTo>
                  <a:pt x="82" y="328"/>
                </a:lnTo>
                <a:lnTo>
                  <a:pt x="86" y="328"/>
                </a:lnTo>
                <a:lnTo>
                  <a:pt x="86" y="324"/>
                </a:lnTo>
                <a:lnTo>
                  <a:pt x="86" y="328"/>
                </a:lnTo>
                <a:lnTo>
                  <a:pt x="86" y="328"/>
                </a:lnTo>
                <a:lnTo>
                  <a:pt x="86" y="328"/>
                </a:lnTo>
                <a:close/>
                <a:moveTo>
                  <a:pt x="18" y="172"/>
                </a:moveTo>
                <a:lnTo>
                  <a:pt x="22" y="172"/>
                </a:lnTo>
                <a:lnTo>
                  <a:pt x="22" y="176"/>
                </a:lnTo>
                <a:lnTo>
                  <a:pt x="18" y="176"/>
                </a:lnTo>
                <a:lnTo>
                  <a:pt x="18" y="172"/>
                </a:lnTo>
                <a:lnTo>
                  <a:pt x="18" y="172"/>
                </a:lnTo>
                <a:lnTo>
                  <a:pt x="18" y="172"/>
                </a:lnTo>
                <a:close/>
                <a:moveTo>
                  <a:pt x="86" y="288"/>
                </a:moveTo>
                <a:lnTo>
                  <a:pt x="86" y="284"/>
                </a:lnTo>
                <a:lnTo>
                  <a:pt x="86" y="280"/>
                </a:lnTo>
                <a:lnTo>
                  <a:pt x="88" y="284"/>
                </a:lnTo>
                <a:lnTo>
                  <a:pt x="86" y="288"/>
                </a:lnTo>
                <a:lnTo>
                  <a:pt x="86" y="288"/>
                </a:lnTo>
                <a:lnTo>
                  <a:pt x="86" y="288"/>
                </a:lnTo>
                <a:close/>
                <a:moveTo>
                  <a:pt x="82" y="288"/>
                </a:moveTo>
                <a:lnTo>
                  <a:pt x="82" y="284"/>
                </a:lnTo>
                <a:lnTo>
                  <a:pt x="82" y="288"/>
                </a:lnTo>
                <a:lnTo>
                  <a:pt x="82" y="288"/>
                </a:lnTo>
                <a:lnTo>
                  <a:pt x="82" y="288"/>
                </a:lnTo>
                <a:close/>
                <a:moveTo>
                  <a:pt x="88" y="290"/>
                </a:moveTo>
                <a:lnTo>
                  <a:pt x="88" y="294"/>
                </a:lnTo>
                <a:lnTo>
                  <a:pt x="88" y="290"/>
                </a:lnTo>
                <a:lnTo>
                  <a:pt x="88" y="290"/>
                </a:lnTo>
                <a:lnTo>
                  <a:pt x="88" y="290"/>
                </a:lnTo>
                <a:close/>
                <a:moveTo>
                  <a:pt x="86" y="298"/>
                </a:moveTo>
                <a:lnTo>
                  <a:pt x="86" y="294"/>
                </a:lnTo>
                <a:lnTo>
                  <a:pt x="88" y="294"/>
                </a:lnTo>
                <a:lnTo>
                  <a:pt x="88" y="298"/>
                </a:lnTo>
                <a:lnTo>
                  <a:pt x="86" y="298"/>
                </a:lnTo>
                <a:lnTo>
                  <a:pt x="86" y="298"/>
                </a:lnTo>
                <a:lnTo>
                  <a:pt x="86" y="298"/>
                </a:lnTo>
                <a:close/>
                <a:moveTo>
                  <a:pt x="86" y="302"/>
                </a:moveTo>
                <a:lnTo>
                  <a:pt x="86" y="298"/>
                </a:lnTo>
                <a:lnTo>
                  <a:pt x="86" y="294"/>
                </a:lnTo>
                <a:lnTo>
                  <a:pt x="86" y="298"/>
                </a:lnTo>
                <a:lnTo>
                  <a:pt x="86" y="302"/>
                </a:lnTo>
                <a:lnTo>
                  <a:pt x="86" y="302"/>
                </a:lnTo>
                <a:lnTo>
                  <a:pt x="86" y="302"/>
                </a:lnTo>
                <a:close/>
                <a:moveTo>
                  <a:pt x="86" y="314"/>
                </a:moveTo>
                <a:lnTo>
                  <a:pt x="82" y="310"/>
                </a:lnTo>
                <a:lnTo>
                  <a:pt x="82" y="314"/>
                </a:lnTo>
                <a:lnTo>
                  <a:pt x="82" y="310"/>
                </a:lnTo>
                <a:lnTo>
                  <a:pt x="86" y="310"/>
                </a:lnTo>
                <a:lnTo>
                  <a:pt x="86" y="314"/>
                </a:lnTo>
                <a:lnTo>
                  <a:pt x="86" y="314"/>
                </a:lnTo>
                <a:lnTo>
                  <a:pt x="86" y="314"/>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6" name="Freeform 43"/>
          <p:cNvSpPr>
            <a:spLocks/>
          </p:cNvSpPr>
          <p:nvPr/>
        </p:nvSpPr>
        <p:spPr bwMode="auto">
          <a:xfrm>
            <a:off x="5605462" y="3067050"/>
            <a:ext cx="138113" cy="88106"/>
          </a:xfrm>
          <a:custGeom>
            <a:avLst/>
            <a:gdLst>
              <a:gd name="T0" fmla="*/ 34 w 116"/>
              <a:gd name="T1" fmla="*/ 48 h 74"/>
              <a:gd name="T2" fmla="*/ 30 w 116"/>
              <a:gd name="T3" fmla="*/ 44 h 74"/>
              <a:gd name="T4" fmla="*/ 26 w 116"/>
              <a:gd name="T5" fmla="*/ 44 h 74"/>
              <a:gd name="T6" fmla="*/ 20 w 116"/>
              <a:gd name="T7" fmla="*/ 40 h 74"/>
              <a:gd name="T8" fmla="*/ 16 w 116"/>
              <a:gd name="T9" fmla="*/ 36 h 74"/>
              <a:gd name="T10" fmla="*/ 8 w 116"/>
              <a:gd name="T11" fmla="*/ 30 h 74"/>
              <a:gd name="T12" fmla="*/ 4 w 116"/>
              <a:gd name="T13" fmla="*/ 30 h 74"/>
              <a:gd name="T14" fmla="*/ 0 w 116"/>
              <a:gd name="T15" fmla="*/ 22 h 74"/>
              <a:gd name="T16" fmla="*/ 0 w 116"/>
              <a:gd name="T17" fmla="*/ 18 h 74"/>
              <a:gd name="T18" fmla="*/ 4 w 116"/>
              <a:gd name="T19" fmla="*/ 14 h 74"/>
              <a:gd name="T20" fmla="*/ 8 w 116"/>
              <a:gd name="T21" fmla="*/ 10 h 74"/>
              <a:gd name="T22" fmla="*/ 8 w 116"/>
              <a:gd name="T23" fmla="*/ 6 h 74"/>
              <a:gd name="T24" fmla="*/ 16 w 116"/>
              <a:gd name="T25" fmla="*/ 4 h 74"/>
              <a:gd name="T26" fmla="*/ 16 w 116"/>
              <a:gd name="T27" fmla="*/ 6 h 74"/>
              <a:gd name="T28" fmla="*/ 20 w 116"/>
              <a:gd name="T29" fmla="*/ 0 h 74"/>
              <a:gd name="T30" fmla="*/ 20 w 116"/>
              <a:gd name="T31" fmla="*/ 0 h 74"/>
              <a:gd name="T32" fmla="*/ 26 w 116"/>
              <a:gd name="T33" fmla="*/ 0 h 74"/>
              <a:gd name="T34" fmla="*/ 34 w 116"/>
              <a:gd name="T35" fmla="*/ 6 h 74"/>
              <a:gd name="T36" fmla="*/ 42 w 116"/>
              <a:gd name="T37" fmla="*/ 10 h 74"/>
              <a:gd name="T38" fmla="*/ 46 w 116"/>
              <a:gd name="T39" fmla="*/ 14 h 74"/>
              <a:gd name="T40" fmla="*/ 48 w 116"/>
              <a:gd name="T41" fmla="*/ 22 h 74"/>
              <a:gd name="T42" fmla="*/ 52 w 116"/>
              <a:gd name="T43" fmla="*/ 22 h 74"/>
              <a:gd name="T44" fmla="*/ 56 w 116"/>
              <a:gd name="T45" fmla="*/ 22 h 74"/>
              <a:gd name="T46" fmla="*/ 60 w 116"/>
              <a:gd name="T47" fmla="*/ 26 h 74"/>
              <a:gd name="T48" fmla="*/ 64 w 116"/>
              <a:gd name="T49" fmla="*/ 30 h 74"/>
              <a:gd name="T50" fmla="*/ 68 w 116"/>
              <a:gd name="T51" fmla="*/ 32 h 74"/>
              <a:gd name="T52" fmla="*/ 72 w 116"/>
              <a:gd name="T53" fmla="*/ 32 h 74"/>
              <a:gd name="T54" fmla="*/ 72 w 116"/>
              <a:gd name="T55" fmla="*/ 36 h 74"/>
              <a:gd name="T56" fmla="*/ 74 w 116"/>
              <a:gd name="T57" fmla="*/ 36 h 74"/>
              <a:gd name="T58" fmla="*/ 82 w 116"/>
              <a:gd name="T59" fmla="*/ 40 h 74"/>
              <a:gd name="T60" fmla="*/ 82 w 116"/>
              <a:gd name="T61" fmla="*/ 44 h 74"/>
              <a:gd name="T62" fmla="*/ 86 w 116"/>
              <a:gd name="T63" fmla="*/ 40 h 74"/>
              <a:gd name="T64" fmla="*/ 90 w 116"/>
              <a:gd name="T65" fmla="*/ 44 h 74"/>
              <a:gd name="T66" fmla="*/ 94 w 116"/>
              <a:gd name="T67" fmla="*/ 40 h 74"/>
              <a:gd name="T68" fmla="*/ 98 w 116"/>
              <a:gd name="T69" fmla="*/ 44 h 74"/>
              <a:gd name="T70" fmla="*/ 100 w 116"/>
              <a:gd name="T71" fmla="*/ 44 h 74"/>
              <a:gd name="T72" fmla="*/ 108 w 116"/>
              <a:gd name="T73" fmla="*/ 48 h 74"/>
              <a:gd name="T74" fmla="*/ 108 w 116"/>
              <a:gd name="T75" fmla="*/ 44 h 74"/>
              <a:gd name="T76" fmla="*/ 112 w 116"/>
              <a:gd name="T77" fmla="*/ 44 h 74"/>
              <a:gd name="T78" fmla="*/ 116 w 116"/>
              <a:gd name="T79" fmla="*/ 48 h 74"/>
              <a:gd name="T80" fmla="*/ 112 w 116"/>
              <a:gd name="T81" fmla="*/ 56 h 74"/>
              <a:gd name="T82" fmla="*/ 112 w 116"/>
              <a:gd name="T83" fmla="*/ 62 h 74"/>
              <a:gd name="T84" fmla="*/ 112 w 116"/>
              <a:gd name="T85" fmla="*/ 70 h 74"/>
              <a:gd name="T86" fmla="*/ 112 w 116"/>
              <a:gd name="T87" fmla="*/ 70 h 74"/>
              <a:gd name="T88" fmla="*/ 108 w 116"/>
              <a:gd name="T89" fmla="*/ 70 h 74"/>
              <a:gd name="T90" fmla="*/ 104 w 116"/>
              <a:gd name="T91" fmla="*/ 70 h 74"/>
              <a:gd name="T92" fmla="*/ 98 w 116"/>
              <a:gd name="T93" fmla="*/ 70 h 74"/>
              <a:gd name="T94" fmla="*/ 90 w 116"/>
              <a:gd name="T95" fmla="*/ 70 h 74"/>
              <a:gd name="T96" fmla="*/ 86 w 116"/>
              <a:gd name="T97" fmla="*/ 66 h 74"/>
              <a:gd name="T98" fmla="*/ 78 w 116"/>
              <a:gd name="T99" fmla="*/ 66 h 74"/>
              <a:gd name="T100" fmla="*/ 78 w 116"/>
              <a:gd name="T101" fmla="*/ 62 h 74"/>
              <a:gd name="T102" fmla="*/ 74 w 116"/>
              <a:gd name="T103" fmla="*/ 66 h 74"/>
              <a:gd name="T104" fmla="*/ 68 w 116"/>
              <a:gd name="T105" fmla="*/ 60 h 74"/>
              <a:gd name="T106" fmla="*/ 64 w 116"/>
              <a:gd name="T107" fmla="*/ 60 h 74"/>
              <a:gd name="T108" fmla="*/ 64 w 116"/>
              <a:gd name="T109" fmla="*/ 56 h 74"/>
              <a:gd name="T110" fmla="*/ 56 w 116"/>
              <a:gd name="T111" fmla="*/ 52 h 74"/>
              <a:gd name="T112" fmla="*/ 52 w 116"/>
              <a:gd name="T113" fmla="*/ 56 h 74"/>
              <a:gd name="T114" fmla="*/ 48 w 116"/>
              <a:gd name="T115" fmla="*/ 52 h 74"/>
              <a:gd name="T116" fmla="*/ 46 w 116"/>
              <a:gd name="T117" fmla="*/ 56 h 74"/>
              <a:gd name="T118" fmla="*/ 46 w 116"/>
              <a:gd name="T119" fmla="*/ 52 h 74"/>
              <a:gd name="T120" fmla="*/ 38 w 116"/>
              <a:gd name="T121" fmla="*/ 52 h 74"/>
              <a:gd name="T122" fmla="*/ 38 w 116"/>
              <a:gd name="T123" fmla="*/ 48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6" h="74">
                <a:moveTo>
                  <a:pt x="38" y="48"/>
                </a:moveTo>
                <a:lnTo>
                  <a:pt x="38" y="48"/>
                </a:lnTo>
                <a:lnTo>
                  <a:pt x="38" y="48"/>
                </a:lnTo>
                <a:lnTo>
                  <a:pt x="34" y="48"/>
                </a:lnTo>
                <a:lnTo>
                  <a:pt x="34" y="48"/>
                </a:lnTo>
                <a:lnTo>
                  <a:pt x="34" y="48"/>
                </a:lnTo>
                <a:lnTo>
                  <a:pt x="34" y="48"/>
                </a:lnTo>
                <a:lnTo>
                  <a:pt x="34" y="48"/>
                </a:lnTo>
                <a:lnTo>
                  <a:pt x="34" y="48"/>
                </a:lnTo>
                <a:lnTo>
                  <a:pt x="30" y="48"/>
                </a:lnTo>
                <a:lnTo>
                  <a:pt x="30" y="48"/>
                </a:lnTo>
                <a:lnTo>
                  <a:pt x="30" y="44"/>
                </a:lnTo>
                <a:lnTo>
                  <a:pt x="26" y="44"/>
                </a:lnTo>
                <a:lnTo>
                  <a:pt x="26" y="44"/>
                </a:lnTo>
                <a:lnTo>
                  <a:pt x="26" y="44"/>
                </a:lnTo>
                <a:lnTo>
                  <a:pt x="26" y="44"/>
                </a:lnTo>
                <a:lnTo>
                  <a:pt x="26" y="44"/>
                </a:lnTo>
                <a:lnTo>
                  <a:pt x="26" y="44"/>
                </a:lnTo>
                <a:lnTo>
                  <a:pt x="22" y="44"/>
                </a:lnTo>
                <a:lnTo>
                  <a:pt x="22" y="44"/>
                </a:lnTo>
                <a:lnTo>
                  <a:pt x="22" y="44"/>
                </a:lnTo>
                <a:lnTo>
                  <a:pt x="20" y="40"/>
                </a:lnTo>
                <a:lnTo>
                  <a:pt x="20" y="40"/>
                </a:lnTo>
                <a:lnTo>
                  <a:pt x="20" y="40"/>
                </a:lnTo>
                <a:lnTo>
                  <a:pt x="16" y="36"/>
                </a:lnTo>
                <a:lnTo>
                  <a:pt x="16" y="36"/>
                </a:lnTo>
                <a:lnTo>
                  <a:pt x="16" y="36"/>
                </a:lnTo>
                <a:lnTo>
                  <a:pt x="16" y="36"/>
                </a:lnTo>
                <a:lnTo>
                  <a:pt x="16" y="36"/>
                </a:lnTo>
                <a:lnTo>
                  <a:pt x="16" y="36"/>
                </a:lnTo>
                <a:lnTo>
                  <a:pt x="16" y="36"/>
                </a:lnTo>
                <a:lnTo>
                  <a:pt x="12" y="32"/>
                </a:lnTo>
                <a:lnTo>
                  <a:pt x="8" y="32"/>
                </a:lnTo>
                <a:lnTo>
                  <a:pt x="8" y="30"/>
                </a:lnTo>
                <a:lnTo>
                  <a:pt x="8" y="30"/>
                </a:lnTo>
                <a:lnTo>
                  <a:pt x="8" y="30"/>
                </a:lnTo>
                <a:lnTo>
                  <a:pt x="8" y="30"/>
                </a:lnTo>
                <a:lnTo>
                  <a:pt x="8" y="32"/>
                </a:lnTo>
                <a:lnTo>
                  <a:pt x="4" y="32"/>
                </a:lnTo>
                <a:lnTo>
                  <a:pt x="4" y="32"/>
                </a:lnTo>
                <a:lnTo>
                  <a:pt x="4" y="30"/>
                </a:lnTo>
                <a:lnTo>
                  <a:pt x="4" y="30"/>
                </a:lnTo>
                <a:lnTo>
                  <a:pt x="0" y="30"/>
                </a:lnTo>
                <a:lnTo>
                  <a:pt x="0" y="30"/>
                </a:lnTo>
                <a:lnTo>
                  <a:pt x="0" y="26"/>
                </a:lnTo>
                <a:lnTo>
                  <a:pt x="0" y="26"/>
                </a:lnTo>
                <a:lnTo>
                  <a:pt x="0" y="26"/>
                </a:lnTo>
                <a:lnTo>
                  <a:pt x="0" y="22"/>
                </a:lnTo>
                <a:lnTo>
                  <a:pt x="4" y="22"/>
                </a:lnTo>
                <a:lnTo>
                  <a:pt x="4" y="22"/>
                </a:lnTo>
                <a:lnTo>
                  <a:pt x="4" y="18"/>
                </a:lnTo>
                <a:lnTo>
                  <a:pt x="4" y="18"/>
                </a:lnTo>
                <a:lnTo>
                  <a:pt x="4" y="18"/>
                </a:lnTo>
                <a:lnTo>
                  <a:pt x="0" y="18"/>
                </a:lnTo>
                <a:lnTo>
                  <a:pt x="4" y="14"/>
                </a:lnTo>
                <a:lnTo>
                  <a:pt x="4" y="14"/>
                </a:lnTo>
                <a:lnTo>
                  <a:pt x="4" y="14"/>
                </a:lnTo>
                <a:lnTo>
                  <a:pt x="4" y="14"/>
                </a:lnTo>
                <a:lnTo>
                  <a:pt x="4" y="14"/>
                </a:lnTo>
                <a:lnTo>
                  <a:pt x="4" y="14"/>
                </a:lnTo>
                <a:lnTo>
                  <a:pt x="4" y="10"/>
                </a:lnTo>
                <a:lnTo>
                  <a:pt x="4" y="10"/>
                </a:lnTo>
                <a:lnTo>
                  <a:pt x="4" y="10"/>
                </a:lnTo>
                <a:lnTo>
                  <a:pt x="4" y="10"/>
                </a:lnTo>
                <a:lnTo>
                  <a:pt x="4" y="10"/>
                </a:lnTo>
                <a:lnTo>
                  <a:pt x="8" y="10"/>
                </a:lnTo>
                <a:lnTo>
                  <a:pt x="8" y="6"/>
                </a:lnTo>
                <a:lnTo>
                  <a:pt x="8" y="6"/>
                </a:lnTo>
                <a:lnTo>
                  <a:pt x="8" y="6"/>
                </a:lnTo>
                <a:lnTo>
                  <a:pt x="8" y="6"/>
                </a:lnTo>
                <a:lnTo>
                  <a:pt x="8" y="6"/>
                </a:lnTo>
                <a:lnTo>
                  <a:pt x="8" y="6"/>
                </a:lnTo>
                <a:lnTo>
                  <a:pt x="12" y="4"/>
                </a:lnTo>
                <a:lnTo>
                  <a:pt x="12" y="4"/>
                </a:lnTo>
                <a:lnTo>
                  <a:pt x="12" y="4"/>
                </a:lnTo>
                <a:lnTo>
                  <a:pt x="16" y="4"/>
                </a:lnTo>
                <a:lnTo>
                  <a:pt x="16" y="4"/>
                </a:lnTo>
                <a:lnTo>
                  <a:pt x="16" y="4"/>
                </a:lnTo>
                <a:lnTo>
                  <a:pt x="16" y="6"/>
                </a:lnTo>
                <a:lnTo>
                  <a:pt x="16" y="6"/>
                </a:lnTo>
                <a:lnTo>
                  <a:pt x="16" y="6"/>
                </a:lnTo>
                <a:lnTo>
                  <a:pt x="16" y="6"/>
                </a:lnTo>
                <a:lnTo>
                  <a:pt x="16" y="6"/>
                </a:lnTo>
                <a:lnTo>
                  <a:pt x="16" y="6"/>
                </a:lnTo>
                <a:lnTo>
                  <a:pt x="16" y="6"/>
                </a:lnTo>
                <a:lnTo>
                  <a:pt x="20" y="4"/>
                </a:lnTo>
                <a:lnTo>
                  <a:pt x="20" y="4"/>
                </a:lnTo>
                <a:lnTo>
                  <a:pt x="20" y="4"/>
                </a:lnTo>
                <a:lnTo>
                  <a:pt x="20" y="0"/>
                </a:lnTo>
                <a:lnTo>
                  <a:pt x="20" y="0"/>
                </a:lnTo>
                <a:lnTo>
                  <a:pt x="20" y="0"/>
                </a:lnTo>
                <a:lnTo>
                  <a:pt x="20" y="0"/>
                </a:lnTo>
                <a:lnTo>
                  <a:pt x="20" y="0"/>
                </a:lnTo>
                <a:lnTo>
                  <a:pt x="20" y="0"/>
                </a:lnTo>
                <a:lnTo>
                  <a:pt x="20" y="0"/>
                </a:lnTo>
                <a:lnTo>
                  <a:pt x="20" y="0"/>
                </a:lnTo>
                <a:lnTo>
                  <a:pt x="22" y="0"/>
                </a:lnTo>
                <a:lnTo>
                  <a:pt x="22" y="0"/>
                </a:lnTo>
                <a:lnTo>
                  <a:pt x="22" y="0"/>
                </a:lnTo>
                <a:lnTo>
                  <a:pt x="22" y="0"/>
                </a:lnTo>
                <a:lnTo>
                  <a:pt x="22" y="0"/>
                </a:lnTo>
                <a:lnTo>
                  <a:pt x="26" y="0"/>
                </a:lnTo>
                <a:lnTo>
                  <a:pt x="26" y="0"/>
                </a:lnTo>
                <a:lnTo>
                  <a:pt x="30" y="0"/>
                </a:lnTo>
                <a:lnTo>
                  <a:pt x="30" y="4"/>
                </a:lnTo>
                <a:lnTo>
                  <a:pt x="30" y="6"/>
                </a:lnTo>
                <a:lnTo>
                  <a:pt x="30" y="4"/>
                </a:lnTo>
                <a:lnTo>
                  <a:pt x="34" y="6"/>
                </a:lnTo>
                <a:lnTo>
                  <a:pt x="34" y="6"/>
                </a:lnTo>
                <a:lnTo>
                  <a:pt x="38" y="10"/>
                </a:lnTo>
                <a:lnTo>
                  <a:pt x="38" y="10"/>
                </a:lnTo>
                <a:lnTo>
                  <a:pt x="38" y="10"/>
                </a:lnTo>
                <a:lnTo>
                  <a:pt x="42" y="10"/>
                </a:lnTo>
                <a:lnTo>
                  <a:pt x="42" y="10"/>
                </a:lnTo>
                <a:lnTo>
                  <a:pt x="42" y="14"/>
                </a:lnTo>
                <a:lnTo>
                  <a:pt x="42" y="14"/>
                </a:lnTo>
                <a:lnTo>
                  <a:pt x="42" y="14"/>
                </a:lnTo>
                <a:lnTo>
                  <a:pt x="46" y="14"/>
                </a:lnTo>
                <a:lnTo>
                  <a:pt x="46" y="14"/>
                </a:lnTo>
                <a:lnTo>
                  <a:pt x="46" y="14"/>
                </a:lnTo>
                <a:lnTo>
                  <a:pt x="46" y="14"/>
                </a:lnTo>
                <a:lnTo>
                  <a:pt x="46" y="14"/>
                </a:lnTo>
                <a:lnTo>
                  <a:pt x="46" y="18"/>
                </a:lnTo>
                <a:lnTo>
                  <a:pt x="46" y="18"/>
                </a:lnTo>
                <a:lnTo>
                  <a:pt x="48" y="18"/>
                </a:lnTo>
                <a:lnTo>
                  <a:pt x="48" y="22"/>
                </a:lnTo>
                <a:lnTo>
                  <a:pt x="48" y="22"/>
                </a:lnTo>
                <a:lnTo>
                  <a:pt x="48" y="22"/>
                </a:lnTo>
                <a:lnTo>
                  <a:pt x="48" y="22"/>
                </a:lnTo>
                <a:lnTo>
                  <a:pt x="52" y="22"/>
                </a:lnTo>
                <a:lnTo>
                  <a:pt x="52" y="22"/>
                </a:lnTo>
                <a:lnTo>
                  <a:pt x="52" y="22"/>
                </a:lnTo>
                <a:lnTo>
                  <a:pt x="52" y="22"/>
                </a:lnTo>
                <a:lnTo>
                  <a:pt x="52" y="22"/>
                </a:lnTo>
                <a:lnTo>
                  <a:pt x="52" y="18"/>
                </a:lnTo>
                <a:lnTo>
                  <a:pt x="56" y="18"/>
                </a:lnTo>
                <a:lnTo>
                  <a:pt x="56" y="18"/>
                </a:lnTo>
                <a:lnTo>
                  <a:pt x="56" y="22"/>
                </a:lnTo>
                <a:lnTo>
                  <a:pt x="56" y="22"/>
                </a:lnTo>
                <a:lnTo>
                  <a:pt x="56" y="22"/>
                </a:lnTo>
                <a:lnTo>
                  <a:pt x="56" y="22"/>
                </a:lnTo>
                <a:lnTo>
                  <a:pt x="60" y="22"/>
                </a:lnTo>
                <a:lnTo>
                  <a:pt x="60" y="26"/>
                </a:lnTo>
                <a:lnTo>
                  <a:pt x="60" y="26"/>
                </a:lnTo>
                <a:lnTo>
                  <a:pt x="60" y="26"/>
                </a:lnTo>
                <a:lnTo>
                  <a:pt x="60" y="26"/>
                </a:lnTo>
                <a:lnTo>
                  <a:pt x="60" y="26"/>
                </a:lnTo>
                <a:lnTo>
                  <a:pt x="60" y="26"/>
                </a:lnTo>
                <a:lnTo>
                  <a:pt x="60" y="30"/>
                </a:lnTo>
                <a:lnTo>
                  <a:pt x="64" y="30"/>
                </a:lnTo>
                <a:lnTo>
                  <a:pt x="64" y="30"/>
                </a:lnTo>
                <a:lnTo>
                  <a:pt x="64" y="30"/>
                </a:lnTo>
                <a:lnTo>
                  <a:pt x="64" y="30"/>
                </a:lnTo>
                <a:lnTo>
                  <a:pt x="64" y="30"/>
                </a:lnTo>
                <a:lnTo>
                  <a:pt x="64" y="32"/>
                </a:lnTo>
                <a:lnTo>
                  <a:pt x="68" y="32"/>
                </a:lnTo>
                <a:lnTo>
                  <a:pt x="68" y="32"/>
                </a:lnTo>
                <a:lnTo>
                  <a:pt x="68" y="32"/>
                </a:lnTo>
                <a:lnTo>
                  <a:pt x="72" y="32"/>
                </a:lnTo>
                <a:lnTo>
                  <a:pt x="72" y="32"/>
                </a:lnTo>
                <a:lnTo>
                  <a:pt x="72" y="30"/>
                </a:lnTo>
                <a:lnTo>
                  <a:pt x="72" y="32"/>
                </a:lnTo>
                <a:lnTo>
                  <a:pt x="72" y="32"/>
                </a:lnTo>
                <a:lnTo>
                  <a:pt x="72" y="32"/>
                </a:lnTo>
                <a:lnTo>
                  <a:pt x="72" y="32"/>
                </a:lnTo>
                <a:lnTo>
                  <a:pt x="72" y="36"/>
                </a:lnTo>
                <a:lnTo>
                  <a:pt x="72" y="36"/>
                </a:lnTo>
                <a:lnTo>
                  <a:pt x="72" y="36"/>
                </a:lnTo>
                <a:lnTo>
                  <a:pt x="72" y="36"/>
                </a:lnTo>
                <a:lnTo>
                  <a:pt x="72" y="36"/>
                </a:lnTo>
                <a:lnTo>
                  <a:pt x="74" y="36"/>
                </a:lnTo>
                <a:lnTo>
                  <a:pt x="74" y="36"/>
                </a:lnTo>
                <a:lnTo>
                  <a:pt x="74" y="36"/>
                </a:lnTo>
                <a:lnTo>
                  <a:pt x="74" y="36"/>
                </a:lnTo>
                <a:lnTo>
                  <a:pt x="74" y="36"/>
                </a:lnTo>
                <a:lnTo>
                  <a:pt x="74" y="36"/>
                </a:lnTo>
                <a:lnTo>
                  <a:pt x="78" y="36"/>
                </a:lnTo>
                <a:lnTo>
                  <a:pt x="78" y="36"/>
                </a:lnTo>
                <a:lnTo>
                  <a:pt x="78" y="36"/>
                </a:lnTo>
                <a:lnTo>
                  <a:pt x="82" y="40"/>
                </a:lnTo>
                <a:lnTo>
                  <a:pt x="82" y="40"/>
                </a:lnTo>
                <a:lnTo>
                  <a:pt x="82" y="40"/>
                </a:lnTo>
                <a:lnTo>
                  <a:pt x="82" y="40"/>
                </a:lnTo>
                <a:lnTo>
                  <a:pt x="82" y="40"/>
                </a:lnTo>
                <a:lnTo>
                  <a:pt x="82" y="44"/>
                </a:lnTo>
                <a:lnTo>
                  <a:pt x="82" y="44"/>
                </a:lnTo>
                <a:lnTo>
                  <a:pt x="82" y="44"/>
                </a:lnTo>
                <a:lnTo>
                  <a:pt x="86" y="44"/>
                </a:lnTo>
                <a:lnTo>
                  <a:pt x="86" y="44"/>
                </a:lnTo>
                <a:lnTo>
                  <a:pt x="86" y="44"/>
                </a:lnTo>
                <a:lnTo>
                  <a:pt x="86" y="44"/>
                </a:lnTo>
                <a:lnTo>
                  <a:pt x="86" y="40"/>
                </a:lnTo>
                <a:lnTo>
                  <a:pt x="86" y="40"/>
                </a:lnTo>
                <a:lnTo>
                  <a:pt x="86" y="40"/>
                </a:lnTo>
                <a:lnTo>
                  <a:pt x="86" y="40"/>
                </a:lnTo>
                <a:lnTo>
                  <a:pt x="86" y="40"/>
                </a:lnTo>
                <a:lnTo>
                  <a:pt x="86" y="44"/>
                </a:lnTo>
                <a:lnTo>
                  <a:pt x="90" y="44"/>
                </a:lnTo>
                <a:lnTo>
                  <a:pt x="90" y="44"/>
                </a:lnTo>
                <a:lnTo>
                  <a:pt x="90" y="44"/>
                </a:lnTo>
                <a:lnTo>
                  <a:pt x="90" y="44"/>
                </a:lnTo>
                <a:lnTo>
                  <a:pt x="90" y="44"/>
                </a:lnTo>
                <a:lnTo>
                  <a:pt x="94" y="40"/>
                </a:lnTo>
                <a:lnTo>
                  <a:pt x="94" y="40"/>
                </a:lnTo>
                <a:lnTo>
                  <a:pt x="94" y="40"/>
                </a:lnTo>
                <a:lnTo>
                  <a:pt x="94" y="40"/>
                </a:lnTo>
                <a:lnTo>
                  <a:pt x="94" y="40"/>
                </a:lnTo>
                <a:lnTo>
                  <a:pt x="94" y="40"/>
                </a:lnTo>
                <a:lnTo>
                  <a:pt x="94" y="40"/>
                </a:lnTo>
                <a:lnTo>
                  <a:pt x="98" y="44"/>
                </a:lnTo>
                <a:lnTo>
                  <a:pt x="98" y="44"/>
                </a:lnTo>
                <a:lnTo>
                  <a:pt x="98" y="44"/>
                </a:lnTo>
                <a:lnTo>
                  <a:pt x="98" y="44"/>
                </a:lnTo>
                <a:lnTo>
                  <a:pt x="100" y="44"/>
                </a:lnTo>
                <a:lnTo>
                  <a:pt x="100" y="44"/>
                </a:lnTo>
                <a:lnTo>
                  <a:pt x="100" y="44"/>
                </a:lnTo>
                <a:lnTo>
                  <a:pt x="100" y="48"/>
                </a:lnTo>
                <a:lnTo>
                  <a:pt x="100" y="44"/>
                </a:lnTo>
                <a:lnTo>
                  <a:pt x="104" y="44"/>
                </a:lnTo>
                <a:lnTo>
                  <a:pt x="104" y="44"/>
                </a:lnTo>
                <a:lnTo>
                  <a:pt x="104" y="48"/>
                </a:lnTo>
                <a:lnTo>
                  <a:pt x="108" y="48"/>
                </a:lnTo>
                <a:lnTo>
                  <a:pt x="108" y="44"/>
                </a:lnTo>
                <a:lnTo>
                  <a:pt x="108" y="48"/>
                </a:lnTo>
                <a:lnTo>
                  <a:pt x="108" y="48"/>
                </a:lnTo>
                <a:lnTo>
                  <a:pt x="108" y="44"/>
                </a:lnTo>
                <a:lnTo>
                  <a:pt x="108" y="44"/>
                </a:lnTo>
                <a:lnTo>
                  <a:pt x="108" y="44"/>
                </a:lnTo>
                <a:lnTo>
                  <a:pt x="108" y="44"/>
                </a:lnTo>
                <a:lnTo>
                  <a:pt x="108" y="44"/>
                </a:lnTo>
                <a:lnTo>
                  <a:pt x="112" y="44"/>
                </a:lnTo>
                <a:lnTo>
                  <a:pt x="112" y="44"/>
                </a:lnTo>
                <a:lnTo>
                  <a:pt x="112" y="44"/>
                </a:lnTo>
                <a:lnTo>
                  <a:pt x="112" y="44"/>
                </a:lnTo>
                <a:lnTo>
                  <a:pt x="112" y="44"/>
                </a:lnTo>
                <a:lnTo>
                  <a:pt x="112" y="44"/>
                </a:lnTo>
                <a:lnTo>
                  <a:pt x="116" y="44"/>
                </a:lnTo>
                <a:lnTo>
                  <a:pt x="116" y="44"/>
                </a:lnTo>
                <a:lnTo>
                  <a:pt x="116" y="48"/>
                </a:lnTo>
                <a:lnTo>
                  <a:pt x="116" y="48"/>
                </a:lnTo>
                <a:lnTo>
                  <a:pt x="112" y="52"/>
                </a:lnTo>
                <a:lnTo>
                  <a:pt x="112" y="52"/>
                </a:lnTo>
                <a:lnTo>
                  <a:pt x="112" y="52"/>
                </a:lnTo>
                <a:lnTo>
                  <a:pt x="112" y="52"/>
                </a:lnTo>
                <a:lnTo>
                  <a:pt x="112" y="56"/>
                </a:lnTo>
                <a:lnTo>
                  <a:pt x="112" y="56"/>
                </a:lnTo>
                <a:lnTo>
                  <a:pt x="112" y="60"/>
                </a:lnTo>
                <a:lnTo>
                  <a:pt x="112" y="60"/>
                </a:lnTo>
                <a:lnTo>
                  <a:pt x="112" y="60"/>
                </a:lnTo>
                <a:lnTo>
                  <a:pt x="112" y="60"/>
                </a:lnTo>
                <a:lnTo>
                  <a:pt x="112" y="60"/>
                </a:lnTo>
                <a:lnTo>
                  <a:pt x="112" y="62"/>
                </a:lnTo>
                <a:lnTo>
                  <a:pt x="116" y="62"/>
                </a:lnTo>
                <a:lnTo>
                  <a:pt x="116" y="66"/>
                </a:lnTo>
                <a:lnTo>
                  <a:pt x="116" y="66"/>
                </a:lnTo>
                <a:lnTo>
                  <a:pt x="116" y="66"/>
                </a:lnTo>
                <a:lnTo>
                  <a:pt x="116" y="66"/>
                </a:lnTo>
                <a:lnTo>
                  <a:pt x="112" y="70"/>
                </a:lnTo>
                <a:lnTo>
                  <a:pt x="112" y="70"/>
                </a:lnTo>
                <a:lnTo>
                  <a:pt x="112" y="70"/>
                </a:lnTo>
                <a:lnTo>
                  <a:pt x="112" y="70"/>
                </a:lnTo>
                <a:lnTo>
                  <a:pt x="112" y="74"/>
                </a:lnTo>
                <a:lnTo>
                  <a:pt x="112" y="70"/>
                </a:lnTo>
                <a:lnTo>
                  <a:pt x="112" y="70"/>
                </a:lnTo>
                <a:lnTo>
                  <a:pt x="112" y="70"/>
                </a:lnTo>
                <a:lnTo>
                  <a:pt x="112" y="70"/>
                </a:lnTo>
                <a:lnTo>
                  <a:pt x="108" y="70"/>
                </a:lnTo>
                <a:lnTo>
                  <a:pt x="108" y="70"/>
                </a:lnTo>
                <a:lnTo>
                  <a:pt x="108" y="70"/>
                </a:lnTo>
                <a:lnTo>
                  <a:pt x="108" y="70"/>
                </a:lnTo>
                <a:lnTo>
                  <a:pt x="104" y="70"/>
                </a:lnTo>
                <a:lnTo>
                  <a:pt x="104" y="70"/>
                </a:lnTo>
                <a:lnTo>
                  <a:pt x="104" y="70"/>
                </a:lnTo>
                <a:lnTo>
                  <a:pt x="104" y="70"/>
                </a:lnTo>
                <a:lnTo>
                  <a:pt x="104" y="70"/>
                </a:lnTo>
                <a:lnTo>
                  <a:pt x="104" y="70"/>
                </a:lnTo>
                <a:lnTo>
                  <a:pt x="100" y="74"/>
                </a:lnTo>
                <a:lnTo>
                  <a:pt x="100" y="70"/>
                </a:lnTo>
                <a:lnTo>
                  <a:pt x="98" y="70"/>
                </a:lnTo>
                <a:lnTo>
                  <a:pt x="98" y="70"/>
                </a:lnTo>
                <a:lnTo>
                  <a:pt x="98" y="70"/>
                </a:lnTo>
                <a:lnTo>
                  <a:pt x="98" y="70"/>
                </a:lnTo>
                <a:lnTo>
                  <a:pt x="98" y="70"/>
                </a:lnTo>
                <a:lnTo>
                  <a:pt x="98" y="70"/>
                </a:lnTo>
                <a:lnTo>
                  <a:pt x="94" y="70"/>
                </a:lnTo>
                <a:lnTo>
                  <a:pt x="94" y="70"/>
                </a:lnTo>
                <a:lnTo>
                  <a:pt x="94" y="70"/>
                </a:lnTo>
                <a:lnTo>
                  <a:pt x="90" y="70"/>
                </a:lnTo>
                <a:lnTo>
                  <a:pt x="90" y="66"/>
                </a:lnTo>
                <a:lnTo>
                  <a:pt x="86" y="66"/>
                </a:lnTo>
                <a:lnTo>
                  <a:pt x="86" y="66"/>
                </a:lnTo>
                <a:lnTo>
                  <a:pt x="86" y="66"/>
                </a:lnTo>
                <a:lnTo>
                  <a:pt x="86" y="66"/>
                </a:lnTo>
                <a:lnTo>
                  <a:pt x="86" y="66"/>
                </a:lnTo>
                <a:lnTo>
                  <a:pt x="86" y="66"/>
                </a:lnTo>
                <a:lnTo>
                  <a:pt x="82" y="66"/>
                </a:lnTo>
                <a:lnTo>
                  <a:pt x="82" y="66"/>
                </a:lnTo>
                <a:lnTo>
                  <a:pt x="82" y="66"/>
                </a:lnTo>
                <a:lnTo>
                  <a:pt x="82" y="70"/>
                </a:lnTo>
                <a:lnTo>
                  <a:pt x="78" y="66"/>
                </a:lnTo>
                <a:lnTo>
                  <a:pt x="78" y="66"/>
                </a:lnTo>
                <a:lnTo>
                  <a:pt x="78" y="66"/>
                </a:lnTo>
                <a:lnTo>
                  <a:pt x="78" y="66"/>
                </a:lnTo>
                <a:lnTo>
                  <a:pt x="78" y="66"/>
                </a:lnTo>
                <a:lnTo>
                  <a:pt x="78" y="62"/>
                </a:lnTo>
                <a:lnTo>
                  <a:pt x="78" y="62"/>
                </a:lnTo>
                <a:lnTo>
                  <a:pt x="78" y="62"/>
                </a:lnTo>
                <a:lnTo>
                  <a:pt x="78" y="62"/>
                </a:lnTo>
                <a:lnTo>
                  <a:pt x="74" y="62"/>
                </a:lnTo>
                <a:lnTo>
                  <a:pt x="74" y="66"/>
                </a:lnTo>
                <a:lnTo>
                  <a:pt x="74" y="66"/>
                </a:lnTo>
                <a:lnTo>
                  <a:pt x="74" y="66"/>
                </a:lnTo>
                <a:lnTo>
                  <a:pt x="74" y="66"/>
                </a:lnTo>
                <a:lnTo>
                  <a:pt x="72" y="66"/>
                </a:lnTo>
                <a:lnTo>
                  <a:pt x="72" y="66"/>
                </a:lnTo>
                <a:lnTo>
                  <a:pt x="72" y="62"/>
                </a:lnTo>
                <a:lnTo>
                  <a:pt x="68" y="62"/>
                </a:lnTo>
                <a:lnTo>
                  <a:pt x="68" y="60"/>
                </a:lnTo>
                <a:lnTo>
                  <a:pt x="68" y="60"/>
                </a:lnTo>
                <a:lnTo>
                  <a:pt x="68" y="60"/>
                </a:lnTo>
                <a:lnTo>
                  <a:pt x="68" y="60"/>
                </a:lnTo>
                <a:lnTo>
                  <a:pt x="64" y="60"/>
                </a:lnTo>
                <a:lnTo>
                  <a:pt x="64" y="60"/>
                </a:lnTo>
                <a:lnTo>
                  <a:pt x="64" y="60"/>
                </a:lnTo>
                <a:lnTo>
                  <a:pt x="64" y="60"/>
                </a:lnTo>
                <a:lnTo>
                  <a:pt x="64" y="60"/>
                </a:lnTo>
                <a:lnTo>
                  <a:pt x="64" y="56"/>
                </a:lnTo>
                <a:lnTo>
                  <a:pt x="64" y="56"/>
                </a:lnTo>
                <a:lnTo>
                  <a:pt x="64" y="56"/>
                </a:lnTo>
                <a:lnTo>
                  <a:pt x="64" y="56"/>
                </a:lnTo>
                <a:lnTo>
                  <a:pt x="64" y="56"/>
                </a:lnTo>
                <a:lnTo>
                  <a:pt x="64" y="56"/>
                </a:lnTo>
                <a:lnTo>
                  <a:pt x="60" y="56"/>
                </a:lnTo>
                <a:lnTo>
                  <a:pt x="60" y="56"/>
                </a:lnTo>
                <a:lnTo>
                  <a:pt x="60" y="56"/>
                </a:lnTo>
                <a:lnTo>
                  <a:pt x="56" y="52"/>
                </a:lnTo>
                <a:lnTo>
                  <a:pt x="56" y="52"/>
                </a:lnTo>
                <a:lnTo>
                  <a:pt x="56" y="52"/>
                </a:lnTo>
                <a:lnTo>
                  <a:pt x="56" y="52"/>
                </a:lnTo>
                <a:lnTo>
                  <a:pt x="52" y="52"/>
                </a:lnTo>
                <a:lnTo>
                  <a:pt x="52" y="52"/>
                </a:lnTo>
                <a:lnTo>
                  <a:pt x="52" y="56"/>
                </a:lnTo>
                <a:lnTo>
                  <a:pt x="52" y="56"/>
                </a:lnTo>
                <a:lnTo>
                  <a:pt x="52" y="56"/>
                </a:lnTo>
                <a:lnTo>
                  <a:pt x="52" y="56"/>
                </a:lnTo>
                <a:lnTo>
                  <a:pt x="52" y="56"/>
                </a:lnTo>
                <a:lnTo>
                  <a:pt x="52" y="52"/>
                </a:lnTo>
                <a:lnTo>
                  <a:pt x="48" y="52"/>
                </a:lnTo>
                <a:lnTo>
                  <a:pt x="48" y="52"/>
                </a:lnTo>
                <a:lnTo>
                  <a:pt x="48" y="52"/>
                </a:lnTo>
                <a:lnTo>
                  <a:pt x="48" y="52"/>
                </a:lnTo>
                <a:lnTo>
                  <a:pt x="46" y="52"/>
                </a:lnTo>
                <a:lnTo>
                  <a:pt x="46" y="56"/>
                </a:lnTo>
                <a:lnTo>
                  <a:pt x="46" y="56"/>
                </a:lnTo>
                <a:lnTo>
                  <a:pt x="46" y="56"/>
                </a:lnTo>
                <a:lnTo>
                  <a:pt x="46" y="56"/>
                </a:lnTo>
                <a:lnTo>
                  <a:pt x="46" y="56"/>
                </a:lnTo>
                <a:lnTo>
                  <a:pt x="46" y="56"/>
                </a:lnTo>
                <a:lnTo>
                  <a:pt x="46" y="56"/>
                </a:lnTo>
                <a:lnTo>
                  <a:pt x="46" y="52"/>
                </a:lnTo>
                <a:lnTo>
                  <a:pt x="42" y="52"/>
                </a:lnTo>
                <a:lnTo>
                  <a:pt x="42" y="52"/>
                </a:lnTo>
                <a:lnTo>
                  <a:pt x="42" y="52"/>
                </a:lnTo>
                <a:lnTo>
                  <a:pt x="42" y="52"/>
                </a:lnTo>
                <a:lnTo>
                  <a:pt x="38" y="52"/>
                </a:lnTo>
                <a:lnTo>
                  <a:pt x="38" y="52"/>
                </a:lnTo>
                <a:lnTo>
                  <a:pt x="38" y="52"/>
                </a:lnTo>
                <a:lnTo>
                  <a:pt x="38" y="48"/>
                </a:lnTo>
                <a:lnTo>
                  <a:pt x="38" y="48"/>
                </a:lnTo>
                <a:lnTo>
                  <a:pt x="38" y="48"/>
                </a:lnTo>
                <a:lnTo>
                  <a:pt x="38" y="48"/>
                </a:lnTo>
                <a:lnTo>
                  <a:pt x="38" y="48"/>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7" name="Freeform 44"/>
          <p:cNvSpPr>
            <a:spLocks/>
          </p:cNvSpPr>
          <p:nvPr/>
        </p:nvSpPr>
        <p:spPr bwMode="auto">
          <a:xfrm>
            <a:off x="6350794" y="2783680"/>
            <a:ext cx="107156" cy="119063"/>
          </a:xfrm>
          <a:custGeom>
            <a:avLst/>
            <a:gdLst>
              <a:gd name="T0" fmla="*/ 46 w 90"/>
              <a:gd name="T1" fmla="*/ 72 h 100"/>
              <a:gd name="T2" fmla="*/ 52 w 90"/>
              <a:gd name="T3" fmla="*/ 76 h 100"/>
              <a:gd name="T4" fmla="*/ 56 w 90"/>
              <a:gd name="T5" fmla="*/ 80 h 100"/>
              <a:gd name="T6" fmla="*/ 56 w 90"/>
              <a:gd name="T7" fmla="*/ 84 h 100"/>
              <a:gd name="T8" fmla="*/ 56 w 90"/>
              <a:gd name="T9" fmla="*/ 88 h 100"/>
              <a:gd name="T10" fmla="*/ 52 w 90"/>
              <a:gd name="T11" fmla="*/ 88 h 100"/>
              <a:gd name="T12" fmla="*/ 42 w 90"/>
              <a:gd name="T13" fmla="*/ 88 h 100"/>
              <a:gd name="T14" fmla="*/ 38 w 90"/>
              <a:gd name="T15" fmla="*/ 92 h 100"/>
              <a:gd name="T16" fmla="*/ 34 w 90"/>
              <a:gd name="T17" fmla="*/ 100 h 100"/>
              <a:gd name="T18" fmla="*/ 26 w 90"/>
              <a:gd name="T19" fmla="*/ 96 h 100"/>
              <a:gd name="T20" fmla="*/ 22 w 90"/>
              <a:gd name="T21" fmla="*/ 100 h 100"/>
              <a:gd name="T22" fmla="*/ 20 w 90"/>
              <a:gd name="T23" fmla="*/ 96 h 100"/>
              <a:gd name="T24" fmla="*/ 20 w 90"/>
              <a:gd name="T25" fmla="*/ 96 h 100"/>
              <a:gd name="T26" fmla="*/ 16 w 90"/>
              <a:gd name="T27" fmla="*/ 100 h 100"/>
              <a:gd name="T28" fmla="*/ 16 w 90"/>
              <a:gd name="T29" fmla="*/ 96 h 100"/>
              <a:gd name="T30" fmla="*/ 12 w 90"/>
              <a:gd name="T31" fmla="*/ 96 h 100"/>
              <a:gd name="T32" fmla="*/ 12 w 90"/>
              <a:gd name="T33" fmla="*/ 96 h 100"/>
              <a:gd name="T34" fmla="*/ 12 w 90"/>
              <a:gd name="T35" fmla="*/ 92 h 100"/>
              <a:gd name="T36" fmla="*/ 4 w 90"/>
              <a:gd name="T37" fmla="*/ 92 h 100"/>
              <a:gd name="T38" fmla="*/ 8 w 90"/>
              <a:gd name="T39" fmla="*/ 84 h 100"/>
              <a:gd name="T40" fmla="*/ 16 w 90"/>
              <a:gd name="T41" fmla="*/ 80 h 100"/>
              <a:gd name="T42" fmla="*/ 20 w 90"/>
              <a:gd name="T43" fmla="*/ 84 h 100"/>
              <a:gd name="T44" fmla="*/ 12 w 90"/>
              <a:gd name="T45" fmla="*/ 80 h 100"/>
              <a:gd name="T46" fmla="*/ 12 w 90"/>
              <a:gd name="T47" fmla="*/ 72 h 100"/>
              <a:gd name="T48" fmla="*/ 16 w 90"/>
              <a:gd name="T49" fmla="*/ 70 h 100"/>
              <a:gd name="T50" fmla="*/ 16 w 90"/>
              <a:gd name="T51" fmla="*/ 66 h 100"/>
              <a:gd name="T52" fmla="*/ 4 w 90"/>
              <a:gd name="T53" fmla="*/ 62 h 100"/>
              <a:gd name="T54" fmla="*/ 4 w 90"/>
              <a:gd name="T55" fmla="*/ 58 h 100"/>
              <a:gd name="T56" fmla="*/ 0 w 90"/>
              <a:gd name="T57" fmla="*/ 54 h 100"/>
              <a:gd name="T58" fmla="*/ 4 w 90"/>
              <a:gd name="T59" fmla="*/ 50 h 100"/>
              <a:gd name="T60" fmla="*/ 12 w 90"/>
              <a:gd name="T61" fmla="*/ 44 h 100"/>
              <a:gd name="T62" fmla="*/ 20 w 90"/>
              <a:gd name="T63" fmla="*/ 44 h 100"/>
              <a:gd name="T64" fmla="*/ 26 w 90"/>
              <a:gd name="T65" fmla="*/ 32 h 100"/>
              <a:gd name="T66" fmla="*/ 30 w 90"/>
              <a:gd name="T67" fmla="*/ 28 h 100"/>
              <a:gd name="T68" fmla="*/ 34 w 90"/>
              <a:gd name="T69" fmla="*/ 24 h 100"/>
              <a:gd name="T70" fmla="*/ 38 w 90"/>
              <a:gd name="T71" fmla="*/ 24 h 100"/>
              <a:gd name="T72" fmla="*/ 48 w 90"/>
              <a:gd name="T73" fmla="*/ 28 h 100"/>
              <a:gd name="T74" fmla="*/ 52 w 90"/>
              <a:gd name="T75" fmla="*/ 28 h 100"/>
              <a:gd name="T76" fmla="*/ 56 w 90"/>
              <a:gd name="T77" fmla="*/ 24 h 100"/>
              <a:gd name="T78" fmla="*/ 56 w 90"/>
              <a:gd name="T79" fmla="*/ 16 h 100"/>
              <a:gd name="T80" fmla="*/ 60 w 90"/>
              <a:gd name="T81" fmla="*/ 16 h 100"/>
              <a:gd name="T82" fmla="*/ 68 w 90"/>
              <a:gd name="T83" fmla="*/ 16 h 100"/>
              <a:gd name="T84" fmla="*/ 72 w 90"/>
              <a:gd name="T85" fmla="*/ 10 h 100"/>
              <a:gd name="T86" fmla="*/ 74 w 90"/>
              <a:gd name="T87" fmla="*/ 6 h 100"/>
              <a:gd name="T88" fmla="*/ 78 w 90"/>
              <a:gd name="T89" fmla="*/ 0 h 100"/>
              <a:gd name="T90" fmla="*/ 82 w 90"/>
              <a:gd name="T91" fmla="*/ 2 h 100"/>
              <a:gd name="T92" fmla="*/ 90 w 90"/>
              <a:gd name="T93" fmla="*/ 10 h 100"/>
              <a:gd name="T94" fmla="*/ 90 w 90"/>
              <a:gd name="T95" fmla="*/ 14 h 100"/>
              <a:gd name="T96" fmla="*/ 82 w 90"/>
              <a:gd name="T97" fmla="*/ 16 h 100"/>
              <a:gd name="T98" fmla="*/ 74 w 90"/>
              <a:gd name="T99" fmla="*/ 24 h 100"/>
              <a:gd name="T100" fmla="*/ 74 w 90"/>
              <a:gd name="T101" fmla="*/ 28 h 100"/>
              <a:gd name="T102" fmla="*/ 74 w 90"/>
              <a:gd name="T103" fmla="*/ 36 h 100"/>
              <a:gd name="T104" fmla="*/ 74 w 90"/>
              <a:gd name="T105" fmla="*/ 40 h 100"/>
              <a:gd name="T106" fmla="*/ 68 w 90"/>
              <a:gd name="T107" fmla="*/ 46 h 100"/>
              <a:gd name="T108" fmla="*/ 64 w 90"/>
              <a:gd name="T109" fmla="*/ 46 h 100"/>
              <a:gd name="T110" fmla="*/ 52 w 90"/>
              <a:gd name="T111" fmla="*/ 54 h 100"/>
              <a:gd name="T112" fmla="*/ 48 w 90"/>
              <a:gd name="T113" fmla="*/ 58 h 100"/>
              <a:gd name="T114" fmla="*/ 46 w 90"/>
              <a:gd name="T115" fmla="*/ 66 h 100"/>
              <a:gd name="T116" fmla="*/ 46 w 90"/>
              <a:gd name="T117"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0" h="100">
                <a:moveTo>
                  <a:pt x="46" y="70"/>
                </a:moveTo>
                <a:lnTo>
                  <a:pt x="46" y="70"/>
                </a:lnTo>
                <a:lnTo>
                  <a:pt x="42" y="70"/>
                </a:lnTo>
                <a:lnTo>
                  <a:pt x="42" y="70"/>
                </a:lnTo>
                <a:lnTo>
                  <a:pt x="42" y="72"/>
                </a:lnTo>
                <a:lnTo>
                  <a:pt x="46" y="72"/>
                </a:lnTo>
                <a:lnTo>
                  <a:pt x="46" y="72"/>
                </a:lnTo>
                <a:lnTo>
                  <a:pt x="46" y="72"/>
                </a:lnTo>
                <a:lnTo>
                  <a:pt x="48" y="72"/>
                </a:lnTo>
                <a:lnTo>
                  <a:pt x="48" y="72"/>
                </a:lnTo>
                <a:lnTo>
                  <a:pt x="48" y="76"/>
                </a:lnTo>
                <a:lnTo>
                  <a:pt x="48" y="76"/>
                </a:lnTo>
                <a:lnTo>
                  <a:pt x="52" y="76"/>
                </a:lnTo>
                <a:lnTo>
                  <a:pt x="52" y="76"/>
                </a:lnTo>
                <a:lnTo>
                  <a:pt x="52" y="76"/>
                </a:lnTo>
                <a:lnTo>
                  <a:pt x="52" y="76"/>
                </a:lnTo>
                <a:lnTo>
                  <a:pt x="52" y="80"/>
                </a:lnTo>
                <a:lnTo>
                  <a:pt x="52" y="80"/>
                </a:lnTo>
                <a:lnTo>
                  <a:pt x="56" y="80"/>
                </a:lnTo>
                <a:lnTo>
                  <a:pt x="56" y="80"/>
                </a:lnTo>
                <a:lnTo>
                  <a:pt x="56" y="80"/>
                </a:lnTo>
                <a:lnTo>
                  <a:pt x="56" y="80"/>
                </a:lnTo>
                <a:lnTo>
                  <a:pt x="56" y="80"/>
                </a:lnTo>
                <a:lnTo>
                  <a:pt x="56" y="80"/>
                </a:lnTo>
                <a:lnTo>
                  <a:pt x="56" y="84"/>
                </a:lnTo>
                <a:lnTo>
                  <a:pt x="56" y="84"/>
                </a:lnTo>
                <a:lnTo>
                  <a:pt x="56" y="84"/>
                </a:lnTo>
                <a:lnTo>
                  <a:pt x="56" y="84"/>
                </a:lnTo>
                <a:lnTo>
                  <a:pt x="56" y="84"/>
                </a:lnTo>
                <a:lnTo>
                  <a:pt x="56" y="84"/>
                </a:lnTo>
                <a:lnTo>
                  <a:pt x="56" y="88"/>
                </a:lnTo>
                <a:lnTo>
                  <a:pt x="56" y="88"/>
                </a:lnTo>
                <a:lnTo>
                  <a:pt x="56" y="88"/>
                </a:lnTo>
                <a:lnTo>
                  <a:pt x="56" y="88"/>
                </a:lnTo>
                <a:lnTo>
                  <a:pt x="56" y="88"/>
                </a:lnTo>
                <a:lnTo>
                  <a:pt x="52" y="88"/>
                </a:lnTo>
                <a:lnTo>
                  <a:pt x="52" y="88"/>
                </a:lnTo>
                <a:lnTo>
                  <a:pt x="52" y="88"/>
                </a:lnTo>
                <a:lnTo>
                  <a:pt x="52" y="88"/>
                </a:lnTo>
                <a:lnTo>
                  <a:pt x="52" y="88"/>
                </a:lnTo>
                <a:lnTo>
                  <a:pt x="52" y="88"/>
                </a:lnTo>
                <a:lnTo>
                  <a:pt x="52" y="88"/>
                </a:lnTo>
                <a:lnTo>
                  <a:pt x="48" y="88"/>
                </a:lnTo>
                <a:lnTo>
                  <a:pt x="46" y="88"/>
                </a:lnTo>
                <a:lnTo>
                  <a:pt x="46" y="88"/>
                </a:lnTo>
                <a:lnTo>
                  <a:pt x="46" y="88"/>
                </a:lnTo>
                <a:lnTo>
                  <a:pt x="42" y="88"/>
                </a:lnTo>
                <a:lnTo>
                  <a:pt x="42" y="88"/>
                </a:lnTo>
                <a:lnTo>
                  <a:pt x="42" y="88"/>
                </a:lnTo>
                <a:lnTo>
                  <a:pt x="38" y="88"/>
                </a:lnTo>
                <a:lnTo>
                  <a:pt x="38" y="88"/>
                </a:lnTo>
                <a:lnTo>
                  <a:pt x="38" y="88"/>
                </a:lnTo>
                <a:lnTo>
                  <a:pt x="38" y="88"/>
                </a:lnTo>
                <a:lnTo>
                  <a:pt x="38" y="92"/>
                </a:lnTo>
                <a:lnTo>
                  <a:pt x="38" y="92"/>
                </a:lnTo>
                <a:lnTo>
                  <a:pt x="38" y="92"/>
                </a:lnTo>
                <a:lnTo>
                  <a:pt x="38" y="92"/>
                </a:lnTo>
                <a:lnTo>
                  <a:pt x="38" y="92"/>
                </a:lnTo>
                <a:lnTo>
                  <a:pt x="34" y="96"/>
                </a:lnTo>
                <a:lnTo>
                  <a:pt x="34" y="96"/>
                </a:lnTo>
                <a:lnTo>
                  <a:pt x="34" y="96"/>
                </a:lnTo>
                <a:lnTo>
                  <a:pt x="34" y="96"/>
                </a:lnTo>
                <a:lnTo>
                  <a:pt x="34" y="100"/>
                </a:lnTo>
                <a:lnTo>
                  <a:pt x="34" y="100"/>
                </a:lnTo>
                <a:lnTo>
                  <a:pt x="30" y="100"/>
                </a:lnTo>
                <a:lnTo>
                  <a:pt x="30" y="100"/>
                </a:lnTo>
                <a:lnTo>
                  <a:pt x="30" y="96"/>
                </a:lnTo>
                <a:lnTo>
                  <a:pt x="30" y="96"/>
                </a:lnTo>
                <a:lnTo>
                  <a:pt x="30" y="96"/>
                </a:lnTo>
                <a:lnTo>
                  <a:pt x="26" y="96"/>
                </a:lnTo>
                <a:lnTo>
                  <a:pt x="26" y="100"/>
                </a:lnTo>
                <a:lnTo>
                  <a:pt x="26" y="100"/>
                </a:lnTo>
                <a:lnTo>
                  <a:pt x="26" y="100"/>
                </a:lnTo>
                <a:lnTo>
                  <a:pt x="26" y="100"/>
                </a:lnTo>
                <a:lnTo>
                  <a:pt x="26" y="100"/>
                </a:lnTo>
                <a:lnTo>
                  <a:pt x="26" y="100"/>
                </a:lnTo>
                <a:lnTo>
                  <a:pt x="22" y="100"/>
                </a:lnTo>
                <a:lnTo>
                  <a:pt x="22" y="96"/>
                </a:lnTo>
                <a:lnTo>
                  <a:pt x="22" y="96"/>
                </a:lnTo>
                <a:lnTo>
                  <a:pt x="22" y="96"/>
                </a:lnTo>
                <a:lnTo>
                  <a:pt x="22" y="96"/>
                </a:lnTo>
                <a:lnTo>
                  <a:pt x="22" y="100"/>
                </a:lnTo>
                <a:lnTo>
                  <a:pt x="22" y="100"/>
                </a:lnTo>
                <a:lnTo>
                  <a:pt x="20" y="96"/>
                </a:lnTo>
                <a:lnTo>
                  <a:pt x="20" y="96"/>
                </a:lnTo>
                <a:lnTo>
                  <a:pt x="20" y="96"/>
                </a:lnTo>
                <a:lnTo>
                  <a:pt x="20" y="96"/>
                </a:lnTo>
                <a:lnTo>
                  <a:pt x="20" y="96"/>
                </a:lnTo>
                <a:lnTo>
                  <a:pt x="20" y="96"/>
                </a:lnTo>
                <a:lnTo>
                  <a:pt x="20" y="96"/>
                </a:lnTo>
                <a:lnTo>
                  <a:pt x="20" y="96"/>
                </a:lnTo>
                <a:lnTo>
                  <a:pt x="20" y="96"/>
                </a:lnTo>
                <a:lnTo>
                  <a:pt x="20" y="96"/>
                </a:lnTo>
                <a:lnTo>
                  <a:pt x="20" y="100"/>
                </a:lnTo>
                <a:lnTo>
                  <a:pt x="20" y="100"/>
                </a:lnTo>
                <a:lnTo>
                  <a:pt x="16" y="100"/>
                </a:lnTo>
                <a:lnTo>
                  <a:pt x="16" y="100"/>
                </a:lnTo>
                <a:lnTo>
                  <a:pt x="16" y="100"/>
                </a:lnTo>
                <a:lnTo>
                  <a:pt x="16" y="100"/>
                </a:lnTo>
                <a:lnTo>
                  <a:pt x="16" y="100"/>
                </a:lnTo>
                <a:lnTo>
                  <a:pt x="16" y="100"/>
                </a:lnTo>
                <a:lnTo>
                  <a:pt x="16" y="100"/>
                </a:lnTo>
                <a:lnTo>
                  <a:pt x="16" y="100"/>
                </a:lnTo>
                <a:lnTo>
                  <a:pt x="16" y="96"/>
                </a:lnTo>
                <a:lnTo>
                  <a:pt x="16" y="96"/>
                </a:lnTo>
                <a:lnTo>
                  <a:pt x="16" y="96"/>
                </a:lnTo>
                <a:lnTo>
                  <a:pt x="16" y="96"/>
                </a:lnTo>
                <a:lnTo>
                  <a:pt x="16" y="96"/>
                </a:lnTo>
                <a:lnTo>
                  <a:pt x="16" y="96"/>
                </a:lnTo>
                <a:lnTo>
                  <a:pt x="12" y="96"/>
                </a:lnTo>
                <a:lnTo>
                  <a:pt x="12" y="96"/>
                </a:lnTo>
                <a:lnTo>
                  <a:pt x="12" y="96"/>
                </a:lnTo>
                <a:lnTo>
                  <a:pt x="12" y="96"/>
                </a:lnTo>
                <a:lnTo>
                  <a:pt x="12" y="96"/>
                </a:lnTo>
                <a:lnTo>
                  <a:pt x="8" y="96"/>
                </a:lnTo>
                <a:lnTo>
                  <a:pt x="8" y="96"/>
                </a:lnTo>
                <a:lnTo>
                  <a:pt x="12" y="96"/>
                </a:lnTo>
                <a:lnTo>
                  <a:pt x="12" y="96"/>
                </a:lnTo>
                <a:lnTo>
                  <a:pt x="12" y="96"/>
                </a:lnTo>
                <a:lnTo>
                  <a:pt x="12" y="96"/>
                </a:lnTo>
                <a:lnTo>
                  <a:pt x="12" y="96"/>
                </a:lnTo>
                <a:lnTo>
                  <a:pt x="12" y="92"/>
                </a:lnTo>
                <a:lnTo>
                  <a:pt x="12" y="92"/>
                </a:lnTo>
                <a:lnTo>
                  <a:pt x="12" y="92"/>
                </a:lnTo>
                <a:lnTo>
                  <a:pt x="12" y="92"/>
                </a:lnTo>
                <a:lnTo>
                  <a:pt x="12" y="92"/>
                </a:lnTo>
                <a:lnTo>
                  <a:pt x="12" y="92"/>
                </a:lnTo>
                <a:lnTo>
                  <a:pt x="8" y="92"/>
                </a:lnTo>
                <a:lnTo>
                  <a:pt x="8" y="92"/>
                </a:lnTo>
                <a:lnTo>
                  <a:pt x="8" y="92"/>
                </a:lnTo>
                <a:lnTo>
                  <a:pt x="4" y="92"/>
                </a:lnTo>
                <a:lnTo>
                  <a:pt x="4" y="92"/>
                </a:lnTo>
                <a:lnTo>
                  <a:pt x="4" y="92"/>
                </a:lnTo>
                <a:lnTo>
                  <a:pt x="4" y="92"/>
                </a:lnTo>
                <a:lnTo>
                  <a:pt x="4" y="92"/>
                </a:lnTo>
                <a:lnTo>
                  <a:pt x="8" y="92"/>
                </a:lnTo>
                <a:lnTo>
                  <a:pt x="8" y="92"/>
                </a:lnTo>
                <a:lnTo>
                  <a:pt x="8" y="88"/>
                </a:lnTo>
                <a:lnTo>
                  <a:pt x="8" y="88"/>
                </a:lnTo>
                <a:lnTo>
                  <a:pt x="8" y="84"/>
                </a:lnTo>
                <a:lnTo>
                  <a:pt x="8" y="84"/>
                </a:lnTo>
                <a:lnTo>
                  <a:pt x="12" y="84"/>
                </a:lnTo>
                <a:lnTo>
                  <a:pt x="12" y="80"/>
                </a:lnTo>
                <a:lnTo>
                  <a:pt x="16" y="80"/>
                </a:lnTo>
                <a:lnTo>
                  <a:pt x="16" y="80"/>
                </a:lnTo>
                <a:lnTo>
                  <a:pt x="16" y="80"/>
                </a:lnTo>
                <a:lnTo>
                  <a:pt x="16" y="80"/>
                </a:lnTo>
                <a:lnTo>
                  <a:pt x="16" y="80"/>
                </a:lnTo>
                <a:lnTo>
                  <a:pt x="20" y="80"/>
                </a:lnTo>
                <a:lnTo>
                  <a:pt x="20" y="80"/>
                </a:lnTo>
                <a:lnTo>
                  <a:pt x="20" y="84"/>
                </a:lnTo>
                <a:lnTo>
                  <a:pt x="20" y="84"/>
                </a:lnTo>
                <a:lnTo>
                  <a:pt x="20" y="84"/>
                </a:lnTo>
                <a:lnTo>
                  <a:pt x="20" y="84"/>
                </a:lnTo>
                <a:lnTo>
                  <a:pt x="20" y="80"/>
                </a:lnTo>
                <a:lnTo>
                  <a:pt x="20" y="80"/>
                </a:lnTo>
                <a:lnTo>
                  <a:pt x="16" y="80"/>
                </a:lnTo>
                <a:lnTo>
                  <a:pt x="16" y="80"/>
                </a:lnTo>
                <a:lnTo>
                  <a:pt x="16" y="80"/>
                </a:lnTo>
                <a:lnTo>
                  <a:pt x="16" y="80"/>
                </a:lnTo>
                <a:lnTo>
                  <a:pt x="12" y="80"/>
                </a:lnTo>
                <a:lnTo>
                  <a:pt x="12" y="80"/>
                </a:lnTo>
                <a:lnTo>
                  <a:pt x="12" y="80"/>
                </a:lnTo>
                <a:lnTo>
                  <a:pt x="12" y="76"/>
                </a:lnTo>
                <a:lnTo>
                  <a:pt x="12" y="76"/>
                </a:lnTo>
                <a:lnTo>
                  <a:pt x="12" y="76"/>
                </a:lnTo>
                <a:lnTo>
                  <a:pt x="12" y="72"/>
                </a:lnTo>
                <a:lnTo>
                  <a:pt x="12" y="72"/>
                </a:lnTo>
                <a:lnTo>
                  <a:pt x="12" y="72"/>
                </a:lnTo>
                <a:lnTo>
                  <a:pt x="16" y="72"/>
                </a:lnTo>
                <a:lnTo>
                  <a:pt x="16" y="72"/>
                </a:lnTo>
                <a:lnTo>
                  <a:pt x="16" y="70"/>
                </a:lnTo>
                <a:lnTo>
                  <a:pt x="16" y="70"/>
                </a:lnTo>
                <a:lnTo>
                  <a:pt x="16" y="70"/>
                </a:lnTo>
                <a:lnTo>
                  <a:pt x="16" y="70"/>
                </a:lnTo>
                <a:lnTo>
                  <a:pt x="16" y="70"/>
                </a:lnTo>
                <a:lnTo>
                  <a:pt x="16" y="66"/>
                </a:lnTo>
                <a:lnTo>
                  <a:pt x="16" y="66"/>
                </a:lnTo>
                <a:lnTo>
                  <a:pt x="16" y="66"/>
                </a:lnTo>
                <a:lnTo>
                  <a:pt x="16" y="66"/>
                </a:lnTo>
                <a:lnTo>
                  <a:pt x="16" y="66"/>
                </a:lnTo>
                <a:lnTo>
                  <a:pt x="16" y="66"/>
                </a:lnTo>
                <a:lnTo>
                  <a:pt x="16" y="66"/>
                </a:lnTo>
                <a:lnTo>
                  <a:pt x="12" y="66"/>
                </a:lnTo>
                <a:lnTo>
                  <a:pt x="12" y="66"/>
                </a:lnTo>
                <a:lnTo>
                  <a:pt x="12" y="62"/>
                </a:lnTo>
                <a:lnTo>
                  <a:pt x="8" y="62"/>
                </a:lnTo>
                <a:lnTo>
                  <a:pt x="8" y="62"/>
                </a:lnTo>
                <a:lnTo>
                  <a:pt x="4" y="62"/>
                </a:lnTo>
                <a:lnTo>
                  <a:pt x="4" y="62"/>
                </a:lnTo>
                <a:lnTo>
                  <a:pt x="4" y="62"/>
                </a:lnTo>
                <a:lnTo>
                  <a:pt x="4" y="62"/>
                </a:lnTo>
                <a:lnTo>
                  <a:pt x="4" y="66"/>
                </a:lnTo>
                <a:lnTo>
                  <a:pt x="4" y="62"/>
                </a:lnTo>
                <a:lnTo>
                  <a:pt x="4" y="62"/>
                </a:lnTo>
                <a:lnTo>
                  <a:pt x="4" y="58"/>
                </a:lnTo>
                <a:lnTo>
                  <a:pt x="4" y="58"/>
                </a:lnTo>
                <a:lnTo>
                  <a:pt x="0" y="58"/>
                </a:lnTo>
                <a:lnTo>
                  <a:pt x="0" y="58"/>
                </a:lnTo>
                <a:lnTo>
                  <a:pt x="0" y="58"/>
                </a:lnTo>
                <a:lnTo>
                  <a:pt x="0" y="58"/>
                </a:lnTo>
                <a:lnTo>
                  <a:pt x="0" y="58"/>
                </a:lnTo>
                <a:lnTo>
                  <a:pt x="0" y="54"/>
                </a:lnTo>
                <a:lnTo>
                  <a:pt x="0" y="54"/>
                </a:lnTo>
                <a:lnTo>
                  <a:pt x="0" y="54"/>
                </a:lnTo>
                <a:lnTo>
                  <a:pt x="0" y="54"/>
                </a:lnTo>
                <a:lnTo>
                  <a:pt x="4" y="50"/>
                </a:lnTo>
                <a:lnTo>
                  <a:pt x="4" y="50"/>
                </a:lnTo>
                <a:lnTo>
                  <a:pt x="4" y="50"/>
                </a:lnTo>
                <a:lnTo>
                  <a:pt x="4" y="50"/>
                </a:lnTo>
                <a:lnTo>
                  <a:pt x="8" y="46"/>
                </a:lnTo>
                <a:lnTo>
                  <a:pt x="8" y="46"/>
                </a:lnTo>
                <a:lnTo>
                  <a:pt x="8" y="46"/>
                </a:lnTo>
                <a:lnTo>
                  <a:pt x="12" y="46"/>
                </a:lnTo>
                <a:lnTo>
                  <a:pt x="8" y="46"/>
                </a:lnTo>
                <a:lnTo>
                  <a:pt x="12" y="46"/>
                </a:lnTo>
                <a:lnTo>
                  <a:pt x="12" y="44"/>
                </a:lnTo>
                <a:lnTo>
                  <a:pt x="12" y="44"/>
                </a:lnTo>
                <a:lnTo>
                  <a:pt x="16" y="44"/>
                </a:lnTo>
                <a:lnTo>
                  <a:pt x="16" y="44"/>
                </a:lnTo>
                <a:lnTo>
                  <a:pt x="16" y="44"/>
                </a:lnTo>
                <a:lnTo>
                  <a:pt x="16" y="44"/>
                </a:lnTo>
                <a:lnTo>
                  <a:pt x="16" y="44"/>
                </a:lnTo>
                <a:lnTo>
                  <a:pt x="20" y="44"/>
                </a:lnTo>
                <a:lnTo>
                  <a:pt x="20" y="40"/>
                </a:lnTo>
                <a:lnTo>
                  <a:pt x="20" y="40"/>
                </a:lnTo>
                <a:lnTo>
                  <a:pt x="20" y="40"/>
                </a:lnTo>
                <a:lnTo>
                  <a:pt x="22" y="40"/>
                </a:lnTo>
                <a:lnTo>
                  <a:pt x="22" y="40"/>
                </a:lnTo>
                <a:lnTo>
                  <a:pt x="26" y="36"/>
                </a:lnTo>
                <a:lnTo>
                  <a:pt x="26" y="32"/>
                </a:lnTo>
                <a:lnTo>
                  <a:pt x="26" y="32"/>
                </a:lnTo>
                <a:lnTo>
                  <a:pt x="26" y="32"/>
                </a:lnTo>
                <a:lnTo>
                  <a:pt x="30" y="32"/>
                </a:lnTo>
                <a:lnTo>
                  <a:pt x="30" y="32"/>
                </a:lnTo>
                <a:lnTo>
                  <a:pt x="30" y="28"/>
                </a:lnTo>
                <a:lnTo>
                  <a:pt x="30" y="28"/>
                </a:lnTo>
                <a:lnTo>
                  <a:pt x="30" y="28"/>
                </a:lnTo>
                <a:lnTo>
                  <a:pt x="30" y="28"/>
                </a:lnTo>
                <a:lnTo>
                  <a:pt x="30" y="24"/>
                </a:lnTo>
                <a:lnTo>
                  <a:pt x="30" y="24"/>
                </a:lnTo>
                <a:lnTo>
                  <a:pt x="30" y="24"/>
                </a:lnTo>
                <a:lnTo>
                  <a:pt x="34" y="24"/>
                </a:lnTo>
                <a:lnTo>
                  <a:pt x="34" y="24"/>
                </a:lnTo>
                <a:lnTo>
                  <a:pt x="34" y="24"/>
                </a:lnTo>
                <a:lnTo>
                  <a:pt x="34" y="20"/>
                </a:lnTo>
                <a:lnTo>
                  <a:pt x="34" y="20"/>
                </a:lnTo>
                <a:lnTo>
                  <a:pt x="38" y="20"/>
                </a:lnTo>
                <a:lnTo>
                  <a:pt x="38" y="20"/>
                </a:lnTo>
                <a:lnTo>
                  <a:pt x="38" y="24"/>
                </a:lnTo>
                <a:lnTo>
                  <a:pt x="38" y="24"/>
                </a:lnTo>
                <a:lnTo>
                  <a:pt x="38" y="24"/>
                </a:lnTo>
                <a:lnTo>
                  <a:pt x="38" y="24"/>
                </a:lnTo>
                <a:lnTo>
                  <a:pt x="38" y="24"/>
                </a:lnTo>
                <a:lnTo>
                  <a:pt x="42" y="24"/>
                </a:lnTo>
                <a:lnTo>
                  <a:pt x="42" y="28"/>
                </a:lnTo>
                <a:lnTo>
                  <a:pt x="46" y="28"/>
                </a:lnTo>
                <a:lnTo>
                  <a:pt x="48" y="28"/>
                </a:lnTo>
                <a:lnTo>
                  <a:pt x="48" y="28"/>
                </a:lnTo>
                <a:lnTo>
                  <a:pt x="48" y="28"/>
                </a:lnTo>
                <a:lnTo>
                  <a:pt x="48" y="28"/>
                </a:lnTo>
                <a:lnTo>
                  <a:pt x="52" y="28"/>
                </a:lnTo>
                <a:lnTo>
                  <a:pt x="52" y="28"/>
                </a:lnTo>
                <a:lnTo>
                  <a:pt x="52" y="28"/>
                </a:lnTo>
                <a:lnTo>
                  <a:pt x="52" y="28"/>
                </a:lnTo>
                <a:lnTo>
                  <a:pt x="52" y="28"/>
                </a:lnTo>
                <a:lnTo>
                  <a:pt x="56" y="28"/>
                </a:lnTo>
                <a:lnTo>
                  <a:pt x="56" y="24"/>
                </a:lnTo>
                <a:lnTo>
                  <a:pt x="56" y="24"/>
                </a:lnTo>
                <a:lnTo>
                  <a:pt x="56" y="24"/>
                </a:lnTo>
                <a:lnTo>
                  <a:pt x="56" y="24"/>
                </a:lnTo>
                <a:lnTo>
                  <a:pt x="56" y="24"/>
                </a:lnTo>
                <a:lnTo>
                  <a:pt x="56" y="24"/>
                </a:lnTo>
                <a:lnTo>
                  <a:pt x="52" y="24"/>
                </a:lnTo>
                <a:lnTo>
                  <a:pt x="52" y="20"/>
                </a:lnTo>
                <a:lnTo>
                  <a:pt x="52" y="20"/>
                </a:lnTo>
                <a:lnTo>
                  <a:pt x="52" y="16"/>
                </a:lnTo>
                <a:lnTo>
                  <a:pt x="52" y="16"/>
                </a:lnTo>
                <a:lnTo>
                  <a:pt x="52" y="16"/>
                </a:lnTo>
                <a:lnTo>
                  <a:pt x="56" y="16"/>
                </a:lnTo>
                <a:lnTo>
                  <a:pt x="56" y="16"/>
                </a:lnTo>
                <a:lnTo>
                  <a:pt x="56" y="16"/>
                </a:lnTo>
                <a:lnTo>
                  <a:pt x="56" y="16"/>
                </a:lnTo>
                <a:lnTo>
                  <a:pt x="56" y="16"/>
                </a:lnTo>
                <a:lnTo>
                  <a:pt x="60" y="16"/>
                </a:lnTo>
                <a:lnTo>
                  <a:pt x="60" y="16"/>
                </a:lnTo>
                <a:lnTo>
                  <a:pt x="60" y="16"/>
                </a:lnTo>
                <a:lnTo>
                  <a:pt x="60" y="16"/>
                </a:lnTo>
                <a:lnTo>
                  <a:pt x="64" y="16"/>
                </a:lnTo>
                <a:lnTo>
                  <a:pt x="64" y="16"/>
                </a:lnTo>
                <a:lnTo>
                  <a:pt x="64" y="16"/>
                </a:lnTo>
                <a:lnTo>
                  <a:pt x="64" y="16"/>
                </a:lnTo>
                <a:lnTo>
                  <a:pt x="64" y="16"/>
                </a:lnTo>
                <a:lnTo>
                  <a:pt x="68" y="16"/>
                </a:lnTo>
                <a:lnTo>
                  <a:pt x="68" y="16"/>
                </a:lnTo>
                <a:lnTo>
                  <a:pt x="68" y="14"/>
                </a:lnTo>
                <a:lnTo>
                  <a:pt x="68" y="14"/>
                </a:lnTo>
                <a:lnTo>
                  <a:pt x="68" y="14"/>
                </a:lnTo>
                <a:lnTo>
                  <a:pt x="68" y="14"/>
                </a:lnTo>
                <a:lnTo>
                  <a:pt x="68" y="10"/>
                </a:lnTo>
                <a:lnTo>
                  <a:pt x="72" y="10"/>
                </a:lnTo>
                <a:lnTo>
                  <a:pt x="72" y="10"/>
                </a:lnTo>
                <a:lnTo>
                  <a:pt x="72" y="10"/>
                </a:lnTo>
                <a:lnTo>
                  <a:pt x="74" y="10"/>
                </a:lnTo>
                <a:lnTo>
                  <a:pt x="74" y="10"/>
                </a:lnTo>
                <a:lnTo>
                  <a:pt x="74" y="6"/>
                </a:lnTo>
                <a:lnTo>
                  <a:pt x="74" y="6"/>
                </a:lnTo>
                <a:lnTo>
                  <a:pt x="74" y="6"/>
                </a:lnTo>
                <a:lnTo>
                  <a:pt x="74" y="2"/>
                </a:lnTo>
                <a:lnTo>
                  <a:pt x="78" y="2"/>
                </a:lnTo>
                <a:lnTo>
                  <a:pt x="78" y="0"/>
                </a:lnTo>
                <a:lnTo>
                  <a:pt x="78" y="0"/>
                </a:lnTo>
                <a:lnTo>
                  <a:pt x="78" y="0"/>
                </a:lnTo>
                <a:lnTo>
                  <a:pt x="78" y="0"/>
                </a:lnTo>
                <a:lnTo>
                  <a:pt x="78" y="0"/>
                </a:lnTo>
                <a:lnTo>
                  <a:pt x="78" y="0"/>
                </a:lnTo>
                <a:lnTo>
                  <a:pt x="82" y="0"/>
                </a:lnTo>
                <a:lnTo>
                  <a:pt x="82" y="0"/>
                </a:lnTo>
                <a:lnTo>
                  <a:pt x="82" y="2"/>
                </a:lnTo>
                <a:lnTo>
                  <a:pt x="82" y="2"/>
                </a:lnTo>
                <a:lnTo>
                  <a:pt x="82" y="2"/>
                </a:lnTo>
                <a:lnTo>
                  <a:pt x="82" y="2"/>
                </a:lnTo>
                <a:lnTo>
                  <a:pt x="86" y="6"/>
                </a:lnTo>
                <a:lnTo>
                  <a:pt x="86" y="6"/>
                </a:lnTo>
                <a:lnTo>
                  <a:pt x="86" y="6"/>
                </a:lnTo>
                <a:lnTo>
                  <a:pt x="86" y="6"/>
                </a:lnTo>
                <a:lnTo>
                  <a:pt x="86" y="10"/>
                </a:lnTo>
                <a:lnTo>
                  <a:pt x="90" y="10"/>
                </a:lnTo>
                <a:lnTo>
                  <a:pt x="90" y="10"/>
                </a:lnTo>
                <a:lnTo>
                  <a:pt x="90" y="10"/>
                </a:lnTo>
                <a:lnTo>
                  <a:pt x="90" y="10"/>
                </a:lnTo>
                <a:lnTo>
                  <a:pt x="90" y="10"/>
                </a:lnTo>
                <a:lnTo>
                  <a:pt x="90" y="10"/>
                </a:lnTo>
                <a:lnTo>
                  <a:pt x="90" y="10"/>
                </a:lnTo>
                <a:lnTo>
                  <a:pt x="90" y="14"/>
                </a:lnTo>
                <a:lnTo>
                  <a:pt x="90" y="14"/>
                </a:lnTo>
                <a:lnTo>
                  <a:pt x="90" y="14"/>
                </a:lnTo>
                <a:lnTo>
                  <a:pt x="90" y="10"/>
                </a:lnTo>
                <a:lnTo>
                  <a:pt x="86" y="10"/>
                </a:lnTo>
                <a:lnTo>
                  <a:pt x="86" y="10"/>
                </a:lnTo>
                <a:lnTo>
                  <a:pt x="86" y="10"/>
                </a:lnTo>
                <a:lnTo>
                  <a:pt x="82" y="14"/>
                </a:lnTo>
                <a:lnTo>
                  <a:pt x="82" y="16"/>
                </a:lnTo>
                <a:lnTo>
                  <a:pt x="78" y="16"/>
                </a:lnTo>
                <a:lnTo>
                  <a:pt x="78" y="20"/>
                </a:lnTo>
                <a:lnTo>
                  <a:pt x="78" y="20"/>
                </a:lnTo>
                <a:lnTo>
                  <a:pt x="78" y="20"/>
                </a:lnTo>
                <a:lnTo>
                  <a:pt x="78" y="20"/>
                </a:lnTo>
                <a:lnTo>
                  <a:pt x="74" y="20"/>
                </a:lnTo>
                <a:lnTo>
                  <a:pt x="74" y="24"/>
                </a:lnTo>
                <a:lnTo>
                  <a:pt x="74" y="24"/>
                </a:lnTo>
                <a:lnTo>
                  <a:pt x="74" y="24"/>
                </a:lnTo>
                <a:lnTo>
                  <a:pt x="74" y="24"/>
                </a:lnTo>
                <a:lnTo>
                  <a:pt x="74" y="28"/>
                </a:lnTo>
                <a:lnTo>
                  <a:pt x="74" y="28"/>
                </a:lnTo>
                <a:lnTo>
                  <a:pt x="74" y="28"/>
                </a:lnTo>
                <a:lnTo>
                  <a:pt x="74" y="28"/>
                </a:lnTo>
                <a:lnTo>
                  <a:pt x="74" y="28"/>
                </a:lnTo>
                <a:lnTo>
                  <a:pt x="78" y="28"/>
                </a:lnTo>
                <a:lnTo>
                  <a:pt x="78" y="32"/>
                </a:lnTo>
                <a:lnTo>
                  <a:pt x="74" y="32"/>
                </a:lnTo>
                <a:lnTo>
                  <a:pt x="74" y="32"/>
                </a:lnTo>
                <a:lnTo>
                  <a:pt x="74" y="32"/>
                </a:lnTo>
                <a:lnTo>
                  <a:pt x="74" y="36"/>
                </a:lnTo>
                <a:lnTo>
                  <a:pt x="74" y="36"/>
                </a:lnTo>
                <a:lnTo>
                  <a:pt x="74" y="36"/>
                </a:lnTo>
                <a:lnTo>
                  <a:pt x="74" y="36"/>
                </a:lnTo>
                <a:lnTo>
                  <a:pt x="74" y="40"/>
                </a:lnTo>
                <a:lnTo>
                  <a:pt x="74" y="40"/>
                </a:lnTo>
                <a:lnTo>
                  <a:pt x="74" y="40"/>
                </a:lnTo>
                <a:lnTo>
                  <a:pt x="74" y="40"/>
                </a:lnTo>
                <a:lnTo>
                  <a:pt x="74" y="40"/>
                </a:lnTo>
                <a:lnTo>
                  <a:pt x="74" y="40"/>
                </a:lnTo>
                <a:lnTo>
                  <a:pt x="68" y="44"/>
                </a:lnTo>
                <a:lnTo>
                  <a:pt x="68" y="44"/>
                </a:lnTo>
                <a:lnTo>
                  <a:pt x="68" y="46"/>
                </a:lnTo>
                <a:lnTo>
                  <a:pt x="68" y="46"/>
                </a:lnTo>
                <a:lnTo>
                  <a:pt x="68" y="46"/>
                </a:lnTo>
                <a:lnTo>
                  <a:pt x="68" y="46"/>
                </a:lnTo>
                <a:lnTo>
                  <a:pt x="68" y="46"/>
                </a:lnTo>
                <a:lnTo>
                  <a:pt x="68" y="46"/>
                </a:lnTo>
                <a:lnTo>
                  <a:pt x="64" y="46"/>
                </a:lnTo>
                <a:lnTo>
                  <a:pt x="64" y="46"/>
                </a:lnTo>
                <a:lnTo>
                  <a:pt x="64" y="46"/>
                </a:lnTo>
                <a:lnTo>
                  <a:pt x="64" y="46"/>
                </a:lnTo>
                <a:lnTo>
                  <a:pt x="64" y="50"/>
                </a:lnTo>
                <a:lnTo>
                  <a:pt x="64" y="50"/>
                </a:lnTo>
                <a:lnTo>
                  <a:pt x="64" y="50"/>
                </a:lnTo>
                <a:lnTo>
                  <a:pt x="60" y="50"/>
                </a:lnTo>
                <a:lnTo>
                  <a:pt x="60" y="54"/>
                </a:lnTo>
                <a:lnTo>
                  <a:pt x="56" y="54"/>
                </a:lnTo>
                <a:lnTo>
                  <a:pt x="52" y="54"/>
                </a:lnTo>
                <a:lnTo>
                  <a:pt x="52" y="54"/>
                </a:lnTo>
                <a:lnTo>
                  <a:pt x="52" y="54"/>
                </a:lnTo>
                <a:lnTo>
                  <a:pt x="52" y="54"/>
                </a:lnTo>
                <a:lnTo>
                  <a:pt x="52" y="54"/>
                </a:lnTo>
                <a:lnTo>
                  <a:pt x="48" y="58"/>
                </a:lnTo>
                <a:lnTo>
                  <a:pt x="48" y="58"/>
                </a:lnTo>
                <a:lnTo>
                  <a:pt x="48" y="58"/>
                </a:lnTo>
                <a:lnTo>
                  <a:pt x="48" y="58"/>
                </a:lnTo>
                <a:lnTo>
                  <a:pt x="46" y="58"/>
                </a:lnTo>
                <a:lnTo>
                  <a:pt x="46" y="62"/>
                </a:lnTo>
                <a:lnTo>
                  <a:pt x="46" y="62"/>
                </a:lnTo>
                <a:lnTo>
                  <a:pt x="46" y="62"/>
                </a:lnTo>
                <a:lnTo>
                  <a:pt x="46" y="62"/>
                </a:lnTo>
                <a:lnTo>
                  <a:pt x="46" y="66"/>
                </a:lnTo>
                <a:lnTo>
                  <a:pt x="46" y="66"/>
                </a:lnTo>
                <a:lnTo>
                  <a:pt x="46" y="70"/>
                </a:lnTo>
                <a:lnTo>
                  <a:pt x="46" y="70"/>
                </a:lnTo>
                <a:lnTo>
                  <a:pt x="46" y="70"/>
                </a:lnTo>
                <a:lnTo>
                  <a:pt x="46" y="70"/>
                </a:lnTo>
                <a:lnTo>
                  <a:pt x="46" y="70"/>
                </a:lnTo>
                <a:lnTo>
                  <a:pt x="46" y="70"/>
                </a:lnTo>
                <a:lnTo>
                  <a:pt x="46" y="66"/>
                </a:lnTo>
                <a:lnTo>
                  <a:pt x="46" y="66"/>
                </a:lnTo>
                <a:lnTo>
                  <a:pt x="46" y="70"/>
                </a:lnTo>
                <a:lnTo>
                  <a:pt x="46" y="70"/>
                </a:lnTo>
                <a:lnTo>
                  <a:pt x="46" y="70"/>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8" name="Freeform 45"/>
          <p:cNvSpPr>
            <a:spLocks noEditPoints="1"/>
          </p:cNvSpPr>
          <p:nvPr/>
        </p:nvSpPr>
        <p:spPr bwMode="auto">
          <a:xfrm>
            <a:off x="5131593" y="3155155"/>
            <a:ext cx="133350" cy="204788"/>
          </a:xfrm>
          <a:custGeom>
            <a:avLst/>
            <a:gdLst>
              <a:gd name="T0" fmla="*/ 62 w 112"/>
              <a:gd name="T1" fmla="*/ 0 h 172"/>
              <a:gd name="T2" fmla="*/ 62 w 112"/>
              <a:gd name="T3" fmla="*/ 8 h 172"/>
              <a:gd name="T4" fmla="*/ 60 w 112"/>
              <a:gd name="T5" fmla="*/ 12 h 172"/>
              <a:gd name="T6" fmla="*/ 60 w 112"/>
              <a:gd name="T7" fmla="*/ 4 h 172"/>
              <a:gd name="T8" fmla="*/ 60 w 112"/>
              <a:gd name="T9" fmla="*/ 0 h 172"/>
              <a:gd name="T10" fmla="*/ 62 w 112"/>
              <a:gd name="T11" fmla="*/ 0 h 172"/>
              <a:gd name="T12" fmla="*/ 48 w 112"/>
              <a:gd name="T13" fmla="*/ 90 h 172"/>
              <a:gd name="T14" fmla="*/ 48 w 112"/>
              <a:gd name="T15" fmla="*/ 60 h 172"/>
              <a:gd name="T16" fmla="*/ 48 w 112"/>
              <a:gd name="T17" fmla="*/ 52 h 172"/>
              <a:gd name="T18" fmla="*/ 52 w 112"/>
              <a:gd name="T19" fmla="*/ 42 h 172"/>
              <a:gd name="T20" fmla="*/ 56 w 112"/>
              <a:gd name="T21" fmla="*/ 38 h 172"/>
              <a:gd name="T22" fmla="*/ 56 w 112"/>
              <a:gd name="T23" fmla="*/ 30 h 172"/>
              <a:gd name="T24" fmla="*/ 56 w 112"/>
              <a:gd name="T25" fmla="*/ 26 h 172"/>
              <a:gd name="T26" fmla="*/ 60 w 112"/>
              <a:gd name="T27" fmla="*/ 22 h 172"/>
              <a:gd name="T28" fmla="*/ 60 w 112"/>
              <a:gd name="T29" fmla="*/ 26 h 172"/>
              <a:gd name="T30" fmla="*/ 62 w 112"/>
              <a:gd name="T31" fmla="*/ 26 h 172"/>
              <a:gd name="T32" fmla="*/ 62 w 112"/>
              <a:gd name="T33" fmla="*/ 22 h 172"/>
              <a:gd name="T34" fmla="*/ 66 w 112"/>
              <a:gd name="T35" fmla="*/ 30 h 172"/>
              <a:gd name="T36" fmla="*/ 70 w 112"/>
              <a:gd name="T37" fmla="*/ 38 h 172"/>
              <a:gd name="T38" fmla="*/ 74 w 112"/>
              <a:gd name="T39" fmla="*/ 42 h 172"/>
              <a:gd name="T40" fmla="*/ 86 w 112"/>
              <a:gd name="T41" fmla="*/ 44 h 172"/>
              <a:gd name="T42" fmla="*/ 88 w 112"/>
              <a:gd name="T43" fmla="*/ 48 h 172"/>
              <a:gd name="T44" fmla="*/ 92 w 112"/>
              <a:gd name="T45" fmla="*/ 48 h 172"/>
              <a:gd name="T46" fmla="*/ 100 w 112"/>
              <a:gd name="T47" fmla="*/ 56 h 172"/>
              <a:gd name="T48" fmla="*/ 104 w 112"/>
              <a:gd name="T49" fmla="*/ 60 h 172"/>
              <a:gd name="T50" fmla="*/ 108 w 112"/>
              <a:gd name="T51" fmla="*/ 68 h 172"/>
              <a:gd name="T52" fmla="*/ 112 w 112"/>
              <a:gd name="T53" fmla="*/ 72 h 172"/>
              <a:gd name="T54" fmla="*/ 108 w 112"/>
              <a:gd name="T55" fmla="*/ 78 h 172"/>
              <a:gd name="T56" fmla="*/ 104 w 112"/>
              <a:gd name="T57" fmla="*/ 86 h 172"/>
              <a:gd name="T58" fmla="*/ 96 w 112"/>
              <a:gd name="T59" fmla="*/ 94 h 172"/>
              <a:gd name="T60" fmla="*/ 92 w 112"/>
              <a:gd name="T61" fmla="*/ 102 h 172"/>
              <a:gd name="T62" fmla="*/ 88 w 112"/>
              <a:gd name="T63" fmla="*/ 104 h 172"/>
              <a:gd name="T64" fmla="*/ 88 w 112"/>
              <a:gd name="T65" fmla="*/ 102 h 172"/>
              <a:gd name="T66" fmla="*/ 86 w 112"/>
              <a:gd name="T67" fmla="*/ 108 h 172"/>
              <a:gd name="T68" fmla="*/ 82 w 112"/>
              <a:gd name="T69" fmla="*/ 116 h 172"/>
              <a:gd name="T70" fmla="*/ 82 w 112"/>
              <a:gd name="T71" fmla="*/ 122 h 172"/>
              <a:gd name="T72" fmla="*/ 82 w 112"/>
              <a:gd name="T73" fmla="*/ 130 h 172"/>
              <a:gd name="T74" fmla="*/ 74 w 112"/>
              <a:gd name="T75" fmla="*/ 130 h 172"/>
              <a:gd name="T76" fmla="*/ 70 w 112"/>
              <a:gd name="T77" fmla="*/ 134 h 172"/>
              <a:gd name="T78" fmla="*/ 66 w 112"/>
              <a:gd name="T79" fmla="*/ 142 h 172"/>
              <a:gd name="T80" fmla="*/ 62 w 112"/>
              <a:gd name="T81" fmla="*/ 144 h 172"/>
              <a:gd name="T82" fmla="*/ 60 w 112"/>
              <a:gd name="T83" fmla="*/ 148 h 172"/>
              <a:gd name="T84" fmla="*/ 52 w 112"/>
              <a:gd name="T85" fmla="*/ 148 h 172"/>
              <a:gd name="T86" fmla="*/ 48 w 112"/>
              <a:gd name="T87" fmla="*/ 152 h 172"/>
              <a:gd name="T88" fmla="*/ 48 w 112"/>
              <a:gd name="T89" fmla="*/ 156 h 172"/>
              <a:gd name="T90" fmla="*/ 44 w 112"/>
              <a:gd name="T91" fmla="*/ 164 h 172"/>
              <a:gd name="T92" fmla="*/ 36 w 112"/>
              <a:gd name="T93" fmla="*/ 164 h 172"/>
              <a:gd name="T94" fmla="*/ 30 w 112"/>
              <a:gd name="T95" fmla="*/ 164 h 172"/>
              <a:gd name="T96" fmla="*/ 22 w 112"/>
              <a:gd name="T97" fmla="*/ 168 h 172"/>
              <a:gd name="T98" fmla="*/ 10 w 112"/>
              <a:gd name="T99" fmla="*/ 160 h 172"/>
              <a:gd name="T100" fmla="*/ 96 w 112"/>
              <a:gd name="T101" fmla="*/ 108 h 172"/>
              <a:gd name="T102" fmla="*/ 96 w 112"/>
              <a:gd name="T103" fmla="*/ 104 h 172"/>
              <a:gd name="T104" fmla="*/ 96 w 112"/>
              <a:gd name="T105" fmla="*/ 104 h 172"/>
              <a:gd name="T106" fmla="*/ 100 w 112"/>
              <a:gd name="T107" fmla="*/ 104 h 172"/>
              <a:gd name="T108" fmla="*/ 96 w 112"/>
              <a:gd name="T109" fmla="*/ 104 h 172"/>
              <a:gd name="T110" fmla="*/ 96 w 112"/>
              <a:gd name="T111" fmla="*/ 108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 h="172">
                <a:moveTo>
                  <a:pt x="62" y="0"/>
                </a:moveTo>
                <a:lnTo>
                  <a:pt x="62" y="0"/>
                </a:lnTo>
                <a:lnTo>
                  <a:pt x="62" y="0"/>
                </a:lnTo>
                <a:lnTo>
                  <a:pt x="62" y="0"/>
                </a:lnTo>
                <a:lnTo>
                  <a:pt x="62" y="4"/>
                </a:lnTo>
                <a:lnTo>
                  <a:pt x="62" y="0"/>
                </a:lnTo>
                <a:lnTo>
                  <a:pt x="62" y="0"/>
                </a:lnTo>
                <a:lnTo>
                  <a:pt x="62" y="4"/>
                </a:lnTo>
                <a:lnTo>
                  <a:pt x="62" y="4"/>
                </a:lnTo>
                <a:lnTo>
                  <a:pt x="62" y="4"/>
                </a:lnTo>
                <a:lnTo>
                  <a:pt x="62" y="4"/>
                </a:lnTo>
                <a:lnTo>
                  <a:pt x="62" y="8"/>
                </a:lnTo>
                <a:lnTo>
                  <a:pt x="62" y="8"/>
                </a:lnTo>
                <a:lnTo>
                  <a:pt x="62" y="8"/>
                </a:lnTo>
                <a:lnTo>
                  <a:pt x="62" y="8"/>
                </a:lnTo>
                <a:lnTo>
                  <a:pt x="62" y="8"/>
                </a:lnTo>
                <a:lnTo>
                  <a:pt x="62" y="12"/>
                </a:lnTo>
                <a:lnTo>
                  <a:pt x="62" y="12"/>
                </a:lnTo>
                <a:lnTo>
                  <a:pt x="62" y="12"/>
                </a:lnTo>
                <a:lnTo>
                  <a:pt x="62" y="12"/>
                </a:lnTo>
                <a:lnTo>
                  <a:pt x="60" y="12"/>
                </a:lnTo>
                <a:lnTo>
                  <a:pt x="60" y="12"/>
                </a:lnTo>
                <a:lnTo>
                  <a:pt x="60" y="12"/>
                </a:lnTo>
                <a:lnTo>
                  <a:pt x="60" y="12"/>
                </a:lnTo>
                <a:lnTo>
                  <a:pt x="60" y="12"/>
                </a:lnTo>
                <a:lnTo>
                  <a:pt x="60" y="8"/>
                </a:lnTo>
                <a:lnTo>
                  <a:pt x="60" y="8"/>
                </a:lnTo>
                <a:lnTo>
                  <a:pt x="60" y="4"/>
                </a:lnTo>
                <a:lnTo>
                  <a:pt x="60" y="4"/>
                </a:lnTo>
                <a:lnTo>
                  <a:pt x="60" y="4"/>
                </a:lnTo>
                <a:lnTo>
                  <a:pt x="60" y="4"/>
                </a:lnTo>
                <a:lnTo>
                  <a:pt x="60" y="4"/>
                </a:lnTo>
                <a:lnTo>
                  <a:pt x="60" y="0"/>
                </a:lnTo>
                <a:lnTo>
                  <a:pt x="60" y="0"/>
                </a:lnTo>
                <a:lnTo>
                  <a:pt x="60" y="0"/>
                </a:lnTo>
                <a:lnTo>
                  <a:pt x="62" y="0"/>
                </a:lnTo>
                <a:lnTo>
                  <a:pt x="62" y="0"/>
                </a:lnTo>
                <a:lnTo>
                  <a:pt x="62" y="0"/>
                </a:lnTo>
                <a:lnTo>
                  <a:pt x="62" y="0"/>
                </a:lnTo>
                <a:lnTo>
                  <a:pt x="62" y="0"/>
                </a:lnTo>
                <a:lnTo>
                  <a:pt x="62" y="0"/>
                </a:lnTo>
                <a:lnTo>
                  <a:pt x="62" y="0"/>
                </a:lnTo>
                <a:lnTo>
                  <a:pt x="62" y="0"/>
                </a:lnTo>
                <a:lnTo>
                  <a:pt x="62" y="0"/>
                </a:lnTo>
                <a:lnTo>
                  <a:pt x="62" y="0"/>
                </a:lnTo>
                <a:lnTo>
                  <a:pt x="62" y="0"/>
                </a:lnTo>
                <a:lnTo>
                  <a:pt x="62" y="0"/>
                </a:lnTo>
                <a:lnTo>
                  <a:pt x="62" y="0"/>
                </a:lnTo>
                <a:close/>
                <a:moveTo>
                  <a:pt x="48" y="90"/>
                </a:moveTo>
                <a:lnTo>
                  <a:pt x="52" y="74"/>
                </a:lnTo>
                <a:lnTo>
                  <a:pt x="44" y="64"/>
                </a:lnTo>
                <a:lnTo>
                  <a:pt x="48" y="64"/>
                </a:lnTo>
                <a:lnTo>
                  <a:pt x="48" y="64"/>
                </a:lnTo>
                <a:lnTo>
                  <a:pt x="48" y="60"/>
                </a:lnTo>
                <a:lnTo>
                  <a:pt x="48" y="60"/>
                </a:lnTo>
                <a:lnTo>
                  <a:pt x="48" y="60"/>
                </a:lnTo>
                <a:lnTo>
                  <a:pt x="48" y="60"/>
                </a:lnTo>
                <a:lnTo>
                  <a:pt x="48" y="56"/>
                </a:lnTo>
                <a:lnTo>
                  <a:pt x="48" y="56"/>
                </a:lnTo>
                <a:lnTo>
                  <a:pt x="48" y="56"/>
                </a:lnTo>
                <a:lnTo>
                  <a:pt x="48" y="56"/>
                </a:lnTo>
                <a:lnTo>
                  <a:pt x="48" y="52"/>
                </a:lnTo>
                <a:lnTo>
                  <a:pt x="48" y="52"/>
                </a:lnTo>
                <a:lnTo>
                  <a:pt x="48" y="48"/>
                </a:lnTo>
                <a:lnTo>
                  <a:pt x="52" y="48"/>
                </a:lnTo>
                <a:lnTo>
                  <a:pt x="52" y="44"/>
                </a:lnTo>
                <a:lnTo>
                  <a:pt x="52" y="42"/>
                </a:lnTo>
                <a:lnTo>
                  <a:pt x="52" y="42"/>
                </a:lnTo>
                <a:lnTo>
                  <a:pt x="52" y="42"/>
                </a:lnTo>
                <a:lnTo>
                  <a:pt x="52" y="42"/>
                </a:lnTo>
                <a:lnTo>
                  <a:pt x="52" y="42"/>
                </a:lnTo>
                <a:lnTo>
                  <a:pt x="56" y="42"/>
                </a:lnTo>
                <a:lnTo>
                  <a:pt x="56" y="42"/>
                </a:lnTo>
                <a:lnTo>
                  <a:pt x="60" y="42"/>
                </a:lnTo>
                <a:lnTo>
                  <a:pt x="60" y="42"/>
                </a:lnTo>
                <a:lnTo>
                  <a:pt x="56" y="38"/>
                </a:lnTo>
                <a:lnTo>
                  <a:pt x="56" y="38"/>
                </a:lnTo>
                <a:lnTo>
                  <a:pt x="56" y="38"/>
                </a:lnTo>
                <a:lnTo>
                  <a:pt x="56" y="38"/>
                </a:lnTo>
                <a:lnTo>
                  <a:pt x="56" y="38"/>
                </a:lnTo>
                <a:lnTo>
                  <a:pt x="56" y="34"/>
                </a:lnTo>
                <a:lnTo>
                  <a:pt x="56" y="34"/>
                </a:lnTo>
                <a:lnTo>
                  <a:pt x="56" y="34"/>
                </a:lnTo>
                <a:lnTo>
                  <a:pt x="56" y="30"/>
                </a:lnTo>
                <a:lnTo>
                  <a:pt x="56" y="30"/>
                </a:lnTo>
                <a:lnTo>
                  <a:pt x="56" y="30"/>
                </a:lnTo>
                <a:lnTo>
                  <a:pt x="56" y="30"/>
                </a:lnTo>
                <a:lnTo>
                  <a:pt x="56" y="26"/>
                </a:lnTo>
                <a:lnTo>
                  <a:pt x="56" y="26"/>
                </a:lnTo>
                <a:lnTo>
                  <a:pt x="56" y="26"/>
                </a:lnTo>
                <a:lnTo>
                  <a:pt x="56" y="26"/>
                </a:lnTo>
                <a:lnTo>
                  <a:pt x="56" y="22"/>
                </a:lnTo>
                <a:lnTo>
                  <a:pt x="56" y="22"/>
                </a:lnTo>
                <a:lnTo>
                  <a:pt x="56" y="22"/>
                </a:lnTo>
                <a:lnTo>
                  <a:pt x="56" y="22"/>
                </a:lnTo>
                <a:lnTo>
                  <a:pt x="56" y="22"/>
                </a:lnTo>
                <a:lnTo>
                  <a:pt x="60" y="22"/>
                </a:lnTo>
                <a:lnTo>
                  <a:pt x="60" y="22"/>
                </a:lnTo>
                <a:lnTo>
                  <a:pt x="60" y="22"/>
                </a:lnTo>
                <a:lnTo>
                  <a:pt x="60" y="26"/>
                </a:lnTo>
                <a:lnTo>
                  <a:pt x="60" y="26"/>
                </a:lnTo>
                <a:lnTo>
                  <a:pt x="60" y="26"/>
                </a:lnTo>
                <a:lnTo>
                  <a:pt x="56" y="26"/>
                </a:lnTo>
                <a:lnTo>
                  <a:pt x="60" y="26"/>
                </a:lnTo>
                <a:lnTo>
                  <a:pt x="60" y="26"/>
                </a:lnTo>
                <a:lnTo>
                  <a:pt x="60" y="26"/>
                </a:lnTo>
                <a:lnTo>
                  <a:pt x="60" y="26"/>
                </a:lnTo>
                <a:lnTo>
                  <a:pt x="60" y="26"/>
                </a:lnTo>
                <a:lnTo>
                  <a:pt x="60" y="26"/>
                </a:lnTo>
                <a:lnTo>
                  <a:pt x="60" y="26"/>
                </a:lnTo>
                <a:lnTo>
                  <a:pt x="62" y="26"/>
                </a:lnTo>
                <a:lnTo>
                  <a:pt x="62" y="26"/>
                </a:lnTo>
                <a:lnTo>
                  <a:pt x="62" y="26"/>
                </a:lnTo>
                <a:lnTo>
                  <a:pt x="62" y="26"/>
                </a:lnTo>
                <a:lnTo>
                  <a:pt x="62" y="26"/>
                </a:lnTo>
                <a:lnTo>
                  <a:pt x="62" y="26"/>
                </a:lnTo>
                <a:lnTo>
                  <a:pt x="62" y="22"/>
                </a:lnTo>
                <a:lnTo>
                  <a:pt x="62" y="22"/>
                </a:lnTo>
                <a:lnTo>
                  <a:pt x="62" y="22"/>
                </a:lnTo>
                <a:lnTo>
                  <a:pt x="62" y="22"/>
                </a:lnTo>
                <a:lnTo>
                  <a:pt x="62" y="22"/>
                </a:lnTo>
                <a:lnTo>
                  <a:pt x="62" y="22"/>
                </a:lnTo>
                <a:lnTo>
                  <a:pt x="62" y="26"/>
                </a:lnTo>
                <a:lnTo>
                  <a:pt x="62" y="30"/>
                </a:lnTo>
                <a:lnTo>
                  <a:pt x="66" y="30"/>
                </a:lnTo>
                <a:lnTo>
                  <a:pt x="66" y="30"/>
                </a:lnTo>
                <a:lnTo>
                  <a:pt x="66" y="34"/>
                </a:lnTo>
                <a:lnTo>
                  <a:pt x="66" y="34"/>
                </a:lnTo>
                <a:lnTo>
                  <a:pt x="66" y="34"/>
                </a:lnTo>
                <a:lnTo>
                  <a:pt x="66" y="34"/>
                </a:lnTo>
                <a:lnTo>
                  <a:pt x="66" y="34"/>
                </a:lnTo>
                <a:lnTo>
                  <a:pt x="70" y="34"/>
                </a:lnTo>
                <a:lnTo>
                  <a:pt x="70" y="38"/>
                </a:lnTo>
                <a:lnTo>
                  <a:pt x="70" y="38"/>
                </a:lnTo>
                <a:lnTo>
                  <a:pt x="70" y="38"/>
                </a:lnTo>
                <a:lnTo>
                  <a:pt x="70" y="38"/>
                </a:lnTo>
                <a:lnTo>
                  <a:pt x="70" y="42"/>
                </a:lnTo>
                <a:lnTo>
                  <a:pt x="74" y="42"/>
                </a:lnTo>
                <a:lnTo>
                  <a:pt x="74" y="42"/>
                </a:lnTo>
                <a:lnTo>
                  <a:pt x="74" y="42"/>
                </a:lnTo>
                <a:lnTo>
                  <a:pt x="78" y="44"/>
                </a:lnTo>
                <a:lnTo>
                  <a:pt x="82" y="44"/>
                </a:lnTo>
                <a:lnTo>
                  <a:pt x="86" y="44"/>
                </a:lnTo>
                <a:lnTo>
                  <a:pt x="86" y="44"/>
                </a:lnTo>
                <a:lnTo>
                  <a:pt x="86" y="44"/>
                </a:lnTo>
                <a:lnTo>
                  <a:pt x="86" y="44"/>
                </a:lnTo>
                <a:lnTo>
                  <a:pt x="86" y="44"/>
                </a:lnTo>
                <a:lnTo>
                  <a:pt x="86" y="44"/>
                </a:lnTo>
                <a:lnTo>
                  <a:pt x="86" y="44"/>
                </a:lnTo>
                <a:lnTo>
                  <a:pt x="86" y="44"/>
                </a:lnTo>
                <a:lnTo>
                  <a:pt x="88" y="44"/>
                </a:lnTo>
                <a:lnTo>
                  <a:pt x="88" y="44"/>
                </a:lnTo>
                <a:lnTo>
                  <a:pt x="88" y="44"/>
                </a:lnTo>
                <a:lnTo>
                  <a:pt x="88" y="48"/>
                </a:lnTo>
                <a:lnTo>
                  <a:pt x="88" y="48"/>
                </a:lnTo>
                <a:lnTo>
                  <a:pt x="88" y="48"/>
                </a:lnTo>
                <a:lnTo>
                  <a:pt x="88" y="48"/>
                </a:lnTo>
                <a:lnTo>
                  <a:pt x="92" y="48"/>
                </a:lnTo>
                <a:lnTo>
                  <a:pt x="92" y="48"/>
                </a:lnTo>
                <a:lnTo>
                  <a:pt x="92" y="48"/>
                </a:lnTo>
                <a:lnTo>
                  <a:pt x="92" y="48"/>
                </a:lnTo>
                <a:lnTo>
                  <a:pt x="92" y="48"/>
                </a:lnTo>
                <a:lnTo>
                  <a:pt x="92" y="48"/>
                </a:lnTo>
                <a:lnTo>
                  <a:pt x="96" y="48"/>
                </a:lnTo>
                <a:lnTo>
                  <a:pt x="96" y="52"/>
                </a:lnTo>
                <a:lnTo>
                  <a:pt x="100" y="52"/>
                </a:lnTo>
                <a:lnTo>
                  <a:pt x="100" y="56"/>
                </a:lnTo>
                <a:lnTo>
                  <a:pt x="100" y="56"/>
                </a:lnTo>
                <a:lnTo>
                  <a:pt x="100" y="56"/>
                </a:lnTo>
                <a:lnTo>
                  <a:pt x="100" y="56"/>
                </a:lnTo>
                <a:lnTo>
                  <a:pt x="100" y="60"/>
                </a:lnTo>
                <a:lnTo>
                  <a:pt x="100" y="60"/>
                </a:lnTo>
                <a:lnTo>
                  <a:pt x="104" y="60"/>
                </a:lnTo>
                <a:lnTo>
                  <a:pt x="104" y="60"/>
                </a:lnTo>
                <a:lnTo>
                  <a:pt x="104" y="60"/>
                </a:lnTo>
                <a:lnTo>
                  <a:pt x="104" y="64"/>
                </a:lnTo>
                <a:lnTo>
                  <a:pt x="104" y="64"/>
                </a:lnTo>
                <a:lnTo>
                  <a:pt x="104" y="64"/>
                </a:lnTo>
                <a:lnTo>
                  <a:pt x="104" y="64"/>
                </a:lnTo>
                <a:lnTo>
                  <a:pt x="108" y="64"/>
                </a:lnTo>
                <a:lnTo>
                  <a:pt x="108" y="68"/>
                </a:lnTo>
                <a:lnTo>
                  <a:pt x="108" y="68"/>
                </a:lnTo>
                <a:lnTo>
                  <a:pt x="108" y="68"/>
                </a:lnTo>
                <a:lnTo>
                  <a:pt x="108" y="68"/>
                </a:lnTo>
                <a:lnTo>
                  <a:pt x="112" y="68"/>
                </a:lnTo>
                <a:lnTo>
                  <a:pt x="112" y="68"/>
                </a:lnTo>
                <a:lnTo>
                  <a:pt x="112" y="68"/>
                </a:lnTo>
                <a:lnTo>
                  <a:pt x="112" y="72"/>
                </a:lnTo>
                <a:lnTo>
                  <a:pt x="112" y="72"/>
                </a:lnTo>
                <a:lnTo>
                  <a:pt x="112" y="72"/>
                </a:lnTo>
                <a:lnTo>
                  <a:pt x="112" y="74"/>
                </a:lnTo>
                <a:lnTo>
                  <a:pt x="112" y="74"/>
                </a:lnTo>
                <a:lnTo>
                  <a:pt x="108" y="78"/>
                </a:lnTo>
                <a:lnTo>
                  <a:pt x="108" y="78"/>
                </a:lnTo>
                <a:lnTo>
                  <a:pt x="108" y="78"/>
                </a:lnTo>
                <a:lnTo>
                  <a:pt x="108" y="78"/>
                </a:lnTo>
                <a:lnTo>
                  <a:pt x="108" y="82"/>
                </a:lnTo>
                <a:lnTo>
                  <a:pt x="108" y="82"/>
                </a:lnTo>
                <a:lnTo>
                  <a:pt x="108" y="82"/>
                </a:lnTo>
                <a:lnTo>
                  <a:pt x="108" y="82"/>
                </a:lnTo>
                <a:lnTo>
                  <a:pt x="104" y="86"/>
                </a:lnTo>
                <a:lnTo>
                  <a:pt x="104" y="86"/>
                </a:lnTo>
                <a:lnTo>
                  <a:pt x="104" y="86"/>
                </a:lnTo>
                <a:lnTo>
                  <a:pt x="104" y="86"/>
                </a:lnTo>
                <a:lnTo>
                  <a:pt x="104" y="90"/>
                </a:lnTo>
                <a:lnTo>
                  <a:pt x="100" y="90"/>
                </a:lnTo>
                <a:lnTo>
                  <a:pt x="100" y="94"/>
                </a:lnTo>
                <a:lnTo>
                  <a:pt x="96" y="94"/>
                </a:lnTo>
                <a:lnTo>
                  <a:pt x="96" y="94"/>
                </a:lnTo>
                <a:lnTo>
                  <a:pt x="96" y="94"/>
                </a:lnTo>
                <a:lnTo>
                  <a:pt x="96" y="98"/>
                </a:lnTo>
                <a:lnTo>
                  <a:pt x="96" y="98"/>
                </a:lnTo>
                <a:lnTo>
                  <a:pt x="96" y="98"/>
                </a:lnTo>
                <a:lnTo>
                  <a:pt x="96" y="98"/>
                </a:lnTo>
                <a:lnTo>
                  <a:pt x="96" y="102"/>
                </a:lnTo>
                <a:lnTo>
                  <a:pt x="92" y="102"/>
                </a:lnTo>
                <a:lnTo>
                  <a:pt x="92" y="102"/>
                </a:lnTo>
                <a:lnTo>
                  <a:pt x="92" y="102"/>
                </a:lnTo>
                <a:lnTo>
                  <a:pt x="92" y="104"/>
                </a:lnTo>
                <a:lnTo>
                  <a:pt x="92" y="104"/>
                </a:lnTo>
                <a:lnTo>
                  <a:pt x="92" y="104"/>
                </a:lnTo>
                <a:lnTo>
                  <a:pt x="88" y="104"/>
                </a:lnTo>
                <a:lnTo>
                  <a:pt x="88" y="104"/>
                </a:lnTo>
                <a:lnTo>
                  <a:pt x="88" y="104"/>
                </a:lnTo>
                <a:lnTo>
                  <a:pt x="88" y="104"/>
                </a:lnTo>
                <a:lnTo>
                  <a:pt x="88" y="104"/>
                </a:lnTo>
                <a:lnTo>
                  <a:pt x="88" y="104"/>
                </a:lnTo>
                <a:lnTo>
                  <a:pt x="88" y="104"/>
                </a:lnTo>
                <a:lnTo>
                  <a:pt x="88" y="102"/>
                </a:lnTo>
                <a:lnTo>
                  <a:pt x="88" y="102"/>
                </a:lnTo>
                <a:lnTo>
                  <a:pt x="88" y="102"/>
                </a:lnTo>
                <a:lnTo>
                  <a:pt x="88" y="102"/>
                </a:lnTo>
                <a:lnTo>
                  <a:pt x="88" y="102"/>
                </a:lnTo>
                <a:lnTo>
                  <a:pt x="86" y="102"/>
                </a:lnTo>
                <a:lnTo>
                  <a:pt x="86" y="104"/>
                </a:lnTo>
                <a:lnTo>
                  <a:pt x="86" y="104"/>
                </a:lnTo>
                <a:lnTo>
                  <a:pt x="86" y="104"/>
                </a:lnTo>
                <a:lnTo>
                  <a:pt x="86" y="108"/>
                </a:lnTo>
                <a:lnTo>
                  <a:pt x="82" y="108"/>
                </a:lnTo>
                <a:lnTo>
                  <a:pt x="82" y="108"/>
                </a:lnTo>
                <a:lnTo>
                  <a:pt x="82" y="108"/>
                </a:lnTo>
                <a:lnTo>
                  <a:pt x="82" y="108"/>
                </a:lnTo>
                <a:lnTo>
                  <a:pt x="82" y="108"/>
                </a:lnTo>
                <a:lnTo>
                  <a:pt x="82" y="112"/>
                </a:lnTo>
                <a:lnTo>
                  <a:pt x="82" y="116"/>
                </a:lnTo>
                <a:lnTo>
                  <a:pt x="82" y="116"/>
                </a:lnTo>
                <a:lnTo>
                  <a:pt x="82" y="116"/>
                </a:lnTo>
                <a:lnTo>
                  <a:pt x="82" y="116"/>
                </a:lnTo>
                <a:lnTo>
                  <a:pt x="82" y="116"/>
                </a:lnTo>
                <a:lnTo>
                  <a:pt x="82" y="118"/>
                </a:lnTo>
                <a:lnTo>
                  <a:pt x="82" y="122"/>
                </a:lnTo>
                <a:lnTo>
                  <a:pt x="82" y="122"/>
                </a:lnTo>
                <a:lnTo>
                  <a:pt x="82" y="122"/>
                </a:lnTo>
                <a:lnTo>
                  <a:pt x="82" y="122"/>
                </a:lnTo>
                <a:lnTo>
                  <a:pt x="82" y="122"/>
                </a:lnTo>
                <a:lnTo>
                  <a:pt x="82" y="122"/>
                </a:lnTo>
                <a:lnTo>
                  <a:pt x="82" y="126"/>
                </a:lnTo>
                <a:lnTo>
                  <a:pt x="82" y="130"/>
                </a:lnTo>
                <a:lnTo>
                  <a:pt x="82" y="130"/>
                </a:lnTo>
                <a:lnTo>
                  <a:pt x="82" y="130"/>
                </a:lnTo>
                <a:lnTo>
                  <a:pt x="82" y="130"/>
                </a:lnTo>
                <a:lnTo>
                  <a:pt x="82" y="130"/>
                </a:lnTo>
                <a:lnTo>
                  <a:pt x="78" y="130"/>
                </a:lnTo>
                <a:lnTo>
                  <a:pt x="78" y="130"/>
                </a:lnTo>
                <a:lnTo>
                  <a:pt x="78" y="130"/>
                </a:lnTo>
                <a:lnTo>
                  <a:pt x="74" y="130"/>
                </a:lnTo>
                <a:lnTo>
                  <a:pt x="74" y="130"/>
                </a:lnTo>
                <a:lnTo>
                  <a:pt x="74" y="130"/>
                </a:lnTo>
                <a:lnTo>
                  <a:pt x="70" y="130"/>
                </a:lnTo>
                <a:lnTo>
                  <a:pt x="70" y="134"/>
                </a:lnTo>
                <a:lnTo>
                  <a:pt x="70" y="134"/>
                </a:lnTo>
                <a:lnTo>
                  <a:pt x="70" y="134"/>
                </a:lnTo>
                <a:lnTo>
                  <a:pt x="70" y="134"/>
                </a:lnTo>
                <a:lnTo>
                  <a:pt x="66" y="134"/>
                </a:lnTo>
                <a:lnTo>
                  <a:pt x="66" y="134"/>
                </a:lnTo>
                <a:lnTo>
                  <a:pt x="66" y="138"/>
                </a:lnTo>
                <a:lnTo>
                  <a:pt x="66" y="138"/>
                </a:lnTo>
                <a:lnTo>
                  <a:pt x="66" y="138"/>
                </a:lnTo>
                <a:lnTo>
                  <a:pt x="66" y="138"/>
                </a:lnTo>
                <a:lnTo>
                  <a:pt x="66" y="142"/>
                </a:lnTo>
                <a:lnTo>
                  <a:pt x="66" y="142"/>
                </a:lnTo>
                <a:lnTo>
                  <a:pt x="66" y="142"/>
                </a:lnTo>
                <a:lnTo>
                  <a:pt x="66" y="142"/>
                </a:lnTo>
                <a:lnTo>
                  <a:pt x="66" y="144"/>
                </a:lnTo>
                <a:lnTo>
                  <a:pt x="66" y="144"/>
                </a:lnTo>
                <a:lnTo>
                  <a:pt x="62" y="144"/>
                </a:lnTo>
                <a:lnTo>
                  <a:pt x="62" y="144"/>
                </a:lnTo>
                <a:lnTo>
                  <a:pt x="62" y="144"/>
                </a:lnTo>
                <a:lnTo>
                  <a:pt x="62" y="144"/>
                </a:lnTo>
                <a:lnTo>
                  <a:pt x="62" y="148"/>
                </a:lnTo>
                <a:lnTo>
                  <a:pt x="62" y="148"/>
                </a:lnTo>
                <a:lnTo>
                  <a:pt x="62" y="148"/>
                </a:lnTo>
                <a:lnTo>
                  <a:pt x="62" y="148"/>
                </a:lnTo>
                <a:lnTo>
                  <a:pt x="60" y="148"/>
                </a:lnTo>
                <a:lnTo>
                  <a:pt x="60" y="148"/>
                </a:lnTo>
                <a:lnTo>
                  <a:pt x="60" y="148"/>
                </a:lnTo>
                <a:lnTo>
                  <a:pt x="56" y="148"/>
                </a:lnTo>
                <a:lnTo>
                  <a:pt x="56" y="148"/>
                </a:lnTo>
                <a:lnTo>
                  <a:pt x="56" y="148"/>
                </a:lnTo>
                <a:lnTo>
                  <a:pt x="52" y="148"/>
                </a:lnTo>
                <a:lnTo>
                  <a:pt x="52" y="148"/>
                </a:lnTo>
                <a:lnTo>
                  <a:pt x="48" y="148"/>
                </a:lnTo>
                <a:lnTo>
                  <a:pt x="48" y="148"/>
                </a:lnTo>
                <a:lnTo>
                  <a:pt x="48" y="148"/>
                </a:lnTo>
                <a:lnTo>
                  <a:pt x="48" y="148"/>
                </a:lnTo>
                <a:lnTo>
                  <a:pt x="48" y="152"/>
                </a:lnTo>
                <a:lnTo>
                  <a:pt x="48" y="152"/>
                </a:lnTo>
                <a:lnTo>
                  <a:pt x="48" y="152"/>
                </a:lnTo>
                <a:lnTo>
                  <a:pt x="48" y="152"/>
                </a:lnTo>
                <a:lnTo>
                  <a:pt x="48" y="152"/>
                </a:lnTo>
                <a:lnTo>
                  <a:pt x="48" y="152"/>
                </a:lnTo>
                <a:lnTo>
                  <a:pt x="48" y="156"/>
                </a:lnTo>
                <a:lnTo>
                  <a:pt x="48" y="156"/>
                </a:lnTo>
                <a:lnTo>
                  <a:pt x="48" y="156"/>
                </a:lnTo>
                <a:lnTo>
                  <a:pt x="48" y="156"/>
                </a:lnTo>
                <a:lnTo>
                  <a:pt x="48" y="156"/>
                </a:lnTo>
                <a:lnTo>
                  <a:pt x="48" y="156"/>
                </a:lnTo>
                <a:lnTo>
                  <a:pt x="48" y="160"/>
                </a:lnTo>
                <a:lnTo>
                  <a:pt x="48" y="160"/>
                </a:lnTo>
                <a:lnTo>
                  <a:pt x="44" y="164"/>
                </a:lnTo>
                <a:lnTo>
                  <a:pt x="44" y="164"/>
                </a:lnTo>
                <a:lnTo>
                  <a:pt x="44" y="164"/>
                </a:lnTo>
                <a:lnTo>
                  <a:pt x="44" y="164"/>
                </a:lnTo>
                <a:lnTo>
                  <a:pt x="40" y="164"/>
                </a:lnTo>
                <a:lnTo>
                  <a:pt x="40" y="164"/>
                </a:lnTo>
                <a:lnTo>
                  <a:pt x="40" y="164"/>
                </a:lnTo>
                <a:lnTo>
                  <a:pt x="40" y="164"/>
                </a:lnTo>
                <a:lnTo>
                  <a:pt x="40" y="164"/>
                </a:lnTo>
                <a:lnTo>
                  <a:pt x="36" y="164"/>
                </a:lnTo>
                <a:lnTo>
                  <a:pt x="36" y="164"/>
                </a:lnTo>
                <a:lnTo>
                  <a:pt x="36" y="164"/>
                </a:lnTo>
                <a:lnTo>
                  <a:pt x="36" y="164"/>
                </a:lnTo>
                <a:lnTo>
                  <a:pt x="36" y="164"/>
                </a:lnTo>
                <a:lnTo>
                  <a:pt x="32" y="164"/>
                </a:lnTo>
                <a:lnTo>
                  <a:pt x="30" y="164"/>
                </a:lnTo>
                <a:lnTo>
                  <a:pt x="30" y="164"/>
                </a:lnTo>
                <a:lnTo>
                  <a:pt x="30" y="164"/>
                </a:lnTo>
                <a:lnTo>
                  <a:pt x="26" y="168"/>
                </a:lnTo>
                <a:lnTo>
                  <a:pt x="26" y="168"/>
                </a:lnTo>
                <a:lnTo>
                  <a:pt x="26" y="168"/>
                </a:lnTo>
                <a:lnTo>
                  <a:pt x="26" y="168"/>
                </a:lnTo>
                <a:lnTo>
                  <a:pt x="22" y="168"/>
                </a:lnTo>
                <a:lnTo>
                  <a:pt x="22" y="168"/>
                </a:lnTo>
                <a:lnTo>
                  <a:pt x="22" y="168"/>
                </a:lnTo>
                <a:lnTo>
                  <a:pt x="22" y="168"/>
                </a:lnTo>
                <a:lnTo>
                  <a:pt x="18" y="168"/>
                </a:lnTo>
                <a:lnTo>
                  <a:pt x="18" y="172"/>
                </a:lnTo>
                <a:lnTo>
                  <a:pt x="18" y="172"/>
                </a:lnTo>
                <a:lnTo>
                  <a:pt x="18" y="172"/>
                </a:lnTo>
                <a:lnTo>
                  <a:pt x="10" y="160"/>
                </a:lnTo>
                <a:lnTo>
                  <a:pt x="10" y="156"/>
                </a:lnTo>
                <a:lnTo>
                  <a:pt x="0" y="130"/>
                </a:lnTo>
                <a:lnTo>
                  <a:pt x="44" y="112"/>
                </a:lnTo>
                <a:lnTo>
                  <a:pt x="48" y="90"/>
                </a:lnTo>
                <a:lnTo>
                  <a:pt x="48" y="90"/>
                </a:lnTo>
                <a:lnTo>
                  <a:pt x="48" y="90"/>
                </a:lnTo>
                <a:close/>
                <a:moveTo>
                  <a:pt x="96" y="108"/>
                </a:moveTo>
                <a:lnTo>
                  <a:pt x="96" y="108"/>
                </a:lnTo>
                <a:lnTo>
                  <a:pt x="96" y="108"/>
                </a:lnTo>
                <a:lnTo>
                  <a:pt x="96" y="108"/>
                </a:lnTo>
                <a:lnTo>
                  <a:pt x="96" y="108"/>
                </a:lnTo>
                <a:lnTo>
                  <a:pt x="96" y="104"/>
                </a:lnTo>
                <a:lnTo>
                  <a:pt x="96" y="104"/>
                </a:lnTo>
                <a:lnTo>
                  <a:pt x="96" y="104"/>
                </a:lnTo>
                <a:lnTo>
                  <a:pt x="96" y="104"/>
                </a:lnTo>
                <a:lnTo>
                  <a:pt x="96" y="104"/>
                </a:lnTo>
                <a:lnTo>
                  <a:pt x="96" y="104"/>
                </a:lnTo>
                <a:lnTo>
                  <a:pt x="96" y="104"/>
                </a:lnTo>
                <a:lnTo>
                  <a:pt x="96" y="104"/>
                </a:lnTo>
                <a:lnTo>
                  <a:pt x="96" y="104"/>
                </a:lnTo>
                <a:lnTo>
                  <a:pt x="96" y="104"/>
                </a:lnTo>
                <a:lnTo>
                  <a:pt x="96" y="102"/>
                </a:lnTo>
                <a:lnTo>
                  <a:pt x="96" y="102"/>
                </a:lnTo>
                <a:lnTo>
                  <a:pt x="100" y="102"/>
                </a:lnTo>
                <a:lnTo>
                  <a:pt x="100" y="102"/>
                </a:lnTo>
                <a:lnTo>
                  <a:pt x="100" y="104"/>
                </a:lnTo>
                <a:lnTo>
                  <a:pt x="100" y="104"/>
                </a:lnTo>
                <a:lnTo>
                  <a:pt x="100" y="104"/>
                </a:lnTo>
                <a:lnTo>
                  <a:pt x="100" y="104"/>
                </a:lnTo>
                <a:lnTo>
                  <a:pt x="96" y="104"/>
                </a:lnTo>
                <a:lnTo>
                  <a:pt x="96" y="104"/>
                </a:lnTo>
                <a:lnTo>
                  <a:pt x="96" y="104"/>
                </a:lnTo>
                <a:lnTo>
                  <a:pt x="96" y="104"/>
                </a:lnTo>
                <a:lnTo>
                  <a:pt x="96" y="104"/>
                </a:lnTo>
                <a:lnTo>
                  <a:pt x="96" y="104"/>
                </a:lnTo>
                <a:lnTo>
                  <a:pt x="96" y="104"/>
                </a:lnTo>
                <a:lnTo>
                  <a:pt x="96" y="108"/>
                </a:lnTo>
                <a:lnTo>
                  <a:pt x="96" y="108"/>
                </a:lnTo>
                <a:lnTo>
                  <a:pt x="96" y="108"/>
                </a:lnTo>
                <a:lnTo>
                  <a:pt x="96" y="108"/>
                </a:lnTo>
                <a:lnTo>
                  <a:pt x="96" y="108"/>
                </a:lnTo>
                <a:lnTo>
                  <a:pt x="96" y="108"/>
                </a:lnTo>
                <a:lnTo>
                  <a:pt x="96" y="108"/>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9" name="Freeform 46"/>
          <p:cNvSpPr>
            <a:spLocks/>
          </p:cNvSpPr>
          <p:nvPr/>
        </p:nvSpPr>
        <p:spPr bwMode="auto">
          <a:xfrm>
            <a:off x="5281612" y="2919412"/>
            <a:ext cx="280988" cy="288131"/>
          </a:xfrm>
          <a:custGeom>
            <a:avLst/>
            <a:gdLst>
              <a:gd name="T0" fmla="*/ 54 w 236"/>
              <a:gd name="T1" fmla="*/ 138 h 242"/>
              <a:gd name="T2" fmla="*/ 76 w 236"/>
              <a:gd name="T3" fmla="*/ 134 h 242"/>
              <a:gd name="T4" fmla="*/ 80 w 236"/>
              <a:gd name="T5" fmla="*/ 120 h 242"/>
              <a:gd name="T6" fmla="*/ 86 w 236"/>
              <a:gd name="T7" fmla="*/ 108 h 242"/>
              <a:gd name="T8" fmla="*/ 98 w 236"/>
              <a:gd name="T9" fmla="*/ 100 h 242"/>
              <a:gd name="T10" fmla="*/ 116 w 236"/>
              <a:gd name="T11" fmla="*/ 100 h 242"/>
              <a:gd name="T12" fmla="*/ 120 w 236"/>
              <a:gd name="T13" fmla="*/ 82 h 242"/>
              <a:gd name="T14" fmla="*/ 128 w 236"/>
              <a:gd name="T15" fmla="*/ 74 h 242"/>
              <a:gd name="T16" fmla="*/ 132 w 236"/>
              <a:gd name="T17" fmla="*/ 60 h 242"/>
              <a:gd name="T18" fmla="*/ 142 w 236"/>
              <a:gd name="T19" fmla="*/ 56 h 242"/>
              <a:gd name="T20" fmla="*/ 146 w 236"/>
              <a:gd name="T21" fmla="*/ 44 h 242"/>
              <a:gd name="T22" fmla="*/ 154 w 236"/>
              <a:gd name="T23" fmla="*/ 26 h 242"/>
              <a:gd name="T24" fmla="*/ 146 w 236"/>
              <a:gd name="T25" fmla="*/ 14 h 242"/>
              <a:gd name="T26" fmla="*/ 166 w 236"/>
              <a:gd name="T27" fmla="*/ 4 h 242"/>
              <a:gd name="T28" fmla="*/ 188 w 236"/>
              <a:gd name="T29" fmla="*/ 4 h 242"/>
              <a:gd name="T30" fmla="*/ 206 w 236"/>
              <a:gd name="T31" fmla="*/ 4 h 242"/>
              <a:gd name="T32" fmla="*/ 212 w 236"/>
              <a:gd name="T33" fmla="*/ 14 h 242"/>
              <a:gd name="T34" fmla="*/ 224 w 236"/>
              <a:gd name="T35" fmla="*/ 22 h 242"/>
              <a:gd name="T36" fmla="*/ 236 w 236"/>
              <a:gd name="T37" fmla="*/ 34 h 242"/>
              <a:gd name="T38" fmla="*/ 228 w 236"/>
              <a:gd name="T39" fmla="*/ 36 h 242"/>
              <a:gd name="T40" fmla="*/ 216 w 236"/>
              <a:gd name="T41" fmla="*/ 44 h 242"/>
              <a:gd name="T42" fmla="*/ 196 w 236"/>
              <a:gd name="T43" fmla="*/ 44 h 242"/>
              <a:gd name="T44" fmla="*/ 188 w 236"/>
              <a:gd name="T45" fmla="*/ 48 h 242"/>
              <a:gd name="T46" fmla="*/ 188 w 236"/>
              <a:gd name="T47" fmla="*/ 60 h 242"/>
              <a:gd name="T48" fmla="*/ 192 w 236"/>
              <a:gd name="T49" fmla="*/ 78 h 242"/>
              <a:gd name="T50" fmla="*/ 206 w 236"/>
              <a:gd name="T51" fmla="*/ 90 h 242"/>
              <a:gd name="T52" fmla="*/ 196 w 236"/>
              <a:gd name="T53" fmla="*/ 100 h 242"/>
              <a:gd name="T54" fmla="*/ 196 w 236"/>
              <a:gd name="T55" fmla="*/ 112 h 242"/>
              <a:gd name="T56" fmla="*/ 188 w 236"/>
              <a:gd name="T57" fmla="*/ 126 h 242"/>
              <a:gd name="T58" fmla="*/ 172 w 236"/>
              <a:gd name="T59" fmla="*/ 148 h 242"/>
              <a:gd name="T60" fmla="*/ 162 w 236"/>
              <a:gd name="T61" fmla="*/ 160 h 242"/>
              <a:gd name="T62" fmla="*/ 146 w 236"/>
              <a:gd name="T63" fmla="*/ 172 h 242"/>
              <a:gd name="T64" fmla="*/ 136 w 236"/>
              <a:gd name="T65" fmla="*/ 168 h 242"/>
              <a:gd name="T66" fmla="*/ 124 w 236"/>
              <a:gd name="T67" fmla="*/ 178 h 242"/>
              <a:gd name="T68" fmla="*/ 132 w 236"/>
              <a:gd name="T69" fmla="*/ 194 h 242"/>
              <a:gd name="T70" fmla="*/ 138 w 236"/>
              <a:gd name="T71" fmla="*/ 212 h 242"/>
              <a:gd name="T72" fmla="*/ 142 w 236"/>
              <a:gd name="T73" fmla="*/ 228 h 242"/>
              <a:gd name="T74" fmla="*/ 138 w 236"/>
              <a:gd name="T75" fmla="*/ 232 h 242"/>
              <a:gd name="T76" fmla="*/ 120 w 236"/>
              <a:gd name="T77" fmla="*/ 234 h 242"/>
              <a:gd name="T78" fmla="*/ 110 w 236"/>
              <a:gd name="T79" fmla="*/ 238 h 242"/>
              <a:gd name="T80" fmla="*/ 102 w 236"/>
              <a:gd name="T81" fmla="*/ 238 h 242"/>
              <a:gd name="T82" fmla="*/ 90 w 236"/>
              <a:gd name="T83" fmla="*/ 234 h 242"/>
              <a:gd name="T84" fmla="*/ 82 w 236"/>
              <a:gd name="T85" fmla="*/ 220 h 242"/>
              <a:gd name="T86" fmla="*/ 80 w 236"/>
              <a:gd name="T87" fmla="*/ 208 h 242"/>
              <a:gd name="T88" fmla="*/ 60 w 236"/>
              <a:gd name="T89" fmla="*/ 212 h 242"/>
              <a:gd name="T90" fmla="*/ 50 w 236"/>
              <a:gd name="T91" fmla="*/ 216 h 242"/>
              <a:gd name="T92" fmla="*/ 38 w 236"/>
              <a:gd name="T93" fmla="*/ 216 h 242"/>
              <a:gd name="T94" fmla="*/ 16 w 236"/>
              <a:gd name="T95" fmla="*/ 220 h 242"/>
              <a:gd name="T96" fmla="*/ 16 w 236"/>
              <a:gd name="T97" fmla="*/ 204 h 242"/>
              <a:gd name="T98" fmla="*/ 20 w 236"/>
              <a:gd name="T99" fmla="*/ 194 h 242"/>
              <a:gd name="T100" fmla="*/ 34 w 236"/>
              <a:gd name="T101" fmla="*/ 186 h 242"/>
              <a:gd name="T102" fmla="*/ 26 w 236"/>
              <a:gd name="T103" fmla="*/ 172 h 242"/>
              <a:gd name="T104" fmla="*/ 16 w 236"/>
              <a:gd name="T105" fmla="*/ 156 h 242"/>
              <a:gd name="T106" fmla="*/ 0 w 236"/>
              <a:gd name="T107" fmla="*/ 134 h 242"/>
              <a:gd name="T108" fmla="*/ 34 w 236"/>
              <a:gd name="T109" fmla="*/ 138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6" h="242">
                <a:moveTo>
                  <a:pt x="34" y="138"/>
                </a:moveTo>
                <a:lnTo>
                  <a:pt x="38" y="138"/>
                </a:lnTo>
                <a:lnTo>
                  <a:pt x="42" y="138"/>
                </a:lnTo>
                <a:lnTo>
                  <a:pt x="46" y="142"/>
                </a:lnTo>
                <a:lnTo>
                  <a:pt x="50" y="138"/>
                </a:lnTo>
                <a:lnTo>
                  <a:pt x="54" y="138"/>
                </a:lnTo>
                <a:lnTo>
                  <a:pt x="56" y="138"/>
                </a:lnTo>
                <a:lnTo>
                  <a:pt x="60" y="138"/>
                </a:lnTo>
                <a:lnTo>
                  <a:pt x="64" y="138"/>
                </a:lnTo>
                <a:lnTo>
                  <a:pt x="68" y="134"/>
                </a:lnTo>
                <a:lnTo>
                  <a:pt x="72" y="134"/>
                </a:lnTo>
                <a:lnTo>
                  <a:pt x="76" y="134"/>
                </a:lnTo>
                <a:lnTo>
                  <a:pt x="80" y="130"/>
                </a:lnTo>
                <a:lnTo>
                  <a:pt x="76" y="130"/>
                </a:lnTo>
                <a:lnTo>
                  <a:pt x="76" y="126"/>
                </a:lnTo>
                <a:lnTo>
                  <a:pt x="80" y="126"/>
                </a:lnTo>
                <a:lnTo>
                  <a:pt x="80" y="122"/>
                </a:lnTo>
                <a:lnTo>
                  <a:pt x="80" y="120"/>
                </a:lnTo>
                <a:lnTo>
                  <a:pt x="80" y="112"/>
                </a:lnTo>
                <a:lnTo>
                  <a:pt x="82" y="112"/>
                </a:lnTo>
                <a:lnTo>
                  <a:pt x="82" y="108"/>
                </a:lnTo>
                <a:lnTo>
                  <a:pt x="86" y="108"/>
                </a:lnTo>
                <a:lnTo>
                  <a:pt x="86" y="104"/>
                </a:lnTo>
                <a:lnTo>
                  <a:pt x="86" y="108"/>
                </a:lnTo>
                <a:lnTo>
                  <a:pt x="90" y="108"/>
                </a:lnTo>
                <a:lnTo>
                  <a:pt x="94" y="108"/>
                </a:lnTo>
                <a:lnTo>
                  <a:pt x="98" y="108"/>
                </a:lnTo>
                <a:lnTo>
                  <a:pt x="98" y="104"/>
                </a:lnTo>
                <a:lnTo>
                  <a:pt x="94" y="100"/>
                </a:lnTo>
                <a:lnTo>
                  <a:pt x="98" y="100"/>
                </a:lnTo>
                <a:lnTo>
                  <a:pt x="102" y="100"/>
                </a:lnTo>
                <a:lnTo>
                  <a:pt x="106" y="96"/>
                </a:lnTo>
                <a:lnTo>
                  <a:pt x="110" y="96"/>
                </a:lnTo>
                <a:lnTo>
                  <a:pt x="112" y="96"/>
                </a:lnTo>
                <a:lnTo>
                  <a:pt x="112" y="100"/>
                </a:lnTo>
                <a:lnTo>
                  <a:pt x="116" y="100"/>
                </a:lnTo>
                <a:lnTo>
                  <a:pt x="116" y="96"/>
                </a:lnTo>
                <a:lnTo>
                  <a:pt x="120" y="96"/>
                </a:lnTo>
                <a:lnTo>
                  <a:pt x="120" y="92"/>
                </a:lnTo>
                <a:lnTo>
                  <a:pt x="120" y="90"/>
                </a:lnTo>
                <a:lnTo>
                  <a:pt x="120" y="86"/>
                </a:lnTo>
                <a:lnTo>
                  <a:pt x="120" y="82"/>
                </a:lnTo>
                <a:lnTo>
                  <a:pt x="124" y="82"/>
                </a:lnTo>
                <a:lnTo>
                  <a:pt x="124" y="78"/>
                </a:lnTo>
                <a:lnTo>
                  <a:pt x="120" y="78"/>
                </a:lnTo>
                <a:lnTo>
                  <a:pt x="124" y="78"/>
                </a:lnTo>
                <a:lnTo>
                  <a:pt x="124" y="74"/>
                </a:lnTo>
                <a:lnTo>
                  <a:pt x="128" y="74"/>
                </a:lnTo>
                <a:lnTo>
                  <a:pt x="132" y="70"/>
                </a:lnTo>
                <a:lnTo>
                  <a:pt x="136" y="70"/>
                </a:lnTo>
                <a:lnTo>
                  <a:pt x="136" y="66"/>
                </a:lnTo>
                <a:lnTo>
                  <a:pt x="132" y="66"/>
                </a:lnTo>
                <a:lnTo>
                  <a:pt x="132" y="62"/>
                </a:lnTo>
                <a:lnTo>
                  <a:pt x="132" y="60"/>
                </a:lnTo>
                <a:lnTo>
                  <a:pt x="128" y="60"/>
                </a:lnTo>
                <a:lnTo>
                  <a:pt x="128" y="56"/>
                </a:lnTo>
                <a:lnTo>
                  <a:pt x="132" y="56"/>
                </a:lnTo>
                <a:lnTo>
                  <a:pt x="136" y="56"/>
                </a:lnTo>
                <a:lnTo>
                  <a:pt x="138" y="56"/>
                </a:lnTo>
                <a:lnTo>
                  <a:pt x="142" y="56"/>
                </a:lnTo>
                <a:lnTo>
                  <a:pt x="146" y="56"/>
                </a:lnTo>
                <a:lnTo>
                  <a:pt x="146" y="52"/>
                </a:lnTo>
                <a:lnTo>
                  <a:pt x="146" y="48"/>
                </a:lnTo>
                <a:lnTo>
                  <a:pt x="142" y="48"/>
                </a:lnTo>
                <a:lnTo>
                  <a:pt x="142" y="44"/>
                </a:lnTo>
                <a:lnTo>
                  <a:pt x="146" y="44"/>
                </a:lnTo>
                <a:lnTo>
                  <a:pt x="146" y="40"/>
                </a:lnTo>
                <a:lnTo>
                  <a:pt x="150" y="40"/>
                </a:lnTo>
                <a:lnTo>
                  <a:pt x="150" y="36"/>
                </a:lnTo>
                <a:lnTo>
                  <a:pt x="154" y="34"/>
                </a:lnTo>
                <a:lnTo>
                  <a:pt x="154" y="30"/>
                </a:lnTo>
                <a:lnTo>
                  <a:pt x="154" y="26"/>
                </a:lnTo>
                <a:lnTo>
                  <a:pt x="150" y="26"/>
                </a:lnTo>
                <a:lnTo>
                  <a:pt x="154" y="22"/>
                </a:lnTo>
                <a:lnTo>
                  <a:pt x="150" y="22"/>
                </a:lnTo>
                <a:lnTo>
                  <a:pt x="150" y="18"/>
                </a:lnTo>
                <a:lnTo>
                  <a:pt x="146" y="18"/>
                </a:lnTo>
                <a:lnTo>
                  <a:pt x="146" y="14"/>
                </a:lnTo>
                <a:lnTo>
                  <a:pt x="150" y="14"/>
                </a:lnTo>
                <a:lnTo>
                  <a:pt x="154" y="10"/>
                </a:lnTo>
                <a:lnTo>
                  <a:pt x="158" y="6"/>
                </a:lnTo>
                <a:lnTo>
                  <a:pt x="162" y="6"/>
                </a:lnTo>
                <a:lnTo>
                  <a:pt x="162" y="4"/>
                </a:lnTo>
                <a:lnTo>
                  <a:pt x="166" y="4"/>
                </a:lnTo>
                <a:lnTo>
                  <a:pt x="168" y="4"/>
                </a:lnTo>
                <a:lnTo>
                  <a:pt x="172" y="4"/>
                </a:lnTo>
                <a:lnTo>
                  <a:pt x="176" y="0"/>
                </a:lnTo>
                <a:lnTo>
                  <a:pt x="180" y="0"/>
                </a:lnTo>
                <a:lnTo>
                  <a:pt x="184" y="0"/>
                </a:lnTo>
                <a:lnTo>
                  <a:pt x="188" y="4"/>
                </a:lnTo>
                <a:lnTo>
                  <a:pt x="192" y="0"/>
                </a:lnTo>
                <a:lnTo>
                  <a:pt x="196" y="0"/>
                </a:lnTo>
                <a:lnTo>
                  <a:pt x="198" y="0"/>
                </a:lnTo>
                <a:lnTo>
                  <a:pt x="202" y="0"/>
                </a:lnTo>
                <a:lnTo>
                  <a:pt x="206" y="6"/>
                </a:lnTo>
                <a:lnTo>
                  <a:pt x="206" y="4"/>
                </a:lnTo>
                <a:lnTo>
                  <a:pt x="208" y="8"/>
                </a:lnTo>
                <a:lnTo>
                  <a:pt x="210" y="10"/>
                </a:lnTo>
                <a:lnTo>
                  <a:pt x="212" y="10"/>
                </a:lnTo>
                <a:lnTo>
                  <a:pt x="212" y="10"/>
                </a:lnTo>
                <a:lnTo>
                  <a:pt x="216" y="14"/>
                </a:lnTo>
                <a:lnTo>
                  <a:pt x="212" y="14"/>
                </a:lnTo>
                <a:lnTo>
                  <a:pt x="212" y="18"/>
                </a:lnTo>
                <a:lnTo>
                  <a:pt x="216" y="18"/>
                </a:lnTo>
                <a:lnTo>
                  <a:pt x="216" y="22"/>
                </a:lnTo>
                <a:lnTo>
                  <a:pt x="220" y="22"/>
                </a:lnTo>
                <a:lnTo>
                  <a:pt x="222" y="22"/>
                </a:lnTo>
                <a:lnTo>
                  <a:pt x="224" y="22"/>
                </a:lnTo>
                <a:lnTo>
                  <a:pt x="224" y="26"/>
                </a:lnTo>
                <a:lnTo>
                  <a:pt x="228" y="26"/>
                </a:lnTo>
                <a:lnTo>
                  <a:pt x="232" y="26"/>
                </a:lnTo>
                <a:lnTo>
                  <a:pt x="232" y="32"/>
                </a:lnTo>
                <a:lnTo>
                  <a:pt x="236" y="34"/>
                </a:lnTo>
                <a:lnTo>
                  <a:pt x="236" y="34"/>
                </a:lnTo>
                <a:lnTo>
                  <a:pt x="232" y="32"/>
                </a:lnTo>
                <a:lnTo>
                  <a:pt x="236" y="34"/>
                </a:lnTo>
                <a:lnTo>
                  <a:pt x="236" y="34"/>
                </a:lnTo>
                <a:lnTo>
                  <a:pt x="232" y="34"/>
                </a:lnTo>
                <a:lnTo>
                  <a:pt x="228" y="34"/>
                </a:lnTo>
                <a:lnTo>
                  <a:pt x="228" y="36"/>
                </a:lnTo>
                <a:lnTo>
                  <a:pt x="228" y="40"/>
                </a:lnTo>
                <a:lnTo>
                  <a:pt x="228" y="44"/>
                </a:lnTo>
                <a:lnTo>
                  <a:pt x="224" y="44"/>
                </a:lnTo>
                <a:lnTo>
                  <a:pt x="224" y="40"/>
                </a:lnTo>
                <a:lnTo>
                  <a:pt x="220" y="40"/>
                </a:lnTo>
                <a:lnTo>
                  <a:pt x="216" y="44"/>
                </a:lnTo>
                <a:lnTo>
                  <a:pt x="212" y="44"/>
                </a:lnTo>
                <a:lnTo>
                  <a:pt x="210" y="48"/>
                </a:lnTo>
                <a:lnTo>
                  <a:pt x="210" y="44"/>
                </a:lnTo>
                <a:lnTo>
                  <a:pt x="206" y="44"/>
                </a:lnTo>
                <a:lnTo>
                  <a:pt x="202" y="44"/>
                </a:lnTo>
                <a:lnTo>
                  <a:pt x="196" y="44"/>
                </a:lnTo>
                <a:lnTo>
                  <a:pt x="196" y="40"/>
                </a:lnTo>
                <a:lnTo>
                  <a:pt x="192" y="40"/>
                </a:lnTo>
                <a:lnTo>
                  <a:pt x="188" y="44"/>
                </a:lnTo>
                <a:lnTo>
                  <a:pt x="184" y="44"/>
                </a:lnTo>
                <a:lnTo>
                  <a:pt x="184" y="48"/>
                </a:lnTo>
                <a:lnTo>
                  <a:pt x="188" y="48"/>
                </a:lnTo>
                <a:lnTo>
                  <a:pt x="188" y="52"/>
                </a:lnTo>
                <a:lnTo>
                  <a:pt x="184" y="56"/>
                </a:lnTo>
                <a:lnTo>
                  <a:pt x="188" y="56"/>
                </a:lnTo>
                <a:lnTo>
                  <a:pt x="192" y="56"/>
                </a:lnTo>
                <a:lnTo>
                  <a:pt x="192" y="60"/>
                </a:lnTo>
                <a:lnTo>
                  <a:pt x="188" y="60"/>
                </a:lnTo>
                <a:lnTo>
                  <a:pt x="188" y="62"/>
                </a:lnTo>
                <a:lnTo>
                  <a:pt x="192" y="62"/>
                </a:lnTo>
                <a:lnTo>
                  <a:pt x="188" y="66"/>
                </a:lnTo>
                <a:lnTo>
                  <a:pt x="188" y="70"/>
                </a:lnTo>
                <a:lnTo>
                  <a:pt x="192" y="74"/>
                </a:lnTo>
                <a:lnTo>
                  <a:pt x="192" y="78"/>
                </a:lnTo>
                <a:lnTo>
                  <a:pt x="196" y="78"/>
                </a:lnTo>
                <a:lnTo>
                  <a:pt x="196" y="82"/>
                </a:lnTo>
                <a:lnTo>
                  <a:pt x="198" y="86"/>
                </a:lnTo>
                <a:lnTo>
                  <a:pt x="202" y="86"/>
                </a:lnTo>
                <a:lnTo>
                  <a:pt x="206" y="86"/>
                </a:lnTo>
                <a:lnTo>
                  <a:pt x="206" y="90"/>
                </a:lnTo>
                <a:lnTo>
                  <a:pt x="206" y="92"/>
                </a:lnTo>
                <a:lnTo>
                  <a:pt x="202" y="92"/>
                </a:lnTo>
                <a:lnTo>
                  <a:pt x="198" y="92"/>
                </a:lnTo>
                <a:lnTo>
                  <a:pt x="196" y="92"/>
                </a:lnTo>
                <a:lnTo>
                  <a:pt x="196" y="96"/>
                </a:lnTo>
                <a:lnTo>
                  <a:pt x="196" y="100"/>
                </a:lnTo>
                <a:lnTo>
                  <a:pt x="196" y="104"/>
                </a:lnTo>
                <a:lnTo>
                  <a:pt x="196" y="108"/>
                </a:lnTo>
                <a:lnTo>
                  <a:pt x="196" y="112"/>
                </a:lnTo>
                <a:lnTo>
                  <a:pt x="196" y="108"/>
                </a:lnTo>
                <a:lnTo>
                  <a:pt x="198" y="108"/>
                </a:lnTo>
                <a:lnTo>
                  <a:pt x="196" y="112"/>
                </a:lnTo>
                <a:lnTo>
                  <a:pt x="192" y="112"/>
                </a:lnTo>
                <a:lnTo>
                  <a:pt x="192" y="116"/>
                </a:lnTo>
                <a:lnTo>
                  <a:pt x="188" y="120"/>
                </a:lnTo>
                <a:lnTo>
                  <a:pt x="184" y="122"/>
                </a:lnTo>
                <a:lnTo>
                  <a:pt x="188" y="122"/>
                </a:lnTo>
                <a:lnTo>
                  <a:pt x="188" y="126"/>
                </a:lnTo>
                <a:lnTo>
                  <a:pt x="184" y="130"/>
                </a:lnTo>
                <a:lnTo>
                  <a:pt x="180" y="130"/>
                </a:lnTo>
                <a:lnTo>
                  <a:pt x="176" y="134"/>
                </a:lnTo>
                <a:lnTo>
                  <a:pt x="176" y="138"/>
                </a:lnTo>
                <a:lnTo>
                  <a:pt x="172" y="146"/>
                </a:lnTo>
                <a:lnTo>
                  <a:pt x="172" y="148"/>
                </a:lnTo>
                <a:lnTo>
                  <a:pt x="168" y="148"/>
                </a:lnTo>
                <a:lnTo>
                  <a:pt x="166" y="148"/>
                </a:lnTo>
                <a:lnTo>
                  <a:pt x="166" y="152"/>
                </a:lnTo>
                <a:lnTo>
                  <a:pt x="162" y="152"/>
                </a:lnTo>
                <a:lnTo>
                  <a:pt x="162" y="156"/>
                </a:lnTo>
                <a:lnTo>
                  <a:pt x="162" y="160"/>
                </a:lnTo>
                <a:lnTo>
                  <a:pt x="158" y="164"/>
                </a:lnTo>
                <a:lnTo>
                  <a:pt x="158" y="168"/>
                </a:lnTo>
                <a:lnTo>
                  <a:pt x="154" y="168"/>
                </a:lnTo>
                <a:lnTo>
                  <a:pt x="150" y="168"/>
                </a:lnTo>
                <a:lnTo>
                  <a:pt x="146" y="168"/>
                </a:lnTo>
                <a:lnTo>
                  <a:pt x="146" y="172"/>
                </a:lnTo>
                <a:lnTo>
                  <a:pt x="142" y="172"/>
                </a:lnTo>
                <a:lnTo>
                  <a:pt x="138" y="172"/>
                </a:lnTo>
                <a:lnTo>
                  <a:pt x="138" y="168"/>
                </a:lnTo>
                <a:lnTo>
                  <a:pt x="138" y="164"/>
                </a:lnTo>
                <a:lnTo>
                  <a:pt x="136" y="164"/>
                </a:lnTo>
                <a:lnTo>
                  <a:pt x="136" y="168"/>
                </a:lnTo>
                <a:lnTo>
                  <a:pt x="132" y="168"/>
                </a:lnTo>
                <a:lnTo>
                  <a:pt x="132" y="172"/>
                </a:lnTo>
                <a:lnTo>
                  <a:pt x="132" y="176"/>
                </a:lnTo>
                <a:lnTo>
                  <a:pt x="128" y="176"/>
                </a:lnTo>
                <a:lnTo>
                  <a:pt x="128" y="178"/>
                </a:lnTo>
                <a:lnTo>
                  <a:pt x="124" y="178"/>
                </a:lnTo>
                <a:lnTo>
                  <a:pt x="124" y="182"/>
                </a:lnTo>
                <a:lnTo>
                  <a:pt x="124" y="186"/>
                </a:lnTo>
                <a:lnTo>
                  <a:pt x="124" y="190"/>
                </a:lnTo>
                <a:lnTo>
                  <a:pt x="128" y="190"/>
                </a:lnTo>
                <a:lnTo>
                  <a:pt x="132" y="190"/>
                </a:lnTo>
                <a:lnTo>
                  <a:pt x="132" y="194"/>
                </a:lnTo>
                <a:lnTo>
                  <a:pt x="132" y="198"/>
                </a:lnTo>
                <a:lnTo>
                  <a:pt x="132" y="202"/>
                </a:lnTo>
                <a:lnTo>
                  <a:pt x="132" y="204"/>
                </a:lnTo>
                <a:lnTo>
                  <a:pt x="136" y="208"/>
                </a:lnTo>
                <a:lnTo>
                  <a:pt x="138" y="208"/>
                </a:lnTo>
                <a:lnTo>
                  <a:pt x="138" y="212"/>
                </a:lnTo>
                <a:lnTo>
                  <a:pt x="138" y="216"/>
                </a:lnTo>
                <a:lnTo>
                  <a:pt x="142" y="216"/>
                </a:lnTo>
                <a:lnTo>
                  <a:pt x="142" y="220"/>
                </a:lnTo>
                <a:lnTo>
                  <a:pt x="142" y="224"/>
                </a:lnTo>
                <a:lnTo>
                  <a:pt x="146" y="228"/>
                </a:lnTo>
                <a:lnTo>
                  <a:pt x="142" y="228"/>
                </a:lnTo>
                <a:lnTo>
                  <a:pt x="142" y="232"/>
                </a:lnTo>
                <a:lnTo>
                  <a:pt x="146" y="232"/>
                </a:lnTo>
                <a:lnTo>
                  <a:pt x="142" y="232"/>
                </a:lnTo>
                <a:lnTo>
                  <a:pt x="142" y="234"/>
                </a:lnTo>
                <a:lnTo>
                  <a:pt x="138" y="234"/>
                </a:lnTo>
                <a:lnTo>
                  <a:pt x="138" y="232"/>
                </a:lnTo>
                <a:lnTo>
                  <a:pt x="136" y="232"/>
                </a:lnTo>
                <a:lnTo>
                  <a:pt x="132" y="232"/>
                </a:lnTo>
                <a:lnTo>
                  <a:pt x="132" y="234"/>
                </a:lnTo>
                <a:lnTo>
                  <a:pt x="128" y="234"/>
                </a:lnTo>
                <a:lnTo>
                  <a:pt x="124" y="234"/>
                </a:lnTo>
                <a:lnTo>
                  <a:pt x="120" y="234"/>
                </a:lnTo>
                <a:lnTo>
                  <a:pt x="116" y="234"/>
                </a:lnTo>
                <a:lnTo>
                  <a:pt x="116" y="232"/>
                </a:lnTo>
                <a:lnTo>
                  <a:pt x="112" y="232"/>
                </a:lnTo>
                <a:lnTo>
                  <a:pt x="112" y="234"/>
                </a:lnTo>
                <a:lnTo>
                  <a:pt x="112" y="238"/>
                </a:lnTo>
                <a:lnTo>
                  <a:pt x="110" y="238"/>
                </a:lnTo>
                <a:lnTo>
                  <a:pt x="106" y="238"/>
                </a:lnTo>
                <a:lnTo>
                  <a:pt x="106" y="242"/>
                </a:lnTo>
                <a:lnTo>
                  <a:pt x="106" y="238"/>
                </a:lnTo>
                <a:lnTo>
                  <a:pt x="106" y="242"/>
                </a:lnTo>
                <a:lnTo>
                  <a:pt x="102" y="242"/>
                </a:lnTo>
                <a:lnTo>
                  <a:pt x="102" y="238"/>
                </a:lnTo>
                <a:lnTo>
                  <a:pt x="102" y="242"/>
                </a:lnTo>
                <a:lnTo>
                  <a:pt x="102" y="238"/>
                </a:lnTo>
                <a:lnTo>
                  <a:pt x="98" y="242"/>
                </a:lnTo>
                <a:lnTo>
                  <a:pt x="94" y="242"/>
                </a:lnTo>
                <a:lnTo>
                  <a:pt x="94" y="238"/>
                </a:lnTo>
                <a:lnTo>
                  <a:pt x="90" y="234"/>
                </a:lnTo>
                <a:lnTo>
                  <a:pt x="90" y="232"/>
                </a:lnTo>
                <a:lnTo>
                  <a:pt x="90" y="228"/>
                </a:lnTo>
                <a:lnTo>
                  <a:pt x="90" y="224"/>
                </a:lnTo>
                <a:lnTo>
                  <a:pt x="86" y="224"/>
                </a:lnTo>
                <a:lnTo>
                  <a:pt x="82" y="224"/>
                </a:lnTo>
                <a:lnTo>
                  <a:pt x="82" y="220"/>
                </a:lnTo>
                <a:lnTo>
                  <a:pt x="82" y="216"/>
                </a:lnTo>
                <a:lnTo>
                  <a:pt x="82" y="212"/>
                </a:lnTo>
                <a:lnTo>
                  <a:pt x="80" y="208"/>
                </a:lnTo>
                <a:lnTo>
                  <a:pt x="76" y="208"/>
                </a:lnTo>
                <a:lnTo>
                  <a:pt x="76" y="212"/>
                </a:lnTo>
                <a:lnTo>
                  <a:pt x="80" y="208"/>
                </a:lnTo>
                <a:lnTo>
                  <a:pt x="80" y="212"/>
                </a:lnTo>
                <a:lnTo>
                  <a:pt x="76" y="212"/>
                </a:lnTo>
                <a:lnTo>
                  <a:pt x="72" y="212"/>
                </a:lnTo>
                <a:lnTo>
                  <a:pt x="68" y="212"/>
                </a:lnTo>
                <a:lnTo>
                  <a:pt x="64" y="212"/>
                </a:lnTo>
                <a:lnTo>
                  <a:pt x="60" y="212"/>
                </a:lnTo>
                <a:lnTo>
                  <a:pt x="60" y="216"/>
                </a:lnTo>
                <a:lnTo>
                  <a:pt x="56" y="216"/>
                </a:lnTo>
                <a:lnTo>
                  <a:pt x="54" y="216"/>
                </a:lnTo>
                <a:lnTo>
                  <a:pt x="56" y="216"/>
                </a:lnTo>
                <a:lnTo>
                  <a:pt x="54" y="216"/>
                </a:lnTo>
                <a:lnTo>
                  <a:pt x="50" y="216"/>
                </a:lnTo>
                <a:lnTo>
                  <a:pt x="46" y="216"/>
                </a:lnTo>
                <a:lnTo>
                  <a:pt x="46" y="212"/>
                </a:lnTo>
                <a:lnTo>
                  <a:pt x="46" y="216"/>
                </a:lnTo>
                <a:lnTo>
                  <a:pt x="42" y="212"/>
                </a:lnTo>
                <a:lnTo>
                  <a:pt x="38" y="212"/>
                </a:lnTo>
                <a:lnTo>
                  <a:pt x="38" y="216"/>
                </a:lnTo>
                <a:lnTo>
                  <a:pt x="34" y="216"/>
                </a:lnTo>
                <a:lnTo>
                  <a:pt x="30" y="216"/>
                </a:lnTo>
                <a:lnTo>
                  <a:pt x="26" y="216"/>
                </a:lnTo>
                <a:lnTo>
                  <a:pt x="24" y="216"/>
                </a:lnTo>
                <a:lnTo>
                  <a:pt x="20" y="216"/>
                </a:lnTo>
                <a:lnTo>
                  <a:pt x="16" y="220"/>
                </a:lnTo>
                <a:lnTo>
                  <a:pt x="12" y="220"/>
                </a:lnTo>
                <a:lnTo>
                  <a:pt x="12" y="216"/>
                </a:lnTo>
                <a:lnTo>
                  <a:pt x="12" y="212"/>
                </a:lnTo>
                <a:lnTo>
                  <a:pt x="12" y="208"/>
                </a:lnTo>
                <a:lnTo>
                  <a:pt x="12" y="204"/>
                </a:lnTo>
                <a:lnTo>
                  <a:pt x="16" y="204"/>
                </a:lnTo>
                <a:lnTo>
                  <a:pt x="16" y="202"/>
                </a:lnTo>
                <a:lnTo>
                  <a:pt x="16" y="198"/>
                </a:lnTo>
                <a:lnTo>
                  <a:pt x="20" y="198"/>
                </a:lnTo>
                <a:lnTo>
                  <a:pt x="20" y="194"/>
                </a:lnTo>
                <a:lnTo>
                  <a:pt x="20" y="198"/>
                </a:lnTo>
                <a:lnTo>
                  <a:pt x="20" y="194"/>
                </a:lnTo>
                <a:lnTo>
                  <a:pt x="24" y="194"/>
                </a:lnTo>
                <a:lnTo>
                  <a:pt x="26" y="194"/>
                </a:lnTo>
                <a:lnTo>
                  <a:pt x="26" y="190"/>
                </a:lnTo>
                <a:lnTo>
                  <a:pt x="30" y="190"/>
                </a:lnTo>
                <a:lnTo>
                  <a:pt x="34" y="190"/>
                </a:lnTo>
                <a:lnTo>
                  <a:pt x="34" y="186"/>
                </a:lnTo>
                <a:lnTo>
                  <a:pt x="34" y="182"/>
                </a:lnTo>
                <a:lnTo>
                  <a:pt x="34" y="178"/>
                </a:lnTo>
                <a:lnTo>
                  <a:pt x="30" y="178"/>
                </a:lnTo>
                <a:lnTo>
                  <a:pt x="26" y="178"/>
                </a:lnTo>
                <a:lnTo>
                  <a:pt x="26" y="176"/>
                </a:lnTo>
                <a:lnTo>
                  <a:pt x="26" y="172"/>
                </a:lnTo>
                <a:lnTo>
                  <a:pt x="26" y="168"/>
                </a:lnTo>
                <a:lnTo>
                  <a:pt x="26" y="164"/>
                </a:lnTo>
                <a:lnTo>
                  <a:pt x="26" y="160"/>
                </a:lnTo>
                <a:lnTo>
                  <a:pt x="24" y="160"/>
                </a:lnTo>
                <a:lnTo>
                  <a:pt x="20" y="156"/>
                </a:lnTo>
                <a:lnTo>
                  <a:pt x="16" y="156"/>
                </a:lnTo>
                <a:lnTo>
                  <a:pt x="12" y="152"/>
                </a:lnTo>
                <a:lnTo>
                  <a:pt x="12" y="148"/>
                </a:lnTo>
                <a:lnTo>
                  <a:pt x="8" y="146"/>
                </a:lnTo>
                <a:lnTo>
                  <a:pt x="8" y="142"/>
                </a:lnTo>
                <a:lnTo>
                  <a:pt x="4" y="134"/>
                </a:lnTo>
                <a:lnTo>
                  <a:pt x="0" y="134"/>
                </a:lnTo>
                <a:lnTo>
                  <a:pt x="4" y="134"/>
                </a:lnTo>
                <a:lnTo>
                  <a:pt x="12" y="138"/>
                </a:lnTo>
                <a:lnTo>
                  <a:pt x="16" y="138"/>
                </a:lnTo>
                <a:lnTo>
                  <a:pt x="20" y="138"/>
                </a:lnTo>
                <a:lnTo>
                  <a:pt x="24" y="142"/>
                </a:lnTo>
                <a:lnTo>
                  <a:pt x="34" y="138"/>
                </a:lnTo>
                <a:lnTo>
                  <a:pt x="34" y="138"/>
                </a:lnTo>
                <a:lnTo>
                  <a:pt x="34" y="138"/>
                </a:lnTo>
                <a:close/>
              </a:path>
            </a:pathLst>
          </a:custGeom>
          <a:solidFill>
            <a:srgbClr val="A0DCFF"/>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40" name="Freeform 47"/>
          <p:cNvSpPr>
            <a:spLocks noEditPoints="1"/>
          </p:cNvSpPr>
          <p:nvPr/>
        </p:nvSpPr>
        <p:spPr bwMode="auto">
          <a:xfrm>
            <a:off x="6138862" y="3350419"/>
            <a:ext cx="16669" cy="11906"/>
          </a:xfrm>
          <a:custGeom>
            <a:avLst/>
            <a:gdLst>
              <a:gd name="T0" fmla="*/ 8 w 14"/>
              <a:gd name="T1" fmla="*/ 0 h 10"/>
              <a:gd name="T2" fmla="*/ 8 w 14"/>
              <a:gd name="T3" fmla="*/ 0 h 10"/>
              <a:gd name="T4" fmla="*/ 8 w 14"/>
              <a:gd name="T5" fmla="*/ 0 h 10"/>
              <a:gd name="T6" fmla="*/ 8 w 14"/>
              <a:gd name="T7" fmla="*/ 0 h 10"/>
              <a:gd name="T8" fmla="*/ 8 w 14"/>
              <a:gd name="T9" fmla="*/ 0 h 10"/>
              <a:gd name="T10" fmla="*/ 8 w 14"/>
              <a:gd name="T11" fmla="*/ 0 h 10"/>
              <a:gd name="T12" fmla="*/ 8 w 14"/>
              <a:gd name="T13" fmla="*/ 0 h 10"/>
              <a:gd name="T14" fmla="*/ 8 w 14"/>
              <a:gd name="T15" fmla="*/ 0 h 10"/>
              <a:gd name="T16" fmla="*/ 8 w 14"/>
              <a:gd name="T17" fmla="*/ 0 h 10"/>
              <a:gd name="T18" fmla="*/ 8 w 14"/>
              <a:gd name="T19" fmla="*/ 0 h 10"/>
              <a:gd name="T20" fmla="*/ 14 w 14"/>
              <a:gd name="T21" fmla="*/ 6 h 10"/>
              <a:gd name="T22" fmla="*/ 14 w 14"/>
              <a:gd name="T23" fmla="*/ 6 h 10"/>
              <a:gd name="T24" fmla="*/ 14 w 14"/>
              <a:gd name="T25" fmla="*/ 6 h 10"/>
              <a:gd name="T26" fmla="*/ 14 w 14"/>
              <a:gd name="T27" fmla="*/ 6 h 10"/>
              <a:gd name="T28" fmla="*/ 14 w 14"/>
              <a:gd name="T29" fmla="*/ 6 h 10"/>
              <a:gd name="T30" fmla="*/ 14 w 14"/>
              <a:gd name="T31" fmla="*/ 6 h 10"/>
              <a:gd name="T32" fmla="*/ 14 w 14"/>
              <a:gd name="T33" fmla="*/ 6 h 10"/>
              <a:gd name="T34" fmla="*/ 0 w 14"/>
              <a:gd name="T35" fmla="*/ 10 h 10"/>
              <a:gd name="T36" fmla="*/ 0 w 14"/>
              <a:gd name="T37" fmla="*/ 10 h 10"/>
              <a:gd name="T38" fmla="*/ 0 w 14"/>
              <a:gd name="T39" fmla="*/ 10 h 10"/>
              <a:gd name="T40" fmla="*/ 0 w 14"/>
              <a:gd name="T41" fmla="*/ 10 h 10"/>
              <a:gd name="T42" fmla="*/ 0 w 14"/>
              <a:gd name="T43" fmla="*/ 10 h 10"/>
              <a:gd name="T44" fmla="*/ 0 w 14"/>
              <a:gd name="T45"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10">
                <a:moveTo>
                  <a:pt x="8" y="0"/>
                </a:moveTo>
                <a:lnTo>
                  <a:pt x="8" y="0"/>
                </a:lnTo>
                <a:lnTo>
                  <a:pt x="8" y="0"/>
                </a:lnTo>
                <a:lnTo>
                  <a:pt x="8" y="0"/>
                </a:lnTo>
                <a:lnTo>
                  <a:pt x="8" y="0"/>
                </a:lnTo>
                <a:lnTo>
                  <a:pt x="8" y="0"/>
                </a:lnTo>
                <a:lnTo>
                  <a:pt x="8" y="0"/>
                </a:lnTo>
                <a:lnTo>
                  <a:pt x="8" y="0"/>
                </a:lnTo>
                <a:lnTo>
                  <a:pt x="8" y="0"/>
                </a:lnTo>
                <a:lnTo>
                  <a:pt x="8" y="0"/>
                </a:lnTo>
                <a:close/>
                <a:moveTo>
                  <a:pt x="14" y="6"/>
                </a:moveTo>
                <a:lnTo>
                  <a:pt x="14" y="6"/>
                </a:lnTo>
                <a:lnTo>
                  <a:pt x="14" y="6"/>
                </a:lnTo>
                <a:lnTo>
                  <a:pt x="14" y="6"/>
                </a:lnTo>
                <a:lnTo>
                  <a:pt x="14" y="6"/>
                </a:lnTo>
                <a:lnTo>
                  <a:pt x="14" y="6"/>
                </a:lnTo>
                <a:lnTo>
                  <a:pt x="14" y="6"/>
                </a:lnTo>
                <a:close/>
                <a:moveTo>
                  <a:pt x="0" y="10"/>
                </a:moveTo>
                <a:lnTo>
                  <a:pt x="0" y="10"/>
                </a:lnTo>
                <a:lnTo>
                  <a:pt x="0" y="10"/>
                </a:lnTo>
                <a:lnTo>
                  <a:pt x="0" y="10"/>
                </a:lnTo>
                <a:lnTo>
                  <a:pt x="0" y="10"/>
                </a:lnTo>
                <a:lnTo>
                  <a:pt x="0" y="10"/>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41" name="Freeform 48"/>
          <p:cNvSpPr>
            <a:spLocks noEditPoints="1"/>
          </p:cNvSpPr>
          <p:nvPr/>
        </p:nvSpPr>
        <p:spPr bwMode="auto">
          <a:xfrm>
            <a:off x="6226969" y="3309937"/>
            <a:ext cx="159544" cy="283369"/>
          </a:xfrm>
          <a:custGeom>
            <a:avLst/>
            <a:gdLst>
              <a:gd name="T0" fmla="*/ 78 w 134"/>
              <a:gd name="T1" fmla="*/ 150 h 238"/>
              <a:gd name="T2" fmla="*/ 94 w 134"/>
              <a:gd name="T3" fmla="*/ 172 h 238"/>
              <a:gd name="T4" fmla="*/ 0 w 134"/>
              <a:gd name="T5" fmla="*/ 194 h 238"/>
              <a:gd name="T6" fmla="*/ 50 w 134"/>
              <a:gd name="T7" fmla="*/ 220 h 238"/>
              <a:gd name="T8" fmla="*/ 42 w 134"/>
              <a:gd name="T9" fmla="*/ 48 h 238"/>
              <a:gd name="T10" fmla="*/ 50 w 134"/>
              <a:gd name="T11" fmla="*/ 10 h 238"/>
              <a:gd name="T12" fmla="*/ 74 w 134"/>
              <a:gd name="T13" fmla="*/ 10 h 238"/>
              <a:gd name="T14" fmla="*/ 70 w 134"/>
              <a:gd name="T15" fmla="*/ 48 h 238"/>
              <a:gd name="T16" fmla="*/ 66 w 134"/>
              <a:gd name="T17" fmla="*/ 70 h 238"/>
              <a:gd name="T18" fmla="*/ 78 w 134"/>
              <a:gd name="T19" fmla="*/ 82 h 238"/>
              <a:gd name="T20" fmla="*/ 94 w 134"/>
              <a:gd name="T21" fmla="*/ 90 h 238"/>
              <a:gd name="T22" fmla="*/ 100 w 134"/>
              <a:gd name="T23" fmla="*/ 100 h 238"/>
              <a:gd name="T24" fmla="*/ 90 w 134"/>
              <a:gd name="T25" fmla="*/ 100 h 238"/>
              <a:gd name="T26" fmla="*/ 78 w 134"/>
              <a:gd name="T27" fmla="*/ 100 h 238"/>
              <a:gd name="T28" fmla="*/ 52 w 134"/>
              <a:gd name="T29" fmla="*/ 90 h 238"/>
              <a:gd name="T30" fmla="*/ 46 w 134"/>
              <a:gd name="T31" fmla="*/ 74 h 238"/>
              <a:gd name="T32" fmla="*/ 70 w 134"/>
              <a:gd name="T33" fmla="*/ 70 h 238"/>
              <a:gd name="T34" fmla="*/ 74 w 134"/>
              <a:gd name="T35" fmla="*/ 70 h 238"/>
              <a:gd name="T36" fmla="*/ 100 w 134"/>
              <a:gd name="T37" fmla="*/ 86 h 238"/>
              <a:gd name="T38" fmla="*/ 66 w 134"/>
              <a:gd name="T39" fmla="*/ 96 h 238"/>
              <a:gd name="T40" fmla="*/ 50 w 134"/>
              <a:gd name="T41" fmla="*/ 100 h 238"/>
              <a:gd name="T42" fmla="*/ 60 w 134"/>
              <a:gd name="T43" fmla="*/ 116 h 238"/>
              <a:gd name="T44" fmla="*/ 70 w 134"/>
              <a:gd name="T45" fmla="*/ 120 h 238"/>
              <a:gd name="T46" fmla="*/ 94 w 134"/>
              <a:gd name="T47" fmla="*/ 108 h 238"/>
              <a:gd name="T48" fmla="*/ 100 w 134"/>
              <a:gd name="T49" fmla="*/ 124 h 238"/>
              <a:gd name="T50" fmla="*/ 104 w 134"/>
              <a:gd name="T51" fmla="*/ 116 h 238"/>
              <a:gd name="T52" fmla="*/ 122 w 134"/>
              <a:gd name="T53" fmla="*/ 134 h 238"/>
              <a:gd name="T54" fmla="*/ 108 w 134"/>
              <a:gd name="T55" fmla="*/ 120 h 238"/>
              <a:gd name="T56" fmla="*/ 42 w 134"/>
              <a:gd name="T57" fmla="*/ 116 h 238"/>
              <a:gd name="T58" fmla="*/ 46 w 134"/>
              <a:gd name="T59" fmla="*/ 126 h 238"/>
              <a:gd name="T60" fmla="*/ 70 w 134"/>
              <a:gd name="T61" fmla="*/ 146 h 238"/>
              <a:gd name="T62" fmla="*/ 82 w 134"/>
              <a:gd name="T63" fmla="*/ 130 h 238"/>
              <a:gd name="T64" fmla="*/ 104 w 134"/>
              <a:gd name="T65" fmla="*/ 130 h 238"/>
              <a:gd name="T66" fmla="*/ 108 w 134"/>
              <a:gd name="T67" fmla="*/ 134 h 238"/>
              <a:gd name="T68" fmla="*/ 112 w 134"/>
              <a:gd name="T69" fmla="*/ 152 h 238"/>
              <a:gd name="T70" fmla="*/ 38 w 134"/>
              <a:gd name="T71" fmla="*/ 150 h 238"/>
              <a:gd name="T72" fmla="*/ 12 w 134"/>
              <a:gd name="T73" fmla="*/ 176 h 238"/>
              <a:gd name="T74" fmla="*/ 26 w 134"/>
              <a:gd name="T75" fmla="*/ 152 h 238"/>
              <a:gd name="T76" fmla="*/ 34 w 134"/>
              <a:gd name="T77" fmla="*/ 134 h 238"/>
              <a:gd name="T78" fmla="*/ 94 w 134"/>
              <a:gd name="T79" fmla="*/ 152 h 238"/>
              <a:gd name="T80" fmla="*/ 96 w 134"/>
              <a:gd name="T81" fmla="*/ 152 h 238"/>
              <a:gd name="T82" fmla="*/ 90 w 134"/>
              <a:gd name="T83" fmla="*/ 156 h 238"/>
              <a:gd name="T84" fmla="*/ 74 w 134"/>
              <a:gd name="T85" fmla="*/ 160 h 238"/>
              <a:gd name="T86" fmla="*/ 90 w 134"/>
              <a:gd name="T87" fmla="*/ 146 h 238"/>
              <a:gd name="T88" fmla="*/ 108 w 134"/>
              <a:gd name="T89" fmla="*/ 152 h 238"/>
              <a:gd name="T90" fmla="*/ 116 w 134"/>
              <a:gd name="T91" fmla="*/ 156 h 238"/>
              <a:gd name="T92" fmla="*/ 74 w 134"/>
              <a:gd name="T93" fmla="*/ 202 h 238"/>
              <a:gd name="T94" fmla="*/ 86 w 134"/>
              <a:gd name="T95" fmla="*/ 186 h 238"/>
              <a:gd name="T96" fmla="*/ 100 w 134"/>
              <a:gd name="T97" fmla="*/ 186 h 238"/>
              <a:gd name="T98" fmla="*/ 116 w 134"/>
              <a:gd name="T99" fmla="*/ 176 h 238"/>
              <a:gd name="T100" fmla="*/ 130 w 134"/>
              <a:gd name="T101" fmla="*/ 172 h 238"/>
              <a:gd name="T102" fmla="*/ 134 w 134"/>
              <a:gd name="T103" fmla="*/ 202 h 238"/>
              <a:gd name="T104" fmla="*/ 126 w 134"/>
              <a:gd name="T105" fmla="*/ 202 h 238"/>
              <a:gd name="T106" fmla="*/ 120 w 134"/>
              <a:gd name="T107" fmla="*/ 232 h 238"/>
              <a:gd name="T108" fmla="*/ 100 w 134"/>
              <a:gd name="T109" fmla="*/ 208 h 238"/>
              <a:gd name="T110" fmla="*/ 94 w 134"/>
              <a:gd name="T111" fmla="*/ 194 h 238"/>
              <a:gd name="T112" fmla="*/ 82 w 134"/>
              <a:gd name="T113" fmla="*/ 198 h 238"/>
              <a:gd name="T114" fmla="*/ 108 w 134"/>
              <a:gd name="T115" fmla="*/ 172 h 238"/>
              <a:gd name="T116" fmla="*/ 66 w 134"/>
              <a:gd name="T117" fmla="*/ 212 h 238"/>
              <a:gd name="T118" fmla="*/ 60 w 134"/>
              <a:gd name="T119" fmla="*/ 22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4" h="238">
                <a:moveTo>
                  <a:pt x="112" y="130"/>
                </a:moveTo>
                <a:lnTo>
                  <a:pt x="112" y="126"/>
                </a:lnTo>
                <a:lnTo>
                  <a:pt x="108" y="126"/>
                </a:lnTo>
                <a:lnTo>
                  <a:pt x="112" y="126"/>
                </a:lnTo>
                <a:lnTo>
                  <a:pt x="112" y="130"/>
                </a:lnTo>
                <a:lnTo>
                  <a:pt x="112" y="130"/>
                </a:lnTo>
                <a:lnTo>
                  <a:pt x="112" y="130"/>
                </a:lnTo>
                <a:close/>
                <a:moveTo>
                  <a:pt x="78" y="150"/>
                </a:moveTo>
                <a:lnTo>
                  <a:pt x="78" y="146"/>
                </a:lnTo>
                <a:lnTo>
                  <a:pt x="78" y="142"/>
                </a:lnTo>
                <a:lnTo>
                  <a:pt x="82" y="142"/>
                </a:lnTo>
                <a:lnTo>
                  <a:pt x="82" y="146"/>
                </a:lnTo>
                <a:lnTo>
                  <a:pt x="78" y="150"/>
                </a:lnTo>
                <a:lnTo>
                  <a:pt x="78" y="150"/>
                </a:lnTo>
                <a:lnTo>
                  <a:pt x="78" y="150"/>
                </a:lnTo>
                <a:close/>
                <a:moveTo>
                  <a:pt x="42" y="150"/>
                </a:moveTo>
                <a:lnTo>
                  <a:pt x="42" y="146"/>
                </a:lnTo>
                <a:lnTo>
                  <a:pt x="38" y="146"/>
                </a:lnTo>
                <a:lnTo>
                  <a:pt x="42" y="146"/>
                </a:lnTo>
                <a:lnTo>
                  <a:pt x="42" y="150"/>
                </a:lnTo>
                <a:lnTo>
                  <a:pt x="42" y="150"/>
                </a:lnTo>
                <a:lnTo>
                  <a:pt x="42" y="150"/>
                </a:lnTo>
                <a:close/>
                <a:moveTo>
                  <a:pt x="94" y="172"/>
                </a:moveTo>
                <a:lnTo>
                  <a:pt x="94" y="168"/>
                </a:lnTo>
                <a:lnTo>
                  <a:pt x="94" y="172"/>
                </a:lnTo>
                <a:lnTo>
                  <a:pt x="94" y="172"/>
                </a:lnTo>
                <a:lnTo>
                  <a:pt x="94" y="172"/>
                </a:lnTo>
                <a:close/>
                <a:moveTo>
                  <a:pt x="4" y="186"/>
                </a:moveTo>
                <a:lnTo>
                  <a:pt x="4" y="182"/>
                </a:lnTo>
                <a:lnTo>
                  <a:pt x="4" y="186"/>
                </a:lnTo>
                <a:lnTo>
                  <a:pt x="4" y="186"/>
                </a:lnTo>
                <a:lnTo>
                  <a:pt x="4" y="186"/>
                </a:lnTo>
                <a:close/>
                <a:moveTo>
                  <a:pt x="0" y="194"/>
                </a:moveTo>
                <a:lnTo>
                  <a:pt x="0" y="190"/>
                </a:lnTo>
                <a:lnTo>
                  <a:pt x="0" y="186"/>
                </a:lnTo>
                <a:lnTo>
                  <a:pt x="0" y="190"/>
                </a:lnTo>
                <a:lnTo>
                  <a:pt x="0" y="194"/>
                </a:lnTo>
                <a:lnTo>
                  <a:pt x="0" y="194"/>
                </a:lnTo>
                <a:lnTo>
                  <a:pt x="0" y="194"/>
                </a:lnTo>
                <a:close/>
                <a:moveTo>
                  <a:pt x="82" y="202"/>
                </a:moveTo>
                <a:lnTo>
                  <a:pt x="82" y="198"/>
                </a:lnTo>
                <a:lnTo>
                  <a:pt x="86" y="198"/>
                </a:lnTo>
                <a:lnTo>
                  <a:pt x="86" y="202"/>
                </a:lnTo>
                <a:lnTo>
                  <a:pt x="82" y="202"/>
                </a:lnTo>
                <a:lnTo>
                  <a:pt x="82" y="202"/>
                </a:lnTo>
                <a:lnTo>
                  <a:pt x="82" y="202"/>
                </a:lnTo>
                <a:close/>
                <a:moveTo>
                  <a:pt x="50" y="220"/>
                </a:moveTo>
                <a:lnTo>
                  <a:pt x="50" y="216"/>
                </a:lnTo>
                <a:lnTo>
                  <a:pt x="52" y="216"/>
                </a:lnTo>
                <a:lnTo>
                  <a:pt x="52" y="220"/>
                </a:lnTo>
                <a:lnTo>
                  <a:pt x="50" y="220"/>
                </a:lnTo>
                <a:lnTo>
                  <a:pt x="50" y="220"/>
                </a:lnTo>
                <a:lnTo>
                  <a:pt x="50" y="220"/>
                </a:lnTo>
                <a:close/>
                <a:moveTo>
                  <a:pt x="66" y="4"/>
                </a:moveTo>
                <a:lnTo>
                  <a:pt x="66" y="0"/>
                </a:lnTo>
                <a:lnTo>
                  <a:pt x="70" y="0"/>
                </a:lnTo>
                <a:lnTo>
                  <a:pt x="66" y="4"/>
                </a:lnTo>
                <a:lnTo>
                  <a:pt x="66" y="4"/>
                </a:lnTo>
                <a:lnTo>
                  <a:pt x="66" y="4"/>
                </a:lnTo>
                <a:close/>
                <a:moveTo>
                  <a:pt x="42" y="56"/>
                </a:moveTo>
                <a:lnTo>
                  <a:pt x="42" y="52"/>
                </a:lnTo>
                <a:lnTo>
                  <a:pt x="38" y="52"/>
                </a:lnTo>
                <a:lnTo>
                  <a:pt x="38" y="48"/>
                </a:lnTo>
                <a:lnTo>
                  <a:pt x="42" y="44"/>
                </a:lnTo>
                <a:lnTo>
                  <a:pt x="42" y="48"/>
                </a:lnTo>
                <a:lnTo>
                  <a:pt x="46" y="48"/>
                </a:lnTo>
                <a:lnTo>
                  <a:pt x="46" y="52"/>
                </a:lnTo>
                <a:lnTo>
                  <a:pt x="50" y="48"/>
                </a:lnTo>
                <a:lnTo>
                  <a:pt x="50" y="44"/>
                </a:lnTo>
                <a:lnTo>
                  <a:pt x="50" y="40"/>
                </a:lnTo>
                <a:lnTo>
                  <a:pt x="50" y="38"/>
                </a:lnTo>
                <a:lnTo>
                  <a:pt x="50" y="34"/>
                </a:lnTo>
                <a:lnTo>
                  <a:pt x="50" y="30"/>
                </a:lnTo>
                <a:lnTo>
                  <a:pt x="50" y="26"/>
                </a:lnTo>
                <a:lnTo>
                  <a:pt x="50" y="22"/>
                </a:lnTo>
                <a:lnTo>
                  <a:pt x="50" y="18"/>
                </a:lnTo>
                <a:lnTo>
                  <a:pt x="50" y="14"/>
                </a:lnTo>
                <a:lnTo>
                  <a:pt x="50" y="10"/>
                </a:lnTo>
                <a:lnTo>
                  <a:pt x="52" y="10"/>
                </a:lnTo>
                <a:lnTo>
                  <a:pt x="52" y="8"/>
                </a:lnTo>
                <a:lnTo>
                  <a:pt x="56" y="4"/>
                </a:lnTo>
                <a:lnTo>
                  <a:pt x="56" y="8"/>
                </a:lnTo>
                <a:lnTo>
                  <a:pt x="60" y="4"/>
                </a:lnTo>
                <a:lnTo>
                  <a:pt x="60" y="8"/>
                </a:lnTo>
                <a:lnTo>
                  <a:pt x="64" y="8"/>
                </a:lnTo>
                <a:lnTo>
                  <a:pt x="64" y="10"/>
                </a:lnTo>
                <a:lnTo>
                  <a:pt x="66" y="10"/>
                </a:lnTo>
                <a:lnTo>
                  <a:pt x="70" y="10"/>
                </a:lnTo>
                <a:lnTo>
                  <a:pt x="70" y="8"/>
                </a:lnTo>
                <a:lnTo>
                  <a:pt x="74" y="8"/>
                </a:lnTo>
                <a:lnTo>
                  <a:pt x="74" y="10"/>
                </a:lnTo>
                <a:lnTo>
                  <a:pt x="74" y="14"/>
                </a:lnTo>
                <a:lnTo>
                  <a:pt x="74" y="18"/>
                </a:lnTo>
                <a:lnTo>
                  <a:pt x="74" y="22"/>
                </a:lnTo>
                <a:lnTo>
                  <a:pt x="74" y="26"/>
                </a:lnTo>
                <a:lnTo>
                  <a:pt x="78" y="30"/>
                </a:lnTo>
                <a:lnTo>
                  <a:pt x="78" y="34"/>
                </a:lnTo>
                <a:lnTo>
                  <a:pt x="78" y="38"/>
                </a:lnTo>
                <a:lnTo>
                  <a:pt x="74" y="40"/>
                </a:lnTo>
                <a:lnTo>
                  <a:pt x="74" y="44"/>
                </a:lnTo>
                <a:lnTo>
                  <a:pt x="74" y="48"/>
                </a:lnTo>
                <a:lnTo>
                  <a:pt x="70" y="48"/>
                </a:lnTo>
                <a:lnTo>
                  <a:pt x="70" y="52"/>
                </a:lnTo>
                <a:lnTo>
                  <a:pt x="70" y="48"/>
                </a:lnTo>
                <a:lnTo>
                  <a:pt x="74" y="48"/>
                </a:lnTo>
                <a:lnTo>
                  <a:pt x="70" y="48"/>
                </a:lnTo>
                <a:lnTo>
                  <a:pt x="66" y="48"/>
                </a:lnTo>
                <a:lnTo>
                  <a:pt x="66" y="52"/>
                </a:lnTo>
                <a:lnTo>
                  <a:pt x="64" y="52"/>
                </a:lnTo>
                <a:lnTo>
                  <a:pt x="64" y="56"/>
                </a:lnTo>
                <a:lnTo>
                  <a:pt x="66" y="56"/>
                </a:lnTo>
                <a:lnTo>
                  <a:pt x="64" y="56"/>
                </a:lnTo>
                <a:lnTo>
                  <a:pt x="64" y="60"/>
                </a:lnTo>
                <a:lnTo>
                  <a:pt x="64" y="64"/>
                </a:lnTo>
                <a:lnTo>
                  <a:pt x="64" y="66"/>
                </a:lnTo>
                <a:lnTo>
                  <a:pt x="64" y="70"/>
                </a:lnTo>
                <a:lnTo>
                  <a:pt x="66" y="70"/>
                </a:lnTo>
                <a:lnTo>
                  <a:pt x="66" y="74"/>
                </a:lnTo>
                <a:lnTo>
                  <a:pt x="64" y="74"/>
                </a:lnTo>
                <a:lnTo>
                  <a:pt x="66" y="74"/>
                </a:lnTo>
                <a:lnTo>
                  <a:pt x="66" y="78"/>
                </a:lnTo>
                <a:lnTo>
                  <a:pt x="66" y="82"/>
                </a:lnTo>
                <a:lnTo>
                  <a:pt x="70" y="86"/>
                </a:lnTo>
                <a:lnTo>
                  <a:pt x="74" y="86"/>
                </a:lnTo>
                <a:lnTo>
                  <a:pt x="74" y="90"/>
                </a:lnTo>
                <a:lnTo>
                  <a:pt x="74" y="86"/>
                </a:lnTo>
                <a:lnTo>
                  <a:pt x="74" y="82"/>
                </a:lnTo>
                <a:lnTo>
                  <a:pt x="74" y="86"/>
                </a:lnTo>
                <a:lnTo>
                  <a:pt x="74" y="82"/>
                </a:lnTo>
                <a:lnTo>
                  <a:pt x="78" y="82"/>
                </a:lnTo>
                <a:lnTo>
                  <a:pt x="78" y="78"/>
                </a:lnTo>
                <a:lnTo>
                  <a:pt x="78" y="82"/>
                </a:lnTo>
                <a:lnTo>
                  <a:pt x="82" y="78"/>
                </a:lnTo>
                <a:lnTo>
                  <a:pt x="82" y="82"/>
                </a:lnTo>
                <a:lnTo>
                  <a:pt x="86" y="82"/>
                </a:lnTo>
                <a:lnTo>
                  <a:pt x="86" y="86"/>
                </a:lnTo>
                <a:lnTo>
                  <a:pt x="86" y="90"/>
                </a:lnTo>
                <a:lnTo>
                  <a:pt x="86" y="94"/>
                </a:lnTo>
                <a:lnTo>
                  <a:pt x="86" y="90"/>
                </a:lnTo>
                <a:lnTo>
                  <a:pt x="90" y="90"/>
                </a:lnTo>
                <a:lnTo>
                  <a:pt x="90" y="86"/>
                </a:lnTo>
                <a:lnTo>
                  <a:pt x="94" y="86"/>
                </a:lnTo>
                <a:lnTo>
                  <a:pt x="94" y="90"/>
                </a:lnTo>
                <a:lnTo>
                  <a:pt x="96" y="90"/>
                </a:lnTo>
                <a:lnTo>
                  <a:pt x="96" y="94"/>
                </a:lnTo>
                <a:lnTo>
                  <a:pt x="96" y="90"/>
                </a:lnTo>
                <a:lnTo>
                  <a:pt x="94" y="90"/>
                </a:lnTo>
                <a:lnTo>
                  <a:pt x="94" y="94"/>
                </a:lnTo>
                <a:lnTo>
                  <a:pt x="94" y="96"/>
                </a:lnTo>
                <a:lnTo>
                  <a:pt x="96" y="96"/>
                </a:lnTo>
                <a:lnTo>
                  <a:pt x="96" y="100"/>
                </a:lnTo>
                <a:lnTo>
                  <a:pt x="96" y="96"/>
                </a:lnTo>
                <a:lnTo>
                  <a:pt x="96" y="100"/>
                </a:lnTo>
                <a:lnTo>
                  <a:pt x="100" y="100"/>
                </a:lnTo>
                <a:lnTo>
                  <a:pt x="100" y="104"/>
                </a:lnTo>
                <a:lnTo>
                  <a:pt x="100" y="100"/>
                </a:lnTo>
                <a:lnTo>
                  <a:pt x="100" y="104"/>
                </a:lnTo>
                <a:lnTo>
                  <a:pt x="100" y="108"/>
                </a:lnTo>
                <a:lnTo>
                  <a:pt x="100" y="112"/>
                </a:lnTo>
                <a:lnTo>
                  <a:pt x="96" y="112"/>
                </a:lnTo>
                <a:lnTo>
                  <a:pt x="96" y="108"/>
                </a:lnTo>
                <a:lnTo>
                  <a:pt x="96" y="104"/>
                </a:lnTo>
                <a:lnTo>
                  <a:pt x="100" y="104"/>
                </a:lnTo>
                <a:lnTo>
                  <a:pt x="96" y="104"/>
                </a:lnTo>
                <a:lnTo>
                  <a:pt x="94" y="104"/>
                </a:lnTo>
                <a:lnTo>
                  <a:pt x="90" y="104"/>
                </a:lnTo>
                <a:lnTo>
                  <a:pt x="90" y="100"/>
                </a:lnTo>
                <a:lnTo>
                  <a:pt x="90" y="104"/>
                </a:lnTo>
                <a:lnTo>
                  <a:pt x="90" y="100"/>
                </a:lnTo>
                <a:lnTo>
                  <a:pt x="90" y="96"/>
                </a:lnTo>
                <a:lnTo>
                  <a:pt x="86" y="96"/>
                </a:lnTo>
                <a:lnTo>
                  <a:pt x="86" y="94"/>
                </a:lnTo>
                <a:lnTo>
                  <a:pt x="82" y="94"/>
                </a:lnTo>
                <a:lnTo>
                  <a:pt x="82" y="90"/>
                </a:lnTo>
                <a:lnTo>
                  <a:pt x="78" y="90"/>
                </a:lnTo>
                <a:lnTo>
                  <a:pt x="78" y="86"/>
                </a:lnTo>
                <a:lnTo>
                  <a:pt x="78" y="90"/>
                </a:lnTo>
                <a:lnTo>
                  <a:pt x="78" y="94"/>
                </a:lnTo>
                <a:lnTo>
                  <a:pt x="78" y="96"/>
                </a:lnTo>
                <a:lnTo>
                  <a:pt x="82" y="96"/>
                </a:lnTo>
                <a:lnTo>
                  <a:pt x="82" y="100"/>
                </a:lnTo>
                <a:lnTo>
                  <a:pt x="78" y="100"/>
                </a:lnTo>
                <a:lnTo>
                  <a:pt x="78" y="96"/>
                </a:lnTo>
                <a:lnTo>
                  <a:pt x="78" y="94"/>
                </a:lnTo>
                <a:lnTo>
                  <a:pt x="74" y="94"/>
                </a:lnTo>
                <a:lnTo>
                  <a:pt x="70" y="90"/>
                </a:lnTo>
                <a:lnTo>
                  <a:pt x="66" y="90"/>
                </a:lnTo>
                <a:lnTo>
                  <a:pt x="66" y="86"/>
                </a:lnTo>
                <a:lnTo>
                  <a:pt x="64" y="90"/>
                </a:lnTo>
                <a:lnTo>
                  <a:pt x="64" y="94"/>
                </a:lnTo>
                <a:lnTo>
                  <a:pt x="60" y="94"/>
                </a:lnTo>
                <a:lnTo>
                  <a:pt x="56" y="94"/>
                </a:lnTo>
                <a:lnTo>
                  <a:pt x="56" y="90"/>
                </a:lnTo>
                <a:lnTo>
                  <a:pt x="52" y="86"/>
                </a:lnTo>
                <a:lnTo>
                  <a:pt x="52" y="90"/>
                </a:lnTo>
                <a:lnTo>
                  <a:pt x="52" y="86"/>
                </a:lnTo>
                <a:lnTo>
                  <a:pt x="52" y="82"/>
                </a:lnTo>
                <a:lnTo>
                  <a:pt x="56" y="78"/>
                </a:lnTo>
                <a:lnTo>
                  <a:pt x="56" y="74"/>
                </a:lnTo>
                <a:lnTo>
                  <a:pt x="52" y="74"/>
                </a:lnTo>
                <a:lnTo>
                  <a:pt x="52" y="70"/>
                </a:lnTo>
                <a:lnTo>
                  <a:pt x="50" y="70"/>
                </a:lnTo>
                <a:lnTo>
                  <a:pt x="50" y="74"/>
                </a:lnTo>
                <a:lnTo>
                  <a:pt x="52" y="74"/>
                </a:lnTo>
                <a:lnTo>
                  <a:pt x="52" y="78"/>
                </a:lnTo>
                <a:lnTo>
                  <a:pt x="50" y="78"/>
                </a:lnTo>
                <a:lnTo>
                  <a:pt x="50" y="74"/>
                </a:lnTo>
                <a:lnTo>
                  <a:pt x="46" y="74"/>
                </a:lnTo>
                <a:lnTo>
                  <a:pt x="46" y="70"/>
                </a:lnTo>
                <a:lnTo>
                  <a:pt x="50" y="70"/>
                </a:lnTo>
                <a:lnTo>
                  <a:pt x="46" y="70"/>
                </a:lnTo>
                <a:lnTo>
                  <a:pt x="46" y="74"/>
                </a:lnTo>
                <a:lnTo>
                  <a:pt x="46" y="70"/>
                </a:lnTo>
                <a:lnTo>
                  <a:pt x="46" y="66"/>
                </a:lnTo>
                <a:lnTo>
                  <a:pt x="42" y="64"/>
                </a:lnTo>
                <a:lnTo>
                  <a:pt x="42" y="60"/>
                </a:lnTo>
                <a:lnTo>
                  <a:pt x="42" y="56"/>
                </a:lnTo>
                <a:lnTo>
                  <a:pt x="42" y="56"/>
                </a:lnTo>
                <a:lnTo>
                  <a:pt x="42" y="56"/>
                </a:lnTo>
                <a:close/>
                <a:moveTo>
                  <a:pt x="70" y="74"/>
                </a:moveTo>
                <a:lnTo>
                  <a:pt x="70" y="70"/>
                </a:lnTo>
                <a:lnTo>
                  <a:pt x="66" y="70"/>
                </a:lnTo>
                <a:lnTo>
                  <a:pt x="66" y="66"/>
                </a:lnTo>
                <a:lnTo>
                  <a:pt x="70" y="66"/>
                </a:lnTo>
                <a:lnTo>
                  <a:pt x="70" y="70"/>
                </a:lnTo>
                <a:lnTo>
                  <a:pt x="70" y="66"/>
                </a:lnTo>
                <a:lnTo>
                  <a:pt x="70" y="70"/>
                </a:lnTo>
                <a:lnTo>
                  <a:pt x="70" y="74"/>
                </a:lnTo>
                <a:lnTo>
                  <a:pt x="70" y="74"/>
                </a:lnTo>
                <a:lnTo>
                  <a:pt x="70" y="74"/>
                </a:lnTo>
                <a:close/>
                <a:moveTo>
                  <a:pt x="74" y="74"/>
                </a:moveTo>
                <a:lnTo>
                  <a:pt x="74" y="70"/>
                </a:lnTo>
                <a:lnTo>
                  <a:pt x="70" y="70"/>
                </a:lnTo>
                <a:lnTo>
                  <a:pt x="74" y="70"/>
                </a:lnTo>
                <a:lnTo>
                  <a:pt x="74" y="74"/>
                </a:lnTo>
                <a:lnTo>
                  <a:pt x="74" y="74"/>
                </a:lnTo>
                <a:lnTo>
                  <a:pt x="74" y="74"/>
                </a:lnTo>
                <a:close/>
                <a:moveTo>
                  <a:pt x="74" y="86"/>
                </a:moveTo>
                <a:lnTo>
                  <a:pt x="70" y="86"/>
                </a:lnTo>
                <a:lnTo>
                  <a:pt x="70" y="82"/>
                </a:lnTo>
                <a:lnTo>
                  <a:pt x="70" y="86"/>
                </a:lnTo>
                <a:lnTo>
                  <a:pt x="74" y="86"/>
                </a:lnTo>
                <a:lnTo>
                  <a:pt x="74" y="86"/>
                </a:lnTo>
                <a:lnTo>
                  <a:pt x="74" y="86"/>
                </a:lnTo>
                <a:close/>
                <a:moveTo>
                  <a:pt x="100" y="94"/>
                </a:moveTo>
                <a:lnTo>
                  <a:pt x="100" y="90"/>
                </a:lnTo>
                <a:lnTo>
                  <a:pt x="100" y="86"/>
                </a:lnTo>
                <a:lnTo>
                  <a:pt x="104" y="86"/>
                </a:lnTo>
                <a:lnTo>
                  <a:pt x="104" y="90"/>
                </a:lnTo>
                <a:lnTo>
                  <a:pt x="104" y="94"/>
                </a:lnTo>
                <a:lnTo>
                  <a:pt x="100" y="94"/>
                </a:lnTo>
                <a:lnTo>
                  <a:pt x="100" y="94"/>
                </a:lnTo>
                <a:lnTo>
                  <a:pt x="100" y="94"/>
                </a:lnTo>
                <a:close/>
                <a:moveTo>
                  <a:pt x="46" y="94"/>
                </a:moveTo>
                <a:lnTo>
                  <a:pt x="46" y="90"/>
                </a:lnTo>
                <a:lnTo>
                  <a:pt x="46" y="94"/>
                </a:lnTo>
                <a:lnTo>
                  <a:pt x="46" y="94"/>
                </a:lnTo>
                <a:lnTo>
                  <a:pt x="46" y="94"/>
                </a:lnTo>
                <a:close/>
                <a:moveTo>
                  <a:pt x="70" y="100"/>
                </a:moveTo>
                <a:lnTo>
                  <a:pt x="66" y="96"/>
                </a:lnTo>
                <a:lnTo>
                  <a:pt x="70" y="94"/>
                </a:lnTo>
                <a:lnTo>
                  <a:pt x="70" y="96"/>
                </a:lnTo>
                <a:lnTo>
                  <a:pt x="74" y="96"/>
                </a:lnTo>
                <a:lnTo>
                  <a:pt x="70" y="100"/>
                </a:lnTo>
                <a:lnTo>
                  <a:pt x="70" y="100"/>
                </a:lnTo>
                <a:lnTo>
                  <a:pt x="70" y="100"/>
                </a:lnTo>
                <a:close/>
                <a:moveTo>
                  <a:pt x="56" y="116"/>
                </a:moveTo>
                <a:lnTo>
                  <a:pt x="56" y="112"/>
                </a:lnTo>
                <a:lnTo>
                  <a:pt x="56" y="108"/>
                </a:lnTo>
                <a:lnTo>
                  <a:pt x="52" y="108"/>
                </a:lnTo>
                <a:lnTo>
                  <a:pt x="52" y="104"/>
                </a:lnTo>
                <a:lnTo>
                  <a:pt x="52" y="100"/>
                </a:lnTo>
                <a:lnTo>
                  <a:pt x="50" y="100"/>
                </a:lnTo>
                <a:lnTo>
                  <a:pt x="50" y="96"/>
                </a:lnTo>
                <a:lnTo>
                  <a:pt x="50" y="94"/>
                </a:lnTo>
                <a:lnTo>
                  <a:pt x="52" y="94"/>
                </a:lnTo>
                <a:lnTo>
                  <a:pt x="52" y="96"/>
                </a:lnTo>
                <a:lnTo>
                  <a:pt x="56" y="94"/>
                </a:lnTo>
                <a:lnTo>
                  <a:pt x="56" y="96"/>
                </a:lnTo>
                <a:lnTo>
                  <a:pt x="60" y="96"/>
                </a:lnTo>
                <a:lnTo>
                  <a:pt x="64" y="100"/>
                </a:lnTo>
                <a:lnTo>
                  <a:pt x="64" y="104"/>
                </a:lnTo>
                <a:lnTo>
                  <a:pt x="64" y="108"/>
                </a:lnTo>
                <a:lnTo>
                  <a:pt x="64" y="112"/>
                </a:lnTo>
                <a:lnTo>
                  <a:pt x="64" y="116"/>
                </a:lnTo>
                <a:lnTo>
                  <a:pt x="60" y="116"/>
                </a:lnTo>
                <a:lnTo>
                  <a:pt x="56" y="116"/>
                </a:lnTo>
                <a:lnTo>
                  <a:pt x="56" y="116"/>
                </a:lnTo>
                <a:lnTo>
                  <a:pt x="56" y="116"/>
                </a:lnTo>
                <a:close/>
                <a:moveTo>
                  <a:pt x="90" y="108"/>
                </a:moveTo>
                <a:lnTo>
                  <a:pt x="90" y="104"/>
                </a:lnTo>
                <a:lnTo>
                  <a:pt x="86" y="104"/>
                </a:lnTo>
                <a:lnTo>
                  <a:pt x="86" y="100"/>
                </a:lnTo>
                <a:lnTo>
                  <a:pt x="86" y="104"/>
                </a:lnTo>
                <a:lnTo>
                  <a:pt x="90" y="104"/>
                </a:lnTo>
                <a:lnTo>
                  <a:pt x="90" y="108"/>
                </a:lnTo>
                <a:lnTo>
                  <a:pt x="90" y="108"/>
                </a:lnTo>
                <a:lnTo>
                  <a:pt x="90" y="108"/>
                </a:lnTo>
                <a:close/>
                <a:moveTo>
                  <a:pt x="70" y="120"/>
                </a:moveTo>
                <a:lnTo>
                  <a:pt x="70" y="116"/>
                </a:lnTo>
                <a:lnTo>
                  <a:pt x="70" y="112"/>
                </a:lnTo>
                <a:lnTo>
                  <a:pt x="70" y="108"/>
                </a:lnTo>
                <a:lnTo>
                  <a:pt x="74" y="108"/>
                </a:lnTo>
                <a:lnTo>
                  <a:pt x="74" y="112"/>
                </a:lnTo>
                <a:lnTo>
                  <a:pt x="70" y="112"/>
                </a:lnTo>
                <a:lnTo>
                  <a:pt x="70" y="120"/>
                </a:lnTo>
                <a:lnTo>
                  <a:pt x="70" y="120"/>
                </a:lnTo>
                <a:lnTo>
                  <a:pt x="70" y="120"/>
                </a:lnTo>
                <a:close/>
                <a:moveTo>
                  <a:pt x="96" y="116"/>
                </a:moveTo>
                <a:lnTo>
                  <a:pt x="96" y="112"/>
                </a:lnTo>
                <a:lnTo>
                  <a:pt x="94" y="112"/>
                </a:lnTo>
                <a:lnTo>
                  <a:pt x="94" y="108"/>
                </a:lnTo>
                <a:lnTo>
                  <a:pt x="96" y="112"/>
                </a:lnTo>
                <a:lnTo>
                  <a:pt x="96" y="116"/>
                </a:lnTo>
                <a:lnTo>
                  <a:pt x="96" y="116"/>
                </a:lnTo>
                <a:lnTo>
                  <a:pt x="96" y="116"/>
                </a:lnTo>
                <a:close/>
                <a:moveTo>
                  <a:pt x="86" y="124"/>
                </a:moveTo>
                <a:lnTo>
                  <a:pt x="90" y="120"/>
                </a:lnTo>
                <a:lnTo>
                  <a:pt x="90" y="116"/>
                </a:lnTo>
                <a:lnTo>
                  <a:pt x="90" y="112"/>
                </a:lnTo>
                <a:lnTo>
                  <a:pt x="94" y="112"/>
                </a:lnTo>
                <a:lnTo>
                  <a:pt x="94" y="116"/>
                </a:lnTo>
                <a:lnTo>
                  <a:pt x="96" y="116"/>
                </a:lnTo>
                <a:lnTo>
                  <a:pt x="100" y="120"/>
                </a:lnTo>
                <a:lnTo>
                  <a:pt x="100" y="124"/>
                </a:lnTo>
                <a:lnTo>
                  <a:pt x="100" y="126"/>
                </a:lnTo>
                <a:lnTo>
                  <a:pt x="100" y="124"/>
                </a:lnTo>
                <a:lnTo>
                  <a:pt x="96" y="124"/>
                </a:lnTo>
                <a:lnTo>
                  <a:pt x="94" y="120"/>
                </a:lnTo>
                <a:lnTo>
                  <a:pt x="94" y="116"/>
                </a:lnTo>
                <a:lnTo>
                  <a:pt x="90" y="116"/>
                </a:lnTo>
                <a:lnTo>
                  <a:pt x="90" y="120"/>
                </a:lnTo>
                <a:lnTo>
                  <a:pt x="90" y="124"/>
                </a:lnTo>
                <a:lnTo>
                  <a:pt x="86" y="124"/>
                </a:lnTo>
                <a:lnTo>
                  <a:pt x="86" y="124"/>
                </a:lnTo>
                <a:lnTo>
                  <a:pt x="86" y="124"/>
                </a:lnTo>
                <a:close/>
                <a:moveTo>
                  <a:pt x="104" y="120"/>
                </a:moveTo>
                <a:lnTo>
                  <a:pt x="104" y="116"/>
                </a:lnTo>
                <a:lnTo>
                  <a:pt x="104" y="112"/>
                </a:lnTo>
                <a:lnTo>
                  <a:pt x="108" y="112"/>
                </a:lnTo>
                <a:lnTo>
                  <a:pt x="112" y="112"/>
                </a:lnTo>
                <a:lnTo>
                  <a:pt x="116" y="112"/>
                </a:lnTo>
                <a:lnTo>
                  <a:pt x="120" y="112"/>
                </a:lnTo>
                <a:lnTo>
                  <a:pt x="116" y="116"/>
                </a:lnTo>
                <a:lnTo>
                  <a:pt x="120" y="116"/>
                </a:lnTo>
                <a:lnTo>
                  <a:pt x="120" y="120"/>
                </a:lnTo>
                <a:lnTo>
                  <a:pt x="120" y="124"/>
                </a:lnTo>
                <a:lnTo>
                  <a:pt x="120" y="126"/>
                </a:lnTo>
                <a:lnTo>
                  <a:pt x="120" y="130"/>
                </a:lnTo>
                <a:lnTo>
                  <a:pt x="122" y="130"/>
                </a:lnTo>
                <a:lnTo>
                  <a:pt x="122" y="134"/>
                </a:lnTo>
                <a:lnTo>
                  <a:pt x="120" y="134"/>
                </a:lnTo>
                <a:lnTo>
                  <a:pt x="122" y="134"/>
                </a:lnTo>
                <a:lnTo>
                  <a:pt x="122" y="138"/>
                </a:lnTo>
                <a:lnTo>
                  <a:pt x="122" y="134"/>
                </a:lnTo>
                <a:lnTo>
                  <a:pt x="120" y="134"/>
                </a:lnTo>
                <a:lnTo>
                  <a:pt x="116" y="134"/>
                </a:lnTo>
                <a:lnTo>
                  <a:pt x="112" y="130"/>
                </a:lnTo>
                <a:lnTo>
                  <a:pt x="112" y="126"/>
                </a:lnTo>
                <a:lnTo>
                  <a:pt x="116" y="126"/>
                </a:lnTo>
                <a:lnTo>
                  <a:pt x="116" y="124"/>
                </a:lnTo>
                <a:lnTo>
                  <a:pt x="112" y="124"/>
                </a:lnTo>
                <a:lnTo>
                  <a:pt x="108" y="124"/>
                </a:lnTo>
                <a:lnTo>
                  <a:pt x="108" y="120"/>
                </a:lnTo>
                <a:lnTo>
                  <a:pt x="104" y="120"/>
                </a:lnTo>
                <a:lnTo>
                  <a:pt x="104" y="120"/>
                </a:lnTo>
                <a:lnTo>
                  <a:pt x="104" y="120"/>
                </a:lnTo>
                <a:close/>
                <a:moveTo>
                  <a:pt x="78" y="116"/>
                </a:moveTo>
                <a:lnTo>
                  <a:pt x="78" y="112"/>
                </a:lnTo>
                <a:lnTo>
                  <a:pt x="82" y="112"/>
                </a:lnTo>
                <a:lnTo>
                  <a:pt x="82" y="116"/>
                </a:lnTo>
                <a:lnTo>
                  <a:pt x="78" y="116"/>
                </a:lnTo>
                <a:lnTo>
                  <a:pt x="78" y="116"/>
                </a:lnTo>
                <a:lnTo>
                  <a:pt x="78" y="116"/>
                </a:lnTo>
                <a:close/>
                <a:moveTo>
                  <a:pt x="46" y="120"/>
                </a:moveTo>
                <a:lnTo>
                  <a:pt x="42" y="120"/>
                </a:lnTo>
                <a:lnTo>
                  <a:pt x="42" y="116"/>
                </a:lnTo>
                <a:lnTo>
                  <a:pt x="46" y="116"/>
                </a:lnTo>
                <a:lnTo>
                  <a:pt x="46" y="120"/>
                </a:lnTo>
                <a:lnTo>
                  <a:pt x="46" y="116"/>
                </a:lnTo>
                <a:lnTo>
                  <a:pt x="50" y="120"/>
                </a:lnTo>
                <a:lnTo>
                  <a:pt x="46" y="120"/>
                </a:lnTo>
                <a:lnTo>
                  <a:pt x="46" y="120"/>
                </a:lnTo>
                <a:lnTo>
                  <a:pt x="46" y="120"/>
                </a:lnTo>
                <a:close/>
                <a:moveTo>
                  <a:pt x="42" y="126"/>
                </a:moveTo>
                <a:lnTo>
                  <a:pt x="42" y="124"/>
                </a:lnTo>
                <a:lnTo>
                  <a:pt x="42" y="120"/>
                </a:lnTo>
                <a:lnTo>
                  <a:pt x="42" y="124"/>
                </a:lnTo>
                <a:lnTo>
                  <a:pt x="46" y="124"/>
                </a:lnTo>
                <a:lnTo>
                  <a:pt x="46" y="126"/>
                </a:lnTo>
                <a:lnTo>
                  <a:pt x="42" y="126"/>
                </a:lnTo>
                <a:lnTo>
                  <a:pt x="42" y="126"/>
                </a:lnTo>
                <a:lnTo>
                  <a:pt x="42" y="126"/>
                </a:lnTo>
                <a:close/>
                <a:moveTo>
                  <a:pt x="86" y="134"/>
                </a:moveTo>
                <a:lnTo>
                  <a:pt x="86" y="138"/>
                </a:lnTo>
                <a:lnTo>
                  <a:pt x="82" y="138"/>
                </a:lnTo>
                <a:lnTo>
                  <a:pt x="82" y="142"/>
                </a:lnTo>
                <a:lnTo>
                  <a:pt x="78" y="142"/>
                </a:lnTo>
                <a:lnTo>
                  <a:pt x="74" y="142"/>
                </a:lnTo>
                <a:lnTo>
                  <a:pt x="74" y="146"/>
                </a:lnTo>
                <a:lnTo>
                  <a:pt x="70" y="146"/>
                </a:lnTo>
                <a:lnTo>
                  <a:pt x="70" y="150"/>
                </a:lnTo>
                <a:lnTo>
                  <a:pt x="70" y="146"/>
                </a:lnTo>
                <a:lnTo>
                  <a:pt x="70" y="142"/>
                </a:lnTo>
                <a:lnTo>
                  <a:pt x="70" y="138"/>
                </a:lnTo>
                <a:lnTo>
                  <a:pt x="70" y="134"/>
                </a:lnTo>
                <a:lnTo>
                  <a:pt x="70" y="130"/>
                </a:lnTo>
                <a:lnTo>
                  <a:pt x="70" y="126"/>
                </a:lnTo>
                <a:lnTo>
                  <a:pt x="70" y="124"/>
                </a:lnTo>
                <a:lnTo>
                  <a:pt x="66" y="124"/>
                </a:lnTo>
                <a:lnTo>
                  <a:pt x="70" y="124"/>
                </a:lnTo>
                <a:lnTo>
                  <a:pt x="74" y="124"/>
                </a:lnTo>
                <a:lnTo>
                  <a:pt x="78" y="126"/>
                </a:lnTo>
                <a:lnTo>
                  <a:pt x="78" y="130"/>
                </a:lnTo>
                <a:lnTo>
                  <a:pt x="82" y="126"/>
                </a:lnTo>
                <a:lnTo>
                  <a:pt x="82" y="130"/>
                </a:lnTo>
                <a:lnTo>
                  <a:pt x="86" y="130"/>
                </a:lnTo>
                <a:lnTo>
                  <a:pt x="86" y="126"/>
                </a:lnTo>
                <a:lnTo>
                  <a:pt x="86" y="130"/>
                </a:lnTo>
                <a:lnTo>
                  <a:pt x="86" y="134"/>
                </a:lnTo>
                <a:lnTo>
                  <a:pt x="86" y="134"/>
                </a:lnTo>
                <a:lnTo>
                  <a:pt x="86" y="134"/>
                </a:lnTo>
                <a:close/>
                <a:moveTo>
                  <a:pt x="104" y="130"/>
                </a:moveTo>
                <a:lnTo>
                  <a:pt x="104" y="126"/>
                </a:lnTo>
                <a:lnTo>
                  <a:pt x="108" y="126"/>
                </a:lnTo>
                <a:lnTo>
                  <a:pt x="108" y="130"/>
                </a:lnTo>
                <a:lnTo>
                  <a:pt x="104" y="130"/>
                </a:lnTo>
                <a:lnTo>
                  <a:pt x="104" y="130"/>
                </a:lnTo>
                <a:lnTo>
                  <a:pt x="104" y="130"/>
                </a:lnTo>
                <a:close/>
                <a:moveTo>
                  <a:pt x="108" y="146"/>
                </a:moveTo>
                <a:lnTo>
                  <a:pt x="112" y="146"/>
                </a:lnTo>
                <a:lnTo>
                  <a:pt x="112" y="142"/>
                </a:lnTo>
                <a:lnTo>
                  <a:pt x="108" y="142"/>
                </a:lnTo>
                <a:lnTo>
                  <a:pt x="108" y="138"/>
                </a:lnTo>
                <a:lnTo>
                  <a:pt x="108" y="142"/>
                </a:lnTo>
                <a:lnTo>
                  <a:pt x="104" y="142"/>
                </a:lnTo>
                <a:lnTo>
                  <a:pt x="104" y="138"/>
                </a:lnTo>
                <a:lnTo>
                  <a:pt x="104" y="134"/>
                </a:lnTo>
                <a:lnTo>
                  <a:pt x="104" y="130"/>
                </a:lnTo>
                <a:lnTo>
                  <a:pt x="104" y="126"/>
                </a:lnTo>
                <a:lnTo>
                  <a:pt x="108" y="130"/>
                </a:lnTo>
                <a:lnTo>
                  <a:pt x="108" y="134"/>
                </a:lnTo>
                <a:lnTo>
                  <a:pt x="108" y="130"/>
                </a:lnTo>
                <a:lnTo>
                  <a:pt x="112" y="130"/>
                </a:lnTo>
                <a:lnTo>
                  <a:pt x="112" y="134"/>
                </a:lnTo>
                <a:lnTo>
                  <a:pt x="116" y="138"/>
                </a:lnTo>
                <a:lnTo>
                  <a:pt x="112" y="138"/>
                </a:lnTo>
                <a:lnTo>
                  <a:pt x="112" y="142"/>
                </a:lnTo>
                <a:lnTo>
                  <a:pt x="116" y="142"/>
                </a:lnTo>
                <a:lnTo>
                  <a:pt x="116" y="146"/>
                </a:lnTo>
                <a:lnTo>
                  <a:pt x="116" y="150"/>
                </a:lnTo>
                <a:lnTo>
                  <a:pt x="116" y="152"/>
                </a:lnTo>
                <a:lnTo>
                  <a:pt x="116" y="150"/>
                </a:lnTo>
                <a:lnTo>
                  <a:pt x="112" y="150"/>
                </a:lnTo>
                <a:lnTo>
                  <a:pt x="112" y="152"/>
                </a:lnTo>
                <a:lnTo>
                  <a:pt x="108" y="152"/>
                </a:lnTo>
                <a:lnTo>
                  <a:pt x="112" y="150"/>
                </a:lnTo>
                <a:lnTo>
                  <a:pt x="108" y="150"/>
                </a:lnTo>
                <a:lnTo>
                  <a:pt x="108" y="146"/>
                </a:lnTo>
                <a:lnTo>
                  <a:pt x="108" y="146"/>
                </a:lnTo>
                <a:lnTo>
                  <a:pt x="108" y="146"/>
                </a:lnTo>
                <a:close/>
                <a:moveTo>
                  <a:pt x="42" y="130"/>
                </a:moveTo>
                <a:lnTo>
                  <a:pt x="38" y="130"/>
                </a:lnTo>
                <a:lnTo>
                  <a:pt x="42" y="130"/>
                </a:lnTo>
                <a:lnTo>
                  <a:pt x="42" y="130"/>
                </a:lnTo>
                <a:lnTo>
                  <a:pt x="42" y="130"/>
                </a:lnTo>
                <a:close/>
                <a:moveTo>
                  <a:pt x="38" y="146"/>
                </a:moveTo>
                <a:lnTo>
                  <a:pt x="38" y="150"/>
                </a:lnTo>
                <a:lnTo>
                  <a:pt x="34" y="150"/>
                </a:lnTo>
                <a:lnTo>
                  <a:pt x="34" y="152"/>
                </a:lnTo>
                <a:lnTo>
                  <a:pt x="30" y="152"/>
                </a:lnTo>
                <a:lnTo>
                  <a:pt x="26" y="156"/>
                </a:lnTo>
                <a:lnTo>
                  <a:pt x="24" y="160"/>
                </a:lnTo>
                <a:lnTo>
                  <a:pt x="26" y="160"/>
                </a:lnTo>
                <a:lnTo>
                  <a:pt x="24" y="164"/>
                </a:lnTo>
                <a:lnTo>
                  <a:pt x="24" y="168"/>
                </a:lnTo>
                <a:lnTo>
                  <a:pt x="20" y="168"/>
                </a:lnTo>
                <a:lnTo>
                  <a:pt x="16" y="168"/>
                </a:lnTo>
                <a:lnTo>
                  <a:pt x="16" y="172"/>
                </a:lnTo>
                <a:lnTo>
                  <a:pt x="16" y="176"/>
                </a:lnTo>
                <a:lnTo>
                  <a:pt x="12" y="176"/>
                </a:lnTo>
                <a:lnTo>
                  <a:pt x="12" y="180"/>
                </a:lnTo>
                <a:lnTo>
                  <a:pt x="8" y="180"/>
                </a:lnTo>
                <a:lnTo>
                  <a:pt x="4" y="182"/>
                </a:lnTo>
                <a:lnTo>
                  <a:pt x="4" y="180"/>
                </a:lnTo>
                <a:lnTo>
                  <a:pt x="4" y="176"/>
                </a:lnTo>
                <a:lnTo>
                  <a:pt x="8" y="176"/>
                </a:lnTo>
                <a:lnTo>
                  <a:pt x="12" y="172"/>
                </a:lnTo>
                <a:lnTo>
                  <a:pt x="12" y="168"/>
                </a:lnTo>
                <a:lnTo>
                  <a:pt x="16" y="168"/>
                </a:lnTo>
                <a:lnTo>
                  <a:pt x="20" y="160"/>
                </a:lnTo>
                <a:lnTo>
                  <a:pt x="24" y="160"/>
                </a:lnTo>
                <a:lnTo>
                  <a:pt x="24" y="156"/>
                </a:lnTo>
                <a:lnTo>
                  <a:pt x="26" y="152"/>
                </a:lnTo>
                <a:lnTo>
                  <a:pt x="26" y="156"/>
                </a:lnTo>
                <a:lnTo>
                  <a:pt x="26" y="152"/>
                </a:lnTo>
                <a:lnTo>
                  <a:pt x="30" y="150"/>
                </a:lnTo>
                <a:lnTo>
                  <a:pt x="26" y="150"/>
                </a:lnTo>
                <a:lnTo>
                  <a:pt x="30" y="150"/>
                </a:lnTo>
                <a:lnTo>
                  <a:pt x="34" y="146"/>
                </a:lnTo>
                <a:lnTo>
                  <a:pt x="34" y="142"/>
                </a:lnTo>
                <a:lnTo>
                  <a:pt x="30" y="142"/>
                </a:lnTo>
                <a:lnTo>
                  <a:pt x="30" y="138"/>
                </a:lnTo>
                <a:lnTo>
                  <a:pt x="34" y="138"/>
                </a:lnTo>
                <a:lnTo>
                  <a:pt x="34" y="142"/>
                </a:lnTo>
                <a:lnTo>
                  <a:pt x="34" y="138"/>
                </a:lnTo>
                <a:lnTo>
                  <a:pt x="34" y="134"/>
                </a:lnTo>
                <a:lnTo>
                  <a:pt x="34" y="138"/>
                </a:lnTo>
                <a:lnTo>
                  <a:pt x="34" y="134"/>
                </a:lnTo>
                <a:lnTo>
                  <a:pt x="34" y="130"/>
                </a:lnTo>
                <a:lnTo>
                  <a:pt x="38" y="130"/>
                </a:lnTo>
                <a:lnTo>
                  <a:pt x="38" y="134"/>
                </a:lnTo>
                <a:lnTo>
                  <a:pt x="34" y="138"/>
                </a:lnTo>
                <a:lnTo>
                  <a:pt x="34" y="142"/>
                </a:lnTo>
                <a:lnTo>
                  <a:pt x="38" y="142"/>
                </a:lnTo>
                <a:lnTo>
                  <a:pt x="38" y="146"/>
                </a:lnTo>
                <a:lnTo>
                  <a:pt x="38" y="146"/>
                </a:lnTo>
                <a:lnTo>
                  <a:pt x="38" y="146"/>
                </a:lnTo>
                <a:close/>
                <a:moveTo>
                  <a:pt x="90" y="152"/>
                </a:moveTo>
                <a:lnTo>
                  <a:pt x="94" y="152"/>
                </a:lnTo>
                <a:lnTo>
                  <a:pt x="94" y="150"/>
                </a:lnTo>
                <a:lnTo>
                  <a:pt x="94" y="146"/>
                </a:lnTo>
                <a:lnTo>
                  <a:pt x="96" y="146"/>
                </a:lnTo>
                <a:lnTo>
                  <a:pt x="96" y="142"/>
                </a:lnTo>
                <a:lnTo>
                  <a:pt x="96" y="138"/>
                </a:lnTo>
                <a:lnTo>
                  <a:pt x="96" y="134"/>
                </a:lnTo>
                <a:lnTo>
                  <a:pt x="100" y="134"/>
                </a:lnTo>
                <a:lnTo>
                  <a:pt x="100" y="138"/>
                </a:lnTo>
                <a:lnTo>
                  <a:pt x="100" y="142"/>
                </a:lnTo>
                <a:lnTo>
                  <a:pt x="100" y="146"/>
                </a:lnTo>
                <a:lnTo>
                  <a:pt x="100" y="150"/>
                </a:lnTo>
                <a:lnTo>
                  <a:pt x="96" y="150"/>
                </a:lnTo>
                <a:lnTo>
                  <a:pt x="96" y="152"/>
                </a:lnTo>
                <a:lnTo>
                  <a:pt x="94" y="152"/>
                </a:lnTo>
                <a:lnTo>
                  <a:pt x="94" y="156"/>
                </a:lnTo>
                <a:lnTo>
                  <a:pt x="94" y="160"/>
                </a:lnTo>
                <a:lnTo>
                  <a:pt x="94" y="164"/>
                </a:lnTo>
                <a:lnTo>
                  <a:pt x="90" y="164"/>
                </a:lnTo>
                <a:lnTo>
                  <a:pt x="90" y="160"/>
                </a:lnTo>
                <a:lnTo>
                  <a:pt x="90" y="156"/>
                </a:lnTo>
                <a:lnTo>
                  <a:pt x="90" y="152"/>
                </a:lnTo>
                <a:lnTo>
                  <a:pt x="90" y="152"/>
                </a:lnTo>
                <a:lnTo>
                  <a:pt x="90" y="152"/>
                </a:lnTo>
                <a:close/>
                <a:moveTo>
                  <a:pt x="90" y="150"/>
                </a:moveTo>
                <a:lnTo>
                  <a:pt x="90" y="152"/>
                </a:lnTo>
                <a:lnTo>
                  <a:pt x="90" y="156"/>
                </a:lnTo>
                <a:lnTo>
                  <a:pt x="86" y="156"/>
                </a:lnTo>
                <a:lnTo>
                  <a:pt x="86" y="160"/>
                </a:lnTo>
                <a:lnTo>
                  <a:pt x="86" y="164"/>
                </a:lnTo>
                <a:lnTo>
                  <a:pt x="90" y="164"/>
                </a:lnTo>
                <a:lnTo>
                  <a:pt x="90" y="168"/>
                </a:lnTo>
                <a:lnTo>
                  <a:pt x="90" y="172"/>
                </a:lnTo>
                <a:lnTo>
                  <a:pt x="86" y="172"/>
                </a:lnTo>
                <a:lnTo>
                  <a:pt x="82" y="172"/>
                </a:lnTo>
                <a:lnTo>
                  <a:pt x="82" y="168"/>
                </a:lnTo>
                <a:lnTo>
                  <a:pt x="82" y="164"/>
                </a:lnTo>
                <a:lnTo>
                  <a:pt x="78" y="164"/>
                </a:lnTo>
                <a:lnTo>
                  <a:pt x="78" y="160"/>
                </a:lnTo>
                <a:lnTo>
                  <a:pt x="74" y="160"/>
                </a:lnTo>
                <a:lnTo>
                  <a:pt x="78" y="160"/>
                </a:lnTo>
                <a:lnTo>
                  <a:pt x="78" y="156"/>
                </a:lnTo>
                <a:lnTo>
                  <a:pt x="82" y="156"/>
                </a:lnTo>
                <a:lnTo>
                  <a:pt x="82" y="152"/>
                </a:lnTo>
                <a:lnTo>
                  <a:pt x="82" y="150"/>
                </a:lnTo>
                <a:lnTo>
                  <a:pt x="82" y="146"/>
                </a:lnTo>
                <a:lnTo>
                  <a:pt x="86" y="142"/>
                </a:lnTo>
                <a:lnTo>
                  <a:pt x="86" y="138"/>
                </a:lnTo>
                <a:lnTo>
                  <a:pt x="90" y="138"/>
                </a:lnTo>
                <a:lnTo>
                  <a:pt x="94" y="138"/>
                </a:lnTo>
                <a:lnTo>
                  <a:pt x="94" y="142"/>
                </a:lnTo>
                <a:lnTo>
                  <a:pt x="94" y="146"/>
                </a:lnTo>
                <a:lnTo>
                  <a:pt x="90" y="146"/>
                </a:lnTo>
                <a:lnTo>
                  <a:pt x="90" y="150"/>
                </a:lnTo>
                <a:lnTo>
                  <a:pt x="90" y="150"/>
                </a:lnTo>
                <a:lnTo>
                  <a:pt x="90" y="150"/>
                </a:lnTo>
                <a:close/>
                <a:moveTo>
                  <a:pt x="122" y="156"/>
                </a:moveTo>
                <a:lnTo>
                  <a:pt x="120" y="152"/>
                </a:lnTo>
                <a:lnTo>
                  <a:pt x="120" y="150"/>
                </a:lnTo>
                <a:lnTo>
                  <a:pt x="122" y="146"/>
                </a:lnTo>
                <a:lnTo>
                  <a:pt x="122" y="150"/>
                </a:lnTo>
                <a:lnTo>
                  <a:pt x="122" y="152"/>
                </a:lnTo>
                <a:lnTo>
                  <a:pt x="122" y="156"/>
                </a:lnTo>
                <a:lnTo>
                  <a:pt x="122" y="156"/>
                </a:lnTo>
                <a:lnTo>
                  <a:pt x="122" y="156"/>
                </a:lnTo>
                <a:close/>
                <a:moveTo>
                  <a:pt x="108" y="152"/>
                </a:moveTo>
                <a:lnTo>
                  <a:pt x="108" y="156"/>
                </a:lnTo>
                <a:lnTo>
                  <a:pt x="108" y="160"/>
                </a:lnTo>
                <a:lnTo>
                  <a:pt x="104" y="160"/>
                </a:lnTo>
                <a:lnTo>
                  <a:pt x="100" y="160"/>
                </a:lnTo>
                <a:lnTo>
                  <a:pt x="96" y="160"/>
                </a:lnTo>
                <a:lnTo>
                  <a:pt x="96" y="156"/>
                </a:lnTo>
                <a:lnTo>
                  <a:pt x="100" y="156"/>
                </a:lnTo>
                <a:lnTo>
                  <a:pt x="100" y="152"/>
                </a:lnTo>
                <a:lnTo>
                  <a:pt x="104" y="152"/>
                </a:lnTo>
                <a:lnTo>
                  <a:pt x="108" y="152"/>
                </a:lnTo>
                <a:lnTo>
                  <a:pt x="108" y="152"/>
                </a:lnTo>
                <a:lnTo>
                  <a:pt x="108" y="152"/>
                </a:lnTo>
                <a:close/>
                <a:moveTo>
                  <a:pt x="116" y="156"/>
                </a:moveTo>
                <a:lnTo>
                  <a:pt x="116" y="152"/>
                </a:lnTo>
                <a:lnTo>
                  <a:pt x="116" y="156"/>
                </a:lnTo>
                <a:lnTo>
                  <a:pt x="116" y="156"/>
                </a:lnTo>
                <a:lnTo>
                  <a:pt x="116" y="156"/>
                </a:lnTo>
                <a:close/>
                <a:moveTo>
                  <a:pt x="126" y="160"/>
                </a:moveTo>
                <a:lnTo>
                  <a:pt x="126" y="156"/>
                </a:lnTo>
                <a:lnTo>
                  <a:pt x="126" y="152"/>
                </a:lnTo>
                <a:lnTo>
                  <a:pt x="130" y="156"/>
                </a:lnTo>
                <a:lnTo>
                  <a:pt x="130" y="160"/>
                </a:lnTo>
                <a:lnTo>
                  <a:pt x="126" y="160"/>
                </a:lnTo>
                <a:lnTo>
                  <a:pt x="126" y="160"/>
                </a:lnTo>
                <a:lnTo>
                  <a:pt x="126" y="160"/>
                </a:lnTo>
                <a:close/>
                <a:moveTo>
                  <a:pt x="74" y="202"/>
                </a:moveTo>
                <a:lnTo>
                  <a:pt x="74" y="206"/>
                </a:lnTo>
                <a:lnTo>
                  <a:pt x="74" y="208"/>
                </a:lnTo>
                <a:lnTo>
                  <a:pt x="70" y="208"/>
                </a:lnTo>
                <a:lnTo>
                  <a:pt x="70" y="206"/>
                </a:lnTo>
                <a:lnTo>
                  <a:pt x="70" y="202"/>
                </a:lnTo>
                <a:lnTo>
                  <a:pt x="70" y="198"/>
                </a:lnTo>
                <a:lnTo>
                  <a:pt x="70" y="194"/>
                </a:lnTo>
                <a:lnTo>
                  <a:pt x="74" y="194"/>
                </a:lnTo>
                <a:lnTo>
                  <a:pt x="74" y="190"/>
                </a:lnTo>
                <a:lnTo>
                  <a:pt x="78" y="186"/>
                </a:lnTo>
                <a:lnTo>
                  <a:pt x="78" y="190"/>
                </a:lnTo>
                <a:lnTo>
                  <a:pt x="82" y="186"/>
                </a:lnTo>
                <a:lnTo>
                  <a:pt x="86" y="186"/>
                </a:lnTo>
                <a:lnTo>
                  <a:pt x="86" y="182"/>
                </a:lnTo>
                <a:lnTo>
                  <a:pt x="86" y="180"/>
                </a:lnTo>
                <a:lnTo>
                  <a:pt x="90" y="180"/>
                </a:lnTo>
                <a:lnTo>
                  <a:pt x="90" y="176"/>
                </a:lnTo>
                <a:lnTo>
                  <a:pt x="94" y="180"/>
                </a:lnTo>
                <a:lnTo>
                  <a:pt x="96" y="180"/>
                </a:lnTo>
                <a:lnTo>
                  <a:pt x="96" y="182"/>
                </a:lnTo>
                <a:lnTo>
                  <a:pt x="96" y="186"/>
                </a:lnTo>
                <a:lnTo>
                  <a:pt x="96" y="190"/>
                </a:lnTo>
                <a:lnTo>
                  <a:pt x="94" y="190"/>
                </a:lnTo>
                <a:lnTo>
                  <a:pt x="96" y="190"/>
                </a:lnTo>
                <a:lnTo>
                  <a:pt x="96" y="186"/>
                </a:lnTo>
                <a:lnTo>
                  <a:pt x="100" y="186"/>
                </a:lnTo>
                <a:lnTo>
                  <a:pt x="104" y="186"/>
                </a:lnTo>
                <a:lnTo>
                  <a:pt x="104" y="182"/>
                </a:lnTo>
                <a:lnTo>
                  <a:pt x="100" y="182"/>
                </a:lnTo>
                <a:lnTo>
                  <a:pt x="104" y="182"/>
                </a:lnTo>
                <a:lnTo>
                  <a:pt x="104" y="180"/>
                </a:lnTo>
                <a:lnTo>
                  <a:pt x="108" y="180"/>
                </a:lnTo>
                <a:lnTo>
                  <a:pt x="108" y="182"/>
                </a:lnTo>
                <a:lnTo>
                  <a:pt x="108" y="180"/>
                </a:lnTo>
                <a:lnTo>
                  <a:pt x="108" y="176"/>
                </a:lnTo>
                <a:lnTo>
                  <a:pt x="112" y="176"/>
                </a:lnTo>
                <a:lnTo>
                  <a:pt x="112" y="172"/>
                </a:lnTo>
                <a:lnTo>
                  <a:pt x="112" y="176"/>
                </a:lnTo>
                <a:lnTo>
                  <a:pt x="116" y="176"/>
                </a:lnTo>
                <a:lnTo>
                  <a:pt x="116" y="172"/>
                </a:lnTo>
                <a:lnTo>
                  <a:pt x="120" y="172"/>
                </a:lnTo>
                <a:lnTo>
                  <a:pt x="120" y="168"/>
                </a:lnTo>
                <a:lnTo>
                  <a:pt x="120" y="164"/>
                </a:lnTo>
                <a:lnTo>
                  <a:pt x="120" y="160"/>
                </a:lnTo>
                <a:lnTo>
                  <a:pt x="120" y="156"/>
                </a:lnTo>
                <a:lnTo>
                  <a:pt x="120" y="160"/>
                </a:lnTo>
                <a:lnTo>
                  <a:pt x="122" y="160"/>
                </a:lnTo>
                <a:lnTo>
                  <a:pt x="122" y="164"/>
                </a:lnTo>
                <a:lnTo>
                  <a:pt x="126" y="164"/>
                </a:lnTo>
                <a:lnTo>
                  <a:pt x="126" y="168"/>
                </a:lnTo>
                <a:lnTo>
                  <a:pt x="130" y="168"/>
                </a:lnTo>
                <a:lnTo>
                  <a:pt x="130" y="172"/>
                </a:lnTo>
                <a:lnTo>
                  <a:pt x="130" y="176"/>
                </a:lnTo>
                <a:lnTo>
                  <a:pt x="130" y="180"/>
                </a:lnTo>
                <a:lnTo>
                  <a:pt x="126" y="180"/>
                </a:lnTo>
                <a:lnTo>
                  <a:pt x="130" y="180"/>
                </a:lnTo>
                <a:lnTo>
                  <a:pt x="134" y="180"/>
                </a:lnTo>
                <a:lnTo>
                  <a:pt x="134" y="182"/>
                </a:lnTo>
                <a:lnTo>
                  <a:pt x="130" y="182"/>
                </a:lnTo>
                <a:lnTo>
                  <a:pt x="130" y="186"/>
                </a:lnTo>
                <a:lnTo>
                  <a:pt x="134" y="186"/>
                </a:lnTo>
                <a:lnTo>
                  <a:pt x="134" y="190"/>
                </a:lnTo>
                <a:lnTo>
                  <a:pt x="134" y="194"/>
                </a:lnTo>
                <a:lnTo>
                  <a:pt x="134" y="198"/>
                </a:lnTo>
                <a:lnTo>
                  <a:pt x="134" y="202"/>
                </a:lnTo>
                <a:lnTo>
                  <a:pt x="134" y="206"/>
                </a:lnTo>
                <a:lnTo>
                  <a:pt x="130" y="206"/>
                </a:lnTo>
                <a:lnTo>
                  <a:pt x="130" y="208"/>
                </a:lnTo>
                <a:lnTo>
                  <a:pt x="130" y="212"/>
                </a:lnTo>
                <a:lnTo>
                  <a:pt x="130" y="216"/>
                </a:lnTo>
                <a:lnTo>
                  <a:pt x="130" y="220"/>
                </a:lnTo>
                <a:lnTo>
                  <a:pt x="130" y="216"/>
                </a:lnTo>
                <a:lnTo>
                  <a:pt x="126" y="216"/>
                </a:lnTo>
                <a:lnTo>
                  <a:pt x="126" y="212"/>
                </a:lnTo>
                <a:lnTo>
                  <a:pt x="130" y="212"/>
                </a:lnTo>
                <a:lnTo>
                  <a:pt x="126" y="208"/>
                </a:lnTo>
                <a:lnTo>
                  <a:pt x="126" y="206"/>
                </a:lnTo>
                <a:lnTo>
                  <a:pt x="126" y="202"/>
                </a:lnTo>
                <a:lnTo>
                  <a:pt x="122" y="202"/>
                </a:lnTo>
                <a:lnTo>
                  <a:pt x="122" y="206"/>
                </a:lnTo>
                <a:lnTo>
                  <a:pt x="120" y="206"/>
                </a:lnTo>
                <a:lnTo>
                  <a:pt x="120" y="208"/>
                </a:lnTo>
                <a:lnTo>
                  <a:pt x="120" y="212"/>
                </a:lnTo>
                <a:lnTo>
                  <a:pt x="122" y="216"/>
                </a:lnTo>
                <a:lnTo>
                  <a:pt x="122" y="220"/>
                </a:lnTo>
                <a:lnTo>
                  <a:pt x="122" y="224"/>
                </a:lnTo>
                <a:lnTo>
                  <a:pt x="122" y="228"/>
                </a:lnTo>
                <a:lnTo>
                  <a:pt x="120" y="228"/>
                </a:lnTo>
                <a:lnTo>
                  <a:pt x="120" y="232"/>
                </a:lnTo>
                <a:lnTo>
                  <a:pt x="116" y="232"/>
                </a:lnTo>
                <a:lnTo>
                  <a:pt x="120" y="232"/>
                </a:lnTo>
                <a:lnTo>
                  <a:pt x="116" y="228"/>
                </a:lnTo>
                <a:lnTo>
                  <a:pt x="116" y="224"/>
                </a:lnTo>
                <a:lnTo>
                  <a:pt x="116" y="220"/>
                </a:lnTo>
                <a:lnTo>
                  <a:pt x="116" y="224"/>
                </a:lnTo>
                <a:lnTo>
                  <a:pt x="116" y="228"/>
                </a:lnTo>
                <a:lnTo>
                  <a:pt x="112" y="228"/>
                </a:lnTo>
                <a:lnTo>
                  <a:pt x="108" y="224"/>
                </a:lnTo>
                <a:lnTo>
                  <a:pt x="104" y="224"/>
                </a:lnTo>
                <a:lnTo>
                  <a:pt x="104" y="220"/>
                </a:lnTo>
                <a:lnTo>
                  <a:pt x="100" y="220"/>
                </a:lnTo>
                <a:lnTo>
                  <a:pt x="100" y="216"/>
                </a:lnTo>
                <a:lnTo>
                  <a:pt x="100" y="212"/>
                </a:lnTo>
                <a:lnTo>
                  <a:pt x="100" y="208"/>
                </a:lnTo>
                <a:lnTo>
                  <a:pt x="96" y="208"/>
                </a:lnTo>
                <a:lnTo>
                  <a:pt x="100" y="206"/>
                </a:lnTo>
                <a:lnTo>
                  <a:pt x="104" y="202"/>
                </a:lnTo>
                <a:lnTo>
                  <a:pt x="100" y="198"/>
                </a:lnTo>
                <a:lnTo>
                  <a:pt x="100" y="202"/>
                </a:lnTo>
                <a:lnTo>
                  <a:pt x="100" y="198"/>
                </a:lnTo>
                <a:lnTo>
                  <a:pt x="100" y="194"/>
                </a:lnTo>
                <a:lnTo>
                  <a:pt x="96" y="194"/>
                </a:lnTo>
                <a:lnTo>
                  <a:pt x="94" y="194"/>
                </a:lnTo>
                <a:lnTo>
                  <a:pt x="94" y="190"/>
                </a:lnTo>
                <a:lnTo>
                  <a:pt x="94" y="194"/>
                </a:lnTo>
                <a:lnTo>
                  <a:pt x="90" y="194"/>
                </a:lnTo>
                <a:lnTo>
                  <a:pt x="94" y="194"/>
                </a:lnTo>
                <a:lnTo>
                  <a:pt x="94" y="198"/>
                </a:lnTo>
                <a:lnTo>
                  <a:pt x="90" y="198"/>
                </a:lnTo>
                <a:lnTo>
                  <a:pt x="94" y="202"/>
                </a:lnTo>
                <a:lnTo>
                  <a:pt x="90" y="202"/>
                </a:lnTo>
                <a:lnTo>
                  <a:pt x="90" y="198"/>
                </a:lnTo>
                <a:lnTo>
                  <a:pt x="86" y="198"/>
                </a:lnTo>
                <a:lnTo>
                  <a:pt x="90" y="198"/>
                </a:lnTo>
                <a:lnTo>
                  <a:pt x="86" y="198"/>
                </a:lnTo>
                <a:lnTo>
                  <a:pt x="90" y="198"/>
                </a:lnTo>
                <a:lnTo>
                  <a:pt x="86" y="198"/>
                </a:lnTo>
                <a:lnTo>
                  <a:pt x="86" y="194"/>
                </a:lnTo>
                <a:lnTo>
                  <a:pt x="86" y="198"/>
                </a:lnTo>
                <a:lnTo>
                  <a:pt x="82" y="198"/>
                </a:lnTo>
                <a:lnTo>
                  <a:pt x="82" y="194"/>
                </a:lnTo>
                <a:lnTo>
                  <a:pt x="78" y="194"/>
                </a:lnTo>
                <a:lnTo>
                  <a:pt x="78" y="198"/>
                </a:lnTo>
                <a:lnTo>
                  <a:pt x="74" y="198"/>
                </a:lnTo>
                <a:lnTo>
                  <a:pt x="74" y="202"/>
                </a:lnTo>
                <a:lnTo>
                  <a:pt x="74" y="202"/>
                </a:lnTo>
                <a:lnTo>
                  <a:pt x="74" y="202"/>
                </a:lnTo>
                <a:close/>
                <a:moveTo>
                  <a:pt x="126" y="164"/>
                </a:moveTo>
                <a:lnTo>
                  <a:pt x="126" y="160"/>
                </a:lnTo>
                <a:lnTo>
                  <a:pt x="126" y="164"/>
                </a:lnTo>
                <a:lnTo>
                  <a:pt x="126" y="164"/>
                </a:lnTo>
                <a:lnTo>
                  <a:pt x="126" y="164"/>
                </a:lnTo>
                <a:close/>
                <a:moveTo>
                  <a:pt x="108" y="172"/>
                </a:moveTo>
                <a:lnTo>
                  <a:pt x="108" y="168"/>
                </a:lnTo>
                <a:lnTo>
                  <a:pt x="112" y="168"/>
                </a:lnTo>
                <a:lnTo>
                  <a:pt x="112" y="172"/>
                </a:lnTo>
                <a:lnTo>
                  <a:pt x="108" y="172"/>
                </a:lnTo>
                <a:lnTo>
                  <a:pt x="108" y="172"/>
                </a:lnTo>
                <a:lnTo>
                  <a:pt x="108" y="172"/>
                </a:lnTo>
                <a:close/>
                <a:moveTo>
                  <a:pt x="122" y="208"/>
                </a:moveTo>
                <a:lnTo>
                  <a:pt x="122" y="206"/>
                </a:lnTo>
                <a:lnTo>
                  <a:pt x="122" y="208"/>
                </a:lnTo>
                <a:lnTo>
                  <a:pt x="122" y="208"/>
                </a:lnTo>
                <a:lnTo>
                  <a:pt x="122" y="208"/>
                </a:lnTo>
                <a:close/>
                <a:moveTo>
                  <a:pt x="70" y="216"/>
                </a:moveTo>
                <a:lnTo>
                  <a:pt x="66" y="212"/>
                </a:lnTo>
                <a:lnTo>
                  <a:pt x="70" y="212"/>
                </a:lnTo>
                <a:lnTo>
                  <a:pt x="74" y="212"/>
                </a:lnTo>
                <a:lnTo>
                  <a:pt x="74" y="216"/>
                </a:lnTo>
                <a:lnTo>
                  <a:pt x="70" y="216"/>
                </a:lnTo>
                <a:lnTo>
                  <a:pt x="70" y="216"/>
                </a:lnTo>
                <a:lnTo>
                  <a:pt x="70" y="216"/>
                </a:lnTo>
                <a:close/>
                <a:moveTo>
                  <a:pt x="60" y="228"/>
                </a:moveTo>
                <a:lnTo>
                  <a:pt x="60" y="224"/>
                </a:lnTo>
                <a:lnTo>
                  <a:pt x="56" y="228"/>
                </a:lnTo>
                <a:lnTo>
                  <a:pt x="56" y="224"/>
                </a:lnTo>
                <a:lnTo>
                  <a:pt x="60" y="224"/>
                </a:lnTo>
                <a:lnTo>
                  <a:pt x="64" y="224"/>
                </a:lnTo>
                <a:lnTo>
                  <a:pt x="60" y="228"/>
                </a:lnTo>
                <a:lnTo>
                  <a:pt x="60" y="228"/>
                </a:lnTo>
                <a:lnTo>
                  <a:pt x="60" y="228"/>
                </a:lnTo>
                <a:close/>
                <a:moveTo>
                  <a:pt x="42" y="238"/>
                </a:moveTo>
                <a:lnTo>
                  <a:pt x="42" y="236"/>
                </a:lnTo>
                <a:lnTo>
                  <a:pt x="46" y="236"/>
                </a:lnTo>
                <a:lnTo>
                  <a:pt x="46" y="238"/>
                </a:lnTo>
                <a:lnTo>
                  <a:pt x="42" y="238"/>
                </a:lnTo>
                <a:lnTo>
                  <a:pt x="42" y="238"/>
                </a:lnTo>
                <a:lnTo>
                  <a:pt x="42" y="238"/>
                </a:lnTo>
                <a:close/>
              </a:path>
            </a:pathLst>
          </a:custGeom>
          <a:solidFill>
            <a:srgbClr val="A0DCFF"/>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42" name="Freeform 49"/>
          <p:cNvSpPr>
            <a:spLocks/>
          </p:cNvSpPr>
          <p:nvPr/>
        </p:nvSpPr>
        <p:spPr bwMode="auto">
          <a:xfrm>
            <a:off x="5114925" y="3159919"/>
            <a:ext cx="11906" cy="30956"/>
          </a:xfrm>
          <a:custGeom>
            <a:avLst/>
            <a:gdLst>
              <a:gd name="T0" fmla="*/ 6 w 10"/>
              <a:gd name="T1" fmla="*/ 26 h 26"/>
              <a:gd name="T2" fmla="*/ 6 w 10"/>
              <a:gd name="T3" fmla="*/ 26 h 26"/>
              <a:gd name="T4" fmla="*/ 6 w 10"/>
              <a:gd name="T5" fmla="*/ 26 h 26"/>
              <a:gd name="T6" fmla="*/ 6 w 10"/>
              <a:gd name="T7" fmla="*/ 26 h 26"/>
              <a:gd name="T8" fmla="*/ 4 w 10"/>
              <a:gd name="T9" fmla="*/ 26 h 26"/>
              <a:gd name="T10" fmla="*/ 4 w 10"/>
              <a:gd name="T11" fmla="*/ 26 h 26"/>
              <a:gd name="T12" fmla="*/ 0 w 10"/>
              <a:gd name="T13" fmla="*/ 26 h 26"/>
              <a:gd name="T14" fmla="*/ 0 w 10"/>
              <a:gd name="T15" fmla="*/ 22 h 26"/>
              <a:gd name="T16" fmla="*/ 0 w 10"/>
              <a:gd name="T17" fmla="*/ 22 h 26"/>
              <a:gd name="T18" fmla="*/ 0 w 10"/>
              <a:gd name="T19" fmla="*/ 22 h 26"/>
              <a:gd name="T20" fmla="*/ 0 w 10"/>
              <a:gd name="T21" fmla="*/ 18 h 26"/>
              <a:gd name="T22" fmla="*/ 0 w 10"/>
              <a:gd name="T23" fmla="*/ 14 h 26"/>
              <a:gd name="T24" fmla="*/ 0 w 10"/>
              <a:gd name="T25" fmla="*/ 10 h 26"/>
              <a:gd name="T26" fmla="*/ 0 w 10"/>
              <a:gd name="T27" fmla="*/ 10 h 26"/>
              <a:gd name="T28" fmla="*/ 0 w 10"/>
              <a:gd name="T29" fmla="*/ 10 h 26"/>
              <a:gd name="T30" fmla="*/ 0 w 10"/>
              <a:gd name="T31" fmla="*/ 10 h 26"/>
              <a:gd name="T32" fmla="*/ 0 w 10"/>
              <a:gd name="T33" fmla="*/ 6 h 26"/>
              <a:gd name="T34" fmla="*/ 0 w 10"/>
              <a:gd name="T35" fmla="*/ 6 h 26"/>
              <a:gd name="T36" fmla="*/ 0 w 10"/>
              <a:gd name="T37" fmla="*/ 6 h 26"/>
              <a:gd name="T38" fmla="*/ 0 w 10"/>
              <a:gd name="T39" fmla="*/ 6 h 26"/>
              <a:gd name="T40" fmla="*/ 0 w 10"/>
              <a:gd name="T41" fmla="*/ 6 h 26"/>
              <a:gd name="T42" fmla="*/ 0 w 10"/>
              <a:gd name="T43" fmla="*/ 2 h 26"/>
              <a:gd name="T44" fmla="*/ 0 w 10"/>
              <a:gd name="T45" fmla="*/ 2 h 26"/>
              <a:gd name="T46" fmla="*/ 0 w 10"/>
              <a:gd name="T47" fmla="*/ 2 h 26"/>
              <a:gd name="T48" fmla="*/ 0 w 10"/>
              <a:gd name="T49" fmla="*/ 2 h 26"/>
              <a:gd name="T50" fmla="*/ 4 w 10"/>
              <a:gd name="T51" fmla="*/ 0 h 26"/>
              <a:gd name="T52" fmla="*/ 4 w 10"/>
              <a:gd name="T53" fmla="*/ 0 h 26"/>
              <a:gd name="T54" fmla="*/ 6 w 10"/>
              <a:gd name="T55" fmla="*/ 0 h 26"/>
              <a:gd name="T56" fmla="*/ 6 w 10"/>
              <a:gd name="T57" fmla="*/ 0 h 26"/>
              <a:gd name="T58" fmla="*/ 6 w 10"/>
              <a:gd name="T59" fmla="*/ 2 h 26"/>
              <a:gd name="T60" fmla="*/ 6 w 10"/>
              <a:gd name="T61" fmla="*/ 2 h 26"/>
              <a:gd name="T62" fmla="*/ 10 w 10"/>
              <a:gd name="T63" fmla="*/ 2 h 26"/>
              <a:gd name="T64" fmla="*/ 10 w 10"/>
              <a:gd name="T65" fmla="*/ 6 h 26"/>
              <a:gd name="T66" fmla="*/ 10 w 10"/>
              <a:gd name="T67" fmla="*/ 6 h 26"/>
              <a:gd name="T68" fmla="*/ 6 w 10"/>
              <a:gd name="T69" fmla="*/ 6 h 26"/>
              <a:gd name="T70" fmla="*/ 6 w 10"/>
              <a:gd name="T71" fmla="*/ 10 h 26"/>
              <a:gd name="T72" fmla="*/ 6 w 10"/>
              <a:gd name="T73" fmla="*/ 10 h 26"/>
              <a:gd name="T74" fmla="*/ 10 w 10"/>
              <a:gd name="T75" fmla="*/ 10 h 26"/>
              <a:gd name="T76" fmla="*/ 6 w 10"/>
              <a:gd name="T77" fmla="*/ 14 h 26"/>
              <a:gd name="T78" fmla="*/ 10 w 10"/>
              <a:gd name="T79" fmla="*/ 14 h 26"/>
              <a:gd name="T80" fmla="*/ 10 w 10"/>
              <a:gd name="T81" fmla="*/ 14 h 26"/>
              <a:gd name="T82" fmla="*/ 10 w 10"/>
              <a:gd name="T83" fmla="*/ 14 h 26"/>
              <a:gd name="T84" fmla="*/ 10 w 10"/>
              <a:gd name="T85" fmla="*/ 22 h 26"/>
              <a:gd name="T86" fmla="*/ 6 w 10"/>
              <a:gd name="T87" fmla="*/ 22 h 26"/>
              <a:gd name="T88" fmla="*/ 6 w 10"/>
              <a:gd name="T89" fmla="*/ 22 h 26"/>
              <a:gd name="T90" fmla="*/ 6 w 10"/>
              <a:gd name="T91" fmla="*/ 2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 h="26">
                <a:moveTo>
                  <a:pt x="6" y="22"/>
                </a:moveTo>
                <a:lnTo>
                  <a:pt x="6" y="26"/>
                </a:lnTo>
                <a:lnTo>
                  <a:pt x="6" y="26"/>
                </a:lnTo>
                <a:lnTo>
                  <a:pt x="6" y="26"/>
                </a:lnTo>
                <a:lnTo>
                  <a:pt x="6" y="26"/>
                </a:lnTo>
                <a:lnTo>
                  <a:pt x="6" y="26"/>
                </a:lnTo>
                <a:lnTo>
                  <a:pt x="6" y="26"/>
                </a:lnTo>
                <a:lnTo>
                  <a:pt x="6" y="26"/>
                </a:lnTo>
                <a:lnTo>
                  <a:pt x="4" y="26"/>
                </a:lnTo>
                <a:lnTo>
                  <a:pt x="4" y="26"/>
                </a:lnTo>
                <a:lnTo>
                  <a:pt x="4" y="26"/>
                </a:lnTo>
                <a:lnTo>
                  <a:pt x="4" y="26"/>
                </a:lnTo>
                <a:lnTo>
                  <a:pt x="4" y="26"/>
                </a:lnTo>
                <a:lnTo>
                  <a:pt x="0" y="26"/>
                </a:lnTo>
                <a:lnTo>
                  <a:pt x="0" y="26"/>
                </a:lnTo>
                <a:lnTo>
                  <a:pt x="0" y="22"/>
                </a:lnTo>
                <a:lnTo>
                  <a:pt x="0" y="22"/>
                </a:lnTo>
                <a:lnTo>
                  <a:pt x="0" y="22"/>
                </a:lnTo>
                <a:lnTo>
                  <a:pt x="0" y="22"/>
                </a:lnTo>
                <a:lnTo>
                  <a:pt x="0" y="22"/>
                </a:lnTo>
                <a:lnTo>
                  <a:pt x="0" y="18"/>
                </a:lnTo>
                <a:lnTo>
                  <a:pt x="0" y="18"/>
                </a:lnTo>
                <a:lnTo>
                  <a:pt x="0" y="14"/>
                </a:lnTo>
                <a:lnTo>
                  <a:pt x="0" y="14"/>
                </a:lnTo>
                <a:lnTo>
                  <a:pt x="0" y="14"/>
                </a:lnTo>
                <a:lnTo>
                  <a:pt x="0" y="10"/>
                </a:lnTo>
                <a:lnTo>
                  <a:pt x="0" y="10"/>
                </a:lnTo>
                <a:lnTo>
                  <a:pt x="0" y="10"/>
                </a:lnTo>
                <a:lnTo>
                  <a:pt x="0" y="10"/>
                </a:lnTo>
                <a:lnTo>
                  <a:pt x="0" y="10"/>
                </a:lnTo>
                <a:lnTo>
                  <a:pt x="0" y="10"/>
                </a:lnTo>
                <a:lnTo>
                  <a:pt x="0" y="10"/>
                </a:lnTo>
                <a:lnTo>
                  <a:pt x="0" y="6"/>
                </a:lnTo>
                <a:lnTo>
                  <a:pt x="0" y="6"/>
                </a:lnTo>
                <a:lnTo>
                  <a:pt x="0" y="6"/>
                </a:lnTo>
                <a:lnTo>
                  <a:pt x="0" y="6"/>
                </a:lnTo>
                <a:lnTo>
                  <a:pt x="0" y="6"/>
                </a:lnTo>
                <a:lnTo>
                  <a:pt x="0" y="6"/>
                </a:lnTo>
                <a:lnTo>
                  <a:pt x="0" y="6"/>
                </a:lnTo>
                <a:lnTo>
                  <a:pt x="0" y="6"/>
                </a:lnTo>
                <a:lnTo>
                  <a:pt x="0" y="6"/>
                </a:lnTo>
                <a:lnTo>
                  <a:pt x="0" y="6"/>
                </a:lnTo>
                <a:lnTo>
                  <a:pt x="0" y="2"/>
                </a:lnTo>
                <a:lnTo>
                  <a:pt x="0" y="2"/>
                </a:lnTo>
                <a:lnTo>
                  <a:pt x="0" y="2"/>
                </a:lnTo>
                <a:lnTo>
                  <a:pt x="0" y="2"/>
                </a:lnTo>
                <a:lnTo>
                  <a:pt x="0" y="2"/>
                </a:lnTo>
                <a:lnTo>
                  <a:pt x="0" y="2"/>
                </a:lnTo>
                <a:lnTo>
                  <a:pt x="0" y="2"/>
                </a:lnTo>
                <a:lnTo>
                  <a:pt x="0" y="2"/>
                </a:lnTo>
                <a:lnTo>
                  <a:pt x="4" y="0"/>
                </a:lnTo>
                <a:lnTo>
                  <a:pt x="4" y="0"/>
                </a:lnTo>
                <a:lnTo>
                  <a:pt x="4" y="0"/>
                </a:lnTo>
                <a:lnTo>
                  <a:pt x="4" y="0"/>
                </a:lnTo>
                <a:lnTo>
                  <a:pt x="6" y="0"/>
                </a:lnTo>
                <a:lnTo>
                  <a:pt x="6" y="0"/>
                </a:lnTo>
                <a:lnTo>
                  <a:pt x="6" y="0"/>
                </a:lnTo>
                <a:lnTo>
                  <a:pt x="6" y="0"/>
                </a:lnTo>
                <a:lnTo>
                  <a:pt x="6" y="0"/>
                </a:lnTo>
                <a:lnTo>
                  <a:pt x="6" y="2"/>
                </a:lnTo>
                <a:lnTo>
                  <a:pt x="6" y="2"/>
                </a:lnTo>
                <a:lnTo>
                  <a:pt x="6" y="2"/>
                </a:lnTo>
                <a:lnTo>
                  <a:pt x="10" y="2"/>
                </a:lnTo>
                <a:lnTo>
                  <a:pt x="10" y="2"/>
                </a:lnTo>
                <a:lnTo>
                  <a:pt x="10" y="2"/>
                </a:lnTo>
                <a:lnTo>
                  <a:pt x="10" y="6"/>
                </a:lnTo>
                <a:lnTo>
                  <a:pt x="10" y="6"/>
                </a:lnTo>
                <a:lnTo>
                  <a:pt x="10" y="6"/>
                </a:lnTo>
                <a:lnTo>
                  <a:pt x="6" y="6"/>
                </a:lnTo>
                <a:lnTo>
                  <a:pt x="6" y="6"/>
                </a:lnTo>
                <a:lnTo>
                  <a:pt x="6" y="6"/>
                </a:lnTo>
                <a:lnTo>
                  <a:pt x="6" y="10"/>
                </a:lnTo>
                <a:lnTo>
                  <a:pt x="6" y="10"/>
                </a:lnTo>
                <a:lnTo>
                  <a:pt x="6" y="10"/>
                </a:lnTo>
                <a:lnTo>
                  <a:pt x="10" y="10"/>
                </a:lnTo>
                <a:lnTo>
                  <a:pt x="10" y="10"/>
                </a:lnTo>
                <a:lnTo>
                  <a:pt x="6" y="14"/>
                </a:lnTo>
                <a:lnTo>
                  <a:pt x="6" y="14"/>
                </a:lnTo>
                <a:lnTo>
                  <a:pt x="10" y="14"/>
                </a:lnTo>
                <a:lnTo>
                  <a:pt x="10" y="14"/>
                </a:lnTo>
                <a:lnTo>
                  <a:pt x="10" y="14"/>
                </a:lnTo>
                <a:lnTo>
                  <a:pt x="10" y="14"/>
                </a:lnTo>
                <a:lnTo>
                  <a:pt x="10" y="14"/>
                </a:lnTo>
                <a:lnTo>
                  <a:pt x="10" y="14"/>
                </a:lnTo>
                <a:lnTo>
                  <a:pt x="10" y="18"/>
                </a:lnTo>
                <a:lnTo>
                  <a:pt x="10" y="22"/>
                </a:lnTo>
                <a:lnTo>
                  <a:pt x="10" y="22"/>
                </a:lnTo>
                <a:lnTo>
                  <a:pt x="6" y="22"/>
                </a:lnTo>
                <a:lnTo>
                  <a:pt x="6" y="22"/>
                </a:lnTo>
                <a:lnTo>
                  <a:pt x="6" y="22"/>
                </a:lnTo>
                <a:lnTo>
                  <a:pt x="6" y="22"/>
                </a:lnTo>
                <a:lnTo>
                  <a:pt x="6" y="22"/>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43" name="Freeform 50"/>
          <p:cNvSpPr>
            <a:spLocks noEditPoints="1"/>
          </p:cNvSpPr>
          <p:nvPr/>
        </p:nvSpPr>
        <p:spPr bwMode="auto">
          <a:xfrm>
            <a:off x="4838700" y="3026569"/>
            <a:ext cx="354806" cy="335756"/>
          </a:xfrm>
          <a:custGeom>
            <a:avLst/>
            <a:gdLst>
              <a:gd name="T0" fmla="*/ 232 w 298"/>
              <a:gd name="T1" fmla="*/ 240 h 282"/>
              <a:gd name="T2" fmla="*/ 186 w 298"/>
              <a:gd name="T3" fmla="*/ 264 h 282"/>
              <a:gd name="T4" fmla="*/ 172 w 298"/>
              <a:gd name="T5" fmla="*/ 268 h 282"/>
              <a:gd name="T6" fmla="*/ 142 w 298"/>
              <a:gd name="T7" fmla="*/ 264 h 282"/>
              <a:gd name="T8" fmla="*/ 130 w 298"/>
              <a:gd name="T9" fmla="*/ 264 h 282"/>
              <a:gd name="T10" fmla="*/ 122 w 298"/>
              <a:gd name="T11" fmla="*/ 270 h 282"/>
              <a:gd name="T12" fmla="*/ 120 w 298"/>
              <a:gd name="T13" fmla="*/ 282 h 282"/>
              <a:gd name="T14" fmla="*/ 112 w 298"/>
              <a:gd name="T15" fmla="*/ 274 h 282"/>
              <a:gd name="T16" fmla="*/ 112 w 298"/>
              <a:gd name="T17" fmla="*/ 268 h 282"/>
              <a:gd name="T18" fmla="*/ 104 w 298"/>
              <a:gd name="T19" fmla="*/ 256 h 282"/>
              <a:gd name="T20" fmla="*/ 96 w 298"/>
              <a:gd name="T21" fmla="*/ 248 h 282"/>
              <a:gd name="T22" fmla="*/ 96 w 298"/>
              <a:gd name="T23" fmla="*/ 238 h 282"/>
              <a:gd name="T24" fmla="*/ 90 w 298"/>
              <a:gd name="T25" fmla="*/ 226 h 282"/>
              <a:gd name="T26" fmla="*/ 82 w 298"/>
              <a:gd name="T27" fmla="*/ 218 h 282"/>
              <a:gd name="T28" fmla="*/ 74 w 298"/>
              <a:gd name="T29" fmla="*/ 212 h 282"/>
              <a:gd name="T30" fmla="*/ 66 w 298"/>
              <a:gd name="T31" fmla="*/ 204 h 282"/>
              <a:gd name="T32" fmla="*/ 64 w 298"/>
              <a:gd name="T33" fmla="*/ 190 h 282"/>
              <a:gd name="T34" fmla="*/ 64 w 298"/>
              <a:gd name="T35" fmla="*/ 174 h 282"/>
              <a:gd name="T36" fmla="*/ 64 w 298"/>
              <a:gd name="T37" fmla="*/ 168 h 282"/>
              <a:gd name="T38" fmla="*/ 56 w 298"/>
              <a:gd name="T39" fmla="*/ 152 h 282"/>
              <a:gd name="T40" fmla="*/ 44 w 298"/>
              <a:gd name="T41" fmla="*/ 142 h 282"/>
              <a:gd name="T42" fmla="*/ 40 w 298"/>
              <a:gd name="T43" fmla="*/ 138 h 282"/>
              <a:gd name="T44" fmla="*/ 36 w 298"/>
              <a:gd name="T45" fmla="*/ 126 h 282"/>
              <a:gd name="T46" fmla="*/ 34 w 298"/>
              <a:gd name="T47" fmla="*/ 118 h 282"/>
              <a:gd name="T48" fmla="*/ 26 w 298"/>
              <a:gd name="T49" fmla="*/ 112 h 282"/>
              <a:gd name="T50" fmla="*/ 22 w 298"/>
              <a:gd name="T51" fmla="*/ 96 h 282"/>
              <a:gd name="T52" fmla="*/ 14 w 298"/>
              <a:gd name="T53" fmla="*/ 90 h 282"/>
              <a:gd name="T54" fmla="*/ 10 w 298"/>
              <a:gd name="T55" fmla="*/ 78 h 282"/>
              <a:gd name="T56" fmla="*/ 4 w 298"/>
              <a:gd name="T57" fmla="*/ 70 h 282"/>
              <a:gd name="T58" fmla="*/ 4 w 298"/>
              <a:gd name="T59" fmla="*/ 56 h 282"/>
              <a:gd name="T60" fmla="*/ 22 w 298"/>
              <a:gd name="T61" fmla="*/ 56 h 282"/>
              <a:gd name="T62" fmla="*/ 36 w 298"/>
              <a:gd name="T63" fmla="*/ 40 h 282"/>
              <a:gd name="T64" fmla="*/ 44 w 298"/>
              <a:gd name="T65" fmla="*/ 22 h 282"/>
              <a:gd name="T66" fmla="*/ 36 w 298"/>
              <a:gd name="T67" fmla="*/ 10 h 282"/>
              <a:gd name="T68" fmla="*/ 56 w 298"/>
              <a:gd name="T69" fmla="*/ 8 h 282"/>
              <a:gd name="T70" fmla="*/ 78 w 298"/>
              <a:gd name="T71" fmla="*/ 4 h 282"/>
              <a:gd name="T72" fmla="*/ 120 w 298"/>
              <a:gd name="T73" fmla="*/ 30 h 282"/>
              <a:gd name="T74" fmla="*/ 164 w 298"/>
              <a:gd name="T75" fmla="*/ 56 h 282"/>
              <a:gd name="T76" fmla="*/ 182 w 298"/>
              <a:gd name="T77" fmla="*/ 60 h 282"/>
              <a:gd name="T78" fmla="*/ 198 w 298"/>
              <a:gd name="T79" fmla="*/ 66 h 282"/>
              <a:gd name="T80" fmla="*/ 202 w 298"/>
              <a:gd name="T81" fmla="*/ 78 h 282"/>
              <a:gd name="T82" fmla="*/ 206 w 298"/>
              <a:gd name="T83" fmla="*/ 86 h 282"/>
              <a:gd name="T84" fmla="*/ 206 w 298"/>
              <a:gd name="T85" fmla="*/ 86 h 282"/>
              <a:gd name="T86" fmla="*/ 212 w 298"/>
              <a:gd name="T87" fmla="*/ 96 h 282"/>
              <a:gd name="T88" fmla="*/ 220 w 298"/>
              <a:gd name="T89" fmla="*/ 104 h 282"/>
              <a:gd name="T90" fmla="*/ 220 w 298"/>
              <a:gd name="T91" fmla="*/ 112 h 282"/>
              <a:gd name="T92" fmla="*/ 224 w 298"/>
              <a:gd name="T93" fmla="*/ 122 h 282"/>
              <a:gd name="T94" fmla="*/ 232 w 298"/>
              <a:gd name="T95" fmla="*/ 134 h 282"/>
              <a:gd name="T96" fmla="*/ 238 w 298"/>
              <a:gd name="T97" fmla="*/ 142 h 282"/>
              <a:gd name="T98" fmla="*/ 242 w 298"/>
              <a:gd name="T99" fmla="*/ 144 h 282"/>
              <a:gd name="T100" fmla="*/ 294 w 298"/>
              <a:gd name="T101" fmla="*/ 198 h 282"/>
              <a:gd name="T102" fmla="*/ 104 w 298"/>
              <a:gd name="T103" fmla="*/ 270 h 282"/>
              <a:gd name="T104" fmla="*/ 104 w 298"/>
              <a:gd name="T105" fmla="*/ 270 h 282"/>
              <a:gd name="T106" fmla="*/ 100 w 298"/>
              <a:gd name="T107" fmla="*/ 274 h 282"/>
              <a:gd name="T108" fmla="*/ 108 w 298"/>
              <a:gd name="T109" fmla="*/ 274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98" h="282">
                <a:moveTo>
                  <a:pt x="290" y="218"/>
                </a:moveTo>
                <a:lnTo>
                  <a:pt x="246" y="238"/>
                </a:lnTo>
                <a:lnTo>
                  <a:pt x="236" y="238"/>
                </a:lnTo>
                <a:lnTo>
                  <a:pt x="232" y="240"/>
                </a:lnTo>
                <a:lnTo>
                  <a:pt x="206" y="240"/>
                </a:lnTo>
                <a:lnTo>
                  <a:pt x="194" y="252"/>
                </a:lnTo>
                <a:lnTo>
                  <a:pt x="190" y="260"/>
                </a:lnTo>
                <a:lnTo>
                  <a:pt x="186" y="264"/>
                </a:lnTo>
                <a:lnTo>
                  <a:pt x="182" y="270"/>
                </a:lnTo>
                <a:lnTo>
                  <a:pt x="180" y="270"/>
                </a:lnTo>
                <a:lnTo>
                  <a:pt x="176" y="270"/>
                </a:lnTo>
                <a:lnTo>
                  <a:pt x="172" y="268"/>
                </a:lnTo>
                <a:lnTo>
                  <a:pt x="168" y="268"/>
                </a:lnTo>
                <a:lnTo>
                  <a:pt x="164" y="268"/>
                </a:lnTo>
                <a:lnTo>
                  <a:pt x="152" y="264"/>
                </a:lnTo>
                <a:lnTo>
                  <a:pt x="142" y="264"/>
                </a:lnTo>
                <a:lnTo>
                  <a:pt x="138" y="264"/>
                </a:lnTo>
                <a:lnTo>
                  <a:pt x="134" y="264"/>
                </a:lnTo>
                <a:lnTo>
                  <a:pt x="134" y="268"/>
                </a:lnTo>
                <a:lnTo>
                  <a:pt x="130" y="264"/>
                </a:lnTo>
                <a:lnTo>
                  <a:pt x="126" y="264"/>
                </a:lnTo>
                <a:lnTo>
                  <a:pt x="122" y="264"/>
                </a:lnTo>
                <a:lnTo>
                  <a:pt x="122" y="268"/>
                </a:lnTo>
                <a:lnTo>
                  <a:pt x="122" y="270"/>
                </a:lnTo>
                <a:lnTo>
                  <a:pt x="122" y="274"/>
                </a:lnTo>
                <a:lnTo>
                  <a:pt x="122" y="278"/>
                </a:lnTo>
                <a:lnTo>
                  <a:pt x="120" y="278"/>
                </a:lnTo>
                <a:lnTo>
                  <a:pt x="120" y="282"/>
                </a:lnTo>
                <a:lnTo>
                  <a:pt x="116" y="282"/>
                </a:lnTo>
                <a:lnTo>
                  <a:pt x="116" y="278"/>
                </a:lnTo>
                <a:lnTo>
                  <a:pt x="116" y="274"/>
                </a:lnTo>
                <a:lnTo>
                  <a:pt x="112" y="274"/>
                </a:lnTo>
                <a:lnTo>
                  <a:pt x="112" y="270"/>
                </a:lnTo>
                <a:lnTo>
                  <a:pt x="112" y="268"/>
                </a:lnTo>
                <a:lnTo>
                  <a:pt x="112" y="270"/>
                </a:lnTo>
                <a:lnTo>
                  <a:pt x="112" y="268"/>
                </a:lnTo>
                <a:lnTo>
                  <a:pt x="112" y="264"/>
                </a:lnTo>
                <a:lnTo>
                  <a:pt x="108" y="264"/>
                </a:lnTo>
                <a:lnTo>
                  <a:pt x="108" y="260"/>
                </a:lnTo>
                <a:lnTo>
                  <a:pt x="104" y="256"/>
                </a:lnTo>
                <a:lnTo>
                  <a:pt x="100" y="256"/>
                </a:lnTo>
                <a:lnTo>
                  <a:pt x="100" y="252"/>
                </a:lnTo>
                <a:lnTo>
                  <a:pt x="100" y="248"/>
                </a:lnTo>
                <a:lnTo>
                  <a:pt x="96" y="248"/>
                </a:lnTo>
                <a:lnTo>
                  <a:pt x="96" y="244"/>
                </a:lnTo>
                <a:lnTo>
                  <a:pt x="96" y="240"/>
                </a:lnTo>
                <a:lnTo>
                  <a:pt x="92" y="240"/>
                </a:lnTo>
                <a:lnTo>
                  <a:pt x="96" y="238"/>
                </a:lnTo>
                <a:lnTo>
                  <a:pt x="92" y="238"/>
                </a:lnTo>
                <a:lnTo>
                  <a:pt x="92" y="234"/>
                </a:lnTo>
                <a:lnTo>
                  <a:pt x="90" y="230"/>
                </a:lnTo>
                <a:lnTo>
                  <a:pt x="90" y="226"/>
                </a:lnTo>
                <a:lnTo>
                  <a:pt x="90" y="222"/>
                </a:lnTo>
                <a:lnTo>
                  <a:pt x="86" y="222"/>
                </a:lnTo>
                <a:lnTo>
                  <a:pt x="86" y="218"/>
                </a:lnTo>
                <a:lnTo>
                  <a:pt x="82" y="218"/>
                </a:lnTo>
                <a:lnTo>
                  <a:pt x="82" y="214"/>
                </a:lnTo>
                <a:lnTo>
                  <a:pt x="78" y="214"/>
                </a:lnTo>
                <a:lnTo>
                  <a:pt x="74" y="214"/>
                </a:lnTo>
                <a:lnTo>
                  <a:pt x="74" y="212"/>
                </a:lnTo>
                <a:lnTo>
                  <a:pt x="70" y="212"/>
                </a:lnTo>
                <a:lnTo>
                  <a:pt x="70" y="208"/>
                </a:lnTo>
                <a:lnTo>
                  <a:pt x="70" y="204"/>
                </a:lnTo>
                <a:lnTo>
                  <a:pt x="66" y="204"/>
                </a:lnTo>
                <a:lnTo>
                  <a:pt x="66" y="200"/>
                </a:lnTo>
                <a:lnTo>
                  <a:pt x="64" y="198"/>
                </a:lnTo>
                <a:lnTo>
                  <a:pt x="66" y="194"/>
                </a:lnTo>
                <a:lnTo>
                  <a:pt x="64" y="190"/>
                </a:lnTo>
                <a:lnTo>
                  <a:pt x="64" y="186"/>
                </a:lnTo>
                <a:lnTo>
                  <a:pt x="64" y="182"/>
                </a:lnTo>
                <a:lnTo>
                  <a:pt x="64" y="178"/>
                </a:lnTo>
                <a:lnTo>
                  <a:pt x="64" y="174"/>
                </a:lnTo>
                <a:lnTo>
                  <a:pt x="64" y="172"/>
                </a:lnTo>
                <a:lnTo>
                  <a:pt x="64" y="168"/>
                </a:lnTo>
                <a:lnTo>
                  <a:pt x="60" y="168"/>
                </a:lnTo>
                <a:lnTo>
                  <a:pt x="64" y="168"/>
                </a:lnTo>
                <a:lnTo>
                  <a:pt x="60" y="164"/>
                </a:lnTo>
                <a:lnTo>
                  <a:pt x="60" y="160"/>
                </a:lnTo>
                <a:lnTo>
                  <a:pt x="56" y="156"/>
                </a:lnTo>
                <a:lnTo>
                  <a:pt x="56" y="152"/>
                </a:lnTo>
                <a:lnTo>
                  <a:pt x="52" y="148"/>
                </a:lnTo>
                <a:lnTo>
                  <a:pt x="48" y="144"/>
                </a:lnTo>
                <a:lnTo>
                  <a:pt x="44" y="144"/>
                </a:lnTo>
                <a:lnTo>
                  <a:pt x="44" y="142"/>
                </a:lnTo>
                <a:lnTo>
                  <a:pt x="44" y="144"/>
                </a:lnTo>
                <a:lnTo>
                  <a:pt x="40" y="144"/>
                </a:lnTo>
                <a:lnTo>
                  <a:pt x="40" y="142"/>
                </a:lnTo>
                <a:lnTo>
                  <a:pt x="40" y="138"/>
                </a:lnTo>
                <a:lnTo>
                  <a:pt x="36" y="138"/>
                </a:lnTo>
                <a:lnTo>
                  <a:pt x="36" y="134"/>
                </a:lnTo>
                <a:lnTo>
                  <a:pt x="36" y="130"/>
                </a:lnTo>
                <a:lnTo>
                  <a:pt x="36" y="126"/>
                </a:lnTo>
                <a:lnTo>
                  <a:pt x="36" y="122"/>
                </a:lnTo>
                <a:lnTo>
                  <a:pt x="34" y="118"/>
                </a:lnTo>
                <a:lnTo>
                  <a:pt x="34" y="116"/>
                </a:lnTo>
                <a:lnTo>
                  <a:pt x="34" y="118"/>
                </a:lnTo>
                <a:lnTo>
                  <a:pt x="30" y="118"/>
                </a:lnTo>
                <a:lnTo>
                  <a:pt x="30" y="116"/>
                </a:lnTo>
                <a:lnTo>
                  <a:pt x="30" y="112"/>
                </a:lnTo>
                <a:lnTo>
                  <a:pt x="26" y="112"/>
                </a:lnTo>
                <a:lnTo>
                  <a:pt x="26" y="108"/>
                </a:lnTo>
                <a:lnTo>
                  <a:pt x="26" y="104"/>
                </a:lnTo>
                <a:lnTo>
                  <a:pt x="22" y="100"/>
                </a:lnTo>
                <a:lnTo>
                  <a:pt x="22" y="96"/>
                </a:lnTo>
                <a:lnTo>
                  <a:pt x="18" y="96"/>
                </a:lnTo>
                <a:lnTo>
                  <a:pt x="18" y="92"/>
                </a:lnTo>
                <a:lnTo>
                  <a:pt x="18" y="90"/>
                </a:lnTo>
                <a:lnTo>
                  <a:pt x="14" y="90"/>
                </a:lnTo>
                <a:lnTo>
                  <a:pt x="14" y="86"/>
                </a:lnTo>
                <a:lnTo>
                  <a:pt x="14" y="82"/>
                </a:lnTo>
                <a:lnTo>
                  <a:pt x="10" y="82"/>
                </a:lnTo>
                <a:lnTo>
                  <a:pt x="10" y="78"/>
                </a:lnTo>
                <a:lnTo>
                  <a:pt x="6" y="74"/>
                </a:lnTo>
                <a:lnTo>
                  <a:pt x="4" y="74"/>
                </a:lnTo>
                <a:lnTo>
                  <a:pt x="0" y="74"/>
                </a:lnTo>
                <a:lnTo>
                  <a:pt x="4" y="70"/>
                </a:lnTo>
                <a:lnTo>
                  <a:pt x="4" y="66"/>
                </a:lnTo>
                <a:lnTo>
                  <a:pt x="4" y="64"/>
                </a:lnTo>
                <a:lnTo>
                  <a:pt x="4" y="60"/>
                </a:lnTo>
                <a:lnTo>
                  <a:pt x="4" y="56"/>
                </a:lnTo>
                <a:lnTo>
                  <a:pt x="6" y="52"/>
                </a:lnTo>
                <a:lnTo>
                  <a:pt x="10" y="52"/>
                </a:lnTo>
                <a:lnTo>
                  <a:pt x="14" y="52"/>
                </a:lnTo>
                <a:lnTo>
                  <a:pt x="22" y="56"/>
                </a:lnTo>
                <a:lnTo>
                  <a:pt x="26" y="52"/>
                </a:lnTo>
                <a:lnTo>
                  <a:pt x="30" y="48"/>
                </a:lnTo>
                <a:lnTo>
                  <a:pt x="30" y="44"/>
                </a:lnTo>
                <a:lnTo>
                  <a:pt x="36" y="40"/>
                </a:lnTo>
                <a:lnTo>
                  <a:pt x="40" y="40"/>
                </a:lnTo>
                <a:lnTo>
                  <a:pt x="44" y="34"/>
                </a:lnTo>
                <a:lnTo>
                  <a:pt x="48" y="30"/>
                </a:lnTo>
                <a:lnTo>
                  <a:pt x="44" y="22"/>
                </a:lnTo>
                <a:lnTo>
                  <a:pt x="40" y="22"/>
                </a:lnTo>
                <a:lnTo>
                  <a:pt x="40" y="18"/>
                </a:lnTo>
                <a:lnTo>
                  <a:pt x="34" y="10"/>
                </a:lnTo>
                <a:lnTo>
                  <a:pt x="36" y="10"/>
                </a:lnTo>
                <a:lnTo>
                  <a:pt x="40" y="10"/>
                </a:lnTo>
                <a:lnTo>
                  <a:pt x="44" y="10"/>
                </a:lnTo>
                <a:lnTo>
                  <a:pt x="48" y="8"/>
                </a:lnTo>
                <a:lnTo>
                  <a:pt x="56" y="8"/>
                </a:lnTo>
                <a:lnTo>
                  <a:pt x="64" y="4"/>
                </a:lnTo>
                <a:lnTo>
                  <a:pt x="66" y="0"/>
                </a:lnTo>
                <a:lnTo>
                  <a:pt x="70" y="0"/>
                </a:lnTo>
                <a:lnTo>
                  <a:pt x="78" y="4"/>
                </a:lnTo>
                <a:lnTo>
                  <a:pt x="82" y="4"/>
                </a:lnTo>
                <a:lnTo>
                  <a:pt x="96" y="14"/>
                </a:lnTo>
                <a:lnTo>
                  <a:pt x="108" y="18"/>
                </a:lnTo>
                <a:lnTo>
                  <a:pt x="120" y="30"/>
                </a:lnTo>
                <a:lnTo>
                  <a:pt x="120" y="34"/>
                </a:lnTo>
                <a:lnTo>
                  <a:pt x="130" y="40"/>
                </a:lnTo>
                <a:lnTo>
                  <a:pt x="146" y="56"/>
                </a:lnTo>
                <a:lnTo>
                  <a:pt x="164" y="56"/>
                </a:lnTo>
                <a:lnTo>
                  <a:pt x="168" y="56"/>
                </a:lnTo>
                <a:lnTo>
                  <a:pt x="172" y="56"/>
                </a:lnTo>
                <a:lnTo>
                  <a:pt x="176" y="56"/>
                </a:lnTo>
                <a:lnTo>
                  <a:pt x="182" y="60"/>
                </a:lnTo>
                <a:lnTo>
                  <a:pt x="186" y="64"/>
                </a:lnTo>
                <a:lnTo>
                  <a:pt x="186" y="66"/>
                </a:lnTo>
                <a:lnTo>
                  <a:pt x="194" y="66"/>
                </a:lnTo>
                <a:lnTo>
                  <a:pt x="198" y="66"/>
                </a:lnTo>
                <a:lnTo>
                  <a:pt x="198" y="70"/>
                </a:lnTo>
                <a:lnTo>
                  <a:pt x="198" y="74"/>
                </a:lnTo>
                <a:lnTo>
                  <a:pt x="202" y="74"/>
                </a:lnTo>
                <a:lnTo>
                  <a:pt x="202" y="78"/>
                </a:lnTo>
                <a:lnTo>
                  <a:pt x="202" y="82"/>
                </a:lnTo>
                <a:lnTo>
                  <a:pt x="202" y="78"/>
                </a:lnTo>
                <a:lnTo>
                  <a:pt x="202" y="82"/>
                </a:lnTo>
                <a:lnTo>
                  <a:pt x="206" y="86"/>
                </a:lnTo>
                <a:lnTo>
                  <a:pt x="206" y="82"/>
                </a:lnTo>
                <a:lnTo>
                  <a:pt x="206" y="86"/>
                </a:lnTo>
                <a:lnTo>
                  <a:pt x="210" y="86"/>
                </a:lnTo>
                <a:lnTo>
                  <a:pt x="206" y="86"/>
                </a:lnTo>
                <a:lnTo>
                  <a:pt x="210" y="90"/>
                </a:lnTo>
                <a:lnTo>
                  <a:pt x="210" y="92"/>
                </a:lnTo>
                <a:lnTo>
                  <a:pt x="212" y="92"/>
                </a:lnTo>
                <a:lnTo>
                  <a:pt x="212" y="96"/>
                </a:lnTo>
                <a:lnTo>
                  <a:pt x="216" y="96"/>
                </a:lnTo>
                <a:lnTo>
                  <a:pt x="220" y="96"/>
                </a:lnTo>
                <a:lnTo>
                  <a:pt x="220" y="100"/>
                </a:lnTo>
                <a:lnTo>
                  <a:pt x="220" y="104"/>
                </a:lnTo>
                <a:lnTo>
                  <a:pt x="224" y="108"/>
                </a:lnTo>
                <a:lnTo>
                  <a:pt x="220" y="112"/>
                </a:lnTo>
                <a:lnTo>
                  <a:pt x="220" y="108"/>
                </a:lnTo>
                <a:lnTo>
                  <a:pt x="220" y="112"/>
                </a:lnTo>
                <a:lnTo>
                  <a:pt x="220" y="116"/>
                </a:lnTo>
                <a:lnTo>
                  <a:pt x="224" y="118"/>
                </a:lnTo>
                <a:lnTo>
                  <a:pt x="220" y="118"/>
                </a:lnTo>
                <a:lnTo>
                  <a:pt x="224" y="122"/>
                </a:lnTo>
                <a:lnTo>
                  <a:pt x="228" y="122"/>
                </a:lnTo>
                <a:lnTo>
                  <a:pt x="228" y="126"/>
                </a:lnTo>
                <a:lnTo>
                  <a:pt x="228" y="130"/>
                </a:lnTo>
                <a:lnTo>
                  <a:pt x="232" y="134"/>
                </a:lnTo>
                <a:lnTo>
                  <a:pt x="232" y="138"/>
                </a:lnTo>
                <a:lnTo>
                  <a:pt x="236" y="138"/>
                </a:lnTo>
                <a:lnTo>
                  <a:pt x="238" y="138"/>
                </a:lnTo>
                <a:lnTo>
                  <a:pt x="238" y="142"/>
                </a:lnTo>
                <a:lnTo>
                  <a:pt x="238" y="144"/>
                </a:lnTo>
                <a:lnTo>
                  <a:pt x="238" y="142"/>
                </a:lnTo>
                <a:lnTo>
                  <a:pt x="238" y="144"/>
                </a:lnTo>
                <a:lnTo>
                  <a:pt x="242" y="144"/>
                </a:lnTo>
                <a:lnTo>
                  <a:pt x="256" y="168"/>
                </a:lnTo>
                <a:lnTo>
                  <a:pt x="290" y="172"/>
                </a:lnTo>
                <a:lnTo>
                  <a:pt x="298" y="182"/>
                </a:lnTo>
                <a:lnTo>
                  <a:pt x="294" y="198"/>
                </a:lnTo>
                <a:lnTo>
                  <a:pt x="290" y="218"/>
                </a:lnTo>
                <a:lnTo>
                  <a:pt x="290" y="218"/>
                </a:lnTo>
                <a:lnTo>
                  <a:pt x="290" y="218"/>
                </a:lnTo>
                <a:close/>
                <a:moveTo>
                  <a:pt x="104" y="270"/>
                </a:moveTo>
                <a:lnTo>
                  <a:pt x="104" y="274"/>
                </a:lnTo>
                <a:lnTo>
                  <a:pt x="104" y="270"/>
                </a:lnTo>
                <a:lnTo>
                  <a:pt x="104" y="270"/>
                </a:lnTo>
                <a:lnTo>
                  <a:pt x="104" y="270"/>
                </a:lnTo>
                <a:close/>
                <a:moveTo>
                  <a:pt x="108" y="278"/>
                </a:moveTo>
                <a:lnTo>
                  <a:pt x="104" y="278"/>
                </a:lnTo>
                <a:lnTo>
                  <a:pt x="104" y="274"/>
                </a:lnTo>
                <a:lnTo>
                  <a:pt x="100" y="274"/>
                </a:lnTo>
                <a:lnTo>
                  <a:pt x="104" y="274"/>
                </a:lnTo>
                <a:lnTo>
                  <a:pt x="108" y="274"/>
                </a:lnTo>
                <a:lnTo>
                  <a:pt x="104" y="274"/>
                </a:lnTo>
                <a:lnTo>
                  <a:pt x="108" y="274"/>
                </a:lnTo>
                <a:lnTo>
                  <a:pt x="108" y="278"/>
                </a:lnTo>
                <a:lnTo>
                  <a:pt x="108" y="278"/>
                </a:lnTo>
                <a:lnTo>
                  <a:pt x="108" y="278"/>
                </a:lnTo>
                <a:close/>
              </a:path>
            </a:pathLst>
          </a:custGeom>
          <a:solidFill>
            <a:srgbClr val="A0DCFF"/>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44" name="Freeform 51"/>
          <p:cNvSpPr>
            <a:spLocks/>
          </p:cNvSpPr>
          <p:nvPr/>
        </p:nvSpPr>
        <p:spPr bwMode="auto">
          <a:xfrm>
            <a:off x="6000750" y="3669505"/>
            <a:ext cx="9525" cy="4763"/>
          </a:xfrm>
          <a:custGeom>
            <a:avLst/>
            <a:gdLst>
              <a:gd name="T0" fmla="*/ 8 w 8"/>
              <a:gd name="T1" fmla="*/ 0 h 4"/>
              <a:gd name="T2" fmla="*/ 8 w 8"/>
              <a:gd name="T3" fmla="*/ 0 h 4"/>
              <a:gd name="T4" fmla="*/ 8 w 8"/>
              <a:gd name="T5" fmla="*/ 0 h 4"/>
              <a:gd name="T6" fmla="*/ 8 w 8"/>
              <a:gd name="T7" fmla="*/ 0 h 4"/>
              <a:gd name="T8" fmla="*/ 8 w 8"/>
              <a:gd name="T9" fmla="*/ 0 h 4"/>
              <a:gd name="T10" fmla="*/ 4 w 8"/>
              <a:gd name="T11" fmla="*/ 4 h 4"/>
              <a:gd name="T12" fmla="*/ 4 w 8"/>
              <a:gd name="T13" fmla="*/ 4 h 4"/>
              <a:gd name="T14" fmla="*/ 0 w 8"/>
              <a:gd name="T15" fmla="*/ 4 h 4"/>
              <a:gd name="T16" fmla="*/ 0 w 8"/>
              <a:gd name="T17" fmla="*/ 0 h 4"/>
              <a:gd name="T18" fmla="*/ 0 w 8"/>
              <a:gd name="T19" fmla="*/ 0 h 4"/>
              <a:gd name="T20" fmla="*/ 0 w 8"/>
              <a:gd name="T21" fmla="*/ 0 h 4"/>
              <a:gd name="T22" fmla="*/ 0 w 8"/>
              <a:gd name="T23" fmla="*/ 0 h 4"/>
              <a:gd name="T24" fmla="*/ 0 w 8"/>
              <a:gd name="T25" fmla="*/ 0 h 4"/>
              <a:gd name="T26" fmla="*/ 4 w 8"/>
              <a:gd name="T27" fmla="*/ 0 h 4"/>
              <a:gd name="T28" fmla="*/ 4 w 8"/>
              <a:gd name="T29" fmla="*/ 0 h 4"/>
              <a:gd name="T30" fmla="*/ 4 w 8"/>
              <a:gd name="T31" fmla="*/ 0 h 4"/>
              <a:gd name="T32" fmla="*/ 4 w 8"/>
              <a:gd name="T33" fmla="*/ 0 h 4"/>
              <a:gd name="T34" fmla="*/ 4 w 8"/>
              <a:gd name="T35" fmla="*/ 0 h 4"/>
              <a:gd name="T36" fmla="*/ 4 w 8"/>
              <a:gd name="T37" fmla="*/ 0 h 4"/>
              <a:gd name="T38" fmla="*/ 4 w 8"/>
              <a:gd name="T39" fmla="*/ 0 h 4"/>
              <a:gd name="T40" fmla="*/ 4 w 8"/>
              <a:gd name="T41" fmla="*/ 0 h 4"/>
              <a:gd name="T42" fmla="*/ 8 w 8"/>
              <a:gd name="T43" fmla="*/ 0 h 4"/>
              <a:gd name="T44" fmla="*/ 8 w 8"/>
              <a:gd name="T45" fmla="*/ 0 h 4"/>
              <a:gd name="T46" fmla="*/ 8 w 8"/>
              <a:gd name="T47" fmla="*/ 0 h 4"/>
              <a:gd name="T48" fmla="*/ 8 w 8"/>
              <a:gd name="T4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 h="4">
                <a:moveTo>
                  <a:pt x="8" y="0"/>
                </a:moveTo>
                <a:lnTo>
                  <a:pt x="8" y="0"/>
                </a:lnTo>
                <a:lnTo>
                  <a:pt x="8" y="0"/>
                </a:lnTo>
                <a:lnTo>
                  <a:pt x="8" y="0"/>
                </a:lnTo>
                <a:lnTo>
                  <a:pt x="8" y="0"/>
                </a:lnTo>
                <a:lnTo>
                  <a:pt x="4" y="4"/>
                </a:lnTo>
                <a:lnTo>
                  <a:pt x="4" y="4"/>
                </a:lnTo>
                <a:lnTo>
                  <a:pt x="0" y="4"/>
                </a:lnTo>
                <a:lnTo>
                  <a:pt x="0" y="0"/>
                </a:lnTo>
                <a:lnTo>
                  <a:pt x="0" y="0"/>
                </a:lnTo>
                <a:lnTo>
                  <a:pt x="0" y="0"/>
                </a:lnTo>
                <a:lnTo>
                  <a:pt x="0" y="0"/>
                </a:lnTo>
                <a:lnTo>
                  <a:pt x="0" y="0"/>
                </a:lnTo>
                <a:lnTo>
                  <a:pt x="4" y="0"/>
                </a:lnTo>
                <a:lnTo>
                  <a:pt x="4" y="0"/>
                </a:lnTo>
                <a:lnTo>
                  <a:pt x="4" y="0"/>
                </a:lnTo>
                <a:lnTo>
                  <a:pt x="4" y="0"/>
                </a:lnTo>
                <a:lnTo>
                  <a:pt x="4" y="0"/>
                </a:lnTo>
                <a:lnTo>
                  <a:pt x="4" y="0"/>
                </a:lnTo>
                <a:lnTo>
                  <a:pt x="4" y="0"/>
                </a:lnTo>
                <a:lnTo>
                  <a:pt x="4" y="0"/>
                </a:lnTo>
                <a:lnTo>
                  <a:pt x="8" y="0"/>
                </a:lnTo>
                <a:lnTo>
                  <a:pt x="8" y="0"/>
                </a:lnTo>
                <a:lnTo>
                  <a:pt x="8" y="0"/>
                </a:lnTo>
                <a:lnTo>
                  <a:pt x="8" y="0"/>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45" name="Freeform 52"/>
          <p:cNvSpPr>
            <a:spLocks noEditPoints="1"/>
          </p:cNvSpPr>
          <p:nvPr/>
        </p:nvSpPr>
        <p:spPr bwMode="auto">
          <a:xfrm>
            <a:off x="6381750" y="2883693"/>
            <a:ext cx="57150" cy="119063"/>
          </a:xfrm>
          <a:custGeom>
            <a:avLst/>
            <a:gdLst>
              <a:gd name="T0" fmla="*/ 4 w 48"/>
              <a:gd name="T1" fmla="*/ 40 h 100"/>
              <a:gd name="T2" fmla="*/ 0 w 48"/>
              <a:gd name="T3" fmla="*/ 34 h 100"/>
              <a:gd name="T4" fmla="*/ 0 w 48"/>
              <a:gd name="T5" fmla="*/ 38 h 100"/>
              <a:gd name="T6" fmla="*/ 0 w 48"/>
              <a:gd name="T7" fmla="*/ 34 h 100"/>
              <a:gd name="T8" fmla="*/ 0 w 48"/>
              <a:gd name="T9" fmla="*/ 30 h 100"/>
              <a:gd name="T10" fmla="*/ 4 w 48"/>
              <a:gd name="T11" fmla="*/ 30 h 100"/>
              <a:gd name="T12" fmla="*/ 12 w 48"/>
              <a:gd name="T13" fmla="*/ 34 h 100"/>
              <a:gd name="T14" fmla="*/ 8 w 48"/>
              <a:gd name="T15" fmla="*/ 26 h 100"/>
              <a:gd name="T16" fmla="*/ 4 w 48"/>
              <a:gd name="T17" fmla="*/ 18 h 100"/>
              <a:gd name="T18" fmla="*/ 8 w 48"/>
              <a:gd name="T19" fmla="*/ 10 h 100"/>
              <a:gd name="T20" fmla="*/ 16 w 48"/>
              <a:gd name="T21" fmla="*/ 4 h 100"/>
              <a:gd name="T22" fmla="*/ 26 w 48"/>
              <a:gd name="T23" fmla="*/ 4 h 100"/>
              <a:gd name="T24" fmla="*/ 34 w 48"/>
              <a:gd name="T25" fmla="*/ 4 h 100"/>
              <a:gd name="T26" fmla="*/ 38 w 48"/>
              <a:gd name="T27" fmla="*/ 14 h 100"/>
              <a:gd name="T28" fmla="*/ 44 w 48"/>
              <a:gd name="T29" fmla="*/ 22 h 100"/>
              <a:gd name="T30" fmla="*/ 44 w 48"/>
              <a:gd name="T31" fmla="*/ 34 h 100"/>
              <a:gd name="T32" fmla="*/ 44 w 48"/>
              <a:gd name="T33" fmla="*/ 48 h 100"/>
              <a:gd name="T34" fmla="*/ 44 w 48"/>
              <a:gd name="T35" fmla="*/ 60 h 100"/>
              <a:gd name="T36" fmla="*/ 38 w 48"/>
              <a:gd name="T37" fmla="*/ 64 h 100"/>
              <a:gd name="T38" fmla="*/ 30 w 48"/>
              <a:gd name="T39" fmla="*/ 66 h 100"/>
              <a:gd name="T40" fmla="*/ 30 w 48"/>
              <a:gd name="T41" fmla="*/ 70 h 100"/>
              <a:gd name="T42" fmla="*/ 26 w 48"/>
              <a:gd name="T43" fmla="*/ 70 h 100"/>
              <a:gd name="T44" fmla="*/ 18 w 48"/>
              <a:gd name="T45" fmla="*/ 66 h 100"/>
              <a:gd name="T46" fmla="*/ 18 w 48"/>
              <a:gd name="T47" fmla="*/ 74 h 100"/>
              <a:gd name="T48" fmla="*/ 16 w 48"/>
              <a:gd name="T49" fmla="*/ 74 h 100"/>
              <a:gd name="T50" fmla="*/ 16 w 48"/>
              <a:gd name="T51" fmla="*/ 74 h 100"/>
              <a:gd name="T52" fmla="*/ 16 w 48"/>
              <a:gd name="T53" fmla="*/ 70 h 100"/>
              <a:gd name="T54" fmla="*/ 8 w 48"/>
              <a:gd name="T55" fmla="*/ 78 h 100"/>
              <a:gd name="T56" fmla="*/ 4 w 48"/>
              <a:gd name="T57" fmla="*/ 82 h 100"/>
              <a:gd name="T58" fmla="*/ 0 w 48"/>
              <a:gd name="T59" fmla="*/ 74 h 100"/>
              <a:gd name="T60" fmla="*/ 4 w 48"/>
              <a:gd name="T61" fmla="*/ 70 h 100"/>
              <a:gd name="T62" fmla="*/ 4 w 48"/>
              <a:gd name="T63" fmla="*/ 66 h 100"/>
              <a:gd name="T64" fmla="*/ 4 w 48"/>
              <a:gd name="T65" fmla="*/ 66 h 100"/>
              <a:gd name="T66" fmla="*/ 4 w 48"/>
              <a:gd name="T67" fmla="*/ 56 h 100"/>
              <a:gd name="T68" fmla="*/ 8 w 48"/>
              <a:gd name="T69" fmla="*/ 52 h 100"/>
              <a:gd name="T70" fmla="*/ 4 w 48"/>
              <a:gd name="T71" fmla="*/ 48 h 100"/>
              <a:gd name="T72" fmla="*/ 8 w 48"/>
              <a:gd name="T73" fmla="*/ 48 h 100"/>
              <a:gd name="T74" fmla="*/ 4 w 48"/>
              <a:gd name="T75" fmla="*/ 14 h 100"/>
              <a:gd name="T76" fmla="*/ 4 w 48"/>
              <a:gd name="T77" fmla="*/ 40 h 100"/>
              <a:gd name="T78" fmla="*/ 4 w 48"/>
              <a:gd name="T79" fmla="*/ 38 h 100"/>
              <a:gd name="T80" fmla="*/ 4 w 48"/>
              <a:gd name="T81" fmla="*/ 40 h 100"/>
              <a:gd name="T82" fmla="*/ 34 w 48"/>
              <a:gd name="T83" fmla="*/ 70 h 100"/>
              <a:gd name="T84" fmla="*/ 38 w 48"/>
              <a:gd name="T85" fmla="*/ 66 h 100"/>
              <a:gd name="T86" fmla="*/ 22 w 48"/>
              <a:gd name="T87" fmla="*/ 70 h 100"/>
              <a:gd name="T88" fmla="*/ 22 w 48"/>
              <a:gd name="T89" fmla="*/ 70 h 100"/>
              <a:gd name="T90" fmla="*/ 26 w 48"/>
              <a:gd name="T91" fmla="*/ 66 h 100"/>
              <a:gd name="T92" fmla="*/ 0 w 48"/>
              <a:gd name="T93" fmla="*/ 78 h 100"/>
              <a:gd name="T94" fmla="*/ 4 w 48"/>
              <a:gd name="T95" fmla="*/ 78 h 100"/>
              <a:gd name="T96" fmla="*/ 12 w 48"/>
              <a:gd name="T97" fmla="*/ 94 h 100"/>
              <a:gd name="T98" fmla="*/ 8 w 48"/>
              <a:gd name="T99" fmla="*/ 100 h 100"/>
              <a:gd name="T100" fmla="*/ 0 w 48"/>
              <a:gd name="T101" fmla="*/ 96 h 100"/>
              <a:gd name="T102" fmla="*/ 8 w 48"/>
              <a:gd name="T103" fmla="*/ 94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8" h="100">
                <a:moveTo>
                  <a:pt x="8" y="48"/>
                </a:moveTo>
                <a:lnTo>
                  <a:pt x="4" y="44"/>
                </a:lnTo>
                <a:lnTo>
                  <a:pt x="4" y="40"/>
                </a:lnTo>
                <a:lnTo>
                  <a:pt x="4" y="38"/>
                </a:lnTo>
                <a:lnTo>
                  <a:pt x="4" y="34"/>
                </a:lnTo>
                <a:lnTo>
                  <a:pt x="0" y="34"/>
                </a:lnTo>
                <a:lnTo>
                  <a:pt x="0" y="38"/>
                </a:lnTo>
                <a:lnTo>
                  <a:pt x="0" y="34"/>
                </a:lnTo>
                <a:lnTo>
                  <a:pt x="0" y="38"/>
                </a:lnTo>
                <a:lnTo>
                  <a:pt x="0" y="34"/>
                </a:lnTo>
                <a:lnTo>
                  <a:pt x="0" y="30"/>
                </a:lnTo>
                <a:lnTo>
                  <a:pt x="0" y="34"/>
                </a:lnTo>
                <a:lnTo>
                  <a:pt x="4" y="34"/>
                </a:lnTo>
                <a:lnTo>
                  <a:pt x="4" y="30"/>
                </a:lnTo>
                <a:lnTo>
                  <a:pt x="0" y="30"/>
                </a:lnTo>
                <a:lnTo>
                  <a:pt x="4" y="30"/>
                </a:lnTo>
                <a:lnTo>
                  <a:pt x="4" y="34"/>
                </a:lnTo>
                <a:lnTo>
                  <a:pt x="4" y="30"/>
                </a:lnTo>
                <a:lnTo>
                  <a:pt x="8" y="30"/>
                </a:lnTo>
                <a:lnTo>
                  <a:pt x="8" y="34"/>
                </a:lnTo>
                <a:lnTo>
                  <a:pt x="12" y="34"/>
                </a:lnTo>
                <a:lnTo>
                  <a:pt x="12" y="30"/>
                </a:lnTo>
                <a:lnTo>
                  <a:pt x="8" y="30"/>
                </a:lnTo>
                <a:lnTo>
                  <a:pt x="8" y="26"/>
                </a:lnTo>
                <a:lnTo>
                  <a:pt x="8" y="22"/>
                </a:lnTo>
                <a:lnTo>
                  <a:pt x="8" y="18"/>
                </a:lnTo>
                <a:lnTo>
                  <a:pt x="4" y="18"/>
                </a:lnTo>
                <a:lnTo>
                  <a:pt x="4" y="14"/>
                </a:lnTo>
                <a:lnTo>
                  <a:pt x="8" y="14"/>
                </a:lnTo>
                <a:lnTo>
                  <a:pt x="8" y="10"/>
                </a:lnTo>
                <a:lnTo>
                  <a:pt x="12" y="8"/>
                </a:lnTo>
                <a:lnTo>
                  <a:pt x="12" y="4"/>
                </a:lnTo>
                <a:lnTo>
                  <a:pt x="16" y="4"/>
                </a:lnTo>
                <a:lnTo>
                  <a:pt x="18" y="4"/>
                </a:lnTo>
                <a:lnTo>
                  <a:pt x="22" y="4"/>
                </a:lnTo>
                <a:lnTo>
                  <a:pt x="26" y="4"/>
                </a:lnTo>
                <a:lnTo>
                  <a:pt x="30" y="4"/>
                </a:lnTo>
                <a:lnTo>
                  <a:pt x="30" y="0"/>
                </a:lnTo>
                <a:lnTo>
                  <a:pt x="34" y="4"/>
                </a:lnTo>
                <a:lnTo>
                  <a:pt x="34" y="8"/>
                </a:lnTo>
                <a:lnTo>
                  <a:pt x="38" y="10"/>
                </a:lnTo>
                <a:lnTo>
                  <a:pt x="38" y="14"/>
                </a:lnTo>
                <a:lnTo>
                  <a:pt x="40" y="14"/>
                </a:lnTo>
                <a:lnTo>
                  <a:pt x="40" y="18"/>
                </a:lnTo>
                <a:lnTo>
                  <a:pt x="44" y="22"/>
                </a:lnTo>
                <a:lnTo>
                  <a:pt x="44" y="26"/>
                </a:lnTo>
                <a:lnTo>
                  <a:pt x="44" y="30"/>
                </a:lnTo>
                <a:lnTo>
                  <a:pt x="44" y="34"/>
                </a:lnTo>
                <a:lnTo>
                  <a:pt x="44" y="38"/>
                </a:lnTo>
                <a:lnTo>
                  <a:pt x="44" y="40"/>
                </a:lnTo>
                <a:lnTo>
                  <a:pt x="44" y="48"/>
                </a:lnTo>
                <a:lnTo>
                  <a:pt x="48" y="48"/>
                </a:lnTo>
                <a:lnTo>
                  <a:pt x="44" y="56"/>
                </a:lnTo>
                <a:lnTo>
                  <a:pt x="44" y="60"/>
                </a:lnTo>
                <a:lnTo>
                  <a:pt x="40" y="64"/>
                </a:lnTo>
                <a:lnTo>
                  <a:pt x="38" y="66"/>
                </a:lnTo>
                <a:lnTo>
                  <a:pt x="38" y="64"/>
                </a:lnTo>
                <a:lnTo>
                  <a:pt x="38" y="66"/>
                </a:lnTo>
                <a:lnTo>
                  <a:pt x="34" y="64"/>
                </a:lnTo>
                <a:lnTo>
                  <a:pt x="30" y="66"/>
                </a:lnTo>
                <a:lnTo>
                  <a:pt x="34" y="66"/>
                </a:lnTo>
                <a:lnTo>
                  <a:pt x="34" y="70"/>
                </a:lnTo>
                <a:lnTo>
                  <a:pt x="30" y="70"/>
                </a:lnTo>
                <a:lnTo>
                  <a:pt x="30" y="66"/>
                </a:lnTo>
                <a:lnTo>
                  <a:pt x="30" y="70"/>
                </a:lnTo>
                <a:lnTo>
                  <a:pt x="26" y="70"/>
                </a:lnTo>
                <a:lnTo>
                  <a:pt x="26" y="66"/>
                </a:lnTo>
                <a:lnTo>
                  <a:pt x="22" y="66"/>
                </a:lnTo>
                <a:lnTo>
                  <a:pt x="18" y="66"/>
                </a:lnTo>
                <a:lnTo>
                  <a:pt x="18" y="70"/>
                </a:lnTo>
                <a:lnTo>
                  <a:pt x="22" y="70"/>
                </a:lnTo>
                <a:lnTo>
                  <a:pt x="18" y="74"/>
                </a:lnTo>
                <a:lnTo>
                  <a:pt x="18" y="70"/>
                </a:lnTo>
                <a:lnTo>
                  <a:pt x="16" y="70"/>
                </a:lnTo>
                <a:lnTo>
                  <a:pt x="16" y="74"/>
                </a:lnTo>
                <a:lnTo>
                  <a:pt x="18" y="74"/>
                </a:lnTo>
                <a:lnTo>
                  <a:pt x="16" y="78"/>
                </a:lnTo>
                <a:lnTo>
                  <a:pt x="16" y="74"/>
                </a:lnTo>
                <a:lnTo>
                  <a:pt x="12" y="74"/>
                </a:lnTo>
                <a:lnTo>
                  <a:pt x="16" y="74"/>
                </a:lnTo>
                <a:lnTo>
                  <a:pt x="16" y="70"/>
                </a:lnTo>
                <a:lnTo>
                  <a:pt x="12" y="74"/>
                </a:lnTo>
                <a:lnTo>
                  <a:pt x="12" y="78"/>
                </a:lnTo>
                <a:lnTo>
                  <a:pt x="8" y="78"/>
                </a:lnTo>
                <a:lnTo>
                  <a:pt x="8" y="74"/>
                </a:lnTo>
                <a:lnTo>
                  <a:pt x="8" y="78"/>
                </a:lnTo>
                <a:lnTo>
                  <a:pt x="4" y="82"/>
                </a:lnTo>
                <a:lnTo>
                  <a:pt x="4" y="78"/>
                </a:lnTo>
                <a:lnTo>
                  <a:pt x="4" y="74"/>
                </a:lnTo>
                <a:lnTo>
                  <a:pt x="0" y="74"/>
                </a:lnTo>
                <a:lnTo>
                  <a:pt x="0" y="70"/>
                </a:lnTo>
                <a:lnTo>
                  <a:pt x="4" y="74"/>
                </a:lnTo>
                <a:lnTo>
                  <a:pt x="4" y="70"/>
                </a:lnTo>
                <a:lnTo>
                  <a:pt x="8" y="70"/>
                </a:lnTo>
                <a:lnTo>
                  <a:pt x="4" y="70"/>
                </a:lnTo>
                <a:lnTo>
                  <a:pt x="4" y="66"/>
                </a:lnTo>
                <a:lnTo>
                  <a:pt x="0" y="66"/>
                </a:lnTo>
                <a:lnTo>
                  <a:pt x="0" y="64"/>
                </a:lnTo>
                <a:lnTo>
                  <a:pt x="4" y="66"/>
                </a:lnTo>
                <a:lnTo>
                  <a:pt x="4" y="64"/>
                </a:lnTo>
                <a:lnTo>
                  <a:pt x="4" y="60"/>
                </a:lnTo>
                <a:lnTo>
                  <a:pt x="4" y="56"/>
                </a:lnTo>
                <a:lnTo>
                  <a:pt x="8" y="56"/>
                </a:lnTo>
                <a:lnTo>
                  <a:pt x="4" y="56"/>
                </a:lnTo>
                <a:lnTo>
                  <a:pt x="8" y="52"/>
                </a:lnTo>
                <a:lnTo>
                  <a:pt x="8" y="48"/>
                </a:lnTo>
                <a:lnTo>
                  <a:pt x="8" y="52"/>
                </a:lnTo>
                <a:lnTo>
                  <a:pt x="4" y="48"/>
                </a:lnTo>
                <a:lnTo>
                  <a:pt x="8" y="48"/>
                </a:lnTo>
                <a:lnTo>
                  <a:pt x="8" y="48"/>
                </a:lnTo>
                <a:lnTo>
                  <a:pt x="8" y="48"/>
                </a:lnTo>
                <a:close/>
                <a:moveTo>
                  <a:pt x="4" y="14"/>
                </a:moveTo>
                <a:lnTo>
                  <a:pt x="4" y="18"/>
                </a:lnTo>
                <a:lnTo>
                  <a:pt x="4" y="14"/>
                </a:lnTo>
                <a:lnTo>
                  <a:pt x="4" y="14"/>
                </a:lnTo>
                <a:lnTo>
                  <a:pt x="4" y="14"/>
                </a:lnTo>
                <a:close/>
                <a:moveTo>
                  <a:pt x="4" y="40"/>
                </a:moveTo>
                <a:lnTo>
                  <a:pt x="0" y="40"/>
                </a:lnTo>
                <a:lnTo>
                  <a:pt x="0" y="38"/>
                </a:lnTo>
                <a:lnTo>
                  <a:pt x="4" y="38"/>
                </a:lnTo>
                <a:lnTo>
                  <a:pt x="4" y="40"/>
                </a:lnTo>
                <a:lnTo>
                  <a:pt x="4" y="40"/>
                </a:lnTo>
                <a:lnTo>
                  <a:pt x="4" y="40"/>
                </a:lnTo>
                <a:close/>
                <a:moveTo>
                  <a:pt x="38" y="66"/>
                </a:moveTo>
                <a:lnTo>
                  <a:pt x="38" y="70"/>
                </a:lnTo>
                <a:lnTo>
                  <a:pt x="34" y="70"/>
                </a:lnTo>
                <a:lnTo>
                  <a:pt x="34" y="66"/>
                </a:lnTo>
                <a:lnTo>
                  <a:pt x="38" y="66"/>
                </a:lnTo>
                <a:lnTo>
                  <a:pt x="38" y="66"/>
                </a:lnTo>
                <a:lnTo>
                  <a:pt x="38" y="66"/>
                </a:lnTo>
                <a:close/>
                <a:moveTo>
                  <a:pt x="26" y="66"/>
                </a:moveTo>
                <a:lnTo>
                  <a:pt x="22" y="70"/>
                </a:lnTo>
                <a:lnTo>
                  <a:pt x="26" y="70"/>
                </a:lnTo>
                <a:lnTo>
                  <a:pt x="26" y="74"/>
                </a:lnTo>
                <a:lnTo>
                  <a:pt x="22" y="70"/>
                </a:lnTo>
                <a:lnTo>
                  <a:pt x="22" y="66"/>
                </a:lnTo>
                <a:lnTo>
                  <a:pt x="26" y="66"/>
                </a:lnTo>
                <a:lnTo>
                  <a:pt x="26" y="66"/>
                </a:lnTo>
                <a:lnTo>
                  <a:pt x="26" y="66"/>
                </a:lnTo>
                <a:close/>
                <a:moveTo>
                  <a:pt x="4" y="78"/>
                </a:moveTo>
                <a:lnTo>
                  <a:pt x="0" y="78"/>
                </a:lnTo>
                <a:lnTo>
                  <a:pt x="0" y="74"/>
                </a:lnTo>
                <a:lnTo>
                  <a:pt x="4" y="78"/>
                </a:lnTo>
                <a:lnTo>
                  <a:pt x="4" y="78"/>
                </a:lnTo>
                <a:lnTo>
                  <a:pt x="4" y="78"/>
                </a:lnTo>
                <a:close/>
                <a:moveTo>
                  <a:pt x="8" y="94"/>
                </a:moveTo>
                <a:lnTo>
                  <a:pt x="12" y="94"/>
                </a:lnTo>
                <a:lnTo>
                  <a:pt x="12" y="96"/>
                </a:lnTo>
                <a:lnTo>
                  <a:pt x="8" y="96"/>
                </a:lnTo>
                <a:lnTo>
                  <a:pt x="8" y="100"/>
                </a:lnTo>
                <a:lnTo>
                  <a:pt x="4" y="100"/>
                </a:lnTo>
                <a:lnTo>
                  <a:pt x="0" y="100"/>
                </a:lnTo>
                <a:lnTo>
                  <a:pt x="0" y="96"/>
                </a:lnTo>
                <a:lnTo>
                  <a:pt x="4" y="96"/>
                </a:lnTo>
                <a:lnTo>
                  <a:pt x="8" y="94"/>
                </a:lnTo>
                <a:lnTo>
                  <a:pt x="8" y="94"/>
                </a:lnTo>
                <a:lnTo>
                  <a:pt x="8" y="94"/>
                </a:lnTo>
                <a:close/>
              </a:path>
            </a:pathLst>
          </a:custGeom>
          <a:solidFill>
            <a:srgbClr val="A0DCFF"/>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46" name="Freeform 53"/>
          <p:cNvSpPr>
            <a:spLocks noEditPoints="1"/>
          </p:cNvSpPr>
          <p:nvPr/>
        </p:nvSpPr>
        <p:spPr bwMode="auto">
          <a:xfrm>
            <a:off x="5595938" y="3495674"/>
            <a:ext cx="40481" cy="80963"/>
          </a:xfrm>
          <a:custGeom>
            <a:avLst/>
            <a:gdLst>
              <a:gd name="T0" fmla="*/ 4 w 34"/>
              <a:gd name="T1" fmla="*/ 16 h 68"/>
              <a:gd name="T2" fmla="*/ 0 w 34"/>
              <a:gd name="T3" fmla="*/ 16 h 68"/>
              <a:gd name="T4" fmla="*/ 4 w 34"/>
              <a:gd name="T5" fmla="*/ 16 h 68"/>
              <a:gd name="T6" fmla="*/ 30 w 34"/>
              <a:gd name="T7" fmla="*/ 56 h 68"/>
              <a:gd name="T8" fmla="*/ 30 w 34"/>
              <a:gd name="T9" fmla="*/ 60 h 68"/>
              <a:gd name="T10" fmla="*/ 20 w 34"/>
              <a:gd name="T11" fmla="*/ 68 h 68"/>
              <a:gd name="T12" fmla="*/ 20 w 34"/>
              <a:gd name="T13" fmla="*/ 68 h 68"/>
              <a:gd name="T14" fmla="*/ 12 w 34"/>
              <a:gd name="T15" fmla="*/ 68 h 68"/>
              <a:gd name="T16" fmla="*/ 8 w 34"/>
              <a:gd name="T17" fmla="*/ 64 h 68"/>
              <a:gd name="T18" fmla="*/ 4 w 34"/>
              <a:gd name="T19" fmla="*/ 56 h 68"/>
              <a:gd name="T20" fmla="*/ 4 w 34"/>
              <a:gd name="T21" fmla="*/ 52 h 68"/>
              <a:gd name="T22" fmla="*/ 4 w 34"/>
              <a:gd name="T23" fmla="*/ 48 h 68"/>
              <a:gd name="T24" fmla="*/ 4 w 34"/>
              <a:gd name="T25" fmla="*/ 42 h 68"/>
              <a:gd name="T26" fmla="*/ 4 w 34"/>
              <a:gd name="T27" fmla="*/ 34 h 68"/>
              <a:gd name="T28" fmla="*/ 4 w 34"/>
              <a:gd name="T29" fmla="*/ 34 h 68"/>
              <a:gd name="T30" fmla="*/ 0 w 34"/>
              <a:gd name="T31" fmla="*/ 30 h 68"/>
              <a:gd name="T32" fmla="*/ 4 w 34"/>
              <a:gd name="T33" fmla="*/ 34 h 68"/>
              <a:gd name="T34" fmla="*/ 4 w 34"/>
              <a:gd name="T35" fmla="*/ 34 h 68"/>
              <a:gd name="T36" fmla="*/ 4 w 34"/>
              <a:gd name="T37" fmla="*/ 34 h 68"/>
              <a:gd name="T38" fmla="*/ 4 w 34"/>
              <a:gd name="T39" fmla="*/ 22 h 68"/>
              <a:gd name="T40" fmla="*/ 4 w 34"/>
              <a:gd name="T41" fmla="*/ 16 h 68"/>
              <a:gd name="T42" fmla="*/ 8 w 34"/>
              <a:gd name="T43" fmla="*/ 16 h 68"/>
              <a:gd name="T44" fmla="*/ 8 w 34"/>
              <a:gd name="T45" fmla="*/ 12 h 68"/>
              <a:gd name="T46" fmla="*/ 8 w 34"/>
              <a:gd name="T47" fmla="*/ 8 h 68"/>
              <a:gd name="T48" fmla="*/ 8 w 34"/>
              <a:gd name="T49" fmla="*/ 8 h 68"/>
              <a:gd name="T50" fmla="*/ 8 w 34"/>
              <a:gd name="T51" fmla="*/ 8 h 68"/>
              <a:gd name="T52" fmla="*/ 16 w 34"/>
              <a:gd name="T53" fmla="*/ 8 h 68"/>
              <a:gd name="T54" fmla="*/ 16 w 34"/>
              <a:gd name="T55" fmla="*/ 8 h 68"/>
              <a:gd name="T56" fmla="*/ 12 w 34"/>
              <a:gd name="T57" fmla="*/ 8 h 68"/>
              <a:gd name="T58" fmla="*/ 8 w 34"/>
              <a:gd name="T59" fmla="*/ 4 h 68"/>
              <a:gd name="T60" fmla="*/ 8 w 34"/>
              <a:gd name="T61" fmla="*/ 4 h 68"/>
              <a:gd name="T62" fmla="*/ 8 w 34"/>
              <a:gd name="T63" fmla="*/ 4 h 68"/>
              <a:gd name="T64" fmla="*/ 4 w 34"/>
              <a:gd name="T65" fmla="*/ 0 h 68"/>
              <a:gd name="T66" fmla="*/ 8 w 34"/>
              <a:gd name="T67" fmla="*/ 4 h 68"/>
              <a:gd name="T68" fmla="*/ 8 w 34"/>
              <a:gd name="T69" fmla="*/ 4 h 68"/>
              <a:gd name="T70" fmla="*/ 12 w 34"/>
              <a:gd name="T71" fmla="*/ 4 h 68"/>
              <a:gd name="T72" fmla="*/ 8 w 34"/>
              <a:gd name="T73" fmla="*/ 4 h 68"/>
              <a:gd name="T74" fmla="*/ 12 w 34"/>
              <a:gd name="T75" fmla="*/ 0 h 68"/>
              <a:gd name="T76" fmla="*/ 12 w 34"/>
              <a:gd name="T77" fmla="*/ 4 h 68"/>
              <a:gd name="T78" fmla="*/ 16 w 34"/>
              <a:gd name="T79" fmla="*/ 8 h 68"/>
              <a:gd name="T80" fmla="*/ 16 w 34"/>
              <a:gd name="T81" fmla="*/ 8 h 68"/>
              <a:gd name="T82" fmla="*/ 20 w 34"/>
              <a:gd name="T83" fmla="*/ 12 h 68"/>
              <a:gd name="T84" fmla="*/ 20 w 34"/>
              <a:gd name="T85" fmla="*/ 16 h 68"/>
              <a:gd name="T86" fmla="*/ 20 w 34"/>
              <a:gd name="T87" fmla="*/ 18 h 68"/>
              <a:gd name="T88" fmla="*/ 24 w 34"/>
              <a:gd name="T89" fmla="*/ 22 h 68"/>
              <a:gd name="T90" fmla="*/ 24 w 34"/>
              <a:gd name="T91" fmla="*/ 22 h 68"/>
              <a:gd name="T92" fmla="*/ 24 w 34"/>
              <a:gd name="T93" fmla="*/ 26 h 68"/>
              <a:gd name="T94" fmla="*/ 26 w 34"/>
              <a:gd name="T95" fmla="*/ 26 h 68"/>
              <a:gd name="T96" fmla="*/ 26 w 34"/>
              <a:gd name="T97" fmla="*/ 30 h 68"/>
              <a:gd name="T98" fmla="*/ 30 w 34"/>
              <a:gd name="T99" fmla="*/ 38 h 68"/>
              <a:gd name="T100" fmla="*/ 30 w 34"/>
              <a:gd name="T101" fmla="*/ 38 h 68"/>
              <a:gd name="T102" fmla="*/ 30 w 34"/>
              <a:gd name="T103" fmla="*/ 42 h 68"/>
              <a:gd name="T104" fmla="*/ 30 w 34"/>
              <a:gd name="T105" fmla="*/ 42 h 68"/>
              <a:gd name="T106" fmla="*/ 34 w 34"/>
              <a:gd name="T107" fmla="*/ 46 h 68"/>
              <a:gd name="T108" fmla="*/ 34 w 34"/>
              <a:gd name="T109" fmla="*/ 48 h 68"/>
              <a:gd name="T110" fmla="*/ 30 w 34"/>
              <a:gd name="T111" fmla="*/ 5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4" h="68">
                <a:moveTo>
                  <a:pt x="4" y="16"/>
                </a:moveTo>
                <a:lnTo>
                  <a:pt x="4" y="16"/>
                </a:lnTo>
                <a:lnTo>
                  <a:pt x="4" y="16"/>
                </a:lnTo>
                <a:lnTo>
                  <a:pt x="4" y="16"/>
                </a:lnTo>
                <a:lnTo>
                  <a:pt x="4" y="16"/>
                </a:lnTo>
                <a:lnTo>
                  <a:pt x="4" y="16"/>
                </a:lnTo>
                <a:lnTo>
                  <a:pt x="4" y="16"/>
                </a:lnTo>
                <a:lnTo>
                  <a:pt x="4" y="16"/>
                </a:lnTo>
                <a:lnTo>
                  <a:pt x="0" y="16"/>
                </a:lnTo>
                <a:lnTo>
                  <a:pt x="0" y="16"/>
                </a:lnTo>
                <a:lnTo>
                  <a:pt x="4" y="16"/>
                </a:lnTo>
                <a:lnTo>
                  <a:pt x="4" y="16"/>
                </a:lnTo>
                <a:lnTo>
                  <a:pt x="4" y="16"/>
                </a:lnTo>
                <a:lnTo>
                  <a:pt x="4" y="16"/>
                </a:lnTo>
                <a:lnTo>
                  <a:pt x="4" y="16"/>
                </a:lnTo>
                <a:close/>
                <a:moveTo>
                  <a:pt x="30" y="56"/>
                </a:moveTo>
                <a:lnTo>
                  <a:pt x="30" y="56"/>
                </a:lnTo>
                <a:lnTo>
                  <a:pt x="30" y="56"/>
                </a:lnTo>
                <a:lnTo>
                  <a:pt x="30" y="56"/>
                </a:lnTo>
                <a:lnTo>
                  <a:pt x="30" y="56"/>
                </a:lnTo>
                <a:lnTo>
                  <a:pt x="30" y="60"/>
                </a:lnTo>
                <a:lnTo>
                  <a:pt x="30" y="60"/>
                </a:lnTo>
                <a:lnTo>
                  <a:pt x="30" y="60"/>
                </a:lnTo>
                <a:lnTo>
                  <a:pt x="30" y="60"/>
                </a:lnTo>
                <a:lnTo>
                  <a:pt x="30" y="60"/>
                </a:lnTo>
                <a:lnTo>
                  <a:pt x="26" y="64"/>
                </a:lnTo>
                <a:lnTo>
                  <a:pt x="26" y="64"/>
                </a:lnTo>
                <a:lnTo>
                  <a:pt x="26" y="64"/>
                </a:lnTo>
                <a:lnTo>
                  <a:pt x="24" y="64"/>
                </a:lnTo>
                <a:lnTo>
                  <a:pt x="20" y="68"/>
                </a:lnTo>
                <a:lnTo>
                  <a:pt x="20" y="68"/>
                </a:lnTo>
                <a:lnTo>
                  <a:pt x="20" y="68"/>
                </a:lnTo>
                <a:lnTo>
                  <a:pt x="20" y="68"/>
                </a:lnTo>
                <a:lnTo>
                  <a:pt x="20" y="68"/>
                </a:lnTo>
                <a:lnTo>
                  <a:pt x="20" y="68"/>
                </a:lnTo>
                <a:lnTo>
                  <a:pt x="16" y="68"/>
                </a:lnTo>
                <a:lnTo>
                  <a:pt x="16" y="68"/>
                </a:lnTo>
                <a:lnTo>
                  <a:pt x="16" y="68"/>
                </a:lnTo>
                <a:lnTo>
                  <a:pt x="12" y="68"/>
                </a:lnTo>
                <a:lnTo>
                  <a:pt x="12" y="68"/>
                </a:lnTo>
                <a:lnTo>
                  <a:pt x="12" y="68"/>
                </a:lnTo>
                <a:lnTo>
                  <a:pt x="8" y="68"/>
                </a:lnTo>
                <a:lnTo>
                  <a:pt x="8" y="68"/>
                </a:lnTo>
                <a:lnTo>
                  <a:pt x="8" y="64"/>
                </a:lnTo>
                <a:lnTo>
                  <a:pt x="8" y="64"/>
                </a:lnTo>
                <a:lnTo>
                  <a:pt x="8" y="64"/>
                </a:lnTo>
                <a:lnTo>
                  <a:pt x="8" y="60"/>
                </a:lnTo>
                <a:lnTo>
                  <a:pt x="8" y="60"/>
                </a:lnTo>
                <a:lnTo>
                  <a:pt x="4" y="60"/>
                </a:lnTo>
                <a:lnTo>
                  <a:pt x="4" y="56"/>
                </a:lnTo>
                <a:lnTo>
                  <a:pt x="4" y="56"/>
                </a:lnTo>
                <a:lnTo>
                  <a:pt x="4" y="56"/>
                </a:lnTo>
                <a:lnTo>
                  <a:pt x="4" y="56"/>
                </a:lnTo>
                <a:lnTo>
                  <a:pt x="4" y="52"/>
                </a:lnTo>
                <a:lnTo>
                  <a:pt x="4" y="52"/>
                </a:lnTo>
                <a:lnTo>
                  <a:pt x="4" y="52"/>
                </a:lnTo>
                <a:lnTo>
                  <a:pt x="4" y="52"/>
                </a:lnTo>
                <a:lnTo>
                  <a:pt x="4" y="48"/>
                </a:lnTo>
                <a:lnTo>
                  <a:pt x="4" y="48"/>
                </a:lnTo>
                <a:lnTo>
                  <a:pt x="4" y="48"/>
                </a:lnTo>
                <a:lnTo>
                  <a:pt x="4" y="46"/>
                </a:lnTo>
                <a:lnTo>
                  <a:pt x="4" y="46"/>
                </a:lnTo>
                <a:lnTo>
                  <a:pt x="4" y="46"/>
                </a:lnTo>
                <a:lnTo>
                  <a:pt x="4" y="46"/>
                </a:lnTo>
                <a:lnTo>
                  <a:pt x="4" y="42"/>
                </a:lnTo>
                <a:lnTo>
                  <a:pt x="4" y="42"/>
                </a:lnTo>
                <a:lnTo>
                  <a:pt x="4" y="38"/>
                </a:lnTo>
                <a:lnTo>
                  <a:pt x="4" y="38"/>
                </a:lnTo>
                <a:lnTo>
                  <a:pt x="4" y="38"/>
                </a:lnTo>
                <a:lnTo>
                  <a:pt x="4" y="34"/>
                </a:lnTo>
                <a:lnTo>
                  <a:pt x="4" y="34"/>
                </a:lnTo>
                <a:lnTo>
                  <a:pt x="4" y="34"/>
                </a:lnTo>
                <a:lnTo>
                  <a:pt x="4" y="34"/>
                </a:lnTo>
                <a:lnTo>
                  <a:pt x="4" y="34"/>
                </a:lnTo>
                <a:lnTo>
                  <a:pt x="4" y="34"/>
                </a:lnTo>
                <a:lnTo>
                  <a:pt x="4" y="34"/>
                </a:lnTo>
                <a:lnTo>
                  <a:pt x="4" y="34"/>
                </a:lnTo>
                <a:lnTo>
                  <a:pt x="0" y="34"/>
                </a:lnTo>
                <a:lnTo>
                  <a:pt x="0" y="30"/>
                </a:lnTo>
                <a:lnTo>
                  <a:pt x="0" y="30"/>
                </a:lnTo>
                <a:lnTo>
                  <a:pt x="0" y="30"/>
                </a:lnTo>
                <a:lnTo>
                  <a:pt x="4" y="30"/>
                </a:lnTo>
                <a:lnTo>
                  <a:pt x="4" y="30"/>
                </a:lnTo>
                <a:lnTo>
                  <a:pt x="4" y="30"/>
                </a:lnTo>
                <a:lnTo>
                  <a:pt x="4" y="34"/>
                </a:lnTo>
                <a:lnTo>
                  <a:pt x="4" y="34"/>
                </a:lnTo>
                <a:lnTo>
                  <a:pt x="4" y="34"/>
                </a:lnTo>
                <a:lnTo>
                  <a:pt x="4" y="34"/>
                </a:lnTo>
                <a:lnTo>
                  <a:pt x="4" y="34"/>
                </a:lnTo>
                <a:lnTo>
                  <a:pt x="4" y="34"/>
                </a:lnTo>
                <a:lnTo>
                  <a:pt x="4" y="34"/>
                </a:lnTo>
                <a:lnTo>
                  <a:pt x="4" y="34"/>
                </a:lnTo>
                <a:lnTo>
                  <a:pt x="4" y="34"/>
                </a:lnTo>
                <a:lnTo>
                  <a:pt x="4" y="34"/>
                </a:lnTo>
                <a:lnTo>
                  <a:pt x="4" y="34"/>
                </a:lnTo>
                <a:lnTo>
                  <a:pt x="4" y="34"/>
                </a:lnTo>
                <a:lnTo>
                  <a:pt x="4" y="30"/>
                </a:lnTo>
                <a:lnTo>
                  <a:pt x="4" y="22"/>
                </a:lnTo>
                <a:lnTo>
                  <a:pt x="4" y="22"/>
                </a:lnTo>
                <a:lnTo>
                  <a:pt x="4" y="22"/>
                </a:lnTo>
                <a:lnTo>
                  <a:pt x="4" y="22"/>
                </a:lnTo>
                <a:lnTo>
                  <a:pt x="4" y="18"/>
                </a:lnTo>
                <a:lnTo>
                  <a:pt x="4" y="18"/>
                </a:lnTo>
                <a:lnTo>
                  <a:pt x="4" y="18"/>
                </a:lnTo>
                <a:lnTo>
                  <a:pt x="4" y="16"/>
                </a:lnTo>
                <a:lnTo>
                  <a:pt x="4" y="16"/>
                </a:lnTo>
                <a:lnTo>
                  <a:pt x="8" y="16"/>
                </a:lnTo>
                <a:lnTo>
                  <a:pt x="8" y="16"/>
                </a:lnTo>
                <a:lnTo>
                  <a:pt x="8" y="16"/>
                </a:lnTo>
                <a:lnTo>
                  <a:pt x="8" y="16"/>
                </a:lnTo>
                <a:lnTo>
                  <a:pt x="8" y="12"/>
                </a:lnTo>
                <a:lnTo>
                  <a:pt x="8" y="12"/>
                </a:lnTo>
                <a:lnTo>
                  <a:pt x="8" y="12"/>
                </a:lnTo>
                <a:lnTo>
                  <a:pt x="8" y="12"/>
                </a:lnTo>
                <a:lnTo>
                  <a:pt x="8" y="12"/>
                </a:lnTo>
                <a:lnTo>
                  <a:pt x="8" y="12"/>
                </a:lnTo>
                <a:lnTo>
                  <a:pt x="8" y="8"/>
                </a:lnTo>
                <a:lnTo>
                  <a:pt x="8" y="8"/>
                </a:lnTo>
                <a:lnTo>
                  <a:pt x="8" y="8"/>
                </a:lnTo>
                <a:lnTo>
                  <a:pt x="8" y="8"/>
                </a:lnTo>
                <a:lnTo>
                  <a:pt x="8" y="8"/>
                </a:lnTo>
                <a:lnTo>
                  <a:pt x="8" y="8"/>
                </a:lnTo>
                <a:lnTo>
                  <a:pt x="8" y="8"/>
                </a:lnTo>
                <a:lnTo>
                  <a:pt x="8" y="8"/>
                </a:lnTo>
                <a:lnTo>
                  <a:pt x="8" y="8"/>
                </a:lnTo>
                <a:lnTo>
                  <a:pt x="8" y="4"/>
                </a:lnTo>
                <a:lnTo>
                  <a:pt x="8" y="4"/>
                </a:lnTo>
                <a:lnTo>
                  <a:pt x="8" y="4"/>
                </a:lnTo>
                <a:lnTo>
                  <a:pt x="8" y="4"/>
                </a:lnTo>
                <a:lnTo>
                  <a:pt x="8" y="8"/>
                </a:lnTo>
                <a:lnTo>
                  <a:pt x="12" y="8"/>
                </a:lnTo>
                <a:lnTo>
                  <a:pt x="12" y="8"/>
                </a:lnTo>
                <a:lnTo>
                  <a:pt x="12" y="8"/>
                </a:lnTo>
                <a:lnTo>
                  <a:pt x="16" y="8"/>
                </a:lnTo>
                <a:lnTo>
                  <a:pt x="16" y="8"/>
                </a:lnTo>
                <a:lnTo>
                  <a:pt x="16" y="8"/>
                </a:lnTo>
                <a:lnTo>
                  <a:pt x="16" y="8"/>
                </a:lnTo>
                <a:lnTo>
                  <a:pt x="16" y="8"/>
                </a:lnTo>
                <a:lnTo>
                  <a:pt x="16" y="8"/>
                </a:lnTo>
                <a:lnTo>
                  <a:pt x="16" y="8"/>
                </a:lnTo>
                <a:lnTo>
                  <a:pt x="16" y="8"/>
                </a:lnTo>
                <a:lnTo>
                  <a:pt x="12" y="8"/>
                </a:lnTo>
                <a:lnTo>
                  <a:pt x="12" y="8"/>
                </a:lnTo>
                <a:lnTo>
                  <a:pt x="12" y="8"/>
                </a:lnTo>
                <a:lnTo>
                  <a:pt x="12" y="8"/>
                </a:lnTo>
                <a:lnTo>
                  <a:pt x="12" y="8"/>
                </a:lnTo>
                <a:lnTo>
                  <a:pt x="12" y="8"/>
                </a:lnTo>
                <a:lnTo>
                  <a:pt x="12" y="4"/>
                </a:lnTo>
                <a:lnTo>
                  <a:pt x="8" y="4"/>
                </a:lnTo>
                <a:lnTo>
                  <a:pt x="8" y="4"/>
                </a:lnTo>
                <a:lnTo>
                  <a:pt x="8" y="4"/>
                </a:lnTo>
                <a:lnTo>
                  <a:pt x="8" y="4"/>
                </a:lnTo>
                <a:lnTo>
                  <a:pt x="8" y="4"/>
                </a:lnTo>
                <a:lnTo>
                  <a:pt x="8" y="4"/>
                </a:lnTo>
                <a:lnTo>
                  <a:pt x="8" y="4"/>
                </a:lnTo>
                <a:lnTo>
                  <a:pt x="8" y="4"/>
                </a:lnTo>
                <a:lnTo>
                  <a:pt x="8" y="4"/>
                </a:lnTo>
                <a:lnTo>
                  <a:pt x="8" y="8"/>
                </a:lnTo>
                <a:lnTo>
                  <a:pt x="8" y="4"/>
                </a:lnTo>
                <a:lnTo>
                  <a:pt x="8" y="4"/>
                </a:lnTo>
                <a:lnTo>
                  <a:pt x="4" y="4"/>
                </a:lnTo>
                <a:lnTo>
                  <a:pt x="4" y="4"/>
                </a:lnTo>
                <a:lnTo>
                  <a:pt x="4" y="4"/>
                </a:lnTo>
                <a:lnTo>
                  <a:pt x="4" y="4"/>
                </a:lnTo>
                <a:lnTo>
                  <a:pt x="4" y="0"/>
                </a:lnTo>
                <a:lnTo>
                  <a:pt x="8" y="0"/>
                </a:lnTo>
                <a:lnTo>
                  <a:pt x="8" y="0"/>
                </a:lnTo>
                <a:lnTo>
                  <a:pt x="8" y="0"/>
                </a:lnTo>
                <a:lnTo>
                  <a:pt x="8" y="0"/>
                </a:lnTo>
                <a:lnTo>
                  <a:pt x="8" y="4"/>
                </a:lnTo>
                <a:lnTo>
                  <a:pt x="8" y="4"/>
                </a:lnTo>
                <a:lnTo>
                  <a:pt x="8" y="4"/>
                </a:lnTo>
                <a:lnTo>
                  <a:pt x="8" y="4"/>
                </a:lnTo>
                <a:lnTo>
                  <a:pt x="8" y="4"/>
                </a:lnTo>
                <a:lnTo>
                  <a:pt x="8" y="4"/>
                </a:lnTo>
                <a:lnTo>
                  <a:pt x="12" y="4"/>
                </a:lnTo>
                <a:lnTo>
                  <a:pt x="12" y="4"/>
                </a:lnTo>
                <a:lnTo>
                  <a:pt x="12" y="4"/>
                </a:lnTo>
                <a:lnTo>
                  <a:pt x="12" y="4"/>
                </a:lnTo>
                <a:lnTo>
                  <a:pt x="12" y="4"/>
                </a:lnTo>
                <a:lnTo>
                  <a:pt x="12" y="4"/>
                </a:lnTo>
                <a:lnTo>
                  <a:pt x="12" y="8"/>
                </a:lnTo>
                <a:lnTo>
                  <a:pt x="12" y="4"/>
                </a:lnTo>
                <a:lnTo>
                  <a:pt x="8" y="4"/>
                </a:lnTo>
                <a:lnTo>
                  <a:pt x="8" y="4"/>
                </a:lnTo>
                <a:lnTo>
                  <a:pt x="8" y="4"/>
                </a:lnTo>
                <a:lnTo>
                  <a:pt x="8" y="4"/>
                </a:lnTo>
                <a:lnTo>
                  <a:pt x="8" y="4"/>
                </a:lnTo>
                <a:lnTo>
                  <a:pt x="8" y="0"/>
                </a:lnTo>
                <a:lnTo>
                  <a:pt x="12" y="0"/>
                </a:lnTo>
                <a:lnTo>
                  <a:pt x="12" y="0"/>
                </a:lnTo>
                <a:lnTo>
                  <a:pt x="12" y="0"/>
                </a:lnTo>
                <a:lnTo>
                  <a:pt x="12" y="0"/>
                </a:lnTo>
                <a:lnTo>
                  <a:pt x="12" y="4"/>
                </a:lnTo>
                <a:lnTo>
                  <a:pt x="12" y="4"/>
                </a:lnTo>
                <a:lnTo>
                  <a:pt x="12" y="4"/>
                </a:lnTo>
                <a:lnTo>
                  <a:pt x="12" y="4"/>
                </a:lnTo>
                <a:lnTo>
                  <a:pt x="12" y="4"/>
                </a:lnTo>
                <a:lnTo>
                  <a:pt x="16" y="8"/>
                </a:lnTo>
                <a:lnTo>
                  <a:pt x="16" y="8"/>
                </a:lnTo>
                <a:lnTo>
                  <a:pt x="16" y="8"/>
                </a:lnTo>
                <a:lnTo>
                  <a:pt x="16" y="8"/>
                </a:lnTo>
                <a:lnTo>
                  <a:pt x="16" y="8"/>
                </a:lnTo>
                <a:lnTo>
                  <a:pt x="16" y="8"/>
                </a:lnTo>
                <a:lnTo>
                  <a:pt x="16" y="8"/>
                </a:lnTo>
                <a:lnTo>
                  <a:pt x="16" y="12"/>
                </a:lnTo>
                <a:lnTo>
                  <a:pt x="20" y="12"/>
                </a:lnTo>
                <a:lnTo>
                  <a:pt x="20" y="12"/>
                </a:lnTo>
                <a:lnTo>
                  <a:pt x="20" y="12"/>
                </a:lnTo>
                <a:lnTo>
                  <a:pt x="20" y="12"/>
                </a:lnTo>
                <a:lnTo>
                  <a:pt x="20" y="16"/>
                </a:lnTo>
                <a:lnTo>
                  <a:pt x="20" y="16"/>
                </a:lnTo>
                <a:lnTo>
                  <a:pt x="20" y="16"/>
                </a:lnTo>
                <a:lnTo>
                  <a:pt x="20" y="16"/>
                </a:lnTo>
                <a:lnTo>
                  <a:pt x="20" y="16"/>
                </a:lnTo>
                <a:lnTo>
                  <a:pt x="20" y="18"/>
                </a:lnTo>
                <a:lnTo>
                  <a:pt x="20" y="18"/>
                </a:lnTo>
                <a:lnTo>
                  <a:pt x="20" y="16"/>
                </a:lnTo>
                <a:lnTo>
                  <a:pt x="20" y="16"/>
                </a:lnTo>
                <a:lnTo>
                  <a:pt x="20" y="18"/>
                </a:lnTo>
                <a:lnTo>
                  <a:pt x="24" y="18"/>
                </a:lnTo>
                <a:lnTo>
                  <a:pt x="24" y="22"/>
                </a:lnTo>
                <a:lnTo>
                  <a:pt x="24" y="22"/>
                </a:lnTo>
                <a:lnTo>
                  <a:pt x="24" y="22"/>
                </a:lnTo>
                <a:lnTo>
                  <a:pt x="24" y="22"/>
                </a:lnTo>
                <a:lnTo>
                  <a:pt x="24" y="22"/>
                </a:lnTo>
                <a:lnTo>
                  <a:pt x="24" y="22"/>
                </a:lnTo>
                <a:lnTo>
                  <a:pt x="24" y="22"/>
                </a:lnTo>
                <a:lnTo>
                  <a:pt x="24" y="22"/>
                </a:lnTo>
                <a:lnTo>
                  <a:pt x="24" y="22"/>
                </a:lnTo>
                <a:lnTo>
                  <a:pt x="24" y="22"/>
                </a:lnTo>
                <a:lnTo>
                  <a:pt x="24" y="26"/>
                </a:lnTo>
                <a:lnTo>
                  <a:pt x="24" y="26"/>
                </a:lnTo>
                <a:lnTo>
                  <a:pt x="24" y="26"/>
                </a:lnTo>
                <a:lnTo>
                  <a:pt x="24" y="26"/>
                </a:lnTo>
                <a:lnTo>
                  <a:pt x="24" y="26"/>
                </a:lnTo>
                <a:lnTo>
                  <a:pt x="24" y="26"/>
                </a:lnTo>
                <a:lnTo>
                  <a:pt x="24" y="26"/>
                </a:lnTo>
                <a:lnTo>
                  <a:pt x="26" y="22"/>
                </a:lnTo>
                <a:lnTo>
                  <a:pt x="26" y="26"/>
                </a:lnTo>
                <a:lnTo>
                  <a:pt x="26" y="26"/>
                </a:lnTo>
                <a:lnTo>
                  <a:pt x="26" y="26"/>
                </a:lnTo>
                <a:lnTo>
                  <a:pt x="26" y="26"/>
                </a:lnTo>
                <a:lnTo>
                  <a:pt x="26" y="30"/>
                </a:lnTo>
                <a:lnTo>
                  <a:pt x="26" y="30"/>
                </a:lnTo>
                <a:lnTo>
                  <a:pt x="26" y="30"/>
                </a:lnTo>
                <a:lnTo>
                  <a:pt x="26" y="30"/>
                </a:lnTo>
                <a:lnTo>
                  <a:pt x="26" y="34"/>
                </a:lnTo>
                <a:lnTo>
                  <a:pt x="30" y="38"/>
                </a:lnTo>
                <a:lnTo>
                  <a:pt x="30" y="38"/>
                </a:lnTo>
                <a:lnTo>
                  <a:pt x="30" y="38"/>
                </a:lnTo>
                <a:lnTo>
                  <a:pt x="30" y="38"/>
                </a:lnTo>
                <a:lnTo>
                  <a:pt x="30" y="38"/>
                </a:lnTo>
                <a:lnTo>
                  <a:pt x="30" y="38"/>
                </a:lnTo>
                <a:lnTo>
                  <a:pt x="30" y="38"/>
                </a:lnTo>
                <a:lnTo>
                  <a:pt x="30" y="38"/>
                </a:lnTo>
                <a:lnTo>
                  <a:pt x="30" y="38"/>
                </a:lnTo>
                <a:lnTo>
                  <a:pt x="30" y="38"/>
                </a:lnTo>
                <a:lnTo>
                  <a:pt x="30" y="42"/>
                </a:lnTo>
                <a:lnTo>
                  <a:pt x="30" y="42"/>
                </a:lnTo>
                <a:lnTo>
                  <a:pt x="30" y="42"/>
                </a:lnTo>
                <a:lnTo>
                  <a:pt x="30" y="42"/>
                </a:lnTo>
                <a:lnTo>
                  <a:pt x="30" y="42"/>
                </a:lnTo>
                <a:lnTo>
                  <a:pt x="30" y="42"/>
                </a:lnTo>
                <a:lnTo>
                  <a:pt x="30" y="42"/>
                </a:lnTo>
                <a:lnTo>
                  <a:pt x="30" y="42"/>
                </a:lnTo>
                <a:lnTo>
                  <a:pt x="34" y="42"/>
                </a:lnTo>
                <a:lnTo>
                  <a:pt x="34" y="46"/>
                </a:lnTo>
                <a:lnTo>
                  <a:pt x="34" y="46"/>
                </a:lnTo>
                <a:lnTo>
                  <a:pt x="34" y="46"/>
                </a:lnTo>
                <a:lnTo>
                  <a:pt x="34" y="46"/>
                </a:lnTo>
                <a:lnTo>
                  <a:pt x="34" y="46"/>
                </a:lnTo>
                <a:lnTo>
                  <a:pt x="34" y="48"/>
                </a:lnTo>
                <a:lnTo>
                  <a:pt x="34" y="48"/>
                </a:lnTo>
                <a:lnTo>
                  <a:pt x="34" y="48"/>
                </a:lnTo>
                <a:lnTo>
                  <a:pt x="34" y="52"/>
                </a:lnTo>
                <a:lnTo>
                  <a:pt x="34" y="52"/>
                </a:lnTo>
                <a:lnTo>
                  <a:pt x="34" y="52"/>
                </a:lnTo>
                <a:lnTo>
                  <a:pt x="30" y="56"/>
                </a:lnTo>
                <a:lnTo>
                  <a:pt x="30" y="56"/>
                </a:lnTo>
                <a:lnTo>
                  <a:pt x="30" y="56"/>
                </a:lnTo>
                <a:lnTo>
                  <a:pt x="30" y="56"/>
                </a:lnTo>
                <a:lnTo>
                  <a:pt x="30" y="56"/>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47" name="Freeform 54"/>
          <p:cNvSpPr>
            <a:spLocks/>
          </p:cNvSpPr>
          <p:nvPr/>
        </p:nvSpPr>
        <p:spPr bwMode="auto">
          <a:xfrm>
            <a:off x="4855369" y="2909887"/>
            <a:ext cx="116681" cy="111919"/>
          </a:xfrm>
          <a:custGeom>
            <a:avLst/>
            <a:gdLst>
              <a:gd name="T0" fmla="*/ 0 w 98"/>
              <a:gd name="T1" fmla="*/ 78 h 94"/>
              <a:gd name="T2" fmla="*/ 4 w 98"/>
              <a:gd name="T3" fmla="*/ 76 h 94"/>
              <a:gd name="T4" fmla="*/ 4 w 98"/>
              <a:gd name="T5" fmla="*/ 76 h 94"/>
              <a:gd name="T6" fmla="*/ 4 w 98"/>
              <a:gd name="T7" fmla="*/ 72 h 94"/>
              <a:gd name="T8" fmla="*/ 12 w 98"/>
              <a:gd name="T9" fmla="*/ 68 h 94"/>
              <a:gd name="T10" fmla="*/ 12 w 98"/>
              <a:gd name="T11" fmla="*/ 68 h 94"/>
              <a:gd name="T12" fmla="*/ 16 w 98"/>
              <a:gd name="T13" fmla="*/ 60 h 94"/>
              <a:gd name="T14" fmla="*/ 12 w 98"/>
              <a:gd name="T15" fmla="*/ 56 h 94"/>
              <a:gd name="T16" fmla="*/ 12 w 98"/>
              <a:gd name="T17" fmla="*/ 52 h 94"/>
              <a:gd name="T18" fmla="*/ 8 w 98"/>
              <a:gd name="T19" fmla="*/ 52 h 94"/>
              <a:gd name="T20" fmla="*/ 4 w 98"/>
              <a:gd name="T21" fmla="*/ 52 h 94"/>
              <a:gd name="T22" fmla="*/ 4 w 98"/>
              <a:gd name="T23" fmla="*/ 44 h 94"/>
              <a:gd name="T24" fmla="*/ 4 w 98"/>
              <a:gd name="T25" fmla="*/ 42 h 94"/>
              <a:gd name="T26" fmla="*/ 4 w 98"/>
              <a:gd name="T27" fmla="*/ 34 h 94"/>
              <a:gd name="T28" fmla="*/ 4 w 98"/>
              <a:gd name="T29" fmla="*/ 26 h 94"/>
              <a:gd name="T30" fmla="*/ 8 w 98"/>
              <a:gd name="T31" fmla="*/ 30 h 94"/>
              <a:gd name="T32" fmla="*/ 8 w 98"/>
              <a:gd name="T33" fmla="*/ 26 h 94"/>
              <a:gd name="T34" fmla="*/ 12 w 98"/>
              <a:gd name="T35" fmla="*/ 22 h 94"/>
              <a:gd name="T36" fmla="*/ 16 w 98"/>
              <a:gd name="T37" fmla="*/ 22 h 94"/>
              <a:gd name="T38" fmla="*/ 16 w 98"/>
              <a:gd name="T39" fmla="*/ 18 h 94"/>
              <a:gd name="T40" fmla="*/ 16 w 98"/>
              <a:gd name="T41" fmla="*/ 12 h 94"/>
              <a:gd name="T42" fmla="*/ 24 w 98"/>
              <a:gd name="T43" fmla="*/ 14 h 94"/>
              <a:gd name="T44" fmla="*/ 30 w 98"/>
              <a:gd name="T45" fmla="*/ 12 h 94"/>
              <a:gd name="T46" fmla="*/ 34 w 98"/>
              <a:gd name="T47" fmla="*/ 12 h 94"/>
              <a:gd name="T48" fmla="*/ 34 w 98"/>
              <a:gd name="T49" fmla="*/ 12 h 94"/>
              <a:gd name="T50" fmla="*/ 42 w 98"/>
              <a:gd name="T51" fmla="*/ 8 h 94"/>
              <a:gd name="T52" fmla="*/ 46 w 98"/>
              <a:gd name="T53" fmla="*/ 12 h 94"/>
              <a:gd name="T54" fmla="*/ 50 w 98"/>
              <a:gd name="T55" fmla="*/ 12 h 94"/>
              <a:gd name="T56" fmla="*/ 52 w 98"/>
              <a:gd name="T57" fmla="*/ 14 h 94"/>
              <a:gd name="T58" fmla="*/ 60 w 98"/>
              <a:gd name="T59" fmla="*/ 12 h 94"/>
              <a:gd name="T60" fmla="*/ 68 w 98"/>
              <a:gd name="T61" fmla="*/ 8 h 94"/>
              <a:gd name="T62" fmla="*/ 72 w 98"/>
              <a:gd name="T63" fmla="*/ 8 h 94"/>
              <a:gd name="T64" fmla="*/ 76 w 98"/>
              <a:gd name="T65" fmla="*/ 4 h 94"/>
              <a:gd name="T66" fmla="*/ 82 w 98"/>
              <a:gd name="T67" fmla="*/ 4 h 94"/>
              <a:gd name="T68" fmla="*/ 90 w 98"/>
              <a:gd name="T69" fmla="*/ 4 h 94"/>
              <a:gd name="T70" fmla="*/ 94 w 98"/>
              <a:gd name="T71" fmla="*/ 0 h 94"/>
              <a:gd name="T72" fmla="*/ 98 w 98"/>
              <a:gd name="T73" fmla="*/ 4 h 94"/>
              <a:gd name="T74" fmla="*/ 82 w 98"/>
              <a:gd name="T75" fmla="*/ 18 h 94"/>
              <a:gd name="T76" fmla="*/ 82 w 98"/>
              <a:gd name="T77" fmla="*/ 30 h 94"/>
              <a:gd name="T78" fmla="*/ 82 w 98"/>
              <a:gd name="T79" fmla="*/ 38 h 94"/>
              <a:gd name="T80" fmla="*/ 80 w 98"/>
              <a:gd name="T81" fmla="*/ 42 h 94"/>
              <a:gd name="T82" fmla="*/ 80 w 98"/>
              <a:gd name="T83" fmla="*/ 44 h 94"/>
              <a:gd name="T84" fmla="*/ 80 w 98"/>
              <a:gd name="T85" fmla="*/ 56 h 94"/>
              <a:gd name="T86" fmla="*/ 60 w 98"/>
              <a:gd name="T87" fmla="*/ 68 h 94"/>
              <a:gd name="T88" fmla="*/ 46 w 98"/>
              <a:gd name="T89" fmla="*/ 76 h 94"/>
              <a:gd name="T90" fmla="*/ 30 w 98"/>
              <a:gd name="T91" fmla="*/ 86 h 94"/>
              <a:gd name="T92" fmla="*/ 20 w 98"/>
              <a:gd name="T93" fmla="*/ 94 h 94"/>
              <a:gd name="T94" fmla="*/ 12 w 98"/>
              <a:gd name="T95" fmla="*/ 94 h 94"/>
              <a:gd name="T96" fmla="*/ 8 w 98"/>
              <a:gd name="T97" fmla="*/ 90 h 94"/>
              <a:gd name="T98" fmla="*/ 4 w 98"/>
              <a:gd name="T99" fmla="*/ 86 h 94"/>
              <a:gd name="T100" fmla="*/ 0 w 98"/>
              <a:gd name="T101" fmla="*/ 86 h 94"/>
              <a:gd name="T102" fmla="*/ 0 w 98"/>
              <a:gd name="T103" fmla="*/ 86 h 94"/>
              <a:gd name="T104" fmla="*/ 0 w 98"/>
              <a:gd name="T105" fmla="*/ 82 h 94"/>
              <a:gd name="T106" fmla="*/ 0 w 98"/>
              <a:gd name="T107" fmla="*/ 7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8" h="94">
                <a:moveTo>
                  <a:pt x="0" y="78"/>
                </a:moveTo>
                <a:lnTo>
                  <a:pt x="0" y="78"/>
                </a:lnTo>
                <a:lnTo>
                  <a:pt x="0" y="78"/>
                </a:lnTo>
                <a:lnTo>
                  <a:pt x="0" y="78"/>
                </a:lnTo>
                <a:lnTo>
                  <a:pt x="0" y="78"/>
                </a:lnTo>
                <a:lnTo>
                  <a:pt x="0" y="78"/>
                </a:lnTo>
                <a:lnTo>
                  <a:pt x="0" y="78"/>
                </a:lnTo>
                <a:lnTo>
                  <a:pt x="4" y="76"/>
                </a:lnTo>
                <a:lnTo>
                  <a:pt x="4" y="76"/>
                </a:lnTo>
                <a:lnTo>
                  <a:pt x="4" y="76"/>
                </a:lnTo>
                <a:lnTo>
                  <a:pt x="4" y="76"/>
                </a:lnTo>
                <a:lnTo>
                  <a:pt x="4" y="76"/>
                </a:lnTo>
                <a:lnTo>
                  <a:pt x="4" y="76"/>
                </a:lnTo>
                <a:lnTo>
                  <a:pt x="4" y="76"/>
                </a:lnTo>
                <a:lnTo>
                  <a:pt x="4" y="76"/>
                </a:lnTo>
                <a:lnTo>
                  <a:pt x="4" y="76"/>
                </a:lnTo>
                <a:lnTo>
                  <a:pt x="8" y="72"/>
                </a:lnTo>
                <a:lnTo>
                  <a:pt x="8" y="72"/>
                </a:lnTo>
                <a:lnTo>
                  <a:pt x="8" y="72"/>
                </a:lnTo>
                <a:lnTo>
                  <a:pt x="4" y="72"/>
                </a:lnTo>
                <a:lnTo>
                  <a:pt x="4" y="72"/>
                </a:lnTo>
                <a:lnTo>
                  <a:pt x="8" y="68"/>
                </a:lnTo>
                <a:lnTo>
                  <a:pt x="8" y="68"/>
                </a:lnTo>
                <a:lnTo>
                  <a:pt x="8" y="68"/>
                </a:lnTo>
                <a:lnTo>
                  <a:pt x="12" y="68"/>
                </a:lnTo>
                <a:lnTo>
                  <a:pt x="12" y="68"/>
                </a:lnTo>
                <a:lnTo>
                  <a:pt x="12" y="68"/>
                </a:lnTo>
                <a:lnTo>
                  <a:pt x="12" y="68"/>
                </a:lnTo>
                <a:lnTo>
                  <a:pt x="12" y="68"/>
                </a:lnTo>
                <a:lnTo>
                  <a:pt x="12" y="68"/>
                </a:lnTo>
                <a:lnTo>
                  <a:pt x="12" y="64"/>
                </a:lnTo>
                <a:lnTo>
                  <a:pt x="12" y="64"/>
                </a:lnTo>
                <a:lnTo>
                  <a:pt x="12" y="64"/>
                </a:lnTo>
                <a:lnTo>
                  <a:pt x="12" y="64"/>
                </a:lnTo>
                <a:lnTo>
                  <a:pt x="16" y="60"/>
                </a:lnTo>
                <a:lnTo>
                  <a:pt x="16" y="60"/>
                </a:lnTo>
                <a:lnTo>
                  <a:pt x="16" y="60"/>
                </a:lnTo>
                <a:lnTo>
                  <a:pt x="16" y="56"/>
                </a:lnTo>
                <a:lnTo>
                  <a:pt x="16" y="56"/>
                </a:lnTo>
                <a:lnTo>
                  <a:pt x="12" y="56"/>
                </a:lnTo>
                <a:lnTo>
                  <a:pt x="12" y="52"/>
                </a:lnTo>
                <a:lnTo>
                  <a:pt x="12" y="56"/>
                </a:lnTo>
                <a:lnTo>
                  <a:pt x="12" y="52"/>
                </a:lnTo>
                <a:lnTo>
                  <a:pt x="12" y="52"/>
                </a:lnTo>
                <a:lnTo>
                  <a:pt x="12" y="52"/>
                </a:lnTo>
                <a:lnTo>
                  <a:pt x="12" y="52"/>
                </a:lnTo>
                <a:lnTo>
                  <a:pt x="12" y="52"/>
                </a:lnTo>
                <a:lnTo>
                  <a:pt x="12" y="52"/>
                </a:lnTo>
                <a:lnTo>
                  <a:pt x="8" y="52"/>
                </a:lnTo>
                <a:lnTo>
                  <a:pt x="8" y="52"/>
                </a:lnTo>
                <a:lnTo>
                  <a:pt x="8" y="52"/>
                </a:lnTo>
                <a:lnTo>
                  <a:pt x="8" y="52"/>
                </a:lnTo>
                <a:lnTo>
                  <a:pt x="8" y="52"/>
                </a:lnTo>
                <a:lnTo>
                  <a:pt x="8" y="52"/>
                </a:lnTo>
                <a:lnTo>
                  <a:pt x="4" y="52"/>
                </a:lnTo>
                <a:lnTo>
                  <a:pt x="4" y="48"/>
                </a:lnTo>
                <a:lnTo>
                  <a:pt x="4" y="48"/>
                </a:lnTo>
                <a:lnTo>
                  <a:pt x="4" y="44"/>
                </a:lnTo>
                <a:lnTo>
                  <a:pt x="4" y="44"/>
                </a:lnTo>
                <a:lnTo>
                  <a:pt x="4" y="44"/>
                </a:lnTo>
                <a:lnTo>
                  <a:pt x="4" y="42"/>
                </a:lnTo>
                <a:lnTo>
                  <a:pt x="4" y="42"/>
                </a:lnTo>
                <a:lnTo>
                  <a:pt x="4" y="42"/>
                </a:lnTo>
                <a:lnTo>
                  <a:pt x="4" y="42"/>
                </a:lnTo>
                <a:lnTo>
                  <a:pt x="4" y="42"/>
                </a:lnTo>
                <a:lnTo>
                  <a:pt x="4" y="42"/>
                </a:lnTo>
                <a:lnTo>
                  <a:pt x="4" y="38"/>
                </a:lnTo>
                <a:lnTo>
                  <a:pt x="4" y="38"/>
                </a:lnTo>
                <a:lnTo>
                  <a:pt x="4" y="34"/>
                </a:lnTo>
                <a:lnTo>
                  <a:pt x="4" y="34"/>
                </a:lnTo>
                <a:lnTo>
                  <a:pt x="4" y="34"/>
                </a:lnTo>
                <a:lnTo>
                  <a:pt x="4" y="30"/>
                </a:lnTo>
                <a:lnTo>
                  <a:pt x="4" y="30"/>
                </a:lnTo>
                <a:lnTo>
                  <a:pt x="4" y="30"/>
                </a:lnTo>
                <a:lnTo>
                  <a:pt x="4" y="26"/>
                </a:lnTo>
                <a:lnTo>
                  <a:pt x="8" y="26"/>
                </a:lnTo>
                <a:lnTo>
                  <a:pt x="8" y="30"/>
                </a:lnTo>
                <a:lnTo>
                  <a:pt x="8" y="30"/>
                </a:lnTo>
                <a:lnTo>
                  <a:pt x="8" y="30"/>
                </a:lnTo>
                <a:lnTo>
                  <a:pt x="8" y="30"/>
                </a:lnTo>
                <a:lnTo>
                  <a:pt x="8" y="30"/>
                </a:lnTo>
                <a:lnTo>
                  <a:pt x="8" y="30"/>
                </a:lnTo>
                <a:lnTo>
                  <a:pt x="8" y="30"/>
                </a:lnTo>
                <a:lnTo>
                  <a:pt x="8" y="26"/>
                </a:lnTo>
                <a:lnTo>
                  <a:pt x="8" y="26"/>
                </a:lnTo>
                <a:lnTo>
                  <a:pt x="12" y="26"/>
                </a:lnTo>
                <a:lnTo>
                  <a:pt x="12" y="26"/>
                </a:lnTo>
                <a:lnTo>
                  <a:pt x="12" y="26"/>
                </a:lnTo>
                <a:lnTo>
                  <a:pt x="12" y="22"/>
                </a:lnTo>
                <a:lnTo>
                  <a:pt x="12" y="22"/>
                </a:lnTo>
                <a:lnTo>
                  <a:pt x="12" y="22"/>
                </a:lnTo>
                <a:lnTo>
                  <a:pt x="16" y="22"/>
                </a:lnTo>
                <a:lnTo>
                  <a:pt x="16" y="22"/>
                </a:lnTo>
                <a:lnTo>
                  <a:pt x="16" y="22"/>
                </a:lnTo>
                <a:lnTo>
                  <a:pt x="16" y="22"/>
                </a:lnTo>
                <a:lnTo>
                  <a:pt x="16" y="22"/>
                </a:lnTo>
                <a:lnTo>
                  <a:pt x="16" y="18"/>
                </a:lnTo>
                <a:lnTo>
                  <a:pt x="16" y="18"/>
                </a:lnTo>
                <a:lnTo>
                  <a:pt x="16" y="18"/>
                </a:lnTo>
                <a:lnTo>
                  <a:pt x="16" y="18"/>
                </a:lnTo>
                <a:lnTo>
                  <a:pt x="16" y="14"/>
                </a:lnTo>
                <a:lnTo>
                  <a:pt x="16" y="14"/>
                </a:lnTo>
                <a:lnTo>
                  <a:pt x="16" y="12"/>
                </a:lnTo>
                <a:lnTo>
                  <a:pt x="16" y="12"/>
                </a:lnTo>
                <a:lnTo>
                  <a:pt x="16" y="12"/>
                </a:lnTo>
                <a:lnTo>
                  <a:pt x="16" y="12"/>
                </a:lnTo>
                <a:lnTo>
                  <a:pt x="20" y="12"/>
                </a:lnTo>
                <a:lnTo>
                  <a:pt x="20" y="12"/>
                </a:lnTo>
                <a:lnTo>
                  <a:pt x="24" y="12"/>
                </a:lnTo>
                <a:lnTo>
                  <a:pt x="24" y="14"/>
                </a:lnTo>
                <a:lnTo>
                  <a:pt x="24" y="14"/>
                </a:lnTo>
                <a:lnTo>
                  <a:pt x="24" y="14"/>
                </a:lnTo>
                <a:lnTo>
                  <a:pt x="26" y="14"/>
                </a:lnTo>
                <a:lnTo>
                  <a:pt x="26" y="14"/>
                </a:lnTo>
                <a:lnTo>
                  <a:pt x="30" y="12"/>
                </a:lnTo>
                <a:lnTo>
                  <a:pt x="30" y="12"/>
                </a:lnTo>
                <a:lnTo>
                  <a:pt x="30" y="12"/>
                </a:lnTo>
                <a:lnTo>
                  <a:pt x="30" y="12"/>
                </a:lnTo>
                <a:lnTo>
                  <a:pt x="30" y="12"/>
                </a:lnTo>
                <a:lnTo>
                  <a:pt x="34" y="12"/>
                </a:lnTo>
                <a:lnTo>
                  <a:pt x="34" y="12"/>
                </a:lnTo>
                <a:lnTo>
                  <a:pt x="34" y="12"/>
                </a:lnTo>
                <a:lnTo>
                  <a:pt x="34" y="12"/>
                </a:lnTo>
                <a:lnTo>
                  <a:pt x="34" y="12"/>
                </a:lnTo>
                <a:lnTo>
                  <a:pt x="34" y="12"/>
                </a:lnTo>
                <a:lnTo>
                  <a:pt x="38" y="12"/>
                </a:lnTo>
                <a:lnTo>
                  <a:pt x="38" y="8"/>
                </a:lnTo>
                <a:lnTo>
                  <a:pt x="38" y="8"/>
                </a:lnTo>
                <a:lnTo>
                  <a:pt x="42" y="8"/>
                </a:lnTo>
                <a:lnTo>
                  <a:pt x="42" y="8"/>
                </a:lnTo>
                <a:lnTo>
                  <a:pt x="42" y="12"/>
                </a:lnTo>
                <a:lnTo>
                  <a:pt x="42" y="12"/>
                </a:lnTo>
                <a:lnTo>
                  <a:pt x="46" y="12"/>
                </a:lnTo>
                <a:lnTo>
                  <a:pt x="46" y="12"/>
                </a:lnTo>
                <a:lnTo>
                  <a:pt x="46" y="12"/>
                </a:lnTo>
                <a:lnTo>
                  <a:pt x="46" y="12"/>
                </a:lnTo>
                <a:lnTo>
                  <a:pt x="50" y="12"/>
                </a:lnTo>
                <a:lnTo>
                  <a:pt x="50" y="12"/>
                </a:lnTo>
                <a:lnTo>
                  <a:pt x="50" y="12"/>
                </a:lnTo>
                <a:lnTo>
                  <a:pt x="50" y="12"/>
                </a:lnTo>
                <a:lnTo>
                  <a:pt x="50" y="12"/>
                </a:lnTo>
                <a:lnTo>
                  <a:pt x="50" y="12"/>
                </a:lnTo>
                <a:lnTo>
                  <a:pt x="50" y="12"/>
                </a:lnTo>
                <a:lnTo>
                  <a:pt x="52" y="14"/>
                </a:lnTo>
                <a:lnTo>
                  <a:pt x="52" y="14"/>
                </a:lnTo>
                <a:lnTo>
                  <a:pt x="52" y="14"/>
                </a:lnTo>
                <a:lnTo>
                  <a:pt x="52" y="14"/>
                </a:lnTo>
                <a:lnTo>
                  <a:pt x="56" y="12"/>
                </a:lnTo>
                <a:lnTo>
                  <a:pt x="56" y="12"/>
                </a:lnTo>
                <a:lnTo>
                  <a:pt x="60" y="12"/>
                </a:lnTo>
                <a:lnTo>
                  <a:pt x="64" y="12"/>
                </a:lnTo>
                <a:lnTo>
                  <a:pt x="64" y="12"/>
                </a:lnTo>
                <a:lnTo>
                  <a:pt x="64" y="12"/>
                </a:lnTo>
                <a:lnTo>
                  <a:pt x="68" y="8"/>
                </a:lnTo>
                <a:lnTo>
                  <a:pt x="68" y="8"/>
                </a:lnTo>
                <a:lnTo>
                  <a:pt x="68" y="8"/>
                </a:lnTo>
                <a:lnTo>
                  <a:pt x="68" y="8"/>
                </a:lnTo>
                <a:lnTo>
                  <a:pt x="68" y="8"/>
                </a:lnTo>
                <a:lnTo>
                  <a:pt x="72" y="8"/>
                </a:lnTo>
                <a:lnTo>
                  <a:pt x="72" y="8"/>
                </a:lnTo>
                <a:lnTo>
                  <a:pt x="72" y="8"/>
                </a:lnTo>
                <a:lnTo>
                  <a:pt x="72" y="4"/>
                </a:lnTo>
                <a:lnTo>
                  <a:pt x="72" y="4"/>
                </a:lnTo>
                <a:lnTo>
                  <a:pt x="76" y="4"/>
                </a:lnTo>
                <a:lnTo>
                  <a:pt x="76" y="4"/>
                </a:lnTo>
                <a:lnTo>
                  <a:pt x="76" y="4"/>
                </a:lnTo>
                <a:lnTo>
                  <a:pt x="76" y="4"/>
                </a:lnTo>
                <a:lnTo>
                  <a:pt x="80" y="4"/>
                </a:lnTo>
                <a:lnTo>
                  <a:pt x="80" y="4"/>
                </a:lnTo>
                <a:lnTo>
                  <a:pt x="82" y="4"/>
                </a:lnTo>
                <a:lnTo>
                  <a:pt x="82" y="4"/>
                </a:lnTo>
                <a:lnTo>
                  <a:pt x="82" y="4"/>
                </a:lnTo>
                <a:lnTo>
                  <a:pt x="86" y="4"/>
                </a:lnTo>
                <a:lnTo>
                  <a:pt x="90" y="4"/>
                </a:lnTo>
                <a:lnTo>
                  <a:pt x="90" y="4"/>
                </a:lnTo>
                <a:lnTo>
                  <a:pt x="94" y="4"/>
                </a:lnTo>
                <a:lnTo>
                  <a:pt x="94" y="4"/>
                </a:lnTo>
                <a:lnTo>
                  <a:pt x="94" y="4"/>
                </a:lnTo>
                <a:lnTo>
                  <a:pt x="94" y="0"/>
                </a:lnTo>
                <a:lnTo>
                  <a:pt x="94" y="0"/>
                </a:lnTo>
                <a:lnTo>
                  <a:pt x="98" y="0"/>
                </a:lnTo>
                <a:lnTo>
                  <a:pt x="98" y="4"/>
                </a:lnTo>
                <a:lnTo>
                  <a:pt x="98" y="4"/>
                </a:lnTo>
                <a:lnTo>
                  <a:pt x="98" y="4"/>
                </a:lnTo>
                <a:lnTo>
                  <a:pt x="98" y="4"/>
                </a:lnTo>
                <a:lnTo>
                  <a:pt x="98" y="8"/>
                </a:lnTo>
                <a:lnTo>
                  <a:pt x="98" y="8"/>
                </a:lnTo>
                <a:lnTo>
                  <a:pt x="90" y="14"/>
                </a:lnTo>
                <a:lnTo>
                  <a:pt x="82" y="14"/>
                </a:lnTo>
                <a:lnTo>
                  <a:pt x="82" y="18"/>
                </a:lnTo>
                <a:lnTo>
                  <a:pt x="82" y="18"/>
                </a:lnTo>
                <a:lnTo>
                  <a:pt x="82" y="26"/>
                </a:lnTo>
                <a:lnTo>
                  <a:pt x="82" y="26"/>
                </a:lnTo>
                <a:lnTo>
                  <a:pt x="82" y="30"/>
                </a:lnTo>
                <a:lnTo>
                  <a:pt x="82" y="30"/>
                </a:lnTo>
                <a:lnTo>
                  <a:pt x="82" y="34"/>
                </a:lnTo>
                <a:lnTo>
                  <a:pt x="82" y="34"/>
                </a:lnTo>
                <a:lnTo>
                  <a:pt x="82" y="34"/>
                </a:lnTo>
                <a:lnTo>
                  <a:pt x="82" y="38"/>
                </a:lnTo>
                <a:lnTo>
                  <a:pt x="82" y="38"/>
                </a:lnTo>
                <a:lnTo>
                  <a:pt x="82" y="38"/>
                </a:lnTo>
                <a:lnTo>
                  <a:pt x="82" y="38"/>
                </a:lnTo>
                <a:lnTo>
                  <a:pt x="82" y="38"/>
                </a:lnTo>
                <a:lnTo>
                  <a:pt x="82" y="38"/>
                </a:lnTo>
                <a:lnTo>
                  <a:pt x="80" y="42"/>
                </a:lnTo>
                <a:lnTo>
                  <a:pt x="80" y="42"/>
                </a:lnTo>
                <a:lnTo>
                  <a:pt x="80" y="42"/>
                </a:lnTo>
                <a:lnTo>
                  <a:pt x="80" y="42"/>
                </a:lnTo>
                <a:lnTo>
                  <a:pt x="80" y="42"/>
                </a:lnTo>
                <a:lnTo>
                  <a:pt x="80" y="44"/>
                </a:lnTo>
                <a:lnTo>
                  <a:pt x="80" y="44"/>
                </a:lnTo>
                <a:lnTo>
                  <a:pt x="80" y="48"/>
                </a:lnTo>
                <a:lnTo>
                  <a:pt x="80" y="52"/>
                </a:lnTo>
                <a:lnTo>
                  <a:pt x="80" y="56"/>
                </a:lnTo>
                <a:lnTo>
                  <a:pt x="80" y="56"/>
                </a:lnTo>
                <a:lnTo>
                  <a:pt x="72" y="60"/>
                </a:lnTo>
                <a:lnTo>
                  <a:pt x="68" y="64"/>
                </a:lnTo>
                <a:lnTo>
                  <a:pt x="64" y="64"/>
                </a:lnTo>
                <a:lnTo>
                  <a:pt x="64" y="64"/>
                </a:lnTo>
                <a:lnTo>
                  <a:pt x="60" y="68"/>
                </a:lnTo>
                <a:lnTo>
                  <a:pt x="56" y="68"/>
                </a:lnTo>
                <a:lnTo>
                  <a:pt x="52" y="72"/>
                </a:lnTo>
                <a:lnTo>
                  <a:pt x="50" y="76"/>
                </a:lnTo>
                <a:lnTo>
                  <a:pt x="46" y="76"/>
                </a:lnTo>
                <a:lnTo>
                  <a:pt x="46" y="76"/>
                </a:lnTo>
                <a:lnTo>
                  <a:pt x="46" y="76"/>
                </a:lnTo>
                <a:lnTo>
                  <a:pt x="42" y="78"/>
                </a:lnTo>
                <a:lnTo>
                  <a:pt x="38" y="78"/>
                </a:lnTo>
                <a:lnTo>
                  <a:pt x="34" y="82"/>
                </a:lnTo>
                <a:lnTo>
                  <a:pt x="30" y="86"/>
                </a:lnTo>
                <a:lnTo>
                  <a:pt x="26" y="90"/>
                </a:lnTo>
                <a:lnTo>
                  <a:pt x="26" y="90"/>
                </a:lnTo>
                <a:lnTo>
                  <a:pt x="26" y="90"/>
                </a:lnTo>
                <a:lnTo>
                  <a:pt x="24" y="90"/>
                </a:lnTo>
                <a:lnTo>
                  <a:pt x="20" y="94"/>
                </a:lnTo>
                <a:lnTo>
                  <a:pt x="20" y="94"/>
                </a:lnTo>
                <a:lnTo>
                  <a:pt x="16" y="94"/>
                </a:lnTo>
                <a:lnTo>
                  <a:pt x="16" y="94"/>
                </a:lnTo>
                <a:lnTo>
                  <a:pt x="16" y="94"/>
                </a:lnTo>
                <a:lnTo>
                  <a:pt x="12" y="94"/>
                </a:lnTo>
                <a:lnTo>
                  <a:pt x="12" y="94"/>
                </a:lnTo>
                <a:lnTo>
                  <a:pt x="12" y="94"/>
                </a:lnTo>
                <a:lnTo>
                  <a:pt x="12" y="94"/>
                </a:lnTo>
                <a:lnTo>
                  <a:pt x="8" y="90"/>
                </a:lnTo>
                <a:lnTo>
                  <a:pt x="8" y="90"/>
                </a:lnTo>
                <a:lnTo>
                  <a:pt x="8" y="90"/>
                </a:lnTo>
                <a:lnTo>
                  <a:pt x="8" y="90"/>
                </a:lnTo>
                <a:lnTo>
                  <a:pt x="8" y="90"/>
                </a:lnTo>
                <a:lnTo>
                  <a:pt x="8" y="90"/>
                </a:lnTo>
                <a:lnTo>
                  <a:pt x="4" y="86"/>
                </a:lnTo>
                <a:lnTo>
                  <a:pt x="4" y="86"/>
                </a:lnTo>
                <a:lnTo>
                  <a:pt x="4" y="86"/>
                </a:lnTo>
                <a:lnTo>
                  <a:pt x="0" y="86"/>
                </a:lnTo>
                <a:lnTo>
                  <a:pt x="0" y="90"/>
                </a:lnTo>
                <a:lnTo>
                  <a:pt x="0" y="86"/>
                </a:lnTo>
                <a:lnTo>
                  <a:pt x="0" y="86"/>
                </a:lnTo>
                <a:lnTo>
                  <a:pt x="0" y="86"/>
                </a:lnTo>
                <a:lnTo>
                  <a:pt x="0" y="86"/>
                </a:lnTo>
                <a:lnTo>
                  <a:pt x="0" y="86"/>
                </a:lnTo>
                <a:lnTo>
                  <a:pt x="0" y="86"/>
                </a:lnTo>
                <a:lnTo>
                  <a:pt x="0" y="86"/>
                </a:lnTo>
                <a:lnTo>
                  <a:pt x="0" y="86"/>
                </a:lnTo>
                <a:lnTo>
                  <a:pt x="0" y="82"/>
                </a:lnTo>
                <a:lnTo>
                  <a:pt x="0" y="82"/>
                </a:lnTo>
                <a:lnTo>
                  <a:pt x="0" y="82"/>
                </a:lnTo>
                <a:lnTo>
                  <a:pt x="0" y="82"/>
                </a:lnTo>
                <a:lnTo>
                  <a:pt x="0" y="82"/>
                </a:lnTo>
                <a:lnTo>
                  <a:pt x="0" y="78"/>
                </a:lnTo>
                <a:lnTo>
                  <a:pt x="0" y="78"/>
                </a:lnTo>
                <a:lnTo>
                  <a:pt x="0" y="78"/>
                </a:lnTo>
                <a:lnTo>
                  <a:pt x="0" y="78"/>
                </a:lnTo>
                <a:lnTo>
                  <a:pt x="0" y="78"/>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48" name="Freeform 55"/>
          <p:cNvSpPr>
            <a:spLocks/>
          </p:cNvSpPr>
          <p:nvPr/>
        </p:nvSpPr>
        <p:spPr bwMode="auto">
          <a:xfrm>
            <a:off x="5393531" y="2824162"/>
            <a:ext cx="128588" cy="104775"/>
          </a:xfrm>
          <a:custGeom>
            <a:avLst/>
            <a:gdLst>
              <a:gd name="T0" fmla="*/ 100 w 108"/>
              <a:gd name="T1" fmla="*/ 72 h 88"/>
              <a:gd name="T2" fmla="*/ 90 w 108"/>
              <a:gd name="T3" fmla="*/ 76 h 88"/>
              <a:gd name="T4" fmla="*/ 90 w 108"/>
              <a:gd name="T5" fmla="*/ 72 h 88"/>
              <a:gd name="T6" fmla="*/ 82 w 108"/>
              <a:gd name="T7" fmla="*/ 72 h 88"/>
              <a:gd name="T8" fmla="*/ 74 w 108"/>
              <a:gd name="T9" fmla="*/ 76 h 88"/>
              <a:gd name="T10" fmla="*/ 68 w 108"/>
              <a:gd name="T11" fmla="*/ 80 h 88"/>
              <a:gd name="T12" fmla="*/ 60 w 108"/>
              <a:gd name="T13" fmla="*/ 84 h 88"/>
              <a:gd name="T14" fmla="*/ 56 w 108"/>
              <a:gd name="T15" fmla="*/ 72 h 88"/>
              <a:gd name="T16" fmla="*/ 60 w 108"/>
              <a:gd name="T17" fmla="*/ 64 h 88"/>
              <a:gd name="T18" fmla="*/ 52 w 108"/>
              <a:gd name="T19" fmla="*/ 60 h 88"/>
              <a:gd name="T20" fmla="*/ 52 w 108"/>
              <a:gd name="T21" fmla="*/ 54 h 88"/>
              <a:gd name="T22" fmla="*/ 44 w 108"/>
              <a:gd name="T23" fmla="*/ 58 h 88"/>
              <a:gd name="T24" fmla="*/ 38 w 108"/>
              <a:gd name="T25" fmla="*/ 64 h 88"/>
              <a:gd name="T26" fmla="*/ 38 w 108"/>
              <a:gd name="T27" fmla="*/ 68 h 88"/>
              <a:gd name="T28" fmla="*/ 26 w 108"/>
              <a:gd name="T29" fmla="*/ 72 h 88"/>
              <a:gd name="T30" fmla="*/ 22 w 108"/>
              <a:gd name="T31" fmla="*/ 72 h 88"/>
              <a:gd name="T32" fmla="*/ 12 w 108"/>
              <a:gd name="T33" fmla="*/ 76 h 88"/>
              <a:gd name="T34" fmla="*/ 4 w 108"/>
              <a:gd name="T35" fmla="*/ 76 h 88"/>
              <a:gd name="T36" fmla="*/ 8 w 108"/>
              <a:gd name="T37" fmla="*/ 68 h 88"/>
              <a:gd name="T38" fmla="*/ 12 w 108"/>
              <a:gd name="T39" fmla="*/ 58 h 88"/>
              <a:gd name="T40" fmla="*/ 12 w 108"/>
              <a:gd name="T41" fmla="*/ 54 h 88"/>
              <a:gd name="T42" fmla="*/ 12 w 108"/>
              <a:gd name="T43" fmla="*/ 46 h 88"/>
              <a:gd name="T44" fmla="*/ 4 w 108"/>
              <a:gd name="T45" fmla="*/ 42 h 88"/>
              <a:gd name="T46" fmla="*/ 0 w 108"/>
              <a:gd name="T47" fmla="*/ 34 h 88"/>
              <a:gd name="T48" fmla="*/ 8 w 108"/>
              <a:gd name="T49" fmla="*/ 28 h 88"/>
              <a:gd name="T50" fmla="*/ 14 w 108"/>
              <a:gd name="T51" fmla="*/ 30 h 88"/>
              <a:gd name="T52" fmla="*/ 18 w 108"/>
              <a:gd name="T53" fmla="*/ 24 h 88"/>
              <a:gd name="T54" fmla="*/ 18 w 108"/>
              <a:gd name="T55" fmla="*/ 20 h 88"/>
              <a:gd name="T56" fmla="*/ 18 w 108"/>
              <a:gd name="T57" fmla="*/ 16 h 88"/>
              <a:gd name="T58" fmla="*/ 26 w 108"/>
              <a:gd name="T59" fmla="*/ 12 h 88"/>
              <a:gd name="T60" fmla="*/ 30 w 108"/>
              <a:gd name="T61" fmla="*/ 4 h 88"/>
              <a:gd name="T62" fmla="*/ 38 w 108"/>
              <a:gd name="T63" fmla="*/ 8 h 88"/>
              <a:gd name="T64" fmla="*/ 42 w 108"/>
              <a:gd name="T65" fmla="*/ 0 h 88"/>
              <a:gd name="T66" fmla="*/ 48 w 108"/>
              <a:gd name="T67" fmla="*/ 4 h 88"/>
              <a:gd name="T68" fmla="*/ 44 w 108"/>
              <a:gd name="T69" fmla="*/ 12 h 88"/>
              <a:gd name="T70" fmla="*/ 44 w 108"/>
              <a:gd name="T71" fmla="*/ 16 h 88"/>
              <a:gd name="T72" fmla="*/ 44 w 108"/>
              <a:gd name="T73" fmla="*/ 20 h 88"/>
              <a:gd name="T74" fmla="*/ 44 w 108"/>
              <a:gd name="T75" fmla="*/ 24 h 88"/>
              <a:gd name="T76" fmla="*/ 38 w 108"/>
              <a:gd name="T77" fmla="*/ 16 h 88"/>
              <a:gd name="T78" fmla="*/ 30 w 108"/>
              <a:gd name="T79" fmla="*/ 24 h 88"/>
              <a:gd name="T80" fmla="*/ 26 w 108"/>
              <a:gd name="T81" fmla="*/ 24 h 88"/>
              <a:gd name="T82" fmla="*/ 30 w 108"/>
              <a:gd name="T83" fmla="*/ 30 h 88"/>
              <a:gd name="T84" fmla="*/ 42 w 108"/>
              <a:gd name="T85" fmla="*/ 30 h 88"/>
              <a:gd name="T86" fmla="*/ 44 w 108"/>
              <a:gd name="T87" fmla="*/ 30 h 88"/>
              <a:gd name="T88" fmla="*/ 52 w 108"/>
              <a:gd name="T89" fmla="*/ 30 h 88"/>
              <a:gd name="T90" fmla="*/ 60 w 108"/>
              <a:gd name="T91" fmla="*/ 30 h 88"/>
              <a:gd name="T92" fmla="*/ 60 w 108"/>
              <a:gd name="T93" fmla="*/ 34 h 88"/>
              <a:gd name="T94" fmla="*/ 68 w 108"/>
              <a:gd name="T95" fmla="*/ 38 h 88"/>
              <a:gd name="T96" fmla="*/ 74 w 108"/>
              <a:gd name="T97" fmla="*/ 34 h 88"/>
              <a:gd name="T98" fmla="*/ 82 w 108"/>
              <a:gd name="T99" fmla="*/ 30 h 88"/>
              <a:gd name="T100" fmla="*/ 90 w 108"/>
              <a:gd name="T101" fmla="*/ 34 h 88"/>
              <a:gd name="T102" fmla="*/ 90 w 108"/>
              <a:gd name="T103" fmla="*/ 42 h 88"/>
              <a:gd name="T104" fmla="*/ 94 w 108"/>
              <a:gd name="T105" fmla="*/ 50 h 88"/>
              <a:gd name="T106" fmla="*/ 100 w 108"/>
              <a:gd name="T107" fmla="*/ 50 h 88"/>
              <a:gd name="T108" fmla="*/ 104 w 108"/>
              <a:gd name="T109" fmla="*/ 58 h 88"/>
              <a:gd name="T110" fmla="*/ 108 w 108"/>
              <a:gd name="T111" fmla="*/ 64 h 88"/>
              <a:gd name="T112" fmla="*/ 108 w 108"/>
              <a:gd name="T113" fmla="*/ 68 h 88"/>
              <a:gd name="T114" fmla="*/ 104 w 108"/>
              <a:gd name="T115"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 h="88">
                <a:moveTo>
                  <a:pt x="104" y="76"/>
                </a:moveTo>
                <a:lnTo>
                  <a:pt x="104" y="72"/>
                </a:lnTo>
                <a:lnTo>
                  <a:pt x="100" y="72"/>
                </a:lnTo>
                <a:lnTo>
                  <a:pt x="98" y="72"/>
                </a:lnTo>
                <a:lnTo>
                  <a:pt x="94" y="72"/>
                </a:lnTo>
                <a:lnTo>
                  <a:pt x="90" y="76"/>
                </a:lnTo>
                <a:lnTo>
                  <a:pt x="86" y="76"/>
                </a:lnTo>
                <a:lnTo>
                  <a:pt x="86" y="72"/>
                </a:lnTo>
                <a:lnTo>
                  <a:pt x="90" y="72"/>
                </a:lnTo>
                <a:lnTo>
                  <a:pt x="86" y="72"/>
                </a:lnTo>
                <a:lnTo>
                  <a:pt x="86" y="68"/>
                </a:lnTo>
                <a:lnTo>
                  <a:pt x="82" y="72"/>
                </a:lnTo>
                <a:lnTo>
                  <a:pt x="78" y="72"/>
                </a:lnTo>
                <a:lnTo>
                  <a:pt x="78" y="76"/>
                </a:lnTo>
                <a:lnTo>
                  <a:pt x="74" y="76"/>
                </a:lnTo>
                <a:lnTo>
                  <a:pt x="74" y="80"/>
                </a:lnTo>
                <a:lnTo>
                  <a:pt x="70" y="80"/>
                </a:lnTo>
                <a:lnTo>
                  <a:pt x="68" y="80"/>
                </a:lnTo>
                <a:lnTo>
                  <a:pt x="64" y="84"/>
                </a:lnTo>
                <a:lnTo>
                  <a:pt x="60" y="88"/>
                </a:lnTo>
                <a:lnTo>
                  <a:pt x="60" y="84"/>
                </a:lnTo>
                <a:lnTo>
                  <a:pt x="56" y="80"/>
                </a:lnTo>
                <a:lnTo>
                  <a:pt x="56" y="76"/>
                </a:lnTo>
                <a:lnTo>
                  <a:pt x="56" y="72"/>
                </a:lnTo>
                <a:lnTo>
                  <a:pt x="56" y="68"/>
                </a:lnTo>
                <a:lnTo>
                  <a:pt x="56" y="64"/>
                </a:lnTo>
                <a:lnTo>
                  <a:pt x="60" y="64"/>
                </a:lnTo>
                <a:lnTo>
                  <a:pt x="60" y="60"/>
                </a:lnTo>
                <a:lnTo>
                  <a:pt x="56" y="60"/>
                </a:lnTo>
                <a:lnTo>
                  <a:pt x="52" y="60"/>
                </a:lnTo>
                <a:lnTo>
                  <a:pt x="56" y="58"/>
                </a:lnTo>
                <a:lnTo>
                  <a:pt x="56" y="54"/>
                </a:lnTo>
                <a:lnTo>
                  <a:pt x="52" y="54"/>
                </a:lnTo>
                <a:lnTo>
                  <a:pt x="48" y="50"/>
                </a:lnTo>
                <a:lnTo>
                  <a:pt x="44" y="54"/>
                </a:lnTo>
                <a:lnTo>
                  <a:pt x="44" y="58"/>
                </a:lnTo>
                <a:lnTo>
                  <a:pt x="42" y="60"/>
                </a:lnTo>
                <a:lnTo>
                  <a:pt x="38" y="60"/>
                </a:lnTo>
                <a:lnTo>
                  <a:pt x="38" y="64"/>
                </a:lnTo>
                <a:lnTo>
                  <a:pt x="42" y="64"/>
                </a:lnTo>
                <a:lnTo>
                  <a:pt x="42" y="68"/>
                </a:lnTo>
                <a:lnTo>
                  <a:pt x="38" y="68"/>
                </a:lnTo>
                <a:lnTo>
                  <a:pt x="34" y="68"/>
                </a:lnTo>
                <a:lnTo>
                  <a:pt x="30" y="68"/>
                </a:lnTo>
                <a:lnTo>
                  <a:pt x="26" y="72"/>
                </a:lnTo>
                <a:lnTo>
                  <a:pt x="26" y="76"/>
                </a:lnTo>
                <a:lnTo>
                  <a:pt x="22" y="76"/>
                </a:lnTo>
                <a:lnTo>
                  <a:pt x="22" y="72"/>
                </a:lnTo>
                <a:lnTo>
                  <a:pt x="18" y="72"/>
                </a:lnTo>
                <a:lnTo>
                  <a:pt x="14" y="76"/>
                </a:lnTo>
                <a:lnTo>
                  <a:pt x="12" y="76"/>
                </a:lnTo>
                <a:lnTo>
                  <a:pt x="12" y="80"/>
                </a:lnTo>
                <a:lnTo>
                  <a:pt x="8" y="80"/>
                </a:lnTo>
                <a:lnTo>
                  <a:pt x="4" y="76"/>
                </a:lnTo>
                <a:lnTo>
                  <a:pt x="4" y="72"/>
                </a:lnTo>
                <a:lnTo>
                  <a:pt x="4" y="68"/>
                </a:lnTo>
                <a:lnTo>
                  <a:pt x="8" y="68"/>
                </a:lnTo>
                <a:lnTo>
                  <a:pt x="8" y="64"/>
                </a:lnTo>
                <a:lnTo>
                  <a:pt x="12" y="60"/>
                </a:lnTo>
                <a:lnTo>
                  <a:pt x="12" y="58"/>
                </a:lnTo>
                <a:lnTo>
                  <a:pt x="14" y="58"/>
                </a:lnTo>
                <a:lnTo>
                  <a:pt x="12" y="58"/>
                </a:lnTo>
                <a:lnTo>
                  <a:pt x="12" y="54"/>
                </a:lnTo>
                <a:lnTo>
                  <a:pt x="8" y="50"/>
                </a:lnTo>
                <a:lnTo>
                  <a:pt x="8" y="46"/>
                </a:lnTo>
                <a:lnTo>
                  <a:pt x="12" y="46"/>
                </a:lnTo>
                <a:lnTo>
                  <a:pt x="12" y="42"/>
                </a:lnTo>
                <a:lnTo>
                  <a:pt x="8" y="42"/>
                </a:lnTo>
                <a:lnTo>
                  <a:pt x="4" y="42"/>
                </a:lnTo>
                <a:lnTo>
                  <a:pt x="4" y="38"/>
                </a:lnTo>
                <a:lnTo>
                  <a:pt x="0" y="38"/>
                </a:lnTo>
                <a:lnTo>
                  <a:pt x="0" y="34"/>
                </a:lnTo>
                <a:lnTo>
                  <a:pt x="0" y="30"/>
                </a:lnTo>
                <a:lnTo>
                  <a:pt x="4" y="28"/>
                </a:lnTo>
                <a:lnTo>
                  <a:pt x="8" y="28"/>
                </a:lnTo>
                <a:lnTo>
                  <a:pt x="8" y="30"/>
                </a:lnTo>
                <a:lnTo>
                  <a:pt x="12" y="30"/>
                </a:lnTo>
                <a:lnTo>
                  <a:pt x="14" y="30"/>
                </a:lnTo>
                <a:lnTo>
                  <a:pt x="14" y="28"/>
                </a:lnTo>
                <a:lnTo>
                  <a:pt x="14" y="24"/>
                </a:lnTo>
                <a:lnTo>
                  <a:pt x="18" y="24"/>
                </a:lnTo>
                <a:lnTo>
                  <a:pt x="18" y="20"/>
                </a:lnTo>
                <a:lnTo>
                  <a:pt x="22" y="20"/>
                </a:lnTo>
                <a:lnTo>
                  <a:pt x="18" y="20"/>
                </a:lnTo>
                <a:lnTo>
                  <a:pt x="14" y="20"/>
                </a:lnTo>
                <a:lnTo>
                  <a:pt x="14" y="16"/>
                </a:lnTo>
                <a:lnTo>
                  <a:pt x="18" y="16"/>
                </a:lnTo>
                <a:lnTo>
                  <a:pt x="22" y="16"/>
                </a:lnTo>
                <a:lnTo>
                  <a:pt x="26" y="16"/>
                </a:lnTo>
                <a:lnTo>
                  <a:pt x="26" y="12"/>
                </a:lnTo>
                <a:lnTo>
                  <a:pt x="26" y="8"/>
                </a:lnTo>
                <a:lnTo>
                  <a:pt x="26" y="4"/>
                </a:lnTo>
                <a:lnTo>
                  <a:pt x="30" y="4"/>
                </a:lnTo>
                <a:lnTo>
                  <a:pt x="30" y="8"/>
                </a:lnTo>
                <a:lnTo>
                  <a:pt x="34" y="8"/>
                </a:lnTo>
                <a:lnTo>
                  <a:pt x="38" y="8"/>
                </a:lnTo>
                <a:lnTo>
                  <a:pt x="38" y="4"/>
                </a:lnTo>
                <a:lnTo>
                  <a:pt x="42" y="4"/>
                </a:lnTo>
                <a:lnTo>
                  <a:pt x="42" y="0"/>
                </a:lnTo>
                <a:lnTo>
                  <a:pt x="44" y="0"/>
                </a:lnTo>
                <a:lnTo>
                  <a:pt x="44" y="4"/>
                </a:lnTo>
                <a:lnTo>
                  <a:pt x="48" y="4"/>
                </a:lnTo>
                <a:lnTo>
                  <a:pt x="48" y="8"/>
                </a:lnTo>
                <a:lnTo>
                  <a:pt x="44" y="8"/>
                </a:lnTo>
                <a:lnTo>
                  <a:pt x="44" y="12"/>
                </a:lnTo>
                <a:lnTo>
                  <a:pt x="42" y="12"/>
                </a:lnTo>
                <a:lnTo>
                  <a:pt x="42" y="16"/>
                </a:lnTo>
                <a:lnTo>
                  <a:pt x="44" y="16"/>
                </a:lnTo>
                <a:lnTo>
                  <a:pt x="48" y="16"/>
                </a:lnTo>
                <a:lnTo>
                  <a:pt x="48" y="20"/>
                </a:lnTo>
                <a:lnTo>
                  <a:pt x="44" y="20"/>
                </a:lnTo>
                <a:lnTo>
                  <a:pt x="44" y="24"/>
                </a:lnTo>
                <a:lnTo>
                  <a:pt x="42" y="24"/>
                </a:lnTo>
                <a:lnTo>
                  <a:pt x="44" y="24"/>
                </a:lnTo>
                <a:lnTo>
                  <a:pt x="44" y="20"/>
                </a:lnTo>
                <a:lnTo>
                  <a:pt x="42" y="20"/>
                </a:lnTo>
                <a:lnTo>
                  <a:pt x="38" y="16"/>
                </a:lnTo>
                <a:lnTo>
                  <a:pt x="34" y="20"/>
                </a:lnTo>
                <a:lnTo>
                  <a:pt x="30" y="20"/>
                </a:lnTo>
                <a:lnTo>
                  <a:pt x="30" y="24"/>
                </a:lnTo>
                <a:lnTo>
                  <a:pt x="26" y="24"/>
                </a:lnTo>
                <a:lnTo>
                  <a:pt x="26" y="20"/>
                </a:lnTo>
                <a:lnTo>
                  <a:pt x="26" y="24"/>
                </a:lnTo>
                <a:lnTo>
                  <a:pt x="26" y="28"/>
                </a:lnTo>
                <a:lnTo>
                  <a:pt x="26" y="30"/>
                </a:lnTo>
                <a:lnTo>
                  <a:pt x="30" y="30"/>
                </a:lnTo>
                <a:lnTo>
                  <a:pt x="34" y="30"/>
                </a:lnTo>
                <a:lnTo>
                  <a:pt x="38" y="30"/>
                </a:lnTo>
                <a:lnTo>
                  <a:pt x="42" y="30"/>
                </a:lnTo>
                <a:lnTo>
                  <a:pt x="42" y="28"/>
                </a:lnTo>
                <a:lnTo>
                  <a:pt x="44" y="28"/>
                </a:lnTo>
                <a:lnTo>
                  <a:pt x="44" y="30"/>
                </a:lnTo>
                <a:lnTo>
                  <a:pt x="48" y="30"/>
                </a:lnTo>
                <a:lnTo>
                  <a:pt x="48" y="34"/>
                </a:lnTo>
                <a:lnTo>
                  <a:pt x="52" y="30"/>
                </a:lnTo>
                <a:lnTo>
                  <a:pt x="56" y="30"/>
                </a:lnTo>
                <a:lnTo>
                  <a:pt x="56" y="28"/>
                </a:lnTo>
                <a:lnTo>
                  <a:pt x="60" y="30"/>
                </a:lnTo>
                <a:lnTo>
                  <a:pt x="56" y="30"/>
                </a:lnTo>
                <a:lnTo>
                  <a:pt x="60" y="30"/>
                </a:lnTo>
                <a:lnTo>
                  <a:pt x="60" y="34"/>
                </a:lnTo>
                <a:lnTo>
                  <a:pt x="64" y="34"/>
                </a:lnTo>
                <a:lnTo>
                  <a:pt x="68" y="34"/>
                </a:lnTo>
                <a:lnTo>
                  <a:pt x="68" y="38"/>
                </a:lnTo>
                <a:lnTo>
                  <a:pt x="68" y="34"/>
                </a:lnTo>
                <a:lnTo>
                  <a:pt x="70" y="34"/>
                </a:lnTo>
                <a:lnTo>
                  <a:pt x="74" y="34"/>
                </a:lnTo>
                <a:lnTo>
                  <a:pt x="78" y="34"/>
                </a:lnTo>
                <a:lnTo>
                  <a:pt x="82" y="34"/>
                </a:lnTo>
                <a:lnTo>
                  <a:pt x="82" y="30"/>
                </a:lnTo>
                <a:lnTo>
                  <a:pt x="86" y="30"/>
                </a:lnTo>
                <a:lnTo>
                  <a:pt x="90" y="30"/>
                </a:lnTo>
                <a:lnTo>
                  <a:pt x="90" y="34"/>
                </a:lnTo>
                <a:lnTo>
                  <a:pt x="86" y="34"/>
                </a:lnTo>
                <a:lnTo>
                  <a:pt x="90" y="38"/>
                </a:lnTo>
                <a:lnTo>
                  <a:pt x="90" y="42"/>
                </a:lnTo>
                <a:lnTo>
                  <a:pt x="90" y="46"/>
                </a:lnTo>
                <a:lnTo>
                  <a:pt x="90" y="50"/>
                </a:lnTo>
                <a:lnTo>
                  <a:pt x="94" y="50"/>
                </a:lnTo>
                <a:lnTo>
                  <a:pt x="94" y="46"/>
                </a:lnTo>
                <a:lnTo>
                  <a:pt x="98" y="46"/>
                </a:lnTo>
                <a:lnTo>
                  <a:pt x="100" y="50"/>
                </a:lnTo>
                <a:lnTo>
                  <a:pt x="104" y="50"/>
                </a:lnTo>
                <a:lnTo>
                  <a:pt x="104" y="54"/>
                </a:lnTo>
                <a:lnTo>
                  <a:pt x="104" y="58"/>
                </a:lnTo>
                <a:lnTo>
                  <a:pt x="104" y="60"/>
                </a:lnTo>
                <a:lnTo>
                  <a:pt x="104" y="64"/>
                </a:lnTo>
                <a:lnTo>
                  <a:pt x="108" y="64"/>
                </a:lnTo>
                <a:lnTo>
                  <a:pt x="104" y="64"/>
                </a:lnTo>
                <a:lnTo>
                  <a:pt x="104" y="68"/>
                </a:lnTo>
                <a:lnTo>
                  <a:pt x="108" y="68"/>
                </a:lnTo>
                <a:lnTo>
                  <a:pt x="108" y="72"/>
                </a:lnTo>
                <a:lnTo>
                  <a:pt x="104" y="76"/>
                </a:lnTo>
                <a:lnTo>
                  <a:pt x="104" y="76"/>
                </a:lnTo>
                <a:lnTo>
                  <a:pt x="104" y="76"/>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49" name="Freeform 56"/>
          <p:cNvSpPr>
            <a:spLocks noEditPoints="1"/>
          </p:cNvSpPr>
          <p:nvPr/>
        </p:nvSpPr>
        <p:spPr bwMode="auto">
          <a:xfrm>
            <a:off x="5895975" y="3278981"/>
            <a:ext cx="140494" cy="307181"/>
          </a:xfrm>
          <a:custGeom>
            <a:avLst/>
            <a:gdLst>
              <a:gd name="T0" fmla="*/ 54 w 118"/>
              <a:gd name="T1" fmla="*/ 258 h 258"/>
              <a:gd name="T2" fmla="*/ 50 w 118"/>
              <a:gd name="T3" fmla="*/ 246 h 258"/>
              <a:gd name="T4" fmla="*/ 40 w 118"/>
              <a:gd name="T5" fmla="*/ 242 h 258"/>
              <a:gd name="T6" fmla="*/ 36 w 118"/>
              <a:gd name="T7" fmla="*/ 232 h 258"/>
              <a:gd name="T8" fmla="*/ 24 w 118"/>
              <a:gd name="T9" fmla="*/ 220 h 258"/>
              <a:gd name="T10" fmla="*/ 18 w 118"/>
              <a:gd name="T11" fmla="*/ 212 h 258"/>
              <a:gd name="T12" fmla="*/ 14 w 118"/>
              <a:gd name="T13" fmla="*/ 202 h 258"/>
              <a:gd name="T14" fmla="*/ 18 w 118"/>
              <a:gd name="T15" fmla="*/ 182 h 258"/>
              <a:gd name="T16" fmla="*/ 28 w 118"/>
              <a:gd name="T17" fmla="*/ 160 h 258"/>
              <a:gd name="T18" fmla="*/ 32 w 118"/>
              <a:gd name="T19" fmla="*/ 142 h 258"/>
              <a:gd name="T20" fmla="*/ 28 w 118"/>
              <a:gd name="T21" fmla="*/ 122 h 258"/>
              <a:gd name="T22" fmla="*/ 20 w 118"/>
              <a:gd name="T23" fmla="*/ 108 h 258"/>
              <a:gd name="T24" fmla="*/ 14 w 118"/>
              <a:gd name="T25" fmla="*/ 94 h 258"/>
              <a:gd name="T26" fmla="*/ 18 w 118"/>
              <a:gd name="T27" fmla="*/ 74 h 258"/>
              <a:gd name="T28" fmla="*/ 18 w 118"/>
              <a:gd name="T29" fmla="*/ 60 h 258"/>
              <a:gd name="T30" fmla="*/ 6 w 118"/>
              <a:gd name="T31" fmla="*/ 48 h 258"/>
              <a:gd name="T32" fmla="*/ 4 w 118"/>
              <a:gd name="T33" fmla="*/ 34 h 258"/>
              <a:gd name="T34" fmla="*/ 6 w 118"/>
              <a:gd name="T35" fmla="*/ 22 h 258"/>
              <a:gd name="T36" fmla="*/ 18 w 118"/>
              <a:gd name="T37" fmla="*/ 12 h 258"/>
              <a:gd name="T38" fmla="*/ 28 w 118"/>
              <a:gd name="T39" fmla="*/ 8 h 258"/>
              <a:gd name="T40" fmla="*/ 40 w 118"/>
              <a:gd name="T41" fmla="*/ 4 h 258"/>
              <a:gd name="T42" fmla="*/ 44 w 118"/>
              <a:gd name="T43" fmla="*/ 12 h 258"/>
              <a:gd name="T44" fmla="*/ 54 w 118"/>
              <a:gd name="T45" fmla="*/ 22 h 258"/>
              <a:gd name="T46" fmla="*/ 54 w 118"/>
              <a:gd name="T47" fmla="*/ 38 h 258"/>
              <a:gd name="T48" fmla="*/ 54 w 118"/>
              <a:gd name="T49" fmla="*/ 52 h 258"/>
              <a:gd name="T50" fmla="*/ 66 w 118"/>
              <a:gd name="T51" fmla="*/ 40 h 258"/>
              <a:gd name="T52" fmla="*/ 76 w 118"/>
              <a:gd name="T53" fmla="*/ 44 h 258"/>
              <a:gd name="T54" fmla="*/ 88 w 118"/>
              <a:gd name="T55" fmla="*/ 38 h 258"/>
              <a:gd name="T56" fmla="*/ 102 w 118"/>
              <a:gd name="T57" fmla="*/ 48 h 258"/>
              <a:gd name="T58" fmla="*/ 106 w 118"/>
              <a:gd name="T59" fmla="*/ 64 h 258"/>
              <a:gd name="T60" fmla="*/ 110 w 118"/>
              <a:gd name="T61" fmla="*/ 78 h 258"/>
              <a:gd name="T62" fmla="*/ 114 w 118"/>
              <a:gd name="T63" fmla="*/ 94 h 258"/>
              <a:gd name="T64" fmla="*/ 110 w 118"/>
              <a:gd name="T65" fmla="*/ 104 h 258"/>
              <a:gd name="T66" fmla="*/ 96 w 118"/>
              <a:gd name="T67" fmla="*/ 104 h 258"/>
              <a:gd name="T68" fmla="*/ 80 w 118"/>
              <a:gd name="T69" fmla="*/ 112 h 258"/>
              <a:gd name="T70" fmla="*/ 70 w 118"/>
              <a:gd name="T71" fmla="*/ 122 h 258"/>
              <a:gd name="T72" fmla="*/ 76 w 118"/>
              <a:gd name="T73" fmla="*/ 142 h 258"/>
              <a:gd name="T74" fmla="*/ 76 w 118"/>
              <a:gd name="T75" fmla="*/ 146 h 258"/>
              <a:gd name="T76" fmla="*/ 66 w 118"/>
              <a:gd name="T77" fmla="*/ 134 h 258"/>
              <a:gd name="T78" fmla="*/ 50 w 118"/>
              <a:gd name="T79" fmla="*/ 134 h 258"/>
              <a:gd name="T80" fmla="*/ 50 w 118"/>
              <a:gd name="T81" fmla="*/ 120 h 258"/>
              <a:gd name="T82" fmla="*/ 40 w 118"/>
              <a:gd name="T83" fmla="*/ 126 h 258"/>
              <a:gd name="T84" fmla="*/ 36 w 118"/>
              <a:gd name="T85" fmla="*/ 148 h 258"/>
              <a:gd name="T86" fmla="*/ 28 w 118"/>
              <a:gd name="T87" fmla="*/ 168 h 258"/>
              <a:gd name="T88" fmla="*/ 28 w 118"/>
              <a:gd name="T89" fmla="*/ 190 h 258"/>
              <a:gd name="T90" fmla="*/ 36 w 118"/>
              <a:gd name="T91" fmla="*/ 204 h 258"/>
              <a:gd name="T92" fmla="*/ 44 w 118"/>
              <a:gd name="T93" fmla="*/ 212 h 258"/>
              <a:gd name="T94" fmla="*/ 46 w 118"/>
              <a:gd name="T95" fmla="*/ 232 h 258"/>
              <a:gd name="T96" fmla="*/ 40 w 118"/>
              <a:gd name="T97" fmla="*/ 224 h 258"/>
              <a:gd name="T98" fmla="*/ 46 w 118"/>
              <a:gd name="T99" fmla="*/ 232 h 258"/>
              <a:gd name="T100" fmla="*/ 58 w 118"/>
              <a:gd name="T101" fmla="*/ 234 h 258"/>
              <a:gd name="T102" fmla="*/ 66 w 118"/>
              <a:gd name="T103" fmla="*/ 254 h 258"/>
              <a:gd name="T104" fmla="*/ 18 w 118"/>
              <a:gd name="T105" fmla="*/ 212 h 258"/>
              <a:gd name="T106" fmla="*/ 32 w 118"/>
              <a:gd name="T107" fmla="*/ 238 h 258"/>
              <a:gd name="T108" fmla="*/ 72 w 118"/>
              <a:gd name="T109" fmla="*/ 146 h 258"/>
              <a:gd name="T110" fmla="*/ 72 w 118"/>
              <a:gd name="T111" fmla="*/ 148 h 258"/>
              <a:gd name="T112" fmla="*/ 40 w 118"/>
              <a:gd name="T113" fmla="*/ 190 h 258"/>
              <a:gd name="T114" fmla="*/ 14 w 118"/>
              <a:gd name="T115" fmla="*/ 216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8" h="258">
                <a:moveTo>
                  <a:pt x="62" y="254"/>
                </a:moveTo>
                <a:lnTo>
                  <a:pt x="62" y="250"/>
                </a:lnTo>
                <a:lnTo>
                  <a:pt x="58" y="250"/>
                </a:lnTo>
                <a:lnTo>
                  <a:pt x="58" y="254"/>
                </a:lnTo>
                <a:lnTo>
                  <a:pt x="54" y="254"/>
                </a:lnTo>
                <a:lnTo>
                  <a:pt x="54" y="258"/>
                </a:lnTo>
                <a:lnTo>
                  <a:pt x="54" y="254"/>
                </a:lnTo>
                <a:lnTo>
                  <a:pt x="50" y="254"/>
                </a:lnTo>
                <a:lnTo>
                  <a:pt x="50" y="250"/>
                </a:lnTo>
                <a:lnTo>
                  <a:pt x="54" y="250"/>
                </a:lnTo>
                <a:lnTo>
                  <a:pt x="54" y="246"/>
                </a:lnTo>
                <a:lnTo>
                  <a:pt x="50" y="246"/>
                </a:lnTo>
                <a:lnTo>
                  <a:pt x="50" y="242"/>
                </a:lnTo>
                <a:lnTo>
                  <a:pt x="46" y="242"/>
                </a:lnTo>
                <a:lnTo>
                  <a:pt x="44" y="242"/>
                </a:lnTo>
                <a:lnTo>
                  <a:pt x="44" y="238"/>
                </a:lnTo>
                <a:lnTo>
                  <a:pt x="40" y="238"/>
                </a:lnTo>
                <a:lnTo>
                  <a:pt x="40" y="242"/>
                </a:lnTo>
                <a:lnTo>
                  <a:pt x="40" y="238"/>
                </a:lnTo>
                <a:lnTo>
                  <a:pt x="36" y="238"/>
                </a:lnTo>
                <a:lnTo>
                  <a:pt x="36" y="234"/>
                </a:lnTo>
                <a:lnTo>
                  <a:pt x="32" y="234"/>
                </a:lnTo>
                <a:lnTo>
                  <a:pt x="32" y="232"/>
                </a:lnTo>
                <a:lnTo>
                  <a:pt x="36" y="232"/>
                </a:lnTo>
                <a:lnTo>
                  <a:pt x="32" y="232"/>
                </a:lnTo>
                <a:lnTo>
                  <a:pt x="32" y="228"/>
                </a:lnTo>
                <a:lnTo>
                  <a:pt x="28" y="228"/>
                </a:lnTo>
                <a:lnTo>
                  <a:pt x="28" y="224"/>
                </a:lnTo>
                <a:lnTo>
                  <a:pt x="28" y="220"/>
                </a:lnTo>
                <a:lnTo>
                  <a:pt x="24" y="220"/>
                </a:lnTo>
                <a:lnTo>
                  <a:pt x="24" y="216"/>
                </a:lnTo>
                <a:lnTo>
                  <a:pt x="20" y="216"/>
                </a:lnTo>
                <a:lnTo>
                  <a:pt x="20" y="212"/>
                </a:lnTo>
                <a:lnTo>
                  <a:pt x="20" y="208"/>
                </a:lnTo>
                <a:lnTo>
                  <a:pt x="18" y="208"/>
                </a:lnTo>
                <a:lnTo>
                  <a:pt x="18" y="212"/>
                </a:lnTo>
                <a:lnTo>
                  <a:pt x="18" y="208"/>
                </a:lnTo>
                <a:lnTo>
                  <a:pt x="18" y="212"/>
                </a:lnTo>
                <a:lnTo>
                  <a:pt x="14" y="212"/>
                </a:lnTo>
                <a:lnTo>
                  <a:pt x="14" y="208"/>
                </a:lnTo>
                <a:lnTo>
                  <a:pt x="14" y="204"/>
                </a:lnTo>
                <a:lnTo>
                  <a:pt x="14" y="202"/>
                </a:lnTo>
                <a:lnTo>
                  <a:pt x="14" y="198"/>
                </a:lnTo>
                <a:lnTo>
                  <a:pt x="14" y="194"/>
                </a:lnTo>
                <a:lnTo>
                  <a:pt x="14" y="190"/>
                </a:lnTo>
                <a:lnTo>
                  <a:pt x="18" y="190"/>
                </a:lnTo>
                <a:lnTo>
                  <a:pt x="18" y="186"/>
                </a:lnTo>
                <a:lnTo>
                  <a:pt x="18" y="182"/>
                </a:lnTo>
                <a:lnTo>
                  <a:pt x="20" y="178"/>
                </a:lnTo>
                <a:lnTo>
                  <a:pt x="20" y="176"/>
                </a:lnTo>
                <a:lnTo>
                  <a:pt x="20" y="172"/>
                </a:lnTo>
                <a:lnTo>
                  <a:pt x="20" y="168"/>
                </a:lnTo>
                <a:lnTo>
                  <a:pt x="24" y="164"/>
                </a:lnTo>
                <a:lnTo>
                  <a:pt x="28" y="160"/>
                </a:lnTo>
                <a:lnTo>
                  <a:pt x="28" y="156"/>
                </a:lnTo>
                <a:lnTo>
                  <a:pt x="28" y="152"/>
                </a:lnTo>
                <a:lnTo>
                  <a:pt x="32" y="152"/>
                </a:lnTo>
                <a:lnTo>
                  <a:pt x="32" y="148"/>
                </a:lnTo>
                <a:lnTo>
                  <a:pt x="32" y="146"/>
                </a:lnTo>
                <a:lnTo>
                  <a:pt x="32" y="142"/>
                </a:lnTo>
                <a:lnTo>
                  <a:pt x="28" y="142"/>
                </a:lnTo>
                <a:lnTo>
                  <a:pt x="28" y="138"/>
                </a:lnTo>
                <a:lnTo>
                  <a:pt x="28" y="134"/>
                </a:lnTo>
                <a:lnTo>
                  <a:pt x="24" y="126"/>
                </a:lnTo>
                <a:lnTo>
                  <a:pt x="28" y="126"/>
                </a:lnTo>
                <a:lnTo>
                  <a:pt x="28" y="122"/>
                </a:lnTo>
                <a:lnTo>
                  <a:pt x="24" y="122"/>
                </a:lnTo>
                <a:lnTo>
                  <a:pt x="24" y="120"/>
                </a:lnTo>
                <a:lnTo>
                  <a:pt x="24" y="116"/>
                </a:lnTo>
                <a:lnTo>
                  <a:pt x="24" y="112"/>
                </a:lnTo>
                <a:lnTo>
                  <a:pt x="20" y="112"/>
                </a:lnTo>
                <a:lnTo>
                  <a:pt x="20" y="108"/>
                </a:lnTo>
                <a:lnTo>
                  <a:pt x="18" y="108"/>
                </a:lnTo>
                <a:lnTo>
                  <a:pt x="18" y="104"/>
                </a:lnTo>
                <a:lnTo>
                  <a:pt x="18" y="100"/>
                </a:lnTo>
                <a:lnTo>
                  <a:pt x="14" y="100"/>
                </a:lnTo>
                <a:lnTo>
                  <a:pt x="14" y="96"/>
                </a:lnTo>
                <a:lnTo>
                  <a:pt x="14" y="94"/>
                </a:lnTo>
                <a:lnTo>
                  <a:pt x="14" y="90"/>
                </a:lnTo>
                <a:lnTo>
                  <a:pt x="18" y="90"/>
                </a:lnTo>
                <a:lnTo>
                  <a:pt x="18" y="86"/>
                </a:lnTo>
                <a:lnTo>
                  <a:pt x="18" y="82"/>
                </a:lnTo>
                <a:lnTo>
                  <a:pt x="18" y="78"/>
                </a:lnTo>
                <a:lnTo>
                  <a:pt x="18" y="74"/>
                </a:lnTo>
                <a:lnTo>
                  <a:pt x="20" y="74"/>
                </a:lnTo>
                <a:lnTo>
                  <a:pt x="20" y="70"/>
                </a:lnTo>
                <a:lnTo>
                  <a:pt x="18" y="70"/>
                </a:lnTo>
                <a:lnTo>
                  <a:pt x="18" y="66"/>
                </a:lnTo>
                <a:lnTo>
                  <a:pt x="18" y="64"/>
                </a:lnTo>
                <a:lnTo>
                  <a:pt x="18" y="60"/>
                </a:lnTo>
                <a:lnTo>
                  <a:pt x="14" y="60"/>
                </a:lnTo>
                <a:lnTo>
                  <a:pt x="14" y="56"/>
                </a:lnTo>
                <a:lnTo>
                  <a:pt x="10" y="56"/>
                </a:lnTo>
                <a:lnTo>
                  <a:pt x="10" y="52"/>
                </a:lnTo>
                <a:lnTo>
                  <a:pt x="10" y="48"/>
                </a:lnTo>
                <a:lnTo>
                  <a:pt x="6" y="48"/>
                </a:lnTo>
                <a:lnTo>
                  <a:pt x="6" y="44"/>
                </a:lnTo>
                <a:lnTo>
                  <a:pt x="6" y="40"/>
                </a:lnTo>
                <a:lnTo>
                  <a:pt x="4" y="38"/>
                </a:lnTo>
                <a:lnTo>
                  <a:pt x="6" y="38"/>
                </a:lnTo>
                <a:lnTo>
                  <a:pt x="4" y="38"/>
                </a:lnTo>
                <a:lnTo>
                  <a:pt x="4" y="34"/>
                </a:lnTo>
                <a:lnTo>
                  <a:pt x="0" y="34"/>
                </a:lnTo>
                <a:lnTo>
                  <a:pt x="4" y="34"/>
                </a:lnTo>
                <a:lnTo>
                  <a:pt x="6" y="34"/>
                </a:lnTo>
                <a:lnTo>
                  <a:pt x="6" y="30"/>
                </a:lnTo>
                <a:lnTo>
                  <a:pt x="6" y="26"/>
                </a:lnTo>
                <a:lnTo>
                  <a:pt x="6" y="22"/>
                </a:lnTo>
                <a:lnTo>
                  <a:pt x="6" y="18"/>
                </a:lnTo>
                <a:lnTo>
                  <a:pt x="6" y="14"/>
                </a:lnTo>
                <a:lnTo>
                  <a:pt x="10" y="14"/>
                </a:lnTo>
                <a:lnTo>
                  <a:pt x="10" y="12"/>
                </a:lnTo>
                <a:lnTo>
                  <a:pt x="14" y="12"/>
                </a:lnTo>
                <a:lnTo>
                  <a:pt x="18" y="12"/>
                </a:lnTo>
                <a:lnTo>
                  <a:pt x="20" y="12"/>
                </a:lnTo>
                <a:lnTo>
                  <a:pt x="24" y="12"/>
                </a:lnTo>
                <a:lnTo>
                  <a:pt x="24" y="8"/>
                </a:lnTo>
                <a:lnTo>
                  <a:pt x="24" y="4"/>
                </a:lnTo>
                <a:lnTo>
                  <a:pt x="28" y="4"/>
                </a:lnTo>
                <a:lnTo>
                  <a:pt x="28" y="8"/>
                </a:lnTo>
                <a:lnTo>
                  <a:pt x="28" y="4"/>
                </a:lnTo>
                <a:lnTo>
                  <a:pt x="32" y="4"/>
                </a:lnTo>
                <a:lnTo>
                  <a:pt x="32" y="0"/>
                </a:lnTo>
                <a:lnTo>
                  <a:pt x="36" y="0"/>
                </a:lnTo>
                <a:lnTo>
                  <a:pt x="40" y="0"/>
                </a:lnTo>
                <a:lnTo>
                  <a:pt x="40" y="4"/>
                </a:lnTo>
                <a:lnTo>
                  <a:pt x="40" y="0"/>
                </a:lnTo>
                <a:lnTo>
                  <a:pt x="44" y="0"/>
                </a:lnTo>
                <a:lnTo>
                  <a:pt x="44" y="4"/>
                </a:lnTo>
                <a:lnTo>
                  <a:pt x="46" y="4"/>
                </a:lnTo>
                <a:lnTo>
                  <a:pt x="46" y="8"/>
                </a:lnTo>
                <a:lnTo>
                  <a:pt x="44" y="12"/>
                </a:lnTo>
                <a:lnTo>
                  <a:pt x="44" y="14"/>
                </a:lnTo>
                <a:lnTo>
                  <a:pt x="46" y="14"/>
                </a:lnTo>
                <a:lnTo>
                  <a:pt x="50" y="14"/>
                </a:lnTo>
                <a:lnTo>
                  <a:pt x="54" y="14"/>
                </a:lnTo>
                <a:lnTo>
                  <a:pt x="54" y="18"/>
                </a:lnTo>
                <a:lnTo>
                  <a:pt x="54" y="22"/>
                </a:lnTo>
                <a:lnTo>
                  <a:pt x="58" y="22"/>
                </a:lnTo>
                <a:lnTo>
                  <a:pt x="58" y="26"/>
                </a:lnTo>
                <a:lnTo>
                  <a:pt x="54" y="26"/>
                </a:lnTo>
                <a:lnTo>
                  <a:pt x="54" y="30"/>
                </a:lnTo>
                <a:lnTo>
                  <a:pt x="54" y="34"/>
                </a:lnTo>
                <a:lnTo>
                  <a:pt x="54" y="38"/>
                </a:lnTo>
                <a:lnTo>
                  <a:pt x="54" y="40"/>
                </a:lnTo>
                <a:lnTo>
                  <a:pt x="54" y="44"/>
                </a:lnTo>
                <a:lnTo>
                  <a:pt x="50" y="44"/>
                </a:lnTo>
                <a:lnTo>
                  <a:pt x="50" y="48"/>
                </a:lnTo>
                <a:lnTo>
                  <a:pt x="50" y="52"/>
                </a:lnTo>
                <a:lnTo>
                  <a:pt x="54" y="52"/>
                </a:lnTo>
                <a:lnTo>
                  <a:pt x="54" y="48"/>
                </a:lnTo>
                <a:lnTo>
                  <a:pt x="58" y="48"/>
                </a:lnTo>
                <a:lnTo>
                  <a:pt x="58" y="44"/>
                </a:lnTo>
                <a:lnTo>
                  <a:pt x="62" y="44"/>
                </a:lnTo>
                <a:lnTo>
                  <a:pt x="62" y="40"/>
                </a:lnTo>
                <a:lnTo>
                  <a:pt x="66" y="40"/>
                </a:lnTo>
                <a:lnTo>
                  <a:pt x="66" y="38"/>
                </a:lnTo>
                <a:lnTo>
                  <a:pt x="70" y="38"/>
                </a:lnTo>
                <a:lnTo>
                  <a:pt x="70" y="40"/>
                </a:lnTo>
                <a:lnTo>
                  <a:pt x="72" y="40"/>
                </a:lnTo>
                <a:lnTo>
                  <a:pt x="72" y="44"/>
                </a:lnTo>
                <a:lnTo>
                  <a:pt x="76" y="44"/>
                </a:lnTo>
                <a:lnTo>
                  <a:pt x="76" y="40"/>
                </a:lnTo>
                <a:lnTo>
                  <a:pt x="80" y="40"/>
                </a:lnTo>
                <a:lnTo>
                  <a:pt x="84" y="38"/>
                </a:lnTo>
                <a:lnTo>
                  <a:pt x="84" y="34"/>
                </a:lnTo>
                <a:lnTo>
                  <a:pt x="88" y="34"/>
                </a:lnTo>
                <a:lnTo>
                  <a:pt x="88" y="38"/>
                </a:lnTo>
                <a:lnTo>
                  <a:pt x="92" y="38"/>
                </a:lnTo>
                <a:lnTo>
                  <a:pt x="96" y="38"/>
                </a:lnTo>
                <a:lnTo>
                  <a:pt x="96" y="40"/>
                </a:lnTo>
                <a:lnTo>
                  <a:pt x="98" y="44"/>
                </a:lnTo>
                <a:lnTo>
                  <a:pt x="98" y="48"/>
                </a:lnTo>
                <a:lnTo>
                  <a:pt x="102" y="48"/>
                </a:lnTo>
                <a:lnTo>
                  <a:pt x="102" y="52"/>
                </a:lnTo>
                <a:lnTo>
                  <a:pt x="106" y="52"/>
                </a:lnTo>
                <a:lnTo>
                  <a:pt x="106" y="56"/>
                </a:lnTo>
                <a:lnTo>
                  <a:pt x="106" y="60"/>
                </a:lnTo>
                <a:lnTo>
                  <a:pt x="102" y="60"/>
                </a:lnTo>
                <a:lnTo>
                  <a:pt x="106" y="64"/>
                </a:lnTo>
                <a:lnTo>
                  <a:pt x="106" y="66"/>
                </a:lnTo>
                <a:lnTo>
                  <a:pt x="102" y="66"/>
                </a:lnTo>
                <a:lnTo>
                  <a:pt x="106" y="66"/>
                </a:lnTo>
                <a:lnTo>
                  <a:pt x="106" y="70"/>
                </a:lnTo>
                <a:lnTo>
                  <a:pt x="110" y="74"/>
                </a:lnTo>
                <a:lnTo>
                  <a:pt x="110" y="78"/>
                </a:lnTo>
                <a:lnTo>
                  <a:pt x="114" y="78"/>
                </a:lnTo>
                <a:lnTo>
                  <a:pt x="114" y="82"/>
                </a:lnTo>
                <a:lnTo>
                  <a:pt x="118" y="82"/>
                </a:lnTo>
                <a:lnTo>
                  <a:pt x="118" y="86"/>
                </a:lnTo>
                <a:lnTo>
                  <a:pt x="118" y="90"/>
                </a:lnTo>
                <a:lnTo>
                  <a:pt x="114" y="94"/>
                </a:lnTo>
                <a:lnTo>
                  <a:pt x="118" y="94"/>
                </a:lnTo>
                <a:lnTo>
                  <a:pt x="118" y="96"/>
                </a:lnTo>
                <a:lnTo>
                  <a:pt x="114" y="96"/>
                </a:lnTo>
                <a:lnTo>
                  <a:pt x="114" y="100"/>
                </a:lnTo>
                <a:lnTo>
                  <a:pt x="114" y="104"/>
                </a:lnTo>
                <a:lnTo>
                  <a:pt x="110" y="104"/>
                </a:lnTo>
                <a:lnTo>
                  <a:pt x="110" y="108"/>
                </a:lnTo>
                <a:lnTo>
                  <a:pt x="106" y="108"/>
                </a:lnTo>
                <a:lnTo>
                  <a:pt x="106" y="104"/>
                </a:lnTo>
                <a:lnTo>
                  <a:pt x="102" y="104"/>
                </a:lnTo>
                <a:lnTo>
                  <a:pt x="98" y="104"/>
                </a:lnTo>
                <a:lnTo>
                  <a:pt x="96" y="104"/>
                </a:lnTo>
                <a:lnTo>
                  <a:pt x="92" y="104"/>
                </a:lnTo>
                <a:lnTo>
                  <a:pt x="88" y="104"/>
                </a:lnTo>
                <a:lnTo>
                  <a:pt x="84" y="104"/>
                </a:lnTo>
                <a:lnTo>
                  <a:pt x="84" y="108"/>
                </a:lnTo>
                <a:lnTo>
                  <a:pt x="80" y="108"/>
                </a:lnTo>
                <a:lnTo>
                  <a:pt x="80" y="112"/>
                </a:lnTo>
                <a:lnTo>
                  <a:pt x="76" y="112"/>
                </a:lnTo>
                <a:lnTo>
                  <a:pt x="76" y="116"/>
                </a:lnTo>
                <a:lnTo>
                  <a:pt x="72" y="116"/>
                </a:lnTo>
                <a:lnTo>
                  <a:pt x="72" y="120"/>
                </a:lnTo>
                <a:lnTo>
                  <a:pt x="70" y="120"/>
                </a:lnTo>
                <a:lnTo>
                  <a:pt x="70" y="122"/>
                </a:lnTo>
                <a:lnTo>
                  <a:pt x="72" y="126"/>
                </a:lnTo>
                <a:lnTo>
                  <a:pt x="72" y="130"/>
                </a:lnTo>
                <a:lnTo>
                  <a:pt x="72" y="134"/>
                </a:lnTo>
                <a:lnTo>
                  <a:pt x="72" y="138"/>
                </a:lnTo>
                <a:lnTo>
                  <a:pt x="76" y="138"/>
                </a:lnTo>
                <a:lnTo>
                  <a:pt x="76" y="142"/>
                </a:lnTo>
                <a:lnTo>
                  <a:pt x="76" y="146"/>
                </a:lnTo>
                <a:lnTo>
                  <a:pt x="76" y="148"/>
                </a:lnTo>
                <a:lnTo>
                  <a:pt x="80" y="148"/>
                </a:lnTo>
                <a:lnTo>
                  <a:pt x="80" y="152"/>
                </a:lnTo>
                <a:lnTo>
                  <a:pt x="76" y="148"/>
                </a:lnTo>
                <a:lnTo>
                  <a:pt x="76" y="146"/>
                </a:lnTo>
                <a:lnTo>
                  <a:pt x="72" y="142"/>
                </a:lnTo>
                <a:lnTo>
                  <a:pt x="72" y="146"/>
                </a:lnTo>
                <a:lnTo>
                  <a:pt x="70" y="142"/>
                </a:lnTo>
                <a:lnTo>
                  <a:pt x="70" y="138"/>
                </a:lnTo>
                <a:lnTo>
                  <a:pt x="66" y="138"/>
                </a:lnTo>
                <a:lnTo>
                  <a:pt x="66" y="134"/>
                </a:lnTo>
                <a:lnTo>
                  <a:pt x="62" y="134"/>
                </a:lnTo>
                <a:lnTo>
                  <a:pt x="58" y="134"/>
                </a:lnTo>
                <a:lnTo>
                  <a:pt x="58" y="138"/>
                </a:lnTo>
                <a:lnTo>
                  <a:pt x="58" y="134"/>
                </a:lnTo>
                <a:lnTo>
                  <a:pt x="54" y="134"/>
                </a:lnTo>
                <a:lnTo>
                  <a:pt x="50" y="134"/>
                </a:lnTo>
                <a:lnTo>
                  <a:pt x="50" y="138"/>
                </a:lnTo>
                <a:lnTo>
                  <a:pt x="50" y="134"/>
                </a:lnTo>
                <a:lnTo>
                  <a:pt x="50" y="130"/>
                </a:lnTo>
                <a:lnTo>
                  <a:pt x="50" y="126"/>
                </a:lnTo>
                <a:lnTo>
                  <a:pt x="50" y="122"/>
                </a:lnTo>
                <a:lnTo>
                  <a:pt x="50" y="120"/>
                </a:lnTo>
                <a:lnTo>
                  <a:pt x="46" y="120"/>
                </a:lnTo>
                <a:lnTo>
                  <a:pt x="44" y="120"/>
                </a:lnTo>
                <a:lnTo>
                  <a:pt x="40" y="122"/>
                </a:lnTo>
                <a:lnTo>
                  <a:pt x="36" y="122"/>
                </a:lnTo>
                <a:lnTo>
                  <a:pt x="36" y="126"/>
                </a:lnTo>
                <a:lnTo>
                  <a:pt x="40" y="126"/>
                </a:lnTo>
                <a:lnTo>
                  <a:pt x="40" y="130"/>
                </a:lnTo>
                <a:lnTo>
                  <a:pt x="36" y="134"/>
                </a:lnTo>
                <a:lnTo>
                  <a:pt x="36" y="138"/>
                </a:lnTo>
                <a:lnTo>
                  <a:pt x="40" y="142"/>
                </a:lnTo>
                <a:lnTo>
                  <a:pt x="36" y="146"/>
                </a:lnTo>
                <a:lnTo>
                  <a:pt x="36" y="148"/>
                </a:lnTo>
                <a:lnTo>
                  <a:pt x="36" y="152"/>
                </a:lnTo>
                <a:lnTo>
                  <a:pt x="32" y="152"/>
                </a:lnTo>
                <a:lnTo>
                  <a:pt x="32" y="156"/>
                </a:lnTo>
                <a:lnTo>
                  <a:pt x="32" y="160"/>
                </a:lnTo>
                <a:lnTo>
                  <a:pt x="32" y="164"/>
                </a:lnTo>
                <a:lnTo>
                  <a:pt x="28" y="168"/>
                </a:lnTo>
                <a:lnTo>
                  <a:pt x="28" y="172"/>
                </a:lnTo>
                <a:lnTo>
                  <a:pt x="24" y="176"/>
                </a:lnTo>
                <a:lnTo>
                  <a:pt x="24" y="178"/>
                </a:lnTo>
                <a:lnTo>
                  <a:pt x="24" y="182"/>
                </a:lnTo>
                <a:lnTo>
                  <a:pt x="24" y="186"/>
                </a:lnTo>
                <a:lnTo>
                  <a:pt x="28" y="190"/>
                </a:lnTo>
                <a:lnTo>
                  <a:pt x="28" y="194"/>
                </a:lnTo>
                <a:lnTo>
                  <a:pt x="32" y="194"/>
                </a:lnTo>
                <a:lnTo>
                  <a:pt x="36" y="194"/>
                </a:lnTo>
                <a:lnTo>
                  <a:pt x="36" y="198"/>
                </a:lnTo>
                <a:lnTo>
                  <a:pt x="36" y="202"/>
                </a:lnTo>
                <a:lnTo>
                  <a:pt x="36" y="204"/>
                </a:lnTo>
                <a:lnTo>
                  <a:pt x="40" y="204"/>
                </a:lnTo>
                <a:lnTo>
                  <a:pt x="40" y="208"/>
                </a:lnTo>
                <a:lnTo>
                  <a:pt x="40" y="204"/>
                </a:lnTo>
                <a:lnTo>
                  <a:pt x="40" y="208"/>
                </a:lnTo>
                <a:lnTo>
                  <a:pt x="44" y="208"/>
                </a:lnTo>
                <a:lnTo>
                  <a:pt x="44" y="212"/>
                </a:lnTo>
                <a:lnTo>
                  <a:pt x="44" y="216"/>
                </a:lnTo>
                <a:lnTo>
                  <a:pt x="44" y="220"/>
                </a:lnTo>
                <a:lnTo>
                  <a:pt x="44" y="224"/>
                </a:lnTo>
                <a:lnTo>
                  <a:pt x="44" y="228"/>
                </a:lnTo>
                <a:lnTo>
                  <a:pt x="46" y="228"/>
                </a:lnTo>
                <a:lnTo>
                  <a:pt x="46" y="232"/>
                </a:lnTo>
                <a:lnTo>
                  <a:pt x="46" y="228"/>
                </a:lnTo>
                <a:lnTo>
                  <a:pt x="44" y="228"/>
                </a:lnTo>
                <a:lnTo>
                  <a:pt x="44" y="224"/>
                </a:lnTo>
                <a:lnTo>
                  <a:pt x="44" y="220"/>
                </a:lnTo>
                <a:lnTo>
                  <a:pt x="40" y="220"/>
                </a:lnTo>
                <a:lnTo>
                  <a:pt x="40" y="224"/>
                </a:lnTo>
                <a:lnTo>
                  <a:pt x="40" y="228"/>
                </a:lnTo>
                <a:lnTo>
                  <a:pt x="44" y="228"/>
                </a:lnTo>
                <a:lnTo>
                  <a:pt x="44" y="232"/>
                </a:lnTo>
                <a:lnTo>
                  <a:pt x="46" y="232"/>
                </a:lnTo>
                <a:lnTo>
                  <a:pt x="46" y="228"/>
                </a:lnTo>
                <a:lnTo>
                  <a:pt x="46" y="232"/>
                </a:lnTo>
                <a:lnTo>
                  <a:pt x="46" y="234"/>
                </a:lnTo>
                <a:lnTo>
                  <a:pt x="50" y="234"/>
                </a:lnTo>
                <a:lnTo>
                  <a:pt x="54" y="234"/>
                </a:lnTo>
                <a:lnTo>
                  <a:pt x="58" y="234"/>
                </a:lnTo>
                <a:lnTo>
                  <a:pt x="54" y="234"/>
                </a:lnTo>
                <a:lnTo>
                  <a:pt x="58" y="234"/>
                </a:lnTo>
                <a:lnTo>
                  <a:pt x="62" y="234"/>
                </a:lnTo>
                <a:lnTo>
                  <a:pt x="62" y="238"/>
                </a:lnTo>
                <a:lnTo>
                  <a:pt x="62" y="242"/>
                </a:lnTo>
                <a:lnTo>
                  <a:pt x="66" y="246"/>
                </a:lnTo>
                <a:lnTo>
                  <a:pt x="66" y="250"/>
                </a:lnTo>
                <a:lnTo>
                  <a:pt x="66" y="254"/>
                </a:lnTo>
                <a:lnTo>
                  <a:pt x="62" y="254"/>
                </a:lnTo>
                <a:lnTo>
                  <a:pt x="62" y="254"/>
                </a:lnTo>
                <a:lnTo>
                  <a:pt x="62" y="254"/>
                </a:lnTo>
                <a:close/>
                <a:moveTo>
                  <a:pt x="18" y="212"/>
                </a:moveTo>
                <a:lnTo>
                  <a:pt x="18" y="216"/>
                </a:lnTo>
                <a:lnTo>
                  <a:pt x="18" y="212"/>
                </a:lnTo>
                <a:lnTo>
                  <a:pt x="18" y="212"/>
                </a:lnTo>
                <a:lnTo>
                  <a:pt x="18" y="212"/>
                </a:lnTo>
                <a:close/>
                <a:moveTo>
                  <a:pt x="32" y="238"/>
                </a:moveTo>
                <a:lnTo>
                  <a:pt x="32" y="242"/>
                </a:lnTo>
                <a:lnTo>
                  <a:pt x="32" y="238"/>
                </a:lnTo>
                <a:lnTo>
                  <a:pt x="32" y="238"/>
                </a:lnTo>
                <a:lnTo>
                  <a:pt x="32" y="238"/>
                </a:lnTo>
                <a:close/>
                <a:moveTo>
                  <a:pt x="72" y="146"/>
                </a:moveTo>
                <a:lnTo>
                  <a:pt x="72" y="148"/>
                </a:lnTo>
                <a:lnTo>
                  <a:pt x="70" y="148"/>
                </a:lnTo>
                <a:lnTo>
                  <a:pt x="70" y="146"/>
                </a:lnTo>
                <a:lnTo>
                  <a:pt x="72" y="146"/>
                </a:lnTo>
                <a:lnTo>
                  <a:pt x="72" y="146"/>
                </a:lnTo>
                <a:lnTo>
                  <a:pt x="72" y="146"/>
                </a:lnTo>
                <a:close/>
                <a:moveTo>
                  <a:pt x="72" y="148"/>
                </a:moveTo>
                <a:lnTo>
                  <a:pt x="72" y="152"/>
                </a:lnTo>
                <a:lnTo>
                  <a:pt x="72" y="148"/>
                </a:lnTo>
                <a:lnTo>
                  <a:pt x="72" y="148"/>
                </a:lnTo>
                <a:lnTo>
                  <a:pt x="72" y="148"/>
                </a:lnTo>
                <a:close/>
                <a:moveTo>
                  <a:pt x="40" y="190"/>
                </a:moveTo>
                <a:lnTo>
                  <a:pt x="36" y="190"/>
                </a:lnTo>
                <a:lnTo>
                  <a:pt x="40" y="186"/>
                </a:lnTo>
                <a:lnTo>
                  <a:pt x="40" y="190"/>
                </a:lnTo>
                <a:lnTo>
                  <a:pt x="40" y="190"/>
                </a:lnTo>
                <a:lnTo>
                  <a:pt x="40" y="190"/>
                </a:lnTo>
                <a:close/>
                <a:moveTo>
                  <a:pt x="14" y="212"/>
                </a:moveTo>
                <a:lnTo>
                  <a:pt x="14" y="216"/>
                </a:lnTo>
                <a:lnTo>
                  <a:pt x="18" y="216"/>
                </a:lnTo>
                <a:lnTo>
                  <a:pt x="14" y="220"/>
                </a:lnTo>
                <a:lnTo>
                  <a:pt x="14" y="216"/>
                </a:lnTo>
                <a:lnTo>
                  <a:pt x="14" y="212"/>
                </a:lnTo>
                <a:lnTo>
                  <a:pt x="14" y="212"/>
                </a:lnTo>
                <a:lnTo>
                  <a:pt x="14" y="212"/>
                </a:lnTo>
                <a:close/>
              </a:path>
            </a:pathLst>
          </a:custGeom>
          <a:solidFill>
            <a:srgbClr val="A0DCFF"/>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50" name="Freeform 57"/>
          <p:cNvSpPr>
            <a:spLocks noEditPoints="1"/>
          </p:cNvSpPr>
          <p:nvPr/>
        </p:nvSpPr>
        <p:spPr bwMode="auto">
          <a:xfrm>
            <a:off x="6346031" y="3864768"/>
            <a:ext cx="52388" cy="26194"/>
          </a:xfrm>
          <a:custGeom>
            <a:avLst/>
            <a:gdLst>
              <a:gd name="T0" fmla="*/ 22 w 44"/>
              <a:gd name="T1" fmla="*/ 4 h 22"/>
              <a:gd name="T2" fmla="*/ 18 w 44"/>
              <a:gd name="T3" fmla="*/ 4 h 22"/>
              <a:gd name="T4" fmla="*/ 18 w 44"/>
              <a:gd name="T5" fmla="*/ 0 h 22"/>
              <a:gd name="T6" fmla="*/ 22 w 44"/>
              <a:gd name="T7" fmla="*/ 0 h 22"/>
              <a:gd name="T8" fmla="*/ 22 w 44"/>
              <a:gd name="T9" fmla="*/ 0 h 22"/>
              <a:gd name="T10" fmla="*/ 44 w 44"/>
              <a:gd name="T11" fmla="*/ 4 h 22"/>
              <a:gd name="T12" fmla="*/ 44 w 44"/>
              <a:gd name="T13" fmla="*/ 4 h 22"/>
              <a:gd name="T14" fmla="*/ 42 w 44"/>
              <a:gd name="T15" fmla="*/ 8 h 22"/>
              <a:gd name="T16" fmla="*/ 42 w 44"/>
              <a:gd name="T17" fmla="*/ 10 h 22"/>
              <a:gd name="T18" fmla="*/ 38 w 44"/>
              <a:gd name="T19" fmla="*/ 10 h 22"/>
              <a:gd name="T20" fmla="*/ 34 w 44"/>
              <a:gd name="T21" fmla="*/ 10 h 22"/>
              <a:gd name="T22" fmla="*/ 34 w 44"/>
              <a:gd name="T23" fmla="*/ 10 h 22"/>
              <a:gd name="T24" fmla="*/ 34 w 44"/>
              <a:gd name="T25" fmla="*/ 14 h 22"/>
              <a:gd name="T26" fmla="*/ 30 w 44"/>
              <a:gd name="T27" fmla="*/ 14 h 22"/>
              <a:gd name="T28" fmla="*/ 30 w 44"/>
              <a:gd name="T29" fmla="*/ 14 h 22"/>
              <a:gd name="T30" fmla="*/ 30 w 44"/>
              <a:gd name="T31" fmla="*/ 14 h 22"/>
              <a:gd name="T32" fmla="*/ 26 w 44"/>
              <a:gd name="T33" fmla="*/ 14 h 22"/>
              <a:gd name="T34" fmla="*/ 26 w 44"/>
              <a:gd name="T35" fmla="*/ 14 h 22"/>
              <a:gd name="T36" fmla="*/ 22 w 44"/>
              <a:gd name="T37" fmla="*/ 14 h 22"/>
              <a:gd name="T38" fmla="*/ 18 w 44"/>
              <a:gd name="T39" fmla="*/ 18 h 22"/>
              <a:gd name="T40" fmla="*/ 16 w 44"/>
              <a:gd name="T41" fmla="*/ 18 h 22"/>
              <a:gd name="T42" fmla="*/ 16 w 44"/>
              <a:gd name="T43" fmla="*/ 22 h 22"/>
              <a:gd name="T44" fmla="*/ 16 w 44"/>
              <a:gd name="T45" fmla="*/ 22 h 22"/>
              <a:gd name="T46" fmla="*/ 12 w 44"/>
              <a:gd name="T47" fmla="*/ 18 h 22"/>
              <a:gd name="T48" fmla="*/ 12 w 44"/>
              <a:gd name="T49" fmla="*/ 18 h 22"/>
              <a:gd name="T50" fmla="*/ 16 w 44"/>
              <a:gd name="T51" fmla="*/ 14 h 22"/>
              <a:gd name="T52" fmla="*/ 16 w 44"/>
              <a:gd name="T53" fmla="*/ 14 h 22"/>
              <a:gd name="T54" fmla="*/ 12 w 44"/>
              <a:gd name="T55" fmla="*/ 14 h 22"/>
              <a:gd name="T56" fmla="*/ 16 w 44"/>
              <a:gd name="T57" fmla="*/ 10 h 22"/>
              <a:gd name="T58" fmla="*/ 16 w 44"/>
              <a:gd name="T59" fmla="*/ 8 h 22"/>
              <a:gd name="T60" fmla="*/ 16 w 44"/>
              <a:gd name="T61" fmla="*/ 8 h 22"/>
              <a:gd name="T62" fmla="*/ 16 w 44"/>
              <a:gd name="T63" fmla="*/ 8 h 22"/>
              <a:gd name="T64" fmla="*/ 18 w 44"/>
              <a:gd name="T65" fmla="*/ 8 h 22"/>
              <a:gd name="T66" fmla="*/ 22 w 44"/>
              <a:gd name="T67" fmla="*/ 8 h 22"/>
              <a:gd name="T68" fmla="*/ 22 w 44"/>
              <a:gd name="T69" fmla="*/ 4 h 22"/>
              <a:gd name="T70" fmla="*/ 26 w 44"/>
              <a:gd name="T71" fmla="*/ 4 h 22"/>
              <a:gd name="T72" fmla="*/ 26 w 44"/>
              <a:gd name="T73" fmla="*/ 4 h 22"/>
              <a:gd name="T74" fmla="*/ 26 w 44"/>
              <a:gd name="T75" fmla="*/ 8 h 22"/>
              <a:gd name="T76" fmla="*/ 26 w 44"/>
              <a:gd name="T77" fmla="*/ 8 h 22"/>
              <a:gd name="T78" fmla="*/ 30 w 44"/>
              <a:gd name="T79" fmla="*/ 4 h 22"/>
              <a:gd name="T80" fmla="*/ 34 w 44"/>
              <a:gd name="T81" fmla="*/ 4 h 22"/>
              <a:gd name="T82" fmla="*/ 34 w 44"/>
              <a:gd name="T83" fmla="*/ 4 h 22"/>
              <a:gd name="T84" fmla="*/ 34 w 44"/>
              <a:gd name="T85" fmla="*/ 4 h 22"/>
              <a:gd name="T86" fmla="*/ 38 w 44"/>
              <a:gd name="T87" fmla="*/ 4 h 22"/>
              <a:gd name="T88" fmla="*/ 42 w 44"/>
              <a:gd name="T89" fmla="*/ 4 h 22"/>
              <a:gd name="T90" fmla="*/ 44 w 44"/>
              <a:gd name="T91" fmla="*/ 4 h 22"/>
              <a:gd name="T92" fmla="*/ 44 w 44"/>
              <a:gd name="T93" fmla="*/ 4 h 22"/>
              <a:gd name="T94" fmla="*/ 0 w 44"/>
              <a:gd name="T95" fmla="*/ 18 h 22"/>
              <a:gd name="T96" fmla="*/ 0 w 44"/>
              <a:gd name="T97" fmla="*/ 18 h 22"/>
              <a:gd name="T98" fmla="*/ 4 w 44"/>
              <a:gd name="T99" fmla="*/ 18 h 22"/>
              <a:gd name="T100" fmla="*/ 4 w 44"/>
              <a:gd name="T101" fmla="*/ 22 h 22"/>
              <a:gd name="T102" fmla="*/ 4 w 44"/>
              <a:gd name="T103" fmla="*/ 22 h 22"/>
              <a:gd name="T104" fmla="*/ 0 w 44"/>
              <a:gd name="T105" fmla="*/ 22 h 22"/>
              <a:gd name="T106" fmla="*/ 0 w 44"/>
              <a:gd name="T107" fmla="*/ 18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4" h="22">
                <a:moveTo>
                  <a:pt x="22" y="0"/>
                </a:moveTo>
                <a:lnTo>
                  <a:pt x="22" y="4"/>
                </a:lnTo>
                <a:lnTo>
                  <a:pt x="22" y="4"/>
                </a:lnTo>
                <a:lnTo>
                  <a:pt x="22" y="4"/>
                </a:lnTo>
                <a:lnTo>
                  <a:pt x="22" y="4"/>
                </a:lnTo>
                <a:lnTo>
                  <a:pt x="18" y="4"/>
                </a:lnTo>
                <a:lnTo>
                  <a:pt x="18" y="4"/>
                </a:lnTo>
                <a:lnTo>
                  <a:pt x="18" y="0"/>
                </a:lnTo>
                <a:lnTo>
                  <a:pt x="18" y="0"/>
                </a:lnTo>
                <a:lnTo>
                  <a:pt x="18" y="0"/>
                </a:lnTo>
                <a:lnTo>
                  <a:pt x="22" y="0"/>
                </a:lnTo>
                <a:lnTo>
                  <a:pt x="22" y="0"/>
                </a:lnTo>
                <a:lnTo>
                  <a:pt x="22" y="0"/>
                </a:lnTo>
                <a:lnTo>
                  <a:pt x="22" y="0"/>
                </a:lnTo>
                <a:lnTo>
                  <a:pt x="22" y="0"/>
                </a:lnTo>
                <a:close/>
                <a:moveTo>
                  <a:pt x="44" y="4"/>
                </a:moveTo>
                <a:lnTo>
                  <a:pt x="44" y="4"/>
                </a:lnTo>
                <a:lnTo>
                  <a:pt x="44" y="4"/>
                </a:lnTo>
                <a:lnTo>
                  <a:pt x="44" y="4"/>
                </a:lnTo>
                <a:lnTo>
                  <a:pt x="44" y="4"/>
                </a:lnTo>
                <a:lnTo>
                  <a:pt x="44" y="4"/>
                </a:lnTo>
                <a:lnTo>
                  <a:pt x="44" y="8"/>
                </a:lnTo>
                <a:lnTo>
                  <a:pt x="42" y="8"/>
                </a:lnTo>
                <a:lnTo>
                  <a:pt x="42" y="8"/>
                </a:lnTo>
                <a:lnTo>
                  <a:pt x="42" y="8"/>
                </a:lnTo>
                <a:lnTo>
                  <a:pt x="42" y="8"/>
                </a:lnTo>
                <a:lnTo>
                  <a:pt x="42" y="10"/>
                </a:lnTo>
                <a:lnTo>
                  <a:pt x="38" y="10"/>
                </a:lnTo>
                <a:lnTo>
                  <a:pt x="38" y="10"/>
                </a:lnTo>
                <a:lnTo>
                  <a:pt x="38" y="10"/>
                </a:lnTo>
                <a:lnTo>
                  <a:pt x="38" y="10"/>
                </a:lnTo>
                <a:lnTo>
                  <a:pt x="38" y="10"/>
                </a:lnTo>
                <a:lnTo>
                  <a:pt x="34" y="10"/>
                </a:lnTo>
                <a:lnTo>
                  <a:pt x="34" y="10"/>
                </a:lnTo>
                <a:lnTo>
                  <a:pt x="34" y="10"/>
                </a:lnTo>
                <a:lnTo>
                  <a:pt x="34" y="10"/>
                </a:lnTo>
                <a:lnTo>
                  <a:pt x="34" y="10"/>
                </a:lnTo>
                <a:lnTo>
                  <a:pt x="34" y="10"/>
                </a:lnTo>
                <a:lnTo>
                  <a:pt x="34" y="14"/>
                </a:lnTo>
                <a:lnTo>
                  <a:pt x="34" y="14"/>
                </a:lnTo>
                <a:lnTo>
                  <a:pt x="30" y="14"/>
                </a:lnTo>
                <a:lnTo>
                  <a:pt x="30" y="14"/>
                </a:lnTo>
                <a:lnTo>
                  <a:pt x="30" y="14"/>
                </a:lnTo>
                <a:lnTo>
                  <a:pt x="30" y="14"/>
                </a:lnTo>
                <a:lnTo>
                  <a:pt x="30" y="14"/>
                </a:lnTo>
                <a:lnTo>
                  <a:pt x="30" y="14"/>
                </a:lnTo>
                <a:lnTo>
                  <a:pt x="30" y="14"/>
                </a:lnTo>
                <a:lnTo>
                  <a:pt x="30" y="14"/>
                </a:lnTo>
                <a:lnTo>
                  <a:pt x="30" y="14"/>
                </a:lnTo>
                <a:lnTo>
                  <a:pt x="26" y="14"/>
                </a:lnTo>
                <a:lnTo>
                  <a:pt x="26" y="14"/>
                </a:lnTo>
                <a:lnTo>
                  <a:pt x="26" y="14"/>
                </a:lnTo>
                <a:lnTo>
                  <a:pt x="26" y="14"/>
                </a:lnTo>
                <a:lnTo>
                  <a:pt x="26" y="14"/>
                </a:lnTo>
                <a:lnTo>
                  <a:pt x="26" y="14"/>
                </a:lnTo>
                <a:lnTo>
                  <a:pt x="26" y="14"/>
                </a:lnTo>
                <a:lnTo>
                  <a:pt x="22" y="14"/>
                </a:lnTo>
                <a:lnTo>
                  <a:pt x="18" y="18"/>
                </a:lnTo>
                <a:lnTo>
                  <a:pt x="18" y="18"/>
                </a:lnTo>
                <a:lnTo>
                  <a:pt x="18" y="18"/>
                </a:lnTo>
                <a:lnTo>
                  <a:pt x="18" y="18"/>
                </a:lnTo>
                <a:lnTo>
                  <a:pt x="18" y="18"/>
                </a:lnTo>
                <a:lnTo>
                  <a:pt x="16" y="18"/>
                </a:lnTo>
                <a:lnTo>
                  <a:pt x="16" y="22"/>
                </a:lnTo>
                <a:lnTo>
                  <a:pt x="16" y="22"/>
                </a:lnTo>
                <a:lnTo>
                  <a:pt x="16" y="22"/>
                </a:lnTo>
                <a:lnTo>
                  <a:pt x="16" y="22"/>
                </a:lnTo>
                <a:lnTo>
                  <a:pt x="16" y="22"/>
                </a:lnTo>
                <a:lnTo>
                  <a:pt x="16" y="22"/>
                </a:lnTo>
                <a:lnTo>
                  <a:pt x="16" y="22"/>
                </a:lnTo>
                <a:lnTo>
                  <a:pt x="12" y="18"/>
                </a:lnTo>
                <a:lnTo>
                  <a:pt x="12" y="18"/>
                </a:lnTo>
                <a:lnTo>
                  <a:pt x="12" y="18"/>
                </a:lnTo>
                <a:lnTo>
                  <a:pt x="12" y="18"/>
                </a:lnTo>
                <a:lnTo>
                  <a:pt x="12" y="18"/>
                </a:lnTo>
                <a:lnTo>
                  <a:pt x="16" y="18"/>
                </a:lnTo>
                <a:lnTo>
                  <a:pt x="16" y="18"/>
                </a:lnTo>
                <a:lnTo>
                  <a:pt x="16" y="14"/>
                </a:lnTo>
                <a:lnTo>
                  <a:pt x="16" y="14"/>
                </a:lnTo>
                <a:lnTo>
                  <a:pt x="16" y="14"/>
                </a:lnTo>
                <a:lnTo>
                  <a:pt x="16" y="14"/>
                </a:lnTo>
                <a:lnTo>
                  <a:pt x="12" y="14"/>
                </a:lnTo>
                <a:lnTo>
                  <a:pt x="12" y="14"/>
                </a:lnTo>
                <a:lnTo>
                  <a:pt x="12" y="14"/>
                </a:lnTo>
                <a:lnTo>
                  <a:pt x="12" y="14"/>
                </a:lnTo>
                <a:lnTo>
                  <a:pt x="12" y="14"/>
                </a:lnTo>
                <a:lnTo>
                  <a:pt x="16" y="10"/>
                </a:lnTo>
                <a:lnTo>
                  <a:pt x="16" y="10"/>
                </a:lnTo>
                <a:lnTo>
                  <a:pt x="16" y="8"/>
                </a:lnTo>
                <a:lnTo>
                  <a:pt x="16" y="8"/>
                </a:lnTo>
                <a:lnTo>
                  <a:pt x="16" y="8"/>
                </a:lnTo>
                <a:lnTo>
                  <a:pt x="16" y="8"/>
                </a:lnTo>
                <a:lnTo>
                  <a:pt x="16" y="8"/>
                </a:lnTo>
                <a:lnTo>
                  <a:pt x="16" y="8"/>
                </a:lnTo>
                <a:lnTo>
                  <a:pt x="16" y="8"/>
                </a:lnTo>
                <a:lnTo>
                  <a:pt x="16" y="8"/>
                </a:lnTo>
                <a:lnTo>
                  <a:pt x="16" y="8"/>
                </a:lnTo>
                <a:lnTo>
                  <a:pt x="16" y="8"/>
                </a:lnTo>
                <a:lnTo>
                  <a:pt x="18" y="8"/>
                </a:lnTo>
                <a:lnTo>
                  <a:pt x="22" y="8"/>
                </a:lnTo>
                <a:lnTo>
                  <a:pt x="22" y="8"/>
                </a:lnTo>
                <a:lnTo>
                  <a:pt x="22" y="8"/>
                </a:lnTo>
                <a:lnTo>
                  <a:pt x="22" y="8"/>
                </a:lnTo>
                <a:lnTo>
                  <a:pt x="22" y="8"/>
                </a:lnTo>
                <a:lnTo>
                  <a:pt x="22" y="4"/>
                </a:lnTo>
                <a:lnTo>
                  <a:pt x="22" y="4"/>
                </a:lnTo>
                <a:lnTo>
                  <a:pt x="26" y="4"/>
                </a:lnTo>
                <a:lnTo>
                  <a:pt x="26" y="4"/>
                </a:lnTo>
                <a:lnTo>
                  <a:pt x="26" y="4"/>
                </a:lnTo>
                <a:lnTo>
                  <a:pt x="26" y="4"/>
                </a:lnTo>
                <a:lnTo>
                  <a:pt x="26" y="4"/>
                </a:lnTo>
                <a:lnTo>
                  <a:pt x="26" y="4"/>
                </a:lnTo>
                <a:lnTo>
                  <a:pt x="26" y="4"/>
                </a:lnTo>
                <a:lnTo>
                  <a:pt x="26" y="8"/>
                </a:lnTo>
                <a:lnTo>
                  <a:pt x="26" y="8"/>
                </a:lnTo>
                <a:lnTo>
                  <a:pt x="26" y="8"/>
                </a:lnTo>
                <a:lnTo>
                  <a:pt x="26" y="8"/>
                </a:lnTo>
                <a:lnTo>
                  <a:pt x="30" y="8"/>
                </a:lnTo>
                <a:lnTo>
                  <a:pt x="30" y="8"/>
                </a:lnTo>
                <a:lnTo>
                  <a:pt x="30" y="4"/>
                </a:lnTo>
                <a:lnTo>
                  <a:pt x="30" y="4"/>
                </a:lnTo>
                <a:lnTo>
                  <a:pt x="30" y="4"/>
                </a:lnTo>
                <a:lnTo>
                  <a:pt x="34" y="4"/>
                </a:lnTo>
                <a:lnTo>
                  <a:pt x="34" y="4"/>
                </a:lnTo>
                <a:lnTo>
                  <a:pt x="34" y="4"/>
                </a:lnTo>
                <a:lnTo>
                  <a:pt x="34" y="4"/>
                </a:lnTo>
                <a:lnTo>
                  <a:pt x="34" y="4"/>
                </a:lnTo>
                <a:lnTo>
                  <a:pt x="34" y="4"/>
                </a:lnTo>
                <a:lnTo>
                  <a:pt x="34" y="4"/>
                </a:lnTo>
                <a:lnTo>
                  <a:pt x="34" y="4"/>
                </a:lnTo>
                <a:lnTo>
                  <a:pt x="34" y="4"/>
                </a:lnTo>
                <a:lnTo>
                  <a:pt x="38" y="4"/>
                </a:lnTo>
                <a:lnTo>
                  <a:pt x="38" y="4"/>
                </a:lnTo>
                <a:lnTo>
                  <a:pt x="38" y="4"/>
                </a:lnTo>
                <a:lnTo>
                  <a:pt x="42" y="4"/>
                </a:lnTo>
                <a:lnTo>
                  <a:pt x="42" y="4"/>
                </a:lnTo>
                <a:lnTo>
                  <a:pt x="44" y="4"/>
                </a:lnTo>
                <a:lnTo>
                  <a:pt x="44" y="4"/>
                </a:lnTo>
                <a:lnTo>
                  <a:pt x="44" y="4"/>
                </a:lnTo>
                <a:lnTo>
                  <a:pt x="44" y="4"/>
                </a:lnTo>
                <a:lnTo>
                  <a:pt x="44" y="4"/>
                </a:lnTo>
                <a:close/>
                <a:moveTo>
                  <a:pt x="0" y="18"/>
                </a:moveTo>
                <a:lnTo>
                  <a:pt x="0" y="18"/>
                </a:lnTo>
                <a:lnTo>
                  <a:pt x="0" y="18"/>
                </a:lnTo>
                <a:lnTo>
                  <a:pt x="0" y="18"/>
                </a:lnTo>
                <a:lnTo>
                  <a:pt x="0" y="18"/>
                </a:lnTo>
                <a:lnTo>
                  <a:pt x="0" y="18"/>
                </a:lnTo>
                <a:lnTo>
                  <a:pt x="0" y="18"/>
                </a:lnTo>
                <a:lnTo>
                  <a:pt x="4" y="18"/>
                </a:lnTo>
                <a:lnTo>
                  <a:pt x="4" y="18"/>
                </a:lnTo>
                <a:lnTo>
                  <a:pt x="4" y="18"/>
                </a:lnTo>
                <a:lnTo>
                  <a:pt x="4" y="18"/>
                </a:lnTo>
                <a:lnTo>
                  <a:pt x="4" y="22"/>
                </a:lnTo>
                <a:lnTo>
                  <a:pt x="4" y="22"/>
                </a:lnTo>
                <a:lnTo>
                  <a:pt x="4" y="22"/>
                </a:lnTo>
                <a:lnTo>
                  <a:pt x="4" y="22"/>
                </a:lnTo>
                <a:lnTo>
                  <a:pt x="4" y="22"/>
                </a:lnTo>
                <a:lnTo>
                  <a:pt x="0" y="22"/>
                </a:lnTo>
                <a:lnTo>
                  <a:pt x="0" y="22"/>
                </a:lnTo>
                <a:lnTo>
                  <a:pt x="0" y="22"/>
                </a:lnTo>
                <a:lnTo>
                  <a:pt x="0" y="22"/>
                </a:lnTo>
                <a:lnTo>
                  <a:pt x="0" y="18"/>
                </a:lnTo>
                <a:lnTo>
                  <a:pt x="0" y="18"/>
                </a:lnTo>
                <a:lnTo>
                  <a:pt x="0" y="18"/>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51" name="Freeform 58"/>
          <p:cNvSpPr>
            <a:spLocks noEditPoints="1"/>
          </p:cNvSpPr>
          <p:nvPr/>
        </p:nvSpPr>
        <p:spPr bwMode="auto">
          <a:xfrm>
            <a:off x="4688681" y="2797968"/>
            <a:ext cx="323850" cy="147638"/>
          </a:xfrm>
          <a:custGeom>
            <a:avLst/>
            <a:gdLst>
              <a:gd name="T0" fmla="*/ 22 w 272"/>
              <a:gd name="T1" fmla="*/ 4 h 124"/>
              <a:gd name="T2" fmla="*/ 34 w 272"/>
              <a:gd name="T3" fmla="*/ 8 h 124"/>
              <a:gd name="T4" fmla="*/ 48 w 272"/>
              <a:gd name="T5" fmla="*/ 24 h 124"/>
              <a:gd name="T6" fmla="*/ 26 w 272"/>
              <a:gd name="T7" fmla="*/ 24 h 124"/>
              <a:gd name="T8" fmla="*/ 14 w 272"/>
              <a:gd name="T9" fmla="*/ 38 h 124"/>
              <a:gd name="T10" fmla="*/ 8 w 272"/>
              <a:gd name="T11" fmla="*/ 38 h 124"/>
              <a:gd name="T12" fmla="*/ 14 w 272"/>
              <a:gd name="T13" fmla="*/ 30 h 124"/>
              <a:gd name="T14" fmla="*/ 10 w 272"/>
              <a:gd name="T15" fmla="*/ 20 h 124"/>
              <a:gd name="T16" fmla="*/ 10 w 272"/>
              <a:gd name="T17" fmla="*/ 12 h 124"/>
              <a:gd name="T18" fmla="*/ 10 w 272"/>
              <a:gd name="T19" fmla="*/ 42 h 124"/>
              <a:gd name="T20" fmla="*/ 26 w 272"/>
              <a:gd name="T21" fmla="*/ 34 h 124"/>
              <a:gd name="T22" fmla="*/ 34 w 272"/>
              <a:gd name="T23" fmla="*/ 38 h 124"/>
              <a:gd name="T24" fmla="*/ 48 w 272"/>
              <a:gd name="T25" fmla="*/ 38 h 124"/>
              <a:gd name="T26" fmla="*/ 50 w 272"/>
              <a:gd name="T27" fmla="*/ 30 h 124"/>
              <a:gd name="T28" fmla="*/ 54 w 272"/>
              <a:gd name="T29" fmla="*/ 26 h 124"/>
              <a:gd name="T30" fmla="*/ 58 w 272"/>
              <a:gd name="T31" fmla="*/ 20 h 124"/>
              <a:gd name="T32" fmla="*/ 78 w 272"/>
              <a:gd name="T33" fmla="*/ 24 h 124"/>
              <a:gd name="T34" fmla="*/ 92 w 272"/>
              <a:gd name="T35" fmla="*/ 12 h 124"/>
              <a:gd name="T36" fmla="*/ 106 w 272"/>
              <a:gd name="T37" fmla="*/ 4 h 124"/>
              <a:gd name="T38" fmla="*/ 130 w 272"/>
              <a:gd name="T39" fmla="*/ 4 h 124"/>
              <a:gd name="T40" fmla="*/ 144 w 272"/>
              <a:gd name="T41" fmla="*/ 12 h 124"/>
              <a:gd name="T42" fmla="*/ 152 w 272"/>
              <a:gd name="T43" fmla="*/ 20 h 124"/>
              <a:gd name="T44" fmla="*/ 162 w 272"/>
              <a:gd name="T45" fmla="*/ 24 h 124"/>
              <a:gd name="T46" fmla="*/ 182 w 272"/>
              <a:gd name="T47" fmla="*/ 26 h 124"/>
              <a:gd name="T48" fmla="*/ 200 w 272"/>
              <a:gd name="T49" fmla="*/ 24 h 124"/>
              <a:gd name="T50" fmla="*/ 220 w 272"/>
              <a:gd name="T51" fmla="*/ 20 h 124"/>
              <a:gd name="T52" fmla="*/ 238 w 272"/>
              <a:gd name="T53" fmla="*/ 16 h 124"/>
              <a:gd name="T54" fmla="*/ 252 w 272"/>
              <a:gd name="T55" fmla="*/ 20 h 124"/>
              <a:gd name="T56" fmla="*/ 252 w 272"/>
              <a:gd name="T57" fmla="*/ 38 h 124"/>
              <a:gd name="T58" fmla="*/ 272 w 272"/>
              <a:gd name="T59" fmla="*/ 50 h 124"/>
              <a:gd name="T60" fmla="*/ 260 w 272"/>
              <a:gd name="T61" fmla="*/ 54 h 124"/>
              <a:gd name="T62" fmla="*/ 264 w 272"/>
              <a:gd name="T63" fmla="*/ 76 h 124"/>
              <a:gd name="T64" fmla="*/ 268 w 272"/>
              <a:gd name="T65" fmla="*/ 94 h 124"/>
              <a:gd name="T66" fmla="*/ 264 w 272"/>
              <a:gd name="T67" fmla="*/ 98 h 124"/>
              <a:gd name="T68" fmla="*/ 248 w 272"/>
              <a:gd name="T69" fmla="*/ 94 h 124"/>
              <a:gd name="T70" fmla="*/ 234 w 272"/>
              <a:gd name="T71" fmla="*/ 94 h 124"/>
              <a:gd name="T72" fmla="*/ 216 w 272"/>
              <a:gd name="T73" fmla="*/ 98 h 124"/>
              <a:gd name="T74" fmla="*/ 196 w 272"/>
              <a:gd name="T75" fmla="*/ 106 h 124"/>
              <a:gd name="T76" fmla="*/ 178 w 272"/>
              <a:gd name="T77" fmla="*/ 102 h 124"/>
              <a:gd name="T78" fmla="*/ 162 w 272"/>
              <a:gd name="T79" fmla="*/ 106 h 124"/>
              <a:gd name="T80" fmla="*/ 152 w 272"/>
              <a:gd name="T81" fmla="*/ 116 h 124"/>
              <a:gd name="T82" fmla="*/ 148 w 272"/>
              <a:gd name="T83" fmla="*/ 120 h 124"/>
              <a:gd name="T84" fmla="*/ 148 w 272"/>
              <a:gd name="T85" fmla="*/ 102 h 124"/>
              <a:gd name="T86" fmla="*/ 134 w 272"/>
              <a:gd name="T87" fmla="*/ 106 h 124"/>
              <a:gd name="T88" fmla="*/ 118 w 272"/>
              <a:gd name="T89" fmla="*/ 116 h 124"/>
              <a:gd name="T90" fmla="*/ 104 w 272"/>
              <a:gd name="T91" fmla="*/ 120 h 124"/>
              <a:gd name="T92" fmla="*/ 92 w 272"/>
              <a:gd name="T93" fmla="*/ 110 h 124"/>
              <a:gd name="T94" fmla="*/ 74 w 272"/>
              <a:gd name="T95" fmla="*/ 106 h 124"/>
              <a:gd name="T96" fmla="*/ 66 w 272"/>
              <a:gd name="T97" fmla="*/ 114 h 124"/>
              <a:gd name="T98" fmla="*/ 50 w 272"/>
              <a:gd name="T99" fmla="*/ 114 h 124"/>
              <a:gd name="T100" fmla="*/ 44 w 272"/>
              <a:gd name="T101" fmla="*/ 106 h 124"/>
              <a:gd name="T102" fmla="*/ 36 w 272"/>
              <a:gd name="T103" fmla="*/ 110 h 124"/>
              <a:gd name="T104" fmla="*/ 34 w 272"/>
              <a:gd name="T105" fmla="*/ 106 h 124"/>
              <a:gd name="T106" fmla="*/ 36 w 272"/>
              <a:gd name="T107" fmla="*/ 102 h 124"/>
              <a:gd name="T108" fmla="*/ 30 w 272"/>
              <a:gd name="T109" fmla="*/ 98 h 124"/>
              <a:gd name="T110" fmla="*/ 22 w 272"/>
              <a:gd name="T111" fmla="*/ 86 h 124"/>
              <a:gd name="T112" fmla="*/ 10 w 272"/>
              <a:gd name="T113" fmla="*/ 80 h 124"/>
              <a:gd name="T114" fmla="*/ 14 w 272"/>
              <a:gd name="T115" fmla="*/ 76 h 124"/>
              <a:gd name="T116" fmla="*/ 18 w 272"/>
              <a:gd name="T117" fmla="*/ 68 h 124"/>
              <a:gd name="T118" fmla="*/ 18 w 272"/>
              <a:gd name="T119" fmla="*/ 54 h 124"/>
              <a:gd name="T120" fmla="*/ 30 w 272"/>
              <a:gd name="T121" fmla="*/ 30 h 124"/>
              <a:gd name="T122" fmla="*/ 4 w 272"/>
              <a:gd name="T123" fmla="*/ 38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72" h="124">
                <a:moveTo>
                  <a:pt x="10" y="12"/>
                </a:moveTo>
                <a:lnTo>
                  <a:pt x="10" y="8"/>
                </a:lnTo>
                <a:lnTo>
                  <a:pt x="14" y="8"/>
                </a:lnTo>
                <a:lnTo>
                  <a:pt x="14" y="4"/>
                </a:lnTo>
                <a:lnTo>
                  <a:pt x="18" y="4"/>
                </a:lnTo>
                <a:lnTo>
                  <a:pt x="22" y="4"/>
                </a:lnTo>
                <a:lnTo>
                  <a:pt x="22" y="0"/>
                </a:lnTo>
                <a:lnTo>
                  <a:pt x="26" y="0"/>
                </a:lnTo>
                <a:lnTo>
                  <a:pt x="26" y="4"/>
                </a:lnTo>
                <a:lnTo>
                  <a:pt x="30" y="4"/>
                </a:lnTo>
                <a:lnTo>
                  <a:pt x="34" y="4"/>
                </a:lnTo>
                <a:lnTo>
                  <a:pt x="34" y="8"/>
                </a:lnTo>
                <a:lnTo>
                  <a:pt x="36" y="12"/>
                </a:lnTo>
                <a:lnTo>
                  <a:pt x="36" y="16"/>
                </a:lnTo>
                <a:lnTo>
                  <a:pt x="40" y="16"/>
                </a:lnTo>
                <a:lnTo>
                  <a:pt x="44" y="20"/>
                </a:lnTo>
                <a:lnTo>
                  <a:pt x="48" y="20"/>
                </a:lnTo>
                <a:lnTo>
                  <a:pt x="48" y="24"/>
                </a:lnTo>
                <a:lnTo>
                  <a:pt x="44" y="24"/>
                </a:lnTo>
                <a:lnTo>
                  <a:pt x="40" y="24"/>
                </a:lnTo>
                <a:lnTo>
                  <a:pt x="36" y="24"/>
                </a:lnTo>
                <a:lnTo>
                  <a:pt x="34" y="24"/>
                </a:lnTo>
                <a:lnTo>
                  <a:pt x="30" y="24"/>
                </a:lnTo>
                <a:lnTo>
                  <a:pt x="26" y="24"/>
                </a:lnTo>
                <a:lnTo>
                  <a:pt x="26" y="26"/>
                </a:lnTo>
                <a:lnTo>
                  <a:pt x="26" y="30"/>
                </a:lnTo>
                <a:lnTo>
                  <a:pt x="22" y="30"/>
                </a:lnTo>
                <a:lnTo>
                  <a:pt x="18" y="34"/>
                </a:lnTo>
                <a:lnTo>
                  <a:pt x="14" y="34"/>
                </a:lnTo>
                <a:lnTo>
                  <a:pt x="14" y="38"/>
                </a:lnTo>
                <a:lnTo>
                  <a:pt x="10" y="38"/>
                </a:lnTo>
                <a:lnTo>
                  <a:pt x="10" y="42"/>
                </a:lnTo>
                <a:lnTo>
                  <a:pt x="8" y="42"/>
                </a:lnTo>
                <a:lnTo>
                  <a:pt x="10" y="42"/>
                </a:lnTo>
                <a:lnTo>
                  <a:pt x="10" y="38"/>
                </a:lnTo>
                <a:lnTo>
                  <a:pt x="8" y="38"/>
                </a:lnTo>
                <a:lnTo>
                  <a:pt x="10" y="38"/>
                </a:lnTo>
                <a:lnTo>
                  <a:pt x="10" y="34"/>
                </a:lnTo>
                <a:lnTo>
                  <a:pt x="14" y="34"/>
                </a:lnTo>
                <a:lnTo>
                  <a:pt x="18" y="34"/>
                </a:lnTo>
                <a:lnTo>
                  <a:pt x="18" y="30"/>
                </a:lnTo>
                <a:lnTo>
                  <a:pt x="14" y="30"/>
                </a:lnTo>
                <a:lnTo>
                  <a:pt x="10" y="30"/>
                </a:lnTo>
                <a:lnTo>
                  <a:pt x="8" y="30"/>
                </a:lnTo>
                <a:lnTo>
                  <a:pt x="8" y="26"/>
                </a:lnTo>
                <a:lnTo>
                  <a:pt x="10" y="26"/>
                </a:lnTo>
                <a:lnTo>
                  <a:pt x="10" y="24"/>
                </a:lnTo>
                <a:lnTo>
                  <a:pt x="10" y="20"/>
                </a:lnTo>
                <a:lnTo>
                  <a:pt x="14" y="20"/>
                </a:lnTo>
                <a:lnTo>
                  <a:pt x="14" y="16"/>
                </a:lnTo>
                <a:lnTo>
                  <a:pt x="14" y="12"/>
                </a:lnTo>
                <a:lnTo>
                  <a:pt x="10" y="12"/>
                </a:lnTo>
                <a:lnTo>
                  <a:pt x="10" y="12"/>
                </a:lnTo>
                <a:lnTo>
                  <a:pt x="10" y="12"/>
                </a:lnTo>
                <a:close/>
                <a:moveTo>
                  <a:pt x="14" y="54"/>
                </a:moveTo>
                <a:lnTo>
                  <a:pt x="8" y="54"/>
                </a:lnTo>
                <a:lnTo>
                  <a:pt x="8" y="50"/>
                </a:lnTo>
                <a:lnTo>
                  <a:pt x="8" y="46"/>
                </a:lnTo>
                <a:lnTo>
                  <a:pt x="8" y="42"/>
                </a:lnTo>
                <a:lnTo>
                  <a:pt x="10" y="42"/>
                </a:lnTo>
                <a:lnTo>
                  <a:pt x="10" y="38"/>
                </a:lnTo>
                <a:lnTo>
                  <a:pt x="14" y="38"/>
                </a:lnTo>
                <a:lnTo>
                  <a:pt x="14" y="34"/>
                </a:lnTo>
                <a:lnTo>
                  <a:pt x="18" y="34"/>
                </a:lnTo>
                <a:lnTo>
                  <a:pt x="22" y="34"/>
                </a:lnTo>
                <a:lnTo>
                  <a:pt x="26" y="34"/>
                </a:lnTo>
                <a:lnTo>
                  <a:pt x="26" y="38"/>
                </a:lnTo>
                <a:lnTo>
                  <a:pt x="30" y="38"/>
                </a:lnTo>
                <a:lnTo>
                  <a:pt x="34" y="34"/>
                </a:lnTo>
                <a:lnTo>
                  <a:pt x="30" y="34"/>
                </a:lnTo>
                <a:lnTo>
                  <a:pt x="34" y="34"/>
                </a:lnTo>
                <a:lnTo>
                  <a:pt x="34" y="38"/>
                </a:lnTo>
                <a:lnTo>
                  <a:pt x="36" y="34"/>
                </a:lnTo>
                <a:lnTo>
                  <a:pt x="40" y="34"/>
                </a:lnTo>
                <a:lnTo>
                  <a:pt x="44" y="38"/>
                </a:lnTo>
                <a:lnTo>
                  <a:pt x="44" y="34"/>
                </a:lnTo>
                <a:lnTo>
                  <a:pt x="48" y="34"/>
                </a:lnTo>
                <a:lnTo>
                  <a:pt x="48" y="38"/>
                </a:lnTo>
                <a:lnTo>
                  <a:pt x="50" y="34"/>
                </a:lnTo>
                <a:lnTo>
                  <a:pt x="48" y="34"/>
                </a:lnTo>
                <a:lnTo>
                  <a:pt x="44" y="34"/>
                </a:lnTo>
                <a:lnTo>
                  <a:pt x="44" y="30"/>
                </a:lnTo>
                <a:lnTo>
                  <a:pt x="48" y="30"/>
                </a:lnTo>
                <a:lnTo>
                  <a:pt x="50" y="30"/>
                </a:lnTo>
                <a:lnTo>
                  <a:pt x="54" y="30"/>
                </a:lnTo>
                <a:lnTo>
                  <a:pt x="58" y="30"/>
                </a:lnTo>
                <a:lnTo>
                  <a:pt x="62" y="30"/>
                </a:lnTo>
                <a:lnTo>
                  <a:pt x="62" y="26"/>
                </a:lnTo>
                <a:lnTo>
                  <a:pt x="58" y="26"/>
                </a:lnTo>
                <a:lnTo>
                  <a:pt x="54" y="26"/>
                </a:lnTo>
                <a:lnTo>
                  <a:pt x="50" y="26"/>
                </a:lnTo>
                <a:lnTo>
                  <a:pt x="48" y="24"/>
                </a:lnTo>
                <a:lnTo>
                  <a:pt x="48" y="20"/>
                </a:lnTo>
                <a:lnTo>
                  <a:pt x="50" y="20"/>
                </a:lnTo>
                <a:lnTo>
                  <a:pt x="54" y="20"/>
                </a:lnTo>
                <a:lnTo>
                  <a:pt x="58" y="20"/>
                </a:lnTo>
                <a:lnTo>
                  <a:pt x="62" y="24"/>
                </a:lnTo>
                <a:lnTo>
                  <a:pt x="66" y="20"/>
                </a:lnTo>
                <a:lnTo>
                  <a:pt x="70" y="20"/>
                </a:lnTo>
                <a:lnTo>
                  <a:pt x="70" y="24"/>
                </a:lnTo>
                <a:lnTo>
                  <a:pt x="74" y="24"/>
                </a:lnTo>
                <a:lnTo>
                  <a:pt x="78" y="24"/>
                </a:lnTo>
                <a:lnTo>
                  <a:pt x="80" y="24"/>
                </a:lnTo>
                <a:lnTo>
                  <a:pt x="80" y="20"/>
                </a:lnTo>
                <a:lnTo>
                  <a:pt x="84" y="16"/>
                </a:lnTo>
                <a:lnTo>
                  <a:pt x="88" y="16"/>
                </a:lnTo>
                <a:lnTo>
                  <a:pt x="88" y="12"/>
                </a:lnTo>
                <a:lnTo>
                  <a:pt x="92" y="12"/>
                </a:lnTo>
                <a:lnTo>
                  <a:pt x="92" y="8"/>
                </a:lnTo>
                <a:lnTo>
                  <a:pt x="96" y="8"/>
                </a:lnTo>
                <a:lnTo>
                  <a:pt x="100" y="8"/>
                </a:lnTo>
                <a:lnTo>
                  <a:pt x="104" y="8"/>
                </a:lnTo>
                <a:lnTo>
                  <a:pt x="104" y="4"/>
                </a:lnTo>
                <a:lnTo>
                  <a:pt x="106" y="4"/>
                </a:lnTo>
                <a:lnTo>
                  <a:pt x="110" y="4"/>
                </a:lnTo>
                <a:lnTo>
                  <a:pt x="114" y="4"/>
                </a:lnTo>
                <a:lnTo>
                  <a:pt x="118" y="4"/>
                </a:lnTo>
                <a:lnTo>
                  <a:pt x="122" y="4"/>
                </a:lnTo>
                <a:lnTo>
                  <a:pt x="126" y="4"/>
                </a:lnTo>
                <a:lnTo>
                  <a:pt x="130" y="4"/>
                </a:lnTo>
                <a:lnTo>
                  <a:pt x="134" y="4"/>
                </a:lnTo>
                <a:lnTo>
                  <a:pt x="134" y="8"/>
                </a:lnTo>
                <a:lnTo>
                  <a:pt x="136" y="8"/>
                </a:lnTo>
                <a:lnTo>
                  <a:pt x="136" y="12"/>
                </a:lnTo>
                <a:lnTo>
                  <a:pt x="140" y="12"/>
                </a:lnTo>
                <a:lnTo>
                  <a:pt x="144" y="12"/>
                </a:lnTo>
                <a:lnTo>
                  <a:pt x="144" y="8"/>
                </a:lnTo>
                <a:lnTo>
                  <a:pt x="148" y="8"/>
                </a:lnTo>
                <a:lnTo>
                  <a:pt x="148" y="12"/>
                </a:lnTo>
                <a:lnTo>
                  <a:pt x="148" y="16"/>
                </a:lnTo>
                <a:lnTo>
                  <a:pt x="152" y="16"/>
                </a:lnTo>
                <a:lnTo>
                  <a:pt x="152" y="20"/>
                </a:lnTo>
                <a:lnTo>
                  <a:pt x="156" y="20"/>
                </a:lnTo>
                <a:lnTo>
                  <a:pt x="156" y="16"/>
                </a:lnTo>
                <a:lnTo>
                  <a:pt x="160" y="16"/>
                </a:lnTo>
                <a:lnTo>
                  <a:pt x="160" y="20"/>
                </a:lnTo>
                <a:lnTo>
                  <a:pt x="162" y="20"/>
                </a:lnTo>
                <a:lnTo>
                  <a:pt x="162" y="24"/>
                </a:lnTo>
                <a:lnTo>
                  <a:pt x="166" y="24"/>
                </a:lnTo>
                <a:lnTo>
                  <a:pt x="170" y="24"/>
                </a:lnTo>
                <a:lnTo>
                  <a:pt x="174" y="24"/>
                </a:lnTo>
                <a:lnTo>
                  <a:pt x="178" y="24"/>
                </a:lnTo>
                <a:lnTo>
                  <a:pt x="178" y="26"/>
                </a:lnTo>
                <a:lnTo>
                  <a:pt x="182" y="26"/>
                </a:lnTo>
                <a:lnTo>
                  <a:pt x="186" y="26"/>
                </a:lnTo>
                <a:lnTo>
                  <a:pt x="186" y="24"/>
                </a:lnTo>
                <a:lnTo>
                  <a:pt x="190" y="24"/>
                </a:lnTo>
                <a:lnTo>
                  <a:pt x="192" y="24"/>
                </a:lnTo>
                <a:lnTo>
                  <a:pt x="196" y="24"/>
                </a:lnTo>
                <a:lnTo>
                  <a:pt x="200" y="24"/>
                </a:lnTo>
                <a:lnTo>
                  <a:pt x="204" y="26"/>
                </a:lnTo>
                <a:lnTo>
                  <a:pt x="208" y="24"/>
                </a:lnTo>
                <a:lnTo>
                  <a:pt x="212" y="24"/>
                </a:lnTo>
                <a:lnTo>
                  <a:pt x="216" y="24"/>
                </a:lnTo>
                <a:lnTo>
                  <a:pt x="216" y="20"/>
                </a:lnTo>
                <a:lnTo>
                  <a:pt x="220" y="20"/>
                </a:lnTo>
                <a:lnTo>
                  <a:pt x="222" y="16"/>
                </a:lnTo>
                <a:lnTo>
                  <a:pt x="226" y="12"/>
                </a:lnTo>
                <a:lnTo>
                  <a:pt x="226" y="16"/>
                </a:lnTo>
                <a:lnTo>
                  <a:pt x="230" y="16"/>
                </a:lnTo>
                <a:lnTo>
                  <a:pt x="234" y="16"/>
                </a:lnTo>
                <a:lnTo>
                  <a:pt x="238" y="16"/>
                </a:lnTo>
                <a:lnTo>
                  <a:pt x="242" y="16"/>
                </a:lnTo>
                <a:lnTo>
                  <a:pt x="242" y="12"/>
                </a:lnTo>
                <a:lnTo>
                  <a:pt x="246" y="12"/>
                </a:lnTo>
                <a:lnTo>
                  <a:pt x="246" y="16"/>
                </a:lnTo>
                <a:lnTo>
                  <a:pt x="248" y="20"/>
                </a:lnTo>
                <a:lnTo>
                  <a:pt x="252" y="20"/>
                </a:lnTo>
                <a:lnTo>
                  <a:pt x="252" y="24"/>
                </a:lnTo>
                <a:lnTo>
                  <a:pt x="256" y="26"/>
                </a:lnTo>
                <a:lnTo>
                  <a:pt x="256" y="30"/>
                </a:lnTo>
                <a:lnTo>
                  <a:pt x="256" y="34"/>
                </a:lnTo>
                <a:lnTo>
                  <a:pt x="252" y="34"/>
                </a:lnTo>
                <a:lnTo>
                  <a:pt x="252" y="38"/>
                </a:lnTo>
                <a:lnTo>
                  <a:pt x="256" y="38"/>
                </a:lnTo>
                <a:lnTo>
                  <a:pt x="256" y="42"/>
                </a:lnTo>
                <a:lnTo>
                  <a:pt x="260" y="42"/>
                </a:lnTo>
                <a:lnTo>
                  <a:pt x="264" y="42"/>
                </a:lnTo>
                <a:lnTo>
                  <a:pt x="268" y="46"/>
                </a:lnTo>
                <a:lnTo>
                  <a:pt x="272" y="50"/>
                </a:lnTo>
                <a:lnTo>
                  <a:pt x="268" y="50"/>
                </a:lnTo>
                <a:lnTo>
                  <a:pt x="268" y="54"/>
                </a:lnTo>
                <a:lnTo>
                  <a:pt x="264" y="54"/>
                </a:lnTo>
                <a:lnTo>
                  <a:pt x="264" y="56"/>
                </a:lnTo>
                <a:lnTo>
                  <a:pt x="264" y="54"/>
                </a:lnTo>
                <a:lnTo>
                  <a:pt x="260" y="54"/>
                </a:lnTo>
                <a:lnTo>
                  <a:pt x="260" y="56"/>
                </a:lnTo>
                <a:lnTo>
                  <a:pt x="264" y="60"/>
                </a:lnTo>
                <a:lnTo>
                  <a:pt x="264" y="64"/>
                </a:lnTo>
                <a:lnTo>
                  <a:pt x="264" y="68"/>
                </a:lnTo>
                <a:lnTo>
                  <a:pt x="264" y="72"/>
                </a:lnTo>
                <a:lnTo>
                  <a:pt x="264" y="76"/>
                </a:lnTo>
                <a:lnTo>
                  <a:pt x="268" y="76"/>
                </a:lnTo>
                <a:lnTo>
                  <a:pt x="264" y="80"/>
                </a:lnTo>
                <a:lnTo>
                  <a:pt x="264" y="84"/>
                </a:lnTo>
                <a:lnTo>
                  <a:pt x="268" y="86"/>
                </a:lnTo>
                <a:lnTo>
                  <a:pt x="268" y="90"/>
                </a:lnTo>
                <a:lnTo>
                  <a:pt x="268" y="94"/>
                </a:lnTo>
                <a:lnTo>
                  <a:pt x="272" y="94"/>
                </a:lnTo>
                <a:lnTo>
                  <a:pt x="272" y="98"/>
                </a:lnTo>
                <a:lnTo>
                  <a:pt x="268" y="98"/>
                </a:lnTo>
                <a:lnTo>
                  <a:pt x="268" y="102"/>
                </a:lnTo>
                <a:lnTo>
                  <a:pt x="264" y="102"/>
                </a:lnTo>
                <a:lnTo>
                  <a:pt x="264" y="98"/>
                </a:lnTo>
                <a:lnTo>
                  <a:pt x="264" y="94"/>
                </a:lnTo>
                <a:lnTo>
                  <a:pt x="260" y="94"/>
                </a:lnTo>
                <a:lnTo>
                  <a:pt x="260" y="98"/>
                </a:lnTo>
                <a:lnTo>
                  <a:pt x="256" y="98"/>
                </a:lnTo>
                <a:lnTo>
                  <a:pt x="252" y="98"/>
                </a:lnTo>
                <a:lnTo>
                  <a:pt x="248" y="94"/>
                </a:lnTo>
                <a:lnTo>
                  <a:pt x="246" y="94"/>
                </a:lnTo>
                <a:lnTo>
                  <a:pt x="242" y="94"/>
                </a:lnTo>
                <a:lnTo>
                  <a:pt x="242" y="98"/>
                </a:lnTo>
                <a:lnTo>
                  <a:pt x="238" y="98"/>
                </a:lnTo>
                <a:lnTo>
                  <a:pt x="238" y="94"/>
                </a:lnTo>
                <a:lnTo>
                  <a:pt x="234" y="94"/>
                </a:lnTo>
                <a:lnTo>
                  <a:pt x="234" y="98"/>
                </a:lnTo>
                <a:lnTo>
                  <a:pt x="230" y="98"/>
                </a:lnTo>
                <a:lnTo>
                  <a:pt x="226" y="98"/>
                </a:lnTo>
                <a:lnTo>
                  <a:pt x="222" y="98"/>
                </a:lnTo>
                <a:lnTo>
                  <a:pt x="220" y="98"/>
                </a:lnTo>
                <a:lnTo>
                  <a:pt x="216" y="98"/>
                </a:lnTo>
                <a:lnTo>
                  <a:pt x="212" y="98"/>
                </a:lnTo>
                <a:lnTo>
                  <a:pt x="212" y="102"/>
                </a:lnTo>
                <a:lnTo>
                  <a:pt x="208" y="102"/>
                </a:lnTo>
                <a:lnTo>
                  <a:pt x="204" y="106"/>
                </a:lnTo>
                <a:lnTo>
                  <a:pt x="200" y="106"/>
                </a:lnTo>
                <a:lnTo>
                  <a:pt x="196" y="106"/>
                </a:lnTo>
                <a:lnTo>
                  <a:pt x="192" y="110"/>
                </a:lnTo>
                <a:lnTo>
                  <a:pt x="190" y="106"/>
                </a:lnTo>
                <a:lnTo>
                  <a:pt x="186" y="106"/>
                </a:lnTo>
                <a:lnTo>
                  <a:pt x="182" y="106"/>
                </a:lnTo>
                <a:lnTo>
                  <a:pt x="182" y="102"/>
                </a:lnTo>
                <a:lnTo>
                  <a:pt x="178" y="102"/>
                </a:lnTo>
                <a:lnTo>
                  <a:pt x="178" y="106"/>
                </a:lnTo>
                <a:lnTo>
                  <a:pt x="174" y="106"/>
                </a:lnTo>
                <a:lnTo>
                  <a:pt x="170" y="106"/>
                </a:lnTo>
                <a:lnTo>
                  <a:pt x="166" y="110"/>
                </a:lnTo>
                <a:lnTo>
                  <a:pt x="162" y="110"/>
                </a:lnTo>
                <a:lnTo>
                  <a:pt x="162" y="106"/>
                </a:lnTo>
                <a:lnTo>
                  <a:pt x="160" y="106"/>
                </a:lnTo>
                <a:lnTo>
                  <a:pt x="156" y="106"/>
                </a:lnTo>
                <a:lnTo>
                  <a:pt x="156" y="110"/>
                </a:lnTo>
                <a:lnTo>
                  <a:pt x="156" y="114"/>
                </a:lnTo>
                <a:lnTo>
                  <a:pt x="156" y="116"/>
                </a:lnTo>
                <a:lnTo>
                  <a:pt x="152" y="116"/>
                </a:lnTo>
                <a:lnTo>
                  <a:pt x="152" y="120"/>
                </a:lnTo>
                <a:lnTo>
                  <a:pt x="148" y="120"/>
                </a:lnTo>
                <a:lnTo>
                  <a:pt x="148" y="124"/>
                </a:lnTo>
                <a:lnTo>
                  <a:pt x="148" y="120"/>
                </a:lnTo>
                <a:lnTo>
                  <a:pt x="144" y="120"/>
                </a:lnTo>
                <a:lnTo>
                  <a:pt x="148" y="120"/>
                </a:lnTo>
                <a:lnTo>
                  <a:pt x="144" y="120"/>
                </a:lnTo>
                <a:lnTo>
                  <a:pt x="144" y="116"/>
                </a:lnTo>
                <a:lnTo>
                  <a:pt x="144" y="114"/>
                </a:lnTo>
                <a:lnTo>
                  <a:pt x="148" y="110"/>
                </a:lnTo>
                <a:lnTo>
                  <a:pt x="148" y="106"/>
                </a:lnTo>
                <a:lnTo>
                  <a:pt x="148" y="102"/>
                </a:lnTo>
                <a:lnTo>
                  <a:pt x="144" y="102"/>
                </a:lnTo>
                <a:lnTo>
                  <a:pt x="144" y="106"/>
                </a:lnTo>
                <a:lnTo>
                  <a:pt x="140" y="106"/>
                </a:lnTo>
                <a:lnTo>
                  <a:pt x="140" y="110"/>
                </a:lnTo>
                <a:lnTo>
                  <a:pt x="136" y="110"/>
                </a:lnTo>
                <a:lnTo>
                  <a:pt x="134" y="106"/>
                </a:lnTo>
                <a:lnTo>
                  <a:pt x="130" y="106"/>
                </a:lnTo>
                <a:lnTo>
                  <a:pt x="126" y="106"/>
                </a:lnTo>
                <a:lnTo>
                  <a:pt x="122" y="110"/>
                </a:lnTo>
                <a:lnTo>
                  <a:pt x="122" y="114"/>
                </a:lnTo>
                <a:lnTo>
                  <a:pt x="118" y="114"/>
                </a:lnTo>
                <a:lnTo>
                  <a:pt x="118" y="116"/>
                </a:lnTo>
                <a:lnTo>
                  <a:pt x="118" y="114"/>
                </a:lnTo>
                <a:lnTo>
                  <a:pt x="114" y="116"/>
                </a:lnTo>
                <a:lnTo>
                  <a:pt x="110" y="116"/>
                </a:lnTo>
                <a:lnTo>
                  <a:pt x="106" y="116"/>
                </a:lnTo>
                <a:lnTo>
                  <a:pt x="104" y="116"/>
                </a:lnTo>
                <a:lnTo>
                  <a:pt x="104" y="120"/>
                </a:lnTo>
                <a:lnTo>
                  <a:pt x="100" y="120"/>
                </a:lnTo>
                <a:lnTo>
                  <a:pt x="100" y="116"/>
                </a:lnTo>
                <a:lnTo>
                  <a:pt x="96" y="116"/>
                </a:lnTo>
                <a:lnTo>
                  <a:pt x="92" y="116"/>
                </a:lnTo>
                <a:lnTo>
                  <a:pt x="92" y="114"/>
                </a:lnTo>
                <a:lnTo>
                  <a:pt x="92" y="110"/>
                </a:lnTo>
                <a:lnTo>
                  <a:pt x="88" y="110"/>
                </a:lnTo>
                <a:lnTo>
                  <a:pt x="84" y="110"/>
                </a:lnTo>
                <a:lnTo>
                  <a:pt x="84" y="106"/>
                </a:lnTo>
                <a:lnTo>
                  <a:pt x="80" y="106"/>
                </a:lnTo>
                <a:lnTo>
                  <a:pt x="78" y="106"/>
                </a:lnTo>
                <a:lnTo>
                  <a:pt x="74" y="106"/>
                </a:lnTo>
                <a:lnTo>
                  <a:pt x="70" y="102"/>
                </a:lnTo>
                <a:lnTo>
                  <a:pt x="70" y="106"/>
                </a:lnTo>
                <a:lnTo>
                  <a:pt x="70" y="110"/>
                </a:lnTo>
                <a:lnTo>
                  <a:pt x="70" y="114"/>
                </a:lnTo>
                <a:lnTo>
                  <a:pt x="66" y="116"/>
                </a:lnTo>
                <a:lnTo>
                  <a:pt x="66" y="114"/>
                </a:lnTo>
                <a:lnTo>
                  <a:pt x="62" y="114"/>
                </a:lnTo>
                <a:lnTo>
                  <a:pt x="62" y="116"/>
                </a:lnTo>
                <a:lnTo>
                  <a:pt x="58" y="116"/>
                </a:lnTo>
                <a:lnTo>
                  <a:pt x="54" y="116"/>
                </a:lnTo>
                <a:lnTo>
                  <a:pt x="50" y="116"/>
                </a:lnTo>
                <a:lnTo>
                  <a:pt x="50" y="114"/>
                </a:lnTo>
                <a:lnTo>
                  <a:pt x="48" y="114"/>
                </a:lnTo>
                <a:lnTo>
                  <a:pt x="50" y="110"/>
                </a:lnTo>
                <a:lnTo>
                  <a:pt x="48" y="110"/>
                </a:lnTo>
                <a:lnTo>
                  <a:pt x="48" y="106"/>
                </a:lnTo>
                <a:lnTo>
                  <a:pt x="44" y="110"/>
                </a:lnTo>
                <a:lnTo>
                  <a:pt x="44" y="106"/>
                </a:lnTo>
                <a:lnTo>
                  <a:pt x="40" y="102"/>
                </a:lnTo>
                <a:lnTo>
                  <a:pt x="40" y="106"/>
                </a:lnTo>
                <a:lnTo>
                  <a:pt x="36" y="106"/>
                </a:lnTo>
                <a:lnTo>
                  <a:pt x="36" y="110"/>
                </a:lnTo>
                <a:lnTo>
                  <a:pt x="34" y="110"/>
                </a:lnTo>
                <a:lnTo>
                  <a:pt x="36" y="110"/>
                </a:lnTo>
                <a:lnTo>
                  <a:pt x="34" y="110"/>
                </a:lnTo>
                <a:lnTo>
                  <a:pt x="34" y="106"/>
                </a:lnTo>
                <a:lnTo>
                  <a:pt x="34" y="110"/>
                </a:lnTo>
                <a:lnTo>
                  <a:pt x="34" y="106"/>
                </a:lnTo>
                <a:lnTo>
                  <a:pt x="36" y="106"/>
                </a:lnTo>
                <a:lnTo>
                  <a:pt x="34" y="106"/>
                </a:lnTo>
                <a:lnTo>
                  <a:pt x="30" y="106"/>
                </a:lnTo>
                <a:lnTo>
                  <a:pt x="26" y="110"/>
                </a:lnTo>
                <a:lnTo>
                  <a:pt x="26" y="106"/>
                </a:lnTo>
                <a:lnTo>
                  <a:pt x="30" y="106"/>
                </a:lnTo>
                <a:lnTo>
                  <a:pt x="34" y="106"/>
                </a:lnTo>
                <a:lnTo>
                  <a:pt x="36" y="102"/>
                </a:lnTo>
                <a:lnTo>
                  <a:pt x="34" y="102"/>
                </a:lnTo>
                <a:lnTo>
                  <a:pt x="30" y="102"/>
                </a:lnTo>
                <a:lnTo>
                  <a:pt x="26" y="102"/>
                </a:lnTo>
                <a:lnTo>
                  <a:pt x="22" y="102"/>
                </a:lnTo>
                <a:lnTo>
                  <a:pt x="26" y="98"/>
                </a:lnTo>
                <a:lnTo>
                  <a:pt x="30" y="98"/>
                </a:lnTo>
                <a:lnTo>
                  <a:pt x="30" y="94"/>
                </a:lnTo>
                <a:lnTo>
                  <a:pt x="26" y="98"/>
                </a:lnTo>
                <a:lnTo>
                  <a:pt x="26" y="94"/>
                </a:lnTo>
                <a:lnTo>
                  <a:pt x="22" y="94"/>
                </a:lnTo>
                <a:lnTo>
                  <a:pt x="22" y="90"/>
                </a:lnTo>
                <a:lnTo>
                  <a:pt x="22" y="86"/>
                </a:lnTo>
                <a:lnTo>
                  <a:pt x="22" y="84"/>
                </a:lnTo>
                <a:lnTo>
                  <a:pt x="26" y="84"/>
                </a:lnTo>
                <a:lnTo>
                  <a:pt x="22" y="84"/>
                </a:lnTo>
                <a:lnTo>
                  <a:pt x="18" y="80"/>
                </a:lnTo>
                <a:lnTo>
                  <a:pt x="14" y="80"/>
                </a:lnTo>
                <a:lnTo>
                  <a:pt x="10" y="80"/>
                </a:lnTo>
                <a:lnTo>
                  <a:pt x="10" y="76"/>
                </a:lnTo>
                <a:lnTo>
                  <a:pt x="14" y="76"/>
                </a:lnTo>
                <a:lnTo>
                  <a:pt x="10" y="72"/>
                </a:lnTo>
                <a:lnTo>
                  <a:pt x="10" y="68"/>
                </a:lnTo>
                <a:lnTo>
                  <a:pt x="14" y="72"/>
                </a:lnTo>
                <a:lnTo>
                  <a:pt x="14" y="76"/>
                </a:lnTo>
                <a:lnTo>
                  <a:pt x="18" y="76"/>
                </a:lnTo>
                <a:lnTo>
                  <a:pt x="22" y="76"/>
                </a:lnTo>
                <a:lnTo>
                  <a:pt x="22" y="72"/>
                </a:lnTo>
                <a:lnTo>
                  <a:pt x="18" y="72"/>
                </a:lnTo>
                <a:lnTo>
                  <a:pt x="14" y="68"/>
                </a:lnTo>
                <a:lnTo>
                  <a:pt x="18" y="68"/>
                </a:lnTo>
                <a:lnTo>
                  <a:pt x="22" y="64"/>
                </a:lnTo>
                <a:lnTo>
                  <a:pt x="18" y="64"/>
                </a:lnTo>
                <a:lnTo>
                  <a:pt x="18" y="60"/>
                </a:lnTo>
                <a:lnTo>
                  <a:pt x="14" y="56"/>
                </a:lnTo>
                <a:lnTo>
                  <a:pt x="18" y="56"/>
                </a:lnTo>
                <a:lnTo>
                  <a:pt x="18" y="54"/>
                </a:lnTo>
                <a:lnTo>
                  <a:pt x="14" y="54"/>
                </a:lnTo>
                <a:lnTo>
                  <a:pt x="14" y="54"/>
                </a:lnTo>
                <a:lnTo>
                  <a:pt x="14" y="54"/>
                </a:lnTo>
                <a:close/>
                <a:moveTo>
                  <a:pt x="30" y="30"/>
                </a:moveTo>
                <a:lnTo>
                  <a:pt x="26" y="30"/>
                </a:lnTo>
                <a:lnTo>
                  <a:pt x="30" y="30"/>
                </a:lnTo>
                <a:lnTo>
                  <a:pt x="30" y="30"/>
                </a:lnTo>
                <a:lnTo>
                  <a:pt x="30" y="30"/>
                </a:lnTo>
                <a:close/>
                <a:moveTo>
                  <a:pt x="4" y="42"/>
                </a:moveTo>
                <a:lnTo>
                  <a:pt x="0" y="42"/>
                </a:lnTo>
                <a:lnTo>
                  <a:pt x="4" y="42"/>
                </a:lnTo>
                <a:lnTo>
                  <a:pt x="4" y="38"/>
                </a:lnTo>
                <a:lnTo>
                  <a:pt x="8" y="42"/>
                </a:lnTo>
                <a:lnTo>
                  <a:pt x="4" y="42"/>
                </a:lnTo>
                <a:lnTo>
                  <a:pt x="4" y="42"/>
                </a:lnTo>
                <a:lnTo>
                  <a:pt x="4" y="42"/>
                </a:lnTo>
                <a:close/>
              </a:path>
            </a:pathLst>
          </a:custGeom>
          <a:solidFill>
            <a:srgbClr val="A0DCFF"/>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52" name="Freeform 59"/>
          <p:cNvSpPr>
            <a:spLocks/>
          </p:cNvSpPr>
          <p:nvPr/>
        </p:nvSpPr>
        <p:spPr bwMode="auto">
          <a:xfrm>
            <a:off x="5119688" y="2786062"/>
            <a:ext cx="259556" cy="173831"/>
          </a:xfrm>
          <a:custGeom>
            <a:avLst/>
            <a:gdLst>
              <a:gd name="T0" fmla="*/ 208 w 218"/>
              <a:gd name="T1" fmla="*/ 100 h 146"/>
              <a:gd name="T2" fmla="*/ 200 w 218"/>
              <a:gd name="T3" fmla="*/ 108 h 146"/>
              <a:gd name="T4" fmla="*/ 192 w 218"/>
              <a:gd name="T5" fmla="*/ 116 h 146"/>
              <a:gd name="T6" fmla="*/ 188 w 218"/>
              <a:gd name="T7" fmla="*/ 126 h 146"/>
              <a:gd name="T8" fmla="*/ 178 w 218"/>
              <a:gd name="T9" fmla="*/ 130 h 146"/>
              <a:gd name="T10" fmla="*/ 170 w 218"/>
              <a:gd name="T11" fmla="*/ 134 h 146"/>
              <a:gd name="T12" fmla="*/ 166 w 218"/>
              <a:gd name="T13" fmla="*/ 142 h 146"/>
              <a:gd name="T14" fmla="*/ 156 w 218"/>
              <a:gd name="T15" fmla="*/ 146 h 146"/>
              <a:gd name="T16" fmla="*/ 144 w 218"/>
              <a:gd name="T17" fmla="*/ 142 h 146"/>
              <a:gd name="T18" fmla="*/ 140 w 218"/>
              <a:gd name="T19" fmla="*/ 130 h 146"/>
              <a:gd name="T20" fmla="*/ 136 w 218"/>
              <a:gd name="T21" fmla="*/ 118 h 146"/>
              <a:gd name="T22" fmla="*/ 126 w 218"/>
              <a:gd name="T23" fmla="*/ 112 h 146"/>
              <a:gd name="T24" fmla="*/ 114 w 218"/>
              <a:gd name="T25" fmla="*/ 100 h 146"/>
              <a:gd name="T26" fmla="*/ 106 w 218"/>
              <a:gd name="T27" fmla="*/ 100 h 146"/>
              <a:gd name="T28" fmla="*/ 92 w 218"/>
              <a:gd name="T29" fmla="*/ 92 h 146"/>
              <a:gd name="T30" fmla="*/ 84 w 218"/>
              <a:gd name="T31" fmla="*/ 88 h 146"/>
              <a:gd name="T32" fmla="*/ 74 w 218"/>
              <a:gd name="T33" fmla="*/ 86 h 146"/>
              <a:gd name="T34" fmla="*/ 62 w 218"/>
              <a:gd name="T35" fmla="*/ 88 h 146"/>
              <a:gd name="T36" fmla="*/ 54 w 218"/>
              <a:gd name="T37" fmla="*/ 96 h 146"/>
              <a:gd name="T38" fmla="*/ 44 w 218"/>
              <a:gd name="T39" fmla="*/ 104 h 146"/>
              <a:gd name="T40" fmla="*/ 28 w 218"/>
              <a:gd name="T41" fmla="*/ 100 h 146"/>
              <a:gd name="T42" fmla="*/ 18 w 218"/>
              <a:gd name="T43" fmla="*/ 96 h 146"/>
              <a:gd name="T44" fmla="*/ 10 w 218"/>
              <a:gd name="T45" fmla="*/ 88 h 146"/>
              <a:gd name="T46" fmla="*/ 4 w 218"/>
              <a:gd name="T47" fmla="*/ 74 h 146"/>
              <a:gd name="T48" fmla="*/ 6 w 218"/>
              <a:gd name="T49" fmla="*/ 58 h 146"/>
              <a:gd name="T50" fmla="*/ 6 w 218"/>
              <a:gd name="T51" fmla="*/ 40 h 146"/>
              <a:gd name="T52" fmla="*/ 6 w 218"/>
              <a:gd name="T53" fmla="*/ 26 h 146"/>
              <a:gd name="T54" fmla="*/ 20 w 218"/>
              <a:gd name="T55" fmla="*/ 14 h 146"/>
              <a:gd name="T56" fmla="*/ 32 w 218"/>
              <a:gd name="T57" fmla="*/ 10 h 146"/>
              <a:gd name="T58" fmla="*/ 44 w 218"/>
              <a:gd name="T59" fmla="*/ 10 h 146"/>
              <a:gd name="T60" fmla="*/ 54 w 218"/>
              <a:gd name="T61" fmla="*/ 22 h 146"/>
              <a:gd name="T62" fmla="*/ 62 w 218"/>
              <a:gd name="T63" fmla="*/ 30 h 146"/>
              <a:gd name="T64" fmla="*/ 74 w 218"/>
              <a:gd name="T65" fmla="*/ 30 h 146"/>
              <a:gd name="T66" fmla="*/ 84 w 218"/>
              <a:gd name="T67" fmla="*/ 26 h 146"/>
              <a:gd name="T68" fmla="*/ 80 w 218"/>
              <a:gd name="T69" fmla="*/ 14 h 146"/>
              <a:gd name="T70" fmla="*/ 92 w 218"/>
              <a:gd name="T71" fmla="*/ 10 h 146"/>
              <a:gd name="T72" fmla="*/ 100 w 218"/>
              <a:gd name="T73" fmla="*/ 6 h 146"/>
              <a:gd name="T74" fmla="*/ 102 w 218"/>
              <a:gd name="T75" fmla="*/ 4 h 146"/>
              <a:gd name="T76" fmla="*/ 110 w 218"/>
              <a:gd name="T77" fmla="*/ 4 h 146"/>
              <a:gd name="T78" fmla="*/ 122 w 218"/>
              <a:gd name="T79" fmla="*/ 6 h 146"/>
              <a:gd name="T80" fmla="*/ 128 w 218"/>
              <a:gd name="T81" fmla="*/ 18 h 146"/>
              <a:gd name="T82" fmla="*/ 128 w 218"/>
              <a:gd name="T83" fmla="*/ 26 h 146"/>
              <a:gd name="T84" fmla="*/ 140 w 218"/>
              <a:gd name="T85" fmla="*/ 30 h 146"/>
              <a:gd name="T86" fmla="*/ 152 w 218"/>
              <a:gd name="T87" fmla="*/ 36 h 146"/>
              <a:gd name="T88" fmla="*/ 158 w 218"/>
              <a:gd name="T89" fmla="*/ 44 h 146"/>
              <a:gd name="T90" fmla="*/ 162 w 218"/>
              <a:gd name="T91" fmla="*/ 56 h 146"/>
              <a:gd name="T92" fmla="*/ 174 w 218"/>
              <a:gd name="T93" fmla="*/ 62 h 146"/>
              <a:gd name="T94" fmla="*/ 182 w 218"/>
              <a:gd name="T95" fmla="*/ 70 h 146"/>
              <a:gd name="T96" fmla="*/ 188 w 218"/>
              <a:gd name="T97" fmla="*/ 78 h 146"/>
              <a:gd name="T98" fmla="*/ 204 w 218"/>
              <a:gd name="T99" fmla="*/ 86 h 146"/>
              <a:gd name="T100" fmla="*/ 210 w 218"/>
              <a:gd name="T101" fmla="*/ 88 h 146"/>
              <a:gd name="T102" fmla="*/ 218 w 218"/>
              <a:gd name="T103" fmla="*/ 96 h 146"/>
              <a:gd name="T104" fmla="*/ 214 w 218"/>
              <a:gd name="T105" fmla="*/ 10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8" h="146">
                <a:moveTo>
                  <a:pt x="214" y="104"/>
                </a:moveTo>
                <a:lnTo>
                  <a:pt x="210" y="104"/>
                </a:lnTo>
                <a:lnTo>
                  <a:pt x="208" y="104"/>
                </a:lnTo>
                <a:lnTo>
                  <a:pt x="208" y="100"/>
                </a:lnTo>
                <a:lnTo>
                  <a:pt x="204" y="100"/>
                </a:lnTo>
                <a:lnTo>
                  <a:pt x="204" y="104"/>
                </a:lnTo>
                <a:lnTo>
                  <a:pt x="204" y="108"/>
                </a:lnTo>
                <a:lnTo>
                  <a:pt x="200" y="108"/>
                </a:lnTo>
                <a:lnTo>
                  <a:pt x="196" y="108"/>
                </a:lnTo>
                <a:lnTo>
                  <a:pt x="192" y="108"/>
                </a:lnTo>
                <a:lnTo>
                  <a:pt x="192" y="112"/>
                </a:lnTo>
                <a:lnTo>
                  <a:pt x="192" y="116"/>
                </a:lnTo>
                <a:lnTo>
                  <a:pt x="188" y="116"/>
                </a:lnTo>
                <a:lnTo>
                  <a:pt x="188" y="118"/>
                </a:lnTo>
                <a:lnTo>
                  <a:pt x="188" y="122"/>
                </a:lnTo>
                <a:lnTo>
                  <a:pt x="188" y="126"/>
                </a:lnTo>
                <a:lnTo>
                  <a:pt x="184" y="126"/>
                </a:lnTo>
                <a:lnTo>
                  <a:pt x="182" y="126"/>
                </a:lnTo>
                <a:lnTo>
                  <a:pt x="182" y="130"/>
                </a:lnTo>
                <a:lnTo>
                  <a:pt x="178" y="130"/>
                </a:lnTo>
                <a:lnTo>
                  <a:pt x="174" y="130"/>
                </a:lnTo>
                <a:lnTo>
                  <a:pt x="170" y="134"/>
                </a:lnTo>
                <a:lnTo>
                  <a:pt x="166" y="134"/>
                </a:lnTo>
                <a:lnTo>
                  <a:pt x="170" y="134"/>
                </a:lnTo>
                <a:lnTo>
                  <a:pt x="170" y="138"/>
                </a:lnTo>
                <a:lnTo>
                  <a:pt x="166" y="138"/>
                </a:lnTo>
                <a:lnTo>
                  <a:pt x="170" y="138"/>
                </a:lnTo>
                <a:lnTo>
                  <a:pt x="166" y="142"/>
                </a:lnTo>
                <a:lnTo>
                  <a:pt x="162" y="142"/>
                </a:lnTo>
                <a:lnTo>
                  <a:pt x="162" y="146"/>
                </a:lnTo>
                <a:lnTo>
                  <a:pt x="158" y="146"/>
                </a:lnTo>
                <a:lnTo>
                  <a:pt x="156" y="146"/>
                </a:lnTo>
                <a:lnTo>
                  <a:pt x="156" y="142"/>
                </a:lnTo>
                <a:lnTo>
                  <a:pt x="152" y="142"/>
                </a:lnTo>
                <a:lnTo>
                  <a:pt x="148" y="142"/>
                </a:lnTo>
                <a:lnTo>
                  <a:pt x="144" y="142"/>
                </a:lnTo>
                <a:lnTo>
                  <a:pt x="144" y="138"/>
                </a:lnTo>
                <a:lnTo>
                  <a:pt x="140" y="138"/>
                </a:lnTo>
                <a:lnTo>
                  <a:pt x="140" y="134"/>
                </a:lnTo>
                <a:lnTo>
                  <a:pt x="140" y="130"/>
                </a:lnTo>
                <a:lnTo>
                  <a:pt x="140" y="126"/>
                </a:lnTo>
                <a:lnTo>
                  <a:pt x="140" y="122"/>
                </a:lnTo>
                <a:lnTo>
                  <a:pt x="140" y="118"/>
                </a:lnTo>
                <a:lnTo>
                  <a:pt x="136" y="118"/>
                </a:lnTo>
                <a:lnTo>
                  <a:pt x="132" y="118"/>
                </a:lnTo>
                <a:lnTo>
                  <a:pt x="128" y="118"/>
                </a:lnTo>
                <a:lnTo>
                  <a:pt x="126" y="116"/>
                </a:lnTo>
                <a:lnTo>
                  <a:pt x="126" y="112"/>
                </a:lnTo>
                <a:lnTo>
                  <a:pt x="122" y="108"/>
                </a:lnTo>
                <a:lnTo>
                  <a:pt x="118" y="108"/>
                </a:lnTo>
                <a:lnTo>
                  <a:pt x="114" y="104"/>
                </a:lnTo>
                <a:lnTo>
                  <a:pt x="114" y="100"/>
                </a:lnTo>
                <a:lnTo>
                  <a:pt x="110" y="100"/>
                </a:lnTo>
                <a:lnTo>
                  <a:pt x="110" y="96"/>
                </a:lnTo>
                <a:lnTo>
                  <a:pt x="106" y="96"/>
                </a:lnTo>
                <a:lnTo>
                  <a:pt x="106" y="100"/>
                </a:lnTo>
                <a:lnTo>
                  <a:pt x="106" y="96"/>
                </a:lnTo>
                <a:lnTo>
                  <a:pt x="102" y="100"/>
                </a:lnTo>
                <a:lnTo>
                  <a:pt x="100" y="96"/>
                </a:lnTo>
                <a:lnTo>
                  <a:pt x="92" y="92"/>
                </a:lnTo>
                <a:lnTo>
                  <a:pt x="88" y="92"/>
                </a:lnTo>
                <a:lnTo>
                  <a:pt x="88" y="88"/>
                </a:lnTo>
                <a:lnTo>
                  <a:pt x="84" y="86"/>
                </a:lnTo>
                <a:lnTo>
                  <a:pt x="84" y="88"/>
                </a:lnTo>
                <a:lnTo>
                  <a:pt x="80" y="88"/>
                </a:lnTo>
                <a:lnTo>
                  <a:pt x="80" y="86"/>
                </a:lnTo>
                <a:lnTo>
                  <a:pt x="76" y="86"/>
                </a:lnTo>
                <a:lnTo>
                  <a:pt x="74" y="86"/>
                </a:lnTo>
                <a:lnTo>
                  <a:pt x="74" y="88"/>
                </a:lnTo>
                <a:lnTo>
                  <a:pt x="70" y="88"/>
                </a:lnTo>
                <a:lnTo>
                  <a:pt x="66" y="88"/>
                </a:lnTo>
                <a:lnTo>
                  <a:pt x="62" y="88"/>
                </a:lnTo>
                <a:lnTo>
                  <a:pt x="58" y="88"/>
                </a:lnTo>
                <a:lnTo>
                  <a:pt x="58" y="92"/>
                </a:lnTo>
                <a:lnTo>
                  <a:pt x="54" y="92"/>
                </a:lnTo>
                <a:lnTo>
                  <a:pt x="54" y="96"/>
                </a:lnTo>
                <a:lnTo>
                  <a:pt x="50" y="96"/>
                </a:lnTo>
                <a:lnTo>
                  <a:pt x="50" y="100"/>
                </a:lnTo>
                <a:lnTo>
                  <a:pt x="48" y="104"/>
                </a:lnTo>
                <a:lnTo>
                  <a:pt x="44" y="104"/>
                </a:lnTo>
                <a:lnTo>
                  <a:pt x="40" y="104"/>
                </a:lnTo>
                <a:lnTo>
                  <a:pt x="36" y="104"/>
                </a:lnTo>
                <a:lnTo>
                  <a:pt x="32" y="104"/>
                </a:lnTo>
                <a:lnTo>
                  <a:pt x="28" y="100"/>
                </a:lnTo>
                <a:lnTo>
                  <a:pt x="24" y="100"/>
                </a:lnTo>
                <a:lnTo>
                  <a:pt x="24" y="96"/>
                </a:lnTo>
                <a:lnTo>
                  <a:pt x="20" y="96"/>
                </a:lnTo>
                <a:lnTo>
                  <a:pt x="18" y="96"/>
                </a:lnTo>
                <a:lnTo>
                  <a:pt x="14" y="96"/>
                </a:lnTo>
                <a:lnTo>
                  <a:pt x="14" y="92"/>
                </a:lnTo>
                <a:lnTo>
                  <a:pt x="10" y="92"/>
                </a:lnTo>
                <a:lnTo>
                  <a:pt x="10" y="88"/>
                </a:lnTo>
                <a:lnTo>
                  <a:pt x="6" y="86"/>
                </a:lnTo>
                <a:lnTo>
                  <a:pt x="4" y="82"/>
                </a:lnTo>
                <a:lnTo>
                  <a:pt x="4" y="78"/>
                </a:lnTo>
                <a:lnTo>
                  <a:pt x="4" y="74"/>
                </a:lnTo>
                <a:lnTo>
                  <a:pt x="4" y="70"/>
                </a:lnTo>
                <a:lnTo>
                  <a:pt x="6" y="66"/>
                </a:lnTo>
                <a:lnTo>
                  <a:pt x="6" y="62"/>
                </a:lnTo>
                <a:lnTo>
                  <a:pt x="6" y="58"/>
                </a:lnTo>
                <a:lnTo>
                  <a:pt x="6" y="56"/>
                </a:lnTo>
                <a:lnTo>
                  <a:pt x="6" y="48"/>
                </a:lnTo>
                <a:lnTo>
                  <a:pt x="6" y="44"/>
                </a:lnTo>
                <a:lnTo>
                  <a:pt x="6" y="40"/>
                </a:lnTo>
                <a:lnTo>
                  <a:pt x="6" y="36"/>
                </a:lnTo>
                <a:lnTo>
                  <a:pt x="4" y="32"/>
                </a:lnTo>
                <a:lnTo>
                  <a:pt x="0" y="30"/>
                </a:lnTo>
                <a:lnTo>
                  <a:pt x="6" y="26"/>
                </a:lnTo>
                <a:lnTo>
                  <a:pt x="10" y="26"/>
                </a:lnTo>
                <a:lnTo>
                  <a:pt x="14" y="22"/>
                </a:lnTo>
                <a:lnTo>
                  <a:pt x="18" y="18"/>
                </a:lnTo>
                <a:lnTo>
                  <a:pt x="20" y="14"/>
                </a:lnTo>
                <a:lnTo>
                  <a:pt x="24" y="14"/>
                </a:lnTo>
                <a:lnTo>
                  <a:pt x="24" y="10"/>
                </a:lnTo>
                <a:lnTo>
                  <a:pt x="28" y="10"/>
                </a:lnTo>
                <a:lnTo>
                  <a:pt x="32" y="10"/>
                </a:lnTo>
                <a:lnTo>
                  <a:pt x="36" y="6"/>
                </a:lnTo>
                <a:lnTo>
                  <a:pt x="40" y="6"/>
                </a:lnTo>
                <a:lnTo>
                  <a:pt x="44" y="6"/>
                </a:lnTo>
                <a:lnTo>
                  <a:pt x="44" y="10"/>
                </a:lnTo>
                <a:lnTo>
                  <a:pt x="48" y="10"/>
                </a:lnTo>
                <a:lnTo>
                  <a:pt x="50" y="14"/>
                </a:lnTo>
                <a:lnTo>
                  <a:pt x="54" y="18"/>
                </a:lnTo>
                <a:lnTo>
                  <a:pt x="54" y="22"/>
                </a:lnTo>
                <a:lnTo>
                  <a:pt x="58" y="22"/>
                </a:lnTo>
                <a:lnTo>
                  <a:pt x="58" y="26"/>
                </a:lnTo>
                <a:lnTo>
                  <a:pt x="58" y="30"/>
                </a:lnTo>
                <a:lnTo>
                  <a:pt x="62" y="30"/>
                </a:lnTo>
                <a:lnTo>
                  <a:pt x="66" y="30"/>
                </a:lnTo>
                <a:lnTo>
                  <a:pt x="66" y="26"/>
                </a:lnTo>
                <a:lnTo>
                  <a:pt x="70" y="30"/>
                </a:lnTo>
                <a:lnTo>
                  <a:pt x="74" y="30"/>
                </a:lnTo>
                <a:lnTo>
                  <a:pt x="76" y="30"/>
                </a:lnTo>
                <a:lnTo>
                  <a:pt x="80" y="30"/>
                </a:lnTo>
                <a:lnTo>
                  <a:pt x="84" y="30"/>
                </a:lnTo>
                <a:lnTo>
                  <a:pt x="84" y="26"/>
                </a:lnTo>
                <a:lnTo>
                  <a:pt x="80" y="26"/>
                </a:lnTo>
                <a:lnTo>
                  <a:pt x="80" y="22"/>
                </a:lnTo>
                <a:lnTo>
                  <a:pt x="80" y="18"/>
                </a:lnTo>
                <a:lnTo>
                  <a:pt x="80" y="14"/>
                </a:lnTo>
                <a:lnTo>
                  <a:pt x="84" y="14"/>
                </a:lnTo>
                <a:lnTo>
                  <a:pt x="84" y="10"/>
                </a:lnTo>
                <a:lnTo>
                  <a:pt x="88" y="10"/>
                </a:lnTo>
                <a:lnTo>
                  <a:pt x="92" y="10"/>
                </a:lnTo>
                <a:lnTo>
                  <a:pt x="96" y="10"/>
                </a:lnTo>
                <a:lnTo>
                  <a:pt x="96" y="6"/>
                </a:lnTo>
                <a:lnTo>
                  <a:pt x="96" y="4"/>
                </a:lnTo>
                <a:lnTo>
                  <a:pt x="100" y="6"/>
                </a:lnTo>
                <a:lnTo>
                  <a:pt x="102" y="6"/>
                </a:lnTo>
                <a:lnTo>
                  <a:pt x="100" y="4"/>
                </a:lnTo>
                <a:lnTo>
                  <a:pt x="100" y="0"/>
                </a:lnTo>
                <a:lnTo>
                  <a:pt x="102" y="4"/>
                </a:lnTo>
                <a:lnTo>
                  <a:pt x="102" y="0"/>
                </a:lnTo>
                <a:lnTo>
                  <a:pt x="106" y="0"/>
                </a:lnTo>
                <a:lnTo>
                  <a:pt x="106" y="4"/>
                </a:lnTo>
                <a:lnTo>
                  <a:pt x="110" y="4"/>
                </a:lnTo>
                <a:lnTo>
                  <a:pt x="114" y="4"/>
                </a:lnTo>
                <a:lnTo>
                  <a:pt x="114" y="6"/>
                </a:lnTo>
                <a:lnTo>
                  <a:pt x="118" y="6"/>
                </a:lnTo>
                <a:lnTo>
                  <a:pt x="122" y="6"/>
                </a:lnTo>
                <a:lnTo>
                  <a:pt x="126" y="10"/>
                </a:lnTo>
                <a:lnTo>
                  <a:pt x="126" y="14"/>
                </a:lnTo>
                <a:lnTo>
                  <a:pt x="126" y="18"/>
                </a:lnTo>
                <a:lnTo>
                  <a:pt x="128" y="18"/>
                </a:lnTo>
                <a:lnTo>
                  <a:pt x="126" y="18"/>
                </a:lnTo>
                <a:lnTo>
                  <a:pt x="126" y="22"/>
                </a:lnTo>
                <a:lnTo>
                  <a:pt x="126" y="26"/>
                </a:lnTo>
                <a:lnTo>
                  <a:pt x="128" y="26"/>
                </a:lnTo>
                <a:lnTo>
                  <a:pt x="128" y="30"/>
                </a:lnTo>
                <a:lnTo>
                  <a:pt x="132" y="30"/>
                </a:lnTo>
                <a:lnTo>
                  <a:pt x="136" y="30"/>
                </a:lnTo>
                <a:lnTo>
                  <a:pt x="140" y="30"/>
                </a:lnTo>
                <a:lnTo>
                  <a:pt x="144" y="30"/>
                </a:lnTo>
                <a:lnTo>
                  <a:pt x="148" y="30"/>
                </a:lnTo>
                <a:lnTo>
                  <a:pt x="152" y="32"/>
                </a:lnTo>
                <a:lnTo>
                  <a:pt x="152" y="36"/>
                </a:lnTo>
                <a:lnTo>
                  <a:pt x="152" y="40"/>
                </a:lnTo>
                <a:lnTo>
                  <a:pt x="156" y="40"/>
                </a:lnTo>
                <a:lnTo>
                  <a:pt x="156" y="44"/>
                </a:lnTo>
                <a:lnTo>
                  <a:pt x="158" y="44"/>
                </a:lnTo>
                <a:lnTo>
                  <a:pt x="158" y="48"/>
                </a:lnTo>
                <a:lnTo>
                  <a:pt x="158" y="52"/>
                </a:lnTo>
                <a:lnTo>
                  <a:pt x="158" y="56"/>
                </a:lnTo>
                <a:lnTo>
                  <a:pt x="162" y="56"/>
                </a:lnTo>
                <a:lnTo>
                  <a:pt x="162" y="58"/>
                </a:lnTo>
                <a:lnTo>
                  <a:pt x="166" y="58"/>
                </a:lnTo>
                <a:lnTo>
                  <a:pt x="170" y="62"/>
                </a:lnTo>
                <a:lnTo>
                  <a:pt x="174" y="62"/>
                </a:lnTo>
                <a:lnTo>
                  <a:pt x="174" y="66"/>
                </a:lnTo>
                <a:lnTo>
                  <a:pt x="178" y="66"/>
                </a:lnTo>
                <a:lnTo>
                  <a:pt x="178" y="70"/>
                </a:lnTo>
                <a:lnTo>
                  <a:pt x="182" y="70"/>
                </a:lnTo>
                <a:lnTo>
                  <a:pt x="182" y="74"/>
                </a:lnTo>
                <a:lnTo>
                  <a:pt x="184" y="74"/>
                </a:lnTo>
                <a:lnTo>
                  <a:pt x="188" y="74"/>
                </a:lnTo>
                <a:lnTo>
                  <a:pt x="188" y="78"/>
                </a:lnTo>
                <a:lnTo>
                  <a:pt x="192" y="78"/>
                </a:lnTo>
                <a:lnTo>
                  <a:pt x="196" y="82"/>
                </a:lnTo>
                <a:lnTo>
                  <a:pt x="200" y="86"/>
                </a:lnTo>
                <a:lnTo>
                  <a:pt x="204" y="86"/>
                </a:lnTo>
                <a:lnTo>
                  <a:pt x="204" y="88"/>
                </a:lnTo>
                <a:lnTo>
                  <a:pt x="208" y="88"/>
                </a:lnTo>
                <a:lnTo>
                  <a:pt x="208" y="86"/>
                </a:lnTo>
                <a:lnTo>
                  <a:pt x="210" y="88"/>
                </a:lnTo>
                <a:lnTo>
                  <a:pt x="214" y="88"/>
                </a:lnTo>
                <a:lnTo>
                  <a:pt x="214" y="92"/>
                </a:lnTo>
                <a:lnTo>
                  <a:pt x="218" y="92"/>
                </a:lnTo>
                <a:lnTo>
                  <a:pt x="218" y="96"/>
                </a:lnTo>
                <a:lnTo>
                  <a:pt x="214" y="100"/>
                </a:lnTo>
                <a:lnTo>
                  <a:pt x="214" y="104"/>
                </a:lnTo>
                <a:lnTo>
                  <a:pt x="218" y="104"/>
                </a:lnTo>
                <a:lnTo>
                  <a:pt x="214" y="104"/>
                </a:lnTo>
                <a:lnTo>
                  <a:pt x="214" y="104"/>
                </a:lnTo>
                <a:lnTo>
                  <a:pt x="214" y="104"/>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53" name="Freeform 60"/>
          <p:cNvSpPr>
            <a:spLocks noEditPoints="1"/>
          </p:cNvSpPr>
          <p:nvPr/>
        </p:nvSpPr>
        <p:spPr bwMode="auto">
          <a:xfrm>
            <a:off x="5126831" y="3159918"/>
            <a:ext cx="78581" cy="71438"/>
          </a:xfrm>
          <a:custGeom>
            <a:avLst/>
            <a:gdLst>
              <a:gd name="T0" fmla="*/ 66 w 66"/>
              <a:gd name="T1" fmla="*/ 14 h 60"/>
              <a:gd name="T2" fmla="*/ 66 w 66"/>
              <a:gd name="T3" fmla="*/ 18 h 60"/>
              <a:gd name="T4" fmla="*/ 66 w 66"/>
              <a:gd name="T5" fmla="*/ 18 h 60"/>
              <a:gd name="T6" fmla="*/ 66 w 66"/>
              <a:gd name="T7" fmla="*/ 22 h 60"/>
              <a:gd name="T8" fmla="*/ 62 w 66"/>
              <a:gd name="T9" fmla="*/ 22 h 60"/>
              <a:gd name="T10" fmla="*/ 62 w 66"/>
              <a:gd name="T11" fmla="*/ 22 h 60"/>
              <a:gd name="T12" fmla="*/ 62 w 66"/>
              <a:gd name="T13" fmla="*/ 22 h 60"/>
              <a:gd name="T14" fmla="*/ 62 w 66"/>
              <a:gd name="T15" fmla="*/ 18 h 60"/>
              <a:gd name="T16" fmla="*/ 60 w 66"/>
              <a:gd name="T17" fmla="*/ 18 h 60"/>
              <a:gd name="T18" fmla="*/ 60 w 66"/>
              <a:gd name="T19" fmla="*/ 22 h 60"/>
              <a:gd name="T20" fmla="*/ 60 w 66"/>
              <a:gd name="T21" fmla="*/ 26 h 60"/>
              <a:gd name="T22" fmla="*/ 60 w 66"/>
              <a:gd name="T23" fmla="*/ 30 h 60"/>
              <a:gd name="T24" fmla="*/ 60 w 66"/>
              <a:gd name="T25" fmla="*/ 34 h 60"/>
              <a:gd name="T26" fmla="*/ 62 w 66"/>
              <a:gd name="T27" fmla="*/ 36 h 60"/>
              <a:gd name="T28" fmla="*/ 56 w 66"/>
              <a:gd name="T29" fmla="*/ 36 h 60"/>
              <a:gd name="T30" fmla="*/ 56 w 66"/>
              <a:gd name="T31" fmla="*/ 40 h 60"/>
              <a:gd name="T32" fmla="*/ 52 w 66"/>
              <a:gd name="T33" fmla="*/ 48 h 60"/>
              <a:gd name="T34" fmla="*/ 52 w 66"/>
              <a:gd name="T35" fmla="*/ 52 h 60"/>
              <a:gd name="T36" fmla="*/ 52 w 66"/>
              <a:gd name="T37" fmla="*/ 56 h 60"/>
              <a:gd name="T38" fmla="*/ 48 w 66"/>
              <a:gd name="T39" fmla="*/ 60 h 60"/>
              <a:gd name="T40" fmla="*/ 0 w 66"/>
              <a:gd name="T41" fmla="*/ 34 h 60"/>
              <a:gd name="T42" fmla="*/ 0 w 66"/>
              <a:gd name="T43" fmla="*/ 34 h 60"/>
              <a:gd name="T44" fmla="*/ 4 w 66"/>
              <a:gd name="T45" fmla="*/ 36 h 60"/>
              <a:gd name="T46" fmla="*/ 6 w 66"/>
              <a:gd name="T47" fmla="*/ 36 h 60"/>
              <a:gd name="T48" fmla="*/ 10 w 66"/>
              <a:gd name="T49" fmla="*/ 34 h 60"/>
              <a:gd name="T50" fmla="*/ 14 w 66"/>
              <a:gd name="T51" fmla="*/ 34 h 60"/>
              <a:gd name="T52" fmla="*/ 18 w 66"/>
              <a:gd name="T53" fmla="*/ 34 h 60"/>
              <a:gd name="T54" fmla="*/ 26 w 66"/>
              <a:gd name="T55" fmla="*/ 34 h 60"/>
              <a:gd name="T56" fmla="*/ 26 w 66"/>
              <a:gd name="T57" fmla="*/ 36 h 60"/>
              <a:gd name="T58" fmla="*/ 36 w 66"/>
              <a:gd name="T59" fmla="*/ 34 h 60"/>
              <a:gd name="T60" fmla="*/ 40 w 66"/>
              <a:gd name="T61" fmla="*/ 30 h 60"/>
              <a:gd name="T62" fmla="*/ 40 w 66"/>
              <a:gd name="T63" fmla="*/ 30 h 60"/>
              <a:gd name="T64" fmla="*/ 40 w 66"/>
              <a:gd name="T65" fmla="*/ 22 h 60"/>
              <a:gd name="T66" fmla="*/ 48 w 66"/>
              <a:gd name="T67" fmla="*/ 18 h 60"/>
              <a:gd name="T68" fmla="*/ 48 w 66"/>
              <a:gd name="T69" fmla="*/ 14 h 60"/>
              <a:gd name="T70" fmla="*/ 52 w 66"/>
              <a:gd name="T71" fmla="*/ 14 h 60"/>
              <a:gd name="T72" fmla="*/ 52 w 66"/>
              <a:gd name="T73" fmla="*/ 14 h 60"/>
              <a:gd name="T74" fmla="*/ 52 w 66"/>
              <a:gd name="T75" fmla="*/ 10 h 60"/>
              <a:gd name="T76" fmla="*/ 56 w 66"/>
              <a:gd name="T77" fmla="*/ 10 h 60"/>
              <a:gd name="T78" fmla="*/ 56 w 66"/>
              <a:gd name="T79" fmla="*/ 6 h 60"/>
              <a:gd name="T80" fmla="*/ 56 w 66"/>
              <a:gd name="T81" fmla="*/ 6 h 60"/>
              <a:gd name="T82" fmla="*/ 60 w 66"/>
              <a:gd name="T83" fmla="*/ 6 h 60"/>
              <a:gd name="T84" fmla="*/ 62 w 66"/>
              <a:gd name="T85" fmla="*/ 0 h 60"/>
              <a:gd name="T86" fmla="*/ 62 w 66"/>
              <a:gd name="T87" fmla="*/ 2 h 60"/>
              <a:gd name="T88" fmla="*/ 62 w 66"/>
              <a:gd name="T89" fmla="*/ 6 h 60"/>
              <a:gd name="T90" fmla="*/ 66 w 66"/>
              <a:gd name="T91" fmla="*/ 6 h 60"/>
              <a:gd name="T92" fmla="*/ 66 w 66"/>
              <a:gd name="T93" fmla="*/ 10 h 60"/>
              <a:gd name="T94" fmla="*/ 36 w 66"/>
              <a:gd name="T95" fmla="*/ 26 h 60"/>
              <a:gd name="T96" fmla="*/ 30 w 66"/>
              <a:gd name="T97" fmla="*/ 34 h 60"/>
              <a:gd name="T98" fmla="*/ 30 w 66"/>
              <a:gd name="T99" fmla="*/ 34 h 60"/>
              <a:gd name="T100" fmla="*/ 30 w 66"/>
              <a:gd name="T101" fmla="*/ 34 h 60"/>
              <a:gd name="T102" fmla="*/ 32 w 66"/>
              <a:gd name="T103" fmla="*/ 34 h 60"/>
              <a:gd name="T104" fmla="*/ 30 w 66"/>
              <a:gd name="T105" fmla="*/ 3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6" h="60">
                <a:moveTo>
                  <a:pt x="66" y="10"/>
                </a:moveTo>
                <a:lnTo>
                  <a:pt x="66" y="10"/>
                </a:lnTo>
                <a:lnTo>
                  <a:pt x="66" y="10"/>
                </a:lnTo>
                <a:lnTo>
                  <a:pt x="66" y="14"/>
                </a:lnTo>
                <a:lnTo>
                  <a:pt x="66" y="14"/>
                </a:lnTo>
                <a:lnTo>
                  <a:pt x="66" y="18"/>
                </a:lnTo>
                <a:lnTo>
                  <a:pt x="66" y="18"/>
                </a:lnTo>
                <a:lnTo>
                  <a:pt x="66" y="18"/>
                </a:lnTo>
                <a:lnTo>
                  <a:pt x="66" y="18"/>
                </a:lnTo>
                <a:lnTo>
                  <a:pt x="66" y="18"/>
                </a:lnTo>
                <a:lnTo>
                  <a:pt x="66" y="18"/>
                </a:lnTo>
                <a:lnTo>
                  <a:pt x="66" y="18"/>
                </a:lnTo>
                <a:lnTo>
                  <a:pt x="66" y="18"/>
                </a:lnTo>
                <a:lnTo>
                  <a:pt x="66" y="22"/>
                </a:lnTo>
                <a:lnTo>
                  <a:pt x="66" y="22"/>
                </a:lnTo>
                <a:lnTo>
                  <a:pt x="66" y="22"/>
                </a:lnTo>
                <a:lnTo>
                  <a:pt x="66" y="22"/>
                </a:lnTo>
                <a:lnTo>
                  <a:pt x="66" y="22"/>
                </a:lnTo>
                <a:lnTo>
                  <a:pt x="66" y="22"/>
                </a:lnTo>
                <a:lnTo>
                  <a:pt x="62" y="22"/>
                </a:lnTo>
                <a:lnTo>
                  <a:pt x="62" y="22"/>
                </a:lnTo>
                <a:lnTo>
                  <a:pt x="62" y="22"/>
                </a:lnTo>
                <a:lnTo>
                  <a:pt x="62" y="22"/>
                </a:lnTo>
                <a:lnTo>
                  <a:pt x="62" y="22"/>
                </a:lnTo>
                <a:lnTo>
                  <a:pt x="62" y="22"/>
                </a:lnTo>
                <a:lnTo>
                  <a:pt x="62" y="22"/>
                </a:lnTo>
                <a:lnTo>
                  <a:pt x="60" y="22"/>
                </a:lnTo>
                <a:lnTo>
                  <a:pt x="62" y="22"/>
                </a:lnTo>
                <a:lnTo>
                  <a:pt x="62" y="22"/>
                </a:lnTo>
                <a:lnTo>
                  <a:pt x="62" y="22"/>
                </a:lnTo>
                <a:lnTo>
                  <a:pt x="62" y="18"/>
                </a:lnTo>
                <a:lnTo>
                  <a:pt x="62" y="18"/>
                </a:lnTo>
                <a:lnTo>
                  <a:pt x="62" y="18"/>
                </a:lnTo>
                <a:lnTo>
                  <a:pt x="60" y="18"/>
                </a:lnTo>
                <a:lnTo>
                  <a:pt x="60" y="18"/>
                </a:lnTo>
                <a:lnTo>
                  <a:pt x="60" y="18"/>
                </a:lnTo>
                <a:lnTo>
                  <a:pt x="60" y="18"/>
                </a:lnTo>
                <a:lnTo>
                  <a:pt x="60" y="18"/>
                </a:lnTo>
                <a:lnTo>
                  <a:pt x="60" y="22"/>
                </a:lnTo>
                <a:lnTo>
                  <a:pt x="60" y="22"/>
                </a:lnTo>
                <a:lnTo>
                  <a:pt x="60" y="22"/>
                </a:lnTo>
                <a:lnTo>
                  <a:pt x="60" y="22"/>
                </a:lnTo>
                <a:lnTo>
                  <a:pt x="60" y="26"/>
                </a:lnTo>
                <a:lnTo>
                  <a:pt x="60" y="26"/>
                </a:lnTo>
                <a:lnTo>
                  <a:pt x="60" y="26"/>
                </a:lnTo>
                <a:lnTo>
                  <a:pt x="60" y="26"/>
                </a:lnTo>
                <a:lnTo>
                  <a:pt x="60" y="30"/>
                </a:lnTo>
                <a:lnTo>
                  <a:pt x="60" y="30"/>
                </a:lnTo>
                <a:lnTo>
                  <a:pt x="60" y="30"/>
                </a:lnTo>
                <a:lnTo>
                  <a:pt x="60" y="34"/>
                </a:lnTo>
                <a:lnTo>
                  <a:pt x="60" y="34"/>
                </a:lnTo>
                <a:lnTo>
                  <a:pt x="60" y="34"/>
                </a:lnTo>
                <a:lnTo>
                  <a:pt x="60" y="34"/>
                </a:lnTo>
                <a:lnTo>
                  <a:pt x="60" y="34"/>
                </a:lnTo>
                <a:lnTo>
                  <a:pt x="62" y="36"/>
                </a:lnTo>
                <a:lnTo>
                  <a:pt x="62" y="36"/>
                </a:lnTo>
                <a:lnTo>
                  <a:pt x="60" y="36"/>
                </a:lnTo>
                <a:lnTo>
                  <a:pt x="60" y="36"/>
                </a:lnTo>
                <a:lnTo>
                  <a:pt x="56" y="36"/>
                </a:lnTo>
                <a:lnTo>
                  <a:pt x="56" y="36"/>
                </a:lnTo>
                <a:lnTo>
                  <a:pt x="56" y="36"/>
                </a:lnTo>
                <a:lnTo>
                  <a:pt x="56" y="36"/>
                </a:lnTo>
                <a:lnTo>
                  <a:pt x="56" y="36"/>
                </a:lnTo>
                <a:lnTo>
                  <a:pt x="56" y="40"/>
                </a:lnTo>
                <a:lnTo>
                  <a:pt x="56" y="44"/>
                </a:lnTo>
                <a:lnTo>
                  <a:pt x="52" y="44"/>
                </a:lnTo>
                <a:lnTo>
                  <a:pt x="52" y="48"/>
                </a:lnTo>
                <a:lnTo>
                  <a:pt x="52" y="48"/>
                </a:lnTo>
                <a:lnTo>
                  <a:pt x="52" y="52"/>
                </a:lnTo>
                <a:lnTo>
                  <a:pt x="52" y="52"/>
                </a:lnTo>
                <a:lnTo>
                  <a:pt x="52" y="52"/>
                </a:lnTo>
                <a:lnTo>
                  <a:pt x="52" y="52"/>
                </a:lnTo>
                <a:lnTo>
                  <a:pt x="52" y="56"/>
                </a:lnTo>
                <a:lnTo>
                  <a:pt x="52" y="56"/>
                </a:lnTo>
                <a:lnTo>
                  <a:pt x="52" y="56"/>
                </a:lnTo>
                <a:lnTo>
                  <a:pt x="52" y="56"/>
                </a:lnTo>
                <a:lnTo>
                  <a:pt x="52" y="60"/>
                </a:lnTo>
                <a:lnTo>
                  <a:pt x="52" y="60"/>
                </a:lnTo>
                <a:lnTo>
                  <a:pt x="48" y="60"/>
                </a:lnTo>
                <a:lnTo>
                  <a:pt x="48" y="60"/>
                </a:lnTo>
                <a:lnTo>
                  <a:pt x="14" y="56"/>
                </a:lnTo>
                <a:lnTo>
                  <a:pt x="0" y="34"/>
                </a:lnTo>
                <a:lnTo>
                  <a:pt x="0" y="34"/>
                </a:lnTo>
                <a:lnTo>
                  <a:pt x="0" y="34"/>
                </a:lnTo>
                <a:lnTo>
                  <a:pt x="0" y="34"/>
                </a:lnTo>
                <a:lnTo>
                  <a:pt x="0" y="34"/>
                </a:lnTo>
                <a:lnTo>
                  <a:pt x="0" y="34"/>
                </a:lnTo>
                <a:lnTo>
                  <a:pt x="0" y="34"/>
                </a:lnTo>
                <a:lnTo>
                  <a:pt x="4" y="36"/>
                </a:lnTo>
                <a:lnTo>
                  <a:pt x="4" y="36"/>
                </a:lnTo>
                <a:lnTo>
                  <a:pt x="4" y="36"/>
                </a:lnTo>
                <a:lnTo>
                  <a:pt x="4" y="36"/>
                </a:lnTo>
                <a:lnTo>
                  <a:pt x="4" y="36"/>
                </a:lnTo>
                <a:lnTo>
                  <a:pt x="6" y="36"/>
                </a:lnTo>
                <a:lnTo>
                  <a:pt x="6" y="36"/>
                </a:lnTo>
                <a:lnTo>
                  <a:pt x="6" y="36"/>
                </a:lnTo>
                <a:lnTo>
                  <a:pt x="6" y="36"/>
                </a:lnTo>
                <a:lnTo>
                  <a:pt x="10" y="36"/>
                </a:lnTo>
                <a:lnTo>
                  <a:pt x="10" y="36"/>
                </a:lnTo>
                <a:lnTo>
                  <a:pt x="10" y="34"/>
                </a:lnTo>
                <a:lnTo>
                  <a:pt x="14" y="34"/>
                </a:lnTo>
                <a:lnTo>
                  <a:pt x="14" y="34"/>
                </a:lnTo>
                <a:lnTo>
                  <a:pt x="14" y="34"/>
                </a:lnTo>
                <a:lnTo>
                  <a:pt x="14" y="34"/>
                </a:lnTo>
                <a:lnTo>
                  <a:pt x="14" y="34"/>
                </a:lnTo>
                <a:lnTo>
                  <a:pt x="18" y="34"/>
                </a:lnTo>
                <a:lnTo>
                  <a:pt x="18" y="34"/>
                </a:lnTo>
                <a:lnTo>
                  <a:pt x="18" y="34"/>
                </a:lnTo>
                <a:lnTo>
                  <a:pt x="22" y="34"/>
                </a:lnTo>
                <a:lnTo>
                  <a:pt x="22" y="34"/>
                </a:lnTo>
                <a:lnTo>
                  <a:pt x="22" y="34"/>
                </a:lnTo>
                <a:lnTo>
                  <a:pt x="26" y="34"/>
                </a:lnTo>
                <a:lnTo>
                  <a:pt x="26" y="34"/>
                </a:lnTo>
                <a:lnTo>
                  <a:pt x="26" y="36"/>
                </a:lnTo>
                <a:lnTo>
                  <a:pt x="26" y="36"/>
                </a:lnTo>
                <a:lnTo>
                  <a:pt x="26" y="36"/>
                </a:lnTo>
                <a:lnTo>
                  <a:pt x="26" y="36"/>
                </a:lnTo>
                <a:lnTo>
                  <a:pt x="30" y="36"/>
                </a:lnTo>
                <a:lnTo>
                  <a:pt x="32" y="34"/>
                </a:lnTo>
                <a:lnTo>
                  <a:pt x="36" y="34"/>
                </a:lnTo>
                <a:lnTo>
                  <a:pt x="36" y="34"/>
                </a:lnTo>
                <a:lnTo>
                  <a:pt x="36" y="34"/>
                </a:lnTo>
                <a:lnTo>
                  <a:pt x="40" y="34"/>
                </a:lnTo>
                <a:lnTo>
                  <a:pt x="40" y="30"/>
                </a:lnTo>
                <a:lnTo>
                  <a:pt x="40" y="30"/>
                </a:lnTo>
                <a:lnTo>
                  <a:pt x="40" y="30"/>
                </a:lnTo>
                <a:lnTo>
                  <a:pt x="40" y="30"/>
                </a:lnTo>
                <a:lnTo>
                  <a:pt x="40" y="30"/>
                </a:lnTo>
                <a:lnTo>
                  <a:pt x="40" y="30"/>
                </a:lnTo>
                <a:lnTo>
                  <a:pt x="40" y="26"/>
                </a:lnTo>
                <a:lnTo>
                  <a:pt x="40" y="22"/>
                </a:lnTo>
                <a:lnTo>
                  <a:pt x="40" y="22"/>
                </a:lnTo>
                <a:lnTo>
                  <a:pt x="44" y="22"/>
                </a:lnTo>
                <a:lnTo>
                  <a:pt x="48" y="18"/>
                </a:lnTo>
                <a:lnTo>
                  <a:pt x="48" y="18"/>
                </a:lnTo>
                <a:lnTo>
                  <a:pt x="48" y="18"/>
                </a:lnTo>
                <a:lnTo>
                  <a:pt x="48" y="18"/>
                </a:lnTo>
                <a:lnTo>
                  <a:pt x="48" y="18"/>
                </a:lnTo>
                <a:lnTo>
                  <a:pt x="48" y="18"/>
                </a:lnTo>
                <a:lnTo>
                  <a:pt x="48" y="14"/>
                </a:lnTo>
                <a:lnTo>
                  <a:pt x="48" y="14"/>
                </a:lnTo>
                <a:lnTo>
                  <a:pt x="52" y="14"/>
                </a:lnTo>
                <a:lnTo>
                  <a:pt x="52" y="14"/>
                </a:lnTo>
                <a:lnTo>
                  <a:pt x="52" y="14"/>
                </a:lnTo>
                <a:lnTo>
                  <a:pt x="52" y="14"/>
                </a:lnTo>
                <a:lnTo>
                  <a:pt x="52" y="14"/>
                </a:lnTo>
                <a:lnTo>
                  <a:pt x="52" y="14"/>
                </a:lnTo>
                <a:lnTo>
                  <a:pt x="52" y="14"/>
                </a:lnTo>
                <a:lnTo>
                  <a:pt x="52" y="10"/>
                </a:lnTo>
                <a:lnTo>
                  <a:pt x="52" y="10"/>
                </a:lnTo>
                <a:lnTo>
                  <a:pt x="52" y="10"/>
                </a:lnTo>
                <a:lnTo>
                  <a:pt x="52" y="10"/>
                </a:lnTo>
                <a:lnTo>
                  <a:pt x="56" y="10"/>
                </a:lnTo>
                <a:lnTo>
                  <a:pt x="56" y="10"/>
                </a:lnTo>
                <a:lnTo>
                  <a:pt x="56" y="10"/>
                </a:lnTo>
                <a:lnTo>
                  <a:pt x="56" y="10"/>
                </a:lnTo>
                <a:lnTo>
                  <a:pt x="56" y="6"/>
                </a:lnTo>
                <a:lnTo>
                  <a:pt x="56" y="6"/>
                </a:lnTo>
                <a:lnTo>
                  <a:pt x="56" y="6"/>
                </a:lnTo>
                <a:lnTo>
                  <a:pt x="56" y="6"/>
                </a:lnTo>
                <a:lnTo>
                  <a:pt x="56" y="10"/>
                </a:lnTo>
                <a:lnTo>
                  <a:pt x="56" y="10"/>
                </a:lnTo>
                <a:lnTo>
                  <a:pt x="56" y="10"/>
                </a:lnTo>
                <a:lnTo>
                  <a:pt x="56" y="6"/>
                </a:lnTo>
                <a:lnTo>
                  <a:pt x="56" y="6"/>
                </a:lnTo>
                <a:lnTo>
                  <a:pt x="56" y="6"/>
                </a:lnTo>
                <a:lnTo>
                  <a:pt x="60" y="6"/>
                </a:lnTo>
                <a:lnTo>
                  <a:pt x="60" y="6"/>
                </a:lnTo>
                <a:lnTo>
                  <a:pt x="62" y="2"/>
                </a:lnTo>
                <a:lnTo>
                  <a:pt x="62" y="2"/>
                </a:lnTo>
                <a:lnTo>
                  <a:pt x="62" y="0"/>
                </a:lnTo>
                <a:lnTo>
                  <a:pt x="62" y="0"/>
                </a:lnTo>
                <a:lnTo>
                  <a:pt x="62" y="0"/>
                </a:lnTo>
                <a:lnTo>
                  <a:pt x="62" y="0"/>
                </a:lnTo>
                <a:lnTo>
                  <a:pt x="62" y="2"/>
                </a:lnTo>
                <a:lnTo>
                  <a:pt x="62" y="2"/>
                </a:lnTo>
                <a:lnTo>
                  <a:pt x="62" y="6"/>
                </a:lnTo>
                <a:lnTo>
                  <a:pt x="62" y="6"/>
                </a:lnTo>
                <a:lnTo>
                  <a:pt x="62" y="6"/>
                </a:lnTo>
                <a:lnTo>
                  <a:pt x="62" y="6"/>
                </a:lnTo>
                <a:lnTo>
                  <a:pt x="62" y="6"/>
                </a:lnTo>
                <a:lnTo>
                  <a:pt x="66" y="6"/>
                </a:lnTo>
                <a:lnTo>
                  <a:pt x="66" y="6"/>
                </a:lnTo>
                <a:lnTo>
                  <a:pt x="66" y="6"/>
                </a:lnTo>
                <a:lnTo>
                  <a:pt x="66" y="10"/>
                </a:lnTo>
                <a:lnTo>
                  <a:pt x="66" y="10"/>
                </a:lnTo>
                <a:lnTo>
                  <a:pt x="66" y="10"/>
                </a:lnTo>
                <a:lnTo>
                  <a:pt x="66" y="10"/>
                </a:lnTo>
                <a:lnTo>
                  <a:pt x="66" y="10"/>
                </a:lnTo>
                <a:close/>
                <a:moveTo>
                  <a:pt x="40" y="30"/>
                </a:moveTo>
                <a:lnTo>
                  <a:pt x="36" y="30"/>
                </a:lnTo>
                <a:lnTo>
                  <a:pt x="36" y="26"/>
                </a:lnTo>
                <a:lnTo>
                  <a:pt x="40" y="30"/>
                </a:lnTo>
                <a:lnTo>
                  <a:pt x="40" y="30"/>
                </a:lnTo>
                <a:lnTo>
                  <a:pt x="40" y="30"/>
                </a:lnTo>
                <a:close/>
                <a:moveTo>
                  <a:pt x="30" y="34"/>
                </a:moveTo>
                <a:lnTo>
                  <a:pt x="30" y="34"/>
                </a:lnTo>
                <a:lnTo>
                  <a:pt x="30" y="34"/>
                </a:lnTo>
                <a:lnTo>
                  <a:pt x="30" y="34"/>
                </a:lnTo>
                <a:lnTo>
                  <a:pt x="30" y="34"/>
                </a:lnTo>
                <a:lnTo>
                  <a:pt x="30" y="34"/>
                </a:lnTo>
                <a:lnTo>
                  <a:pt x="30" y="34"/>
                </a:lnTo>
                <a:lnTo>
                  <a:pt x="30" y="34"/>
                </a:lnTo>
                <a:lnTo>
                  <a:pt x="30" y="34"/>
                </a:lnTo>
                <a:lnTo>
                  <a:pt x="30" y="34"/>
                </a:lnTo>
                <a:lnTo>
                  <a:pt x="30" y="34"/>
                </a:lnTo>
                <a:lnTo>
                  <a:pt x="32" y="34"/>
                </a:lnTo>
                <a:lnTo>
                  <a:pt x="32" y="34"/>
                </a:lnTo>
                <a:lnTo>
                  <a:pt x="32" y="34"/>
                </a:lnTo>
                <a:lnTo>
                  <a:pt x="32" y="34"/>
                </a:lnTo>
                <a:lnTo>
                  <a:pt x="32" y="34"/>
                </a:lnTo>
                <a:lnTo>
                  <a:pt x="30" y="34"/>
                </a:lnTo>
                <a:lnTo>
                  <a:pt x="30" y="34"/>
                </a:lnTo>
                <a:lnTo>
                  <a:pt x="30" y="34"/>
                </a:lnTo>
                <a:lnTo>
                  <a:pt x="30" y="34"/>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54" name="Freeform 61"/>
          <p:cNvSpPr>
            <a:spLocks/>
          </p:cNvSpPr>
          <p:nvPr/>
        </p:nvSpPr>
        <p:spPr bwMode="auto">
          <a:xfrm>
            <a:off x="5200649" y="2719387"/>
            <a:ext cx="290513" cy="195263"/>
          </a:xfrm>
          <a:custGeom>
            <a:avLst/>
            <a:gdLst>
              <a:gd name="T0" fmla="*/ 168 w 244"/>
              <a:gd name="T1" fmla="*/ 118 h 164"/>
              <a:gd name="T2" fmla="*/ 162 w 244"/>
              <a:gd name="T3" fmla="*/ 126 h 164"/>
              <a:gd name="T4" fmla="*/ 172 w 244"/>
              <a:gd name="T5" fmla="*/ 134 h 164"/>
              <a:gd name="T6" fmla="*/ 176 w 244"/>
              <a:gd name="T7" fmla="*/ 144 h 164"/>
              <a:gd name="T8" fmla="*/ 166 w 244"/>
              <a:gd name="T9" fmla="*/ 156 h 164"/>
              <a:gd name="T10" fmla="*/ 158 w 244"/>
              <a:gd name="T11" fmla="*/ 164 h 164"/>
              <a:gd name="T12" fmla="*/ 146 w 244"/>
              <a:gd name="T13" fmla="*/ 156 h 164"/>
              <a:gd name="T14" fmla="*/ 142 w 244"/>
              <a:gd name="T15" fmla="*/ 144 h 164"/>
              <a:gd name="T16" fmla="*/ 132 w 244"/>
              <a:gd name="T17" fmla="*/ 142 h 164"/>
              <a:gd name="T18" fmla="*/ 116 w 244"/>
              <a:gd name="T19" fmla="*/ 130 h 164"/>
              <a:gd name="T20" fmla="*/ 106 w 244"/>
              <a:gd name="T21" fmla="*/ 122 h 164"/>
              <a:gd name="T22" fmla="*/ 94 w 244"/>
              <a:gd name="T23" fmla="*/ 112 h 164"/>
              <a:gd name="T24" fmla="*/ 86 w 244"/>
              <a:gd name="T25" fmla="*/ 100 h 164"/>
              <a:gd name="T26" fmla="*/ 80 w 244"/>
              <a:gd name="T27" fmla="*/ 86 h 164"/>
              <a:gd name="T28" fmla="*/ 60 w 244"/>
              <a:gd name="T29" fmla="*/ 86 h 164"/>
              <a:gd name="T30" fmla="*/ 60 w 244"/>
              <a:gd name="T31" fmla="*/ 74 h 164"/>
              <a:gd name="T32" fmla="*/ 50 w 244"/>
              <a:gd name="T33" fmla="*/ 62 h 164"/>
              <a:gd name="T34" fmla="*/ 38 w 244"/>
              <a:gd name="T35" fmla="*/ 56 h 164"/>
              <a:gd name="T36" fmla="*/ 34 w 244"/>
              <a:gd name="T37" fmla="*/ 62 h 164"/>
              <a:gd name="T38" fmla="*/ 24 w 244"/>
              <a:gd name="T39" fmla="*/ 66 h 164"/>
              <a:gd name="T40" fmla="*/ 12 w 244"/>
              <a:gd name="T41" fmla="*/ 74 h 164"/>
              <a:gd name="T42" fmla="*/ 12 w 244"/>
              <a:gd name="T43" fmla="*/ 86 h 164"/>
              <a:gd name="T44" fmla="*/ 0 w 244"/>
              <a:gd name="T45" fmla="*/ 78 h 164"/>
              <a:gd name="T46" fmla="*/ 0 w 244"/>
              <a:gd name="T47" fmla="*/ 52 h 164"/>
              <a:gd name="T48" fmla="*/ 0 w 244"/>
              <a:gd name="T49" fmla="*/ 22 h 164"/>
              <a:gd name="T50" fmla="*/ 16 w 244"/>
              <a:gd name="T51" fmla="*/ 8 h 164"/>
              <a:gd name="T52" fmla="*/ 34 w 244"/>
              <a:gd name="T53" fmla="*/ 0 h 164"/>
              <a:gd name="T54" fmla="*/ 82 w 244"/>
              <a:gd name="T55" fmla="*/ 38 h 164"/>
              <a:gd name="T56" fmla="*/ 106 w 244"/>
              <a:gd name="T57" fmla="*/ 38 h 164"/>
              <a:gd name="T58" fmla="*/ 128 w 244"/>
              <a:gd name="T59" fmla="*/ 38 h 164"/>
              <a:gd name="T60" fmla="*/ 136 w 244"/>
              <a:gd name="T61" fmla="*/ 48 h 164"/>
              <a:gd name="T62" fmla="*/ 142 w 244"/>
              <a:gd name="T63" fmla="*/ 62 h 164"/>
              <a:gd name="T64" fmla="*/ 150 w 244"/>
              <a:gd name="T65" fmla="*/ 82 h 164"/>
              <a:gd name="T66" fmla="*/ 166 w 244"/>
              <a:gd name="T67" fmla="*/ 86 h 164"/>
              <a:gd name="T68" fmla="*/ 172 w 244"/>
              <a:gd name="T69" fmla="*/ 96 h 164"/>
              <a:gd name="T70" fmla="*/ 180 w 244"/>
              <a:gd name="T71" fmla="*/ 92 h 164"/>
              <a:gd name="T72" fmla="*/ 192 w 244"/>
              <a:gd name="T73" fmla="*/ 78 h 164"/>
              <a:gd name="T74" fmla="*/ 206 w 244"/>
              <a:gd name="T75" fmla="*/ 70 h 164"/>
              <a:gd name="T76" fmla="*/ 210 w 244"/>
              <a:gd name="T77" fmla="*/ 70 h 164"/>
              <a:gd name="T78" fmla="*/ 198 w 244"/>
              <a:gd name="T79" fmla="*/ 78 h 164"/>
              <a:gd name="T80" fmla="*/ 210 w 244"/>
              <a:gd name="T81" fmla="*/ 86 h 164"/>
              <a:gd name="T82" fmla="*/ 218 w 244"/>
              <a:gd name="T83" fmla="*/ 86 h 164"/>
              <a:gd name="T84" fmla="*/ 224 w 244"/>
              <a:gd name="T85" fmla="*/ 86 h 164"/>
              <a:gd name="T86" fmla="*/ 240 w 244"/>
              <a:gd name="T87" fmla="*/ 92 h 164"/>
              <a:gd name="T88" fmla="*/ 236 w 244"/>
              <a:gd name="T89" fmla="*/ 100 h 164"/>
              <a:gd name="T90" fmla="*/ 224 w 244"/>
              <a:gd name="T91" fmla="*/ 104 h 164"/>
              <a:gd name="T92" fmla="*/ 206 w 244"/>
              <a:gd name="T93" fmla="*/ 104 h 164"/>
              <a:gd name="T94" fmla="*/ 210 w 244"/>
              <a:gd name="T95" fmla="*/ 96 h 164"/>
              <a:gd name="T96" fmla="*/ 202 w 244"/>
              <a:gd name="T97" fmla="*/ 92 h 164"/>
              <a:gd name="T98" fmla="*/ 192 w 244"/>
              <a:gd name="T99" fmla="*/ 92 h 164"/>
              <a:gd name="T100" fmla="*/ 184 w 244"/>
              <a:gd name="T101" fmla="*/ 104 h 164"/>
              <a:gd name="T102" fmla="*/ 184 w 244"/>
              <a:gd name="T103" fmla="*/ 108 h 164"/>
              <a:gd name="T104" fmla="*/ 176 w 244"/>
              <a:gd name="T105" fmla="*/ 112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4" h="164">
                <a:moveTo>
                  <a:pt x="176" y="112"/>
                </a:moveTo>
                <a:lnTo>
                  <a:pt x="176" y="116"/>
                </a:lnTo>
                <a:lnTo>
                  <a:pt x="176" y="118"/>
                </a:lnTo>
                <a:lnTo>
                  <a:pt x="172" y="118"/>
                </a:lnTo>
                <a:lnTo>
                  <a:pt x="168" y="118"/>
                </a:lnTo>
                <a:lnTo>
                  <a:pt x="168" y="116"/>
                </a:lnTo>
                <a:lnTo>
                  <a:pt x="166" y="116"/>
                </a:lnTo>
                <a:lnTo>
                  <a:pt x="162" y="118"/>
                </a:lnTo>
                <a:lnTo>
                  <a:pt x="162" y="122"/>
                </a:lnTo>
                <a:lnTo>
                  <a:pt x="162" y="126"/>
                </a:lnTo>
                <a:lnTo>
                  <a:pt x="166" y="126"/>
                </a:lnTo>
                <a:lnTo>
                  <a:pt x="166" y="130"/>
                </a:lnTo>
                <a:lnTo>
                  <a:pt x="168" y="130"/>
                </a:lnTo>
                <a:lnTo>
                  <a:pt x="172" y="130"/>
                </a:lnTo>
                <a:lnTo>
                  <a:pt x="172" y="134"/>
                </a:lnTo>
                <a:lnTo>
                  <a:pt x="168" y="134"/>
                </a:lnTo>
                <a:lnTo>
                  <a:pt x="168" y="138"/>
                </a:lnTo>
                <a:lnTo>
                  <a:pt x="172" y="142"/>
                </a:lnTo>
                <a:lnTo>
                  <a:pt x="172" y="144"/>
                </a:lnTo>
                <a:lnTo>
                  <a:pt x="176" y="144"/>
                </a:lnTo>
                <a:lnTo>
                  <a:pt x="172" y="144"/>
                </a:lnTo>
                <a:lnTo>
                  <a:pt x="172" y="148"/>
                </a:lnTo>
                <a:lnTo>
                  <a:pt x="168" y="152"/>
                </a:lnTo>
                <a:lnTo>
                  <a:pt x="168" y="156"/>
                </a:lnTo>
                <a:lnTo>
                  <a:pt x="166" y="156"/>
                </a:lnTo>
                <a:lnTo>
                  <a:pt x="166" y="160"/>
                </a:lnTo>
                <a:lnTo>
                  <a:pt x="166" y="164"/>
                </a:lnTo>
                <a:lnTo>
                  <a:pt x="162" y="160"/>
                </a:lnTo>
                <a:lnTo>
                  <a:pt x="162" y="164"/>
                </a:lnTo>
                <a:lnTo>
                  <a:pt x="158" y="164"/>
                </a:lnTo>
                <a:lnTo>
                  <a:pt x="158" y="160"/>
                </a:lnTo>
                <a:lnTo>
                  <a:pt x="154" y="160"/>
                </a:lnTo>
                <a:lnTo>
                  <a:pt x="150" y="160"/>
                </a:lnTo>
                <a:lnTo>
                  <a:pt x="146" y="160"/>
                </a:lnTo>
                <a:lnTo>
                  <a:pt x="146" y="156"/>
                </a:lnTo>
                <a:lnTo>
                  <a:pt x="150" y="152"/>
                </a:lnTo>
                <a:lnTo>
                  <a:pt x="150" y="148"/>
                </a:lnTo>
                <a:lnTo>
                  <a:pt x="146" y="148"/>
                </a:lnTo>
                <a:lnTo>
                  <a:pt x="146" y="144"/>
                </a:lnTo>
                <a:lnTo>
                  <a:pt x="142" y="144"/>
                </a:lnTo>
                <a:lnTo>
                  <a:pt x="138" y="142"/>
                </a:lnTo>
                <a:lnTo>
                  <a:pt x="138" y="144"/>
                </a:lnTo>
                <a:lnTo>
                  <a:pt x="136" y="144"/>
                </a:lnTo>
                <a:lnTo>
                  <a:pt x="136" y="142"/>
                </a:lnTo>
                <a:lnTo>
                  <a:pt x="132" y="142"/>
                </a:lnTo>
                <a:lnTo>
                  <a:pt x="128" y="138"/>
                </a:lnTo>
                <a:lnTo>
                  <a:pt x="124" y="134"/>
                </a:lnTo>
                <a:lnTo>
                  <a:pt x="120" y="134"/>
                </a:lnTo>
                <a:lnTo>
                  <a:pt x="120" y="130"/>
                </a:lnTo>
                <a:lnTo>
                  <a:pt x="116" y="130"/>
                </a:lnTo>
                <a:lnTo>
                  <a:pt x="112" y="130"/>
                </a:lnTo>
                <a:lnTo>
                  <a:pt x="112" y="126"/>
                </a:lnTo>
                <a:lnTo>
                  <a:pt x="110" y="126"/>
                </a:lnTo>
                <a:lnTo>
                  <a:pt x="110" y="122"/>
                </a:lnTo>
                <a:lnTo>
                  <a:pt x="106" y="122"/>
                </a:lnTo>
                <a:lnTo>
                  <a:pt x="106" y="118"/>
                </a:lnTo>
                <a:lnTo>
                  <a:pt x="102" y="118"/>
                </a:lnTo>
                <a:lnTo>
                  <a:pt x="98" y="116"/>
                </a:lnTo>
                <a:lnTo>
                  <a:pt x="94" y="116"/>
                </a:lnTo>
                <a:lnTo>
                  <a:pt x="94" y="112"/>
                </a:lnTo>
                <a:lnTo>
                  <a:pt x="90" y="112"/>
                </a:lnTo>
                <a:lnTo>
                  <a:pt x="90" y="108"/>
                </a:lnTo>
                <a:lnTo>
                  <a:pt x="90" y="104"/>
                </a:lnTo>
                <a:lnTo>
                  <a:pt x="90" y="100"/>
                </a:lnTo>
                <a:lnTo>
                  <a:pt x="86" y="100"/>
                </a:lnTo>
                <a:lnTo>
                  <a:pt x="86" y="96"/>
                </a:lnTo>
                <a:lnTo>
                  <a:pt x="82" y="96"/>
                </a:lnTo>
                <a:lnTo>
                  <a:pt x="82" y="92"/>
                </a:lnTo>
                <a:lnTo>
                  <a:pt x="82" y="88"/>
                </a:lnTo>
                <a:lnTo>
                  <a:pt x="80" y="86"/>
                </a:lnTo>
                <a:lnTo>
                  <a:pt x="76" y="86"/>
                </a:lnTo>
                <a:lnTo>
                  <a:pt x="72" y="86"/>
                </a:lnTo>
                <a:lnTo>
                  <a:pt x="68" y="86"/>
                </a:lnTo>
                <a:lnTo>
                  <a:pt x="64" y="86"/>
                </a:lnTo>
                <a:lnTo>
                  <a:pt x="60" y="86"/>
                </a:lnTo>
                <a:lnTo>
                  <a:pt x="60" y="82"/>
                </a:lnTo>
                <a:lnTo>
                  <a:pt x="56" y="82"/>
                </a:lnTo>
                <a:lnTo>
                  <a:pt x="56" y="78"/>
                </a:lnTo>
                <a:lnTo>
                  <a:pt x="56" y="74"/>
                </a:lnTo>
                <a:lnTo>
                  <a:pt x="60" y="74"/>
                </a:lnTo>
                <a:lnTo>
                  <a:pt x="56" y="74"/>
                </a:lnTo>
                <a:lnTo>
                  <a:pt x="56" y="70"/>
                </a:lnTo>
                <a:lnTo>
                  <a:pt x="56" y="66"/>
                </a:lnTo>
                <a:lnTo>
                  <a:pt x="52" y="62"/>
                </a:lnTo>
                <a:lnTo>
                  <a:pt x="50" y="62"/>
                </a:lnTo>
                <a:lnTo>
                  <a:pt x="46" y="62"/>
                </a:lnTo>
                <a:lnTo>
                  <a:pt x="46" y="60"/>
                </a:lnTo>
                <a:lnTo>
                  <a:pt x="42" y="60"/>
                </a:lnTo>
                <a:lnTo>
                  <a:pt x="38" y="60"/>
                </a:lnTo>
                <a:lnTo>
                  <a:pt x="38" y="56"/>
                </a:lnTo>
                <a:lnTo>
                  <a:pt x="34" y="56"/>
                </a:lnTo>
                <a:lnTo>
                  <a:pt x="34" y="60"/>
                </a:lnTo>
                <a:lnTo>
                  <a:pt x="30" y="56"/>
                </a:lnTo>
                <a:lnTo>
                  <a:pt x="30" y="60"/>
                </a:lnTo>
                <a:lnTo>
                  <a:pt x="34" y="62"/>
                </a:lnTo>
                <a:lnTo>
                  <a:pt x="30" y="62"/>
                </a:lnTo>
                <a:lnTo>
                  <a:pt x="26" y="60"/>
                </a:lnTo>
                <a:lnTo>
                  <a:pt x="26" y="62"/>
                </a:lnTo>
                <a:lnTo>
                  <a:pt x="26" y="66"/>
                </a:lnTo>
                <a:lnTo>
                  <a:pt x="24" y="66"/>
                </a:lnTo>
                <a:lnTo>
                  <a:pt x="20" y="66"/>
                </a:lnTo>
                <a:lnTo>
                  <a:pt x="16" y="66"/>
                </a:lnTo>
                <a:lnTo>
                  <a:pt x="16" y="70"/>
                </a:lnTo>
                <a:lnTo>
                  <a:pt x="12" y="70"/>
                </a:lnTo>
                <a:lnTo>
                  <a:pt x="12" y="74"/>
                </a:lnTo>
                <a:lnTo>
                  <a:pt x="12" y="78"/>
                </a:lnTo>
                <a:lnTo>
                  <a:pt x="12" y="82"/>
                </a:lnTo>
                <a:lnTo>
                  <a:pt x="16" y="82"/>
                </a:lnTo>
                <a:lnTo>
                  <a:pt x="16" y="86"/>
                </a:lnTo>
                <a:lnTo>
                  <a:pt x="12" y="86"/>
                </a:lnTo>
                <a:lnTo>
                  <a:pt x="8" y="86"/>
                </a:lnTo>
                <a:lnTo>
                  <a:pt x="4" y="86"/>
                </a:lnTo>
                <a:lnTo>
                  <a:pt x="0" y="86"/>
                </a:lnTo>
                <a:lnTo>
                  <a:pt x="0" y="82"/>
                </a:lnTo>
                <a:lnTo>
                  <a:pt x="0" y="78"/>
                </a:lnTo>
                <a:lnTo>
                  <a:pt x="0" y="74"/>
                </a:lnTo>
                <a:lnTo>
                  <a:pt x="0" y="66"/>
                </a:lnTo>
                <a:lnTo>
                  <a:pt x="0" y="60"/>
                </a:lnTo>
                <a:lnTo>
                  <a:pt x="0" y="56"/>
                </a:lnTo>
                <a:lnTo>
                  <a:pt x="0" y="52"/>
                </a:lnTo>
                <a:lnTo>
                  <a:pt x="0" y="48"/>
                </a:lnTo>
                <a:lnTo>
                  <a:pt x="0" y="46"/>
                </a:lnTo>
                <a:lnTo>
                  <a:pt x="0" y="38"/>
                </a:lnTo>
                <a:lnTo>
                  <a:pt x="0" y="34"/>
                </a:lnTo>
                <a:lnTo>
                  <a:pt x="0" y="22"/>
                </a:lnTo>
                <a:lnTo>
                  <a:pt x="0" y="16"/>
                </a:lnTo>
                <a:lnTo>
                  <a:pt x="0" y="12"/>
                </a:lnTo>
                <a:lnTo>
                  <a:pt x="4" y="12"/>
                </a:lnTo>
                <a:lnTo>
                  <a:pt x="8" y="8"/>
                </a:lnTo>
                <a:lnTo>
                  <a:pt x="16" y="8"/>
                </a:lnTo>
                <a:lnTo>
                  <a:pt x="20" y="4"/>
                </a:lnTo>
                <a:lnTo>
                  <a:pt x="24" y="4"/>
                </a:lnTo>
                <a:lnTo>
                  <a:pt x="26" y="4"/>
                </a:lnTo>
                <a:lnTo>
                  <a:pt x="30" y="0"/>
                </a:lnTo>
                <a:lnTo>
                  <a:pt x="34" y="0"/>
                </a:lnTo>
                <a:lnTo>
                  <a:pt x="50" y="12"/>
                </a:lnTo>
                <a:lnTo>
                  <a:pt x="72" y="26"/>
                </a:lnTo>
                <a:lnTo>
                  <a:pt x="76" y="30"/>
                </a:lnTo>
                <a:lnTo>
                  <a:pt x="80" y="34"/>
                </a:lnTo>
                <a:lnTo>
                  <a:pt x="82" y="38"/>
                </a:lnTo>
                <a:lnTo>
                  <a:pt x="82" y="42"/>
                </a:lnTo>
                <a:lnTo>
                  <a:pt x="90" y="42"/>
                </a:lnTo>
                <a:lnTo>
                  <a:pt x="94" y="42"/>
                </a:lnTo>
                <a:lnTo>
                  <a:pt x="102" y="38"/>
                </a:lnTo>
                <a:lnTo>
                  <a:pt x="106" y="38"/>
                </a:lnTo>
                <a:lnTo>
                  <a:pt x="110" y="42"/>
                </a:lnTo>
                <a:lnTo>
                  <a:pt x="112" y="42"/>
                </a:lnTo>
                <a:lnTo>
                  <a:pt x="120" y="42"/>
                </a:lnTo>
                <a:lnTo>
                  <a:pt x="124" y="38"/>
                </a:lnTo>
                <a:lnTo>
                  <a:pt x="128" y="38"/>
                </a:lnTo>
                <a:lnTo>
                  <a:pt x="128" y="42"/>
                </a:lnTo>
                <a:lnTo>
                  <a:pt x="132" y="42"/>
                </a:lnTo>
                <a:lnTo>
                  <a:pt x="132" y="46"/>
                </a:lnTo>
                <a:lnTo>
                  <a:pt x="136" y="46"/>
                </a:lnTo>
                <a:lnTo>
                  <a:pt x="136" y="48"/>
                </a:lnTo>
                <a:lnTo>
                  <a:pt x="138" y="52"/>
                </a:lnTo>
                <a:lnTo>
                  <a:pt x="142" y="52"/>
                </a:lnTo>
                <a:lnTo>
                  <a:pt x="142" y="56"/>
                </a:lnTo>
                <a:lnTo>
                  <a:pt x="142" y="60"/>
                </a:lnTo>
                <a:lnTo>
                  <a:pt x="142" y="62"/>
                </a:lnTo>
                <a:lnTo>
                  <a:pt x="142" y="66"/>
                </a:lnTo>
                <a:lnTo>
                  <a:pt x="142" y="70"/>
                </a:lnTo>
                <a:lnTo>
                  <a:pt x="146" y="70"/>
                </a:lnTo>
                <a:lnTo>
                  <a:pt x="150" y="74"/>
                </a:lnTo>
                <a:lnTo>
                  <a:pt x="150" y="82"/>
                </a:lnTo>
                <a:lnTo>
                  <a:pt x="150" y="86"/>
                </a:lnTo>
                <a:lnTo>
                  <a:pt x="154" y="86"/>
                </a:lnTo>
                <a:lnTo>
                  <a:pt x="158" y="86"/>
                </a:lnTo>
                <a:lnTo>
                  <a:pt x="162" y="86"/>
                </a:lnTo>
                <a:lnTo>
                  <a:pt x="166" y="86"/>
                </a:lnTo>
                <a:lnTo>
                  <a:pt x="168" y="86"/>
                </a:lnTo>
                <a:lnTo>
                  <a:pt x="168" y="88"/>
                </a:lnTo>
                <a:lnTo>
                  <a:pt x="172" y="88"/>
                </a:lnTo>
                <a:lnTo>
                  <a:pt x="168" y="92"/>
                </a:lnTo>
                <a:lnTo>
                  <a:pt x="172" y="96"/>
                </a:lnTo>
                <a:lnTo>
                  <a:pt x="176" y="96"/>
                </a:lnTo>
                <a:lnTo>
                  <a:pt x="180" y="96"/>
                </a:lnTo>
                <a:lnTo>
                  <a:pt x="176" y="96"/>
                </a:lnTo>
                <a:lnTo>
                  <a:pt x="176" y="92"/>
                </a:lnTo>
                <a:lnTo>
                  <a:pt x="180" y="92"/>
                </a:lnTo>
                <a:lnTo>
                  <a:pt x="180" y="88"/>
                </a:lnTo>
                <a:lnTo>
                  <a:pt x="184" y="86"/>
                </a:lnTo>
                <a:lnTo>
                  <a:pt x="184" y="82"/>
                </a:lnTo>
                <a:lnTo>
                  <a:pt x="188" y="82"/>
                </a:lnTo>
                <a:lnTo>
                  <a:pt x="192" y="78"/>
                </a:lnTo>
                <a:lnTo>
                  <a:pt x="194" y="78"/>
                </a:lnTo>
                <a:lnTo>
                  <a:pt x="198" y="74"/>
                </a:lnTo>
                <a:lnTo>
                  <a:pt x="202" y="70"/>
                </a:lnTo>
                <a:lnTo>
                  <a:pt x="202" y="66"/>
                </a:lnTo>
                <a:lnTo>
                  <a:pt x="206" y="70"/>
                </a:lnTo>
                <a:lnTo>
                  <a:pt x="206" y="66"/>
                </a:lnTo>
                <a:lnTo>
                  <a:pt x="210" y="66"/>
                </a:lnTo>
                <a:lnTo>
                  <a:pt x="214" y="62"/>
                </a:lnTo>
                <a:lnTo>
                  <a:pt x="214" y="66"/>
                </a:lnTo>
                <a:lnTo>
                  <a:pt x="210" y="70"/>
                </a:lnTo>
                <a:lnTo>
                  <a:pt x="206" y="70"/>
                </a:lnTo>
                <a:lnTo>
                  <a:pt x="206" y="74"/>
                </a:lnTo>
                <a:lnTo>
                  <a:pt x="202" y="74"/>
                </a:lnTo>
                <a:lnTo>
                  <a:pt x="202" y="78"/>
                </a:lnTo>
                <a:lnTo>
                  <a:pt x="198" y="78"/>
                </a:lnTo>
                <a:lnTo>
                  <a:pt x="198" y="82"/>
                </a:lnTo>
                <a:lnTo>
                  <a:pt x="202" y="82"/>
                </a:lnTo>
                <a:lnTo>
                  <a:pt x="206" y="82"/>
                </a:lnTo>
                <a:lnTo>
                  <a:pt x="210" y="82"/>
                </a:lnTo>
                <a:lnTo>
                  <a:pt x="210" y="86"/>
                </a:lnTo>
                <a:lnTo>
                  <a:pt x="214" y="86"/>
                </a:lnTo>
                <a:lnTo>
                  <a:pt x="218" y="88"/>
                </a:lnTo>
                <a:lnTo>
                  <a:pt x="218" y="86"/>
                </a:lnTo>
                <a:lnTo>
                  <a:pt x="218" y="82"/>
                </a:lnTo>
                <a:lnTo>
                  <a:pt x="218" y="86"/>
                </a:lnTo>
                <a:lnTo>
                  <a:pt x="222" y="86"/>
                </a:lnTo>
                <a:lnTo>
                  <a:pt x="222" y="82"/>
                </a:lnTo>
                <a:lnTo>
                  <a:pt x="222" y="78"/>
                </a:lnTo>
                <a:lnTo>
                  <a:pt x="224" y="82"/>
                </a:lnTo>
                <a:lnTo>
                  <a:pt x="224" y="86"/>
                </a:lnTo>
                <a:lnTo>
                  <a:pt x="228" y="86"/>
                </a:lnTo>
                <a:lnTo>
                  <a:pt x="228" y="88"/>
                </a:lnTo>
                <a:lnTo>
                  <a:pt x="232" y="88"/>
                </a:lnTo>
                <a:lnTo>
                  <a:pt x="236" y="92"/>
                </a:lnTo>
                <a:lnTo>
                  <a:pt x="240" y="92"/>
                </a:lnTo>
                <a:lnTo>
                  <a:pt x="244" y="92"/>
                </a:lnTo>
                <a:lnTo>
                  <a:pt x="240" y="92"/>
                </a:lnTo>
                <a:lnTo>
                  <a:pt x="240" y="96"/>
                </a:lnTo>
                <a:lnTo>
                  <a:pt x="236" y="96"/>
                </a:lnTo>
                <a:lnTo>
                  <a:pt x="236" y="100"/>
                </a:lnTo>
                <a:lnTo>
                  <a:pt x="232" y="100"/>
                </a:lnTo>
                <a:lnTo>
                  <a:pt x="232" y="96"/>
                </a:lnTo>
                <a:lnTo>
                  <a:pt x="232" y="100"/>
                </a:lnTo>
                <a:lnTo>
                  <a:pt x="228" y="100"/>
                </a:lnTo>
                <a:lnTo>
                  <a:pt x="224" y="104"/>
                </a:lnTo>
                <a:lnTo>
                  <a:pt x="222" y="108"/>
                </a:lnTo>
                <a:lnTo>
                  <a:pt x="218" y="104"/>
                </a:lnTo>
                <a:lnTo>
                  <a:pt x="214" y="104"/>
                </a:lnTo>
                <a:lnTo>
                  <a:pt x="210" y="104"/>
                </a:lnTo>
                <a:lnTo>
                  <a:pt x="206" y="104"/>
                </a:lnTo>
                <a:lnTo>
                  <a:pt x="202" y="104"/>
                </a:lnTo>
                <a:lnTo>
                  <a:pt x="202" y="100"/>
                </a:lnTo>
                <a:lnTo>
                  <a:pt x="206" y="100"/>
                </a:lnTo>
                <a:lnTo>
                  <a:pt x="206" y="96"/>
                </a:lnTo>
                <a:lnTo>
                  <a:pt x="210" y="96"/>
                </a:lnTo>
                <a:lnTo>
                  <a:pt x="210" y="92"/>
                </a:lnTo>
                <a:lnTo>
                  <a:pt x="206" y="92"/>
                </a:lnTo>
                <a:lnTo>
                  <a:pt x="206" y="88"/>
                </a:lnTo>
                <a:lnTo>
                  <a:pt x="202" y="88"/>
                </a:lnTo>
                <a:lnTo>
                  <a:pt x="202" y="92"/>
                </a:lnTo>
                <a:lnTo>
                  <a:pt x="198" y="92"/>
                </a:lnTo>
                <a:lnTo>
                  <a:pt x="198" y="96"/>
                </a:lnTo>
                <a:lnTo>
                  <a:pt x="194" y="96"/>
                </a:lnTo>
                <a:lnTo>
                  <a:pt x="192" y="96"/>
                </a:lnTo>
                <a:lnTo>
                  <a:pt x="192" y="92"/>
                </a:lnTo>
                <a:lnTo>
                  <a:pt x="188" y="92"/>
                </a:lnTo>
                <a:lnTo>
                  <a:pt x="188" y="96"/>
                </a:lnTo>
                <a:lnTo>
                  <a:pt x="188" y="100"/>
                </a:lnTo>
                <a:lnTo>
                  <a:pt x="188" y="104"/>
                </a:lnTo>
                <a:lnTo>
                  <a:pt x="184" y="104"/>
                </a:lnTo>
                <a:lnTo>
                  <a:pt x="180" y="104"/>
                </a:lnTo>
                <a:lnTo>
                  <a:pt x="176" y="104"/>
                </a:lnTo>
                <a:lnTo>
                  <a:pt x="176" y="108"/>
                </a:lnTo>
                <a:lnTo>
                  <a:pt x="180" y="108"/>
                </a:lnTo>
                <a:lnTo>
                  <a:pt x="184" y="108"/>
                </a:lnTo>
                <a:lnTo>
                  <a:pt x="180" y="108"/>
                </a:lnTo>
                <a:lnTo>
                  <a:pt x="180" y="112"/>
                </a:lnTo>
                <a:lnTo>
                  <a:pt x="176" y="112"/>
                </a:lnTo>
                <a:lnTo>
                  <a:pt x="176" y="112"/>
                </a:lnTo>
                <a:lnTo>
                  <a:pt x="176" y="112"/>
                </a:lnTo>
                <a:close/>
              </a:path>
            </a:pathLst>
          </a:custGeom>
          <a:solidFill>
            <a:srgbClr val="A0DCFF"/>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55" name="Freeform 62"/>
          <p:cNvSpPr>
            <a:spLocks noEditPoints="1"/>
          </p:cNvSpPr>
          <p:nvPr/>
        </p:nvSpPr>
        <p:spPr bwMode="auto">
          <a:xfrm>
            <a:off x="5979318" y="3217069"/>
            <a:ext cx="119063" cy="307181"/>
          </a:xfrm>
          <a:custGeom>
            <a:avLst/>
            <a:gdLst>
              <a:gd name="T0" fmla="*/ 78 w 100"/>
              <a:gd name="T1" fmla="*/ 122 h 258"/>
              <a:gd name="T2" fmla="*/ 86 w 100"/>
              <a:gd name="T3" fmla="*/ 130 h 258"/>
              <a:gd name="T4" fmla="*/ 92 w 100"/>
              <a:gd name="T5" fmla="*/ 138 h 258"/>
              <a:gd name="T6" fmla="*/ 96 w 100"/>
              <a:gd name="T7" fmla="*/ 148 h 258"/>
              <a:gd name="T8" fmla="*/ 96 w 100"/>
              <a:gd name="T9" fmla="*/ 168 h 258"/>
              <a:gd name="T10" fmla="*/ 100 w 100"/>
              <a:gd name="T11" fmla="*/ 178 h 258"/>
              <a:gd name="T12" fmla="*/ 100 w 100"/>
              <a:gd name="T13" fmla="*/ 194 h 258"/>
              <a:gd name="T14" fmla="*/ 96 w 100"/>
              <a:gd name="T15" fmla="*/ 198 h 258"/>
              <a:gd name="T16" fmla="*/ 92 w 100"/>
              <a:gd name="T17" fmla="*/ 212 h 258"/>
              <a:gd name="T18" fmla="*/ 78 w 100"/>
              <a:gd name="T19" fmla="*/ 220 h 258"/>
              <a:gd name="T20" fmla="*/ 62 w 100"/>
              <a:gd name="T21" fmla="*/ 220 h 258"/>
              <a:gd name="T22" fmla="*/ 62 w 100"/>
              <a:gd name="T23" fmla="*/ 228 h 258"/>
              <a:gd name="T24" fmla="*/ 60 w 100"/>
              <a:gd name="T25" fmla="*/ 232 h 258"/>
              <a:gd name="T26" fmla="*/ 56 w 100"/>
              <a:gd name="T27" fmla="*/ 232 h 258"/>
              <a:gd name="T28" fmla="*/ 52 w 100"/>
              <a:gd name="T29" fmla="*/ 234 h 258"/>
              <a:gd name="T30" fmla="*/ 48 w 100"/>
              <a:gd name="T31" fmla="*/ 246 h 258"/>
              <a:gd name="T32" fmla="*/ 34 w 100"/>
              <a:gd name="T33" fmla="*/ 258 h 258"/>
              <a:gd name="T34" fmla="*/ 36 w 100"/>
              <a:gd name="T35" fmla="*/ 238 h 258"/>
              <a:gd name="T36" fmla="*/ 34 w 100"/>
              <a:gd name="T37" fmla="*/ 228 h 258"/>
              <a:gd name="T38" fmla="*/ 40 w 100"/>
              <a:gd name="T39" fmla="*/ 216 h 258"/>
              <a:gd name="T40" fmla="*/ 56 w 100"/>
              <a:gd name="T41" fmla="*/ 216 h 258"/>
              <a:gd name="T42" fmla="*/ 56 w 100"/>
              <a:gd name="T43" fmla="*/ 204 h 258"/>
              <a:gd name="T44" fmla="*/ 62 w 100"/>
              <a:gd name="T45" fmla="*/ 198 h 258"/>
              <a:gd name="T46" fmla="*/ 74 w 100"/>
              <a:gd name="T47" fmla="*/ 186 h 258"/>
              <a:gd name="T48" fmla="*/ 70 w 100"/>
              <a:gd name="T49" fmla="*/ 164 h 258"/>
              <a:gd name="T50" fmla="*/ 74 w 100"/>
              <a:gd name="T51" fmla="*/ 148 h 258"/>
              <a:gd name="T52" fmla="*/ 70 w 100"/>
              <a:gd name="T53" fmla="*/ 134 h 258"/>
              <a:gd name="T54" fmla="*/ 66 w 100"/>
              <a:gd name="T55" fmla="*/ 122 h 258"/>
              <a:gd name="T56" fmla="*/ 60 w 100"/>
              <a:gd name="T57" fmla="*/ 112 h 258"/>
              <a:gd name="T58" fmla="*/ 48 w 100"/>
              <a:gd name="T59" fmla="*/ 100 h 258"/>
              <a:gd name="T60" fmla="*/ 40 w 100"/>
              <a:gd name="T61" fmla="*/ 86 h 258"/>
              <a:gd name="T62" fmla="*/ 26 w 100"/>
              <a:gd name="T63" fmla="*/ 74 h 258"/>
              <a:gd name="T64" fmla="*/ 26 w 100"/>
              <a:gd name="T65" fmla="*/ 62 h 258"/>
              <a:gd name="T66" fmla="*/ 36 w 100"/>
              <a:gd name="T67" fmla="*/ 58 h 258"/>
              <a:gd name="T68" fmla="*/ 26 w 100"/>
              <a:gd name="T69" fmla="*/ 42 h 258"/>
              <a:gd name="T70" fmla="*/ 10 w 100"/>
              <a:gd name="T71" fmla="*/ 44 h 258"/>
              <a:gd name="T72" fmla="*/ 10 w 100"/>
              <a:gd name="T73" fmla="*/ 34 h 258"/>
              <a:gd name="T74" fmla="*/ 0 w 100"/>
              <a:gd name="T75" fmla="*/ 18 h 258"/>
              <a:gd name="T76" fmla="*/ 10 w 100"/>
              <a:gd name="T77" fmla="*/ 14 h 258"/>
              <a:gd name="T78" fmla="*/ 22 w 100"/>
              <a:gd name="T79" fmla="*/ 12 h 258"/>
              <a:gd name="T80" fmla="*/ 36 w 100"/>
              <a:gd name="T81" fmla="*/ 8 h 258"/>
              <a:gd name="T82" fmla="*/ 48 w 100"/>
              <a:gd name="T83" fmla="*/ 8 h 258"/>
              <a:gd name="T84" fmla="*/ 62 w 100"/>
              <a:gd name="T85" fmla="*/ 14 h 258"/>
              <a:gd name="T86" fmla="*/ 70 w 100"/>
              <a:gd name="T87" fmla="*/ 30 h 258"/>
              <a:gd name="T88" fmla="*/ 74 w 100"/>
              <a:gd name="T89" fmla="*/ 38 h 258"/>
              <a:gd name="T90" fmla="*/ 70 w 100"/>
              <a:gd name="T91" fmla="*/ 42 h 258"/>
              <a:gd name="T92" fmla="*/ 62 w 100"/>
              <a:gd name="T93" fmla="*/ 48 h 258"/>
              <a:gd name="T94" fmla="*/ 56 w 100"/>
              <a:gd name="T95" fmla="*/ 58 h 258"/>
              <a:gd name="T96" fmla="*/ 52 w 100"/>
              <a:gd name="T97" fmla="*/ 70 h 258"/>
              <a:gd name="T98" fmla="*/ 52 w 100"/>
              <a:gd name="T99" fmla="*/ 88 h 258"/>
              <a:gd name="T100" fmla="*/ 62 w 100"/>
              <a:gd name="T101" fmla="*/ 108 h 258"/>
              <a:gd name="T102" fmla="*/ 66 w 100"/>
              <a:gd name="T103" fmla="*/ 224 h 258"/>
              <a:gd name="T104" fmla="*/ 62 w 100"/>
              <a:gd name="T105" fmla="*/ 224 h 258"/>
              <a:gd name="T106" fmla="*/ 74 w 100"/>
              <a:gd name="T107" fmla="*/ 38 h 258"/>
              <a:gd name="T108" fmla="*/ 66 w 100"/>
              <a:gd name="T109" fmla="*/ 44 h 258"/>
              <a:gd name="T110" fmla="*/ 26 w 100"/>
              <a:gd name="T111" fmla="*/ 22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0" h="258">
                <a:moveTo>
                  <a:pt x="66" y="112"/>
                </a:moveTo>
                <a:lnTo>
                  <a:pt x="70" y="112"/>
                </a:lnTo>
                <a:lnTo>
                  <a:pt x="70" y="116"/>
                </a:lnTo>
                <a:lnTo>
                  <a:pt x="74" y="118"/>
                </a:lnTo>
                <a:lnTo>
                  <a:pt x="78" y="118"/>
                </a:lnTo>
                <a:lnTo>
                  <a:pt x="78" y="122"/>
                </a:lnTo>
                <a:lnTo>
                  <a:pt x="82" y="122"/>
                </a:lnTo>
                <a:lnTo>
                  <a:pt x="82" y="126"/>
                </a:lnTo>
                <a:lnTo>
                  <a:pt x="86" y="126"/>
                </a:lnTo>
                <a:lnTo>
                  <a:pt x="82" y="126"/>
                </a:lnTo>
                <a:lnTo>
                  <a:pt x="86" y="126"/>
                </a:lnTo>
                <a:lnTo>
                  <a:pt x="86" y="130"/>
                </a:lnTo>
                <a:lnTo>
                  <a:pt x="86" y="126"/>
                </a:lnTo>
                <a:lnTo>
                  <a:pt x="86" y="130"/>
                </a:lnTo>
                <a:lnTo>
                  <a:pt x="86" y="134"/>
                </a:lnTo>
                <a:lnTo>
                  <a:pt x="90" y="134"/>
                </a:lnTo>
                <a:lnTo>
                  <a:pt x="90" y="138"/>
                </a:lnTo>
                <a:lnTo>
                  <a:pt x="92" y="138"/>
                </a:lnTo>
                <a:lnTo>
                  <a:pt x="92" y="142"/>
                </a:lnTo>
                <a:lnTo>
                  <a:pt x="92" y="138"/>
                </a:lnTo>
                <a:lnTo>
                  <a:pt x="92" y="142"/>
                </a:lnTo>
                <a:lnTo>
                  <a:pt x="92" y="146"/>
                </a:lnTo>
                <a:lnTo>
                  <a:pt x="92" y="148"/>
                </a:lnTo>
                <a:lnTo>
                  <a:pt x="96" y="148"/>
                </a:lnTo>
                <a:lnTo>
                  <a:pt x="96" y="152"/>
                </a:lnTo>
                <a:lnTo>
                  <a:pt x="96" y="156"/>
                </a:lnTo>
                <a:lnTo>
                  <a:pt x="96" y="160"/>
                </a:lnTo>
                <a:lnTo>
                  <a:pt x="100" y="164"/>
                </a:lnTo>
                <a:lnTo>
                  <a:pt x="100" y="168"/>
                </a:lnTo>
                <a:lnTo>
                  <a:pt x="96" y="168"/>
                </a:lnTo>
                <a:lnTo>
                  <a:pt x="100" y="168"/>
                </a:lnTo>
                <a:lnTo>
                  <a:pt x="96" y="168"/>
                </a:lnTo>
                <a:lnTo>
                  <a:pt x="100" y="168"/>
                </a:lnTo>
                <a:lnTo>
                  <a:pt x="100" y="172"/>
                </a:lnTo>
                <a:lnTo>
                  <a:pt x="100" y="174"/>
                </a:lnTo>
                <a:lnTo>
                  <a:pt x="100" y="178"/>
                </a:lnTo>
                <a:lnTo>
                  <a:pt x="100" y="182"/>
                </a:lnTo>
                <a:lnTo>
                  <a:pt x="100" y="186"/>
                </a:lnTo>
                <a:lnTo>
                  <a:pt x="96" y="186"/>
                </a:lnTo>
                <a:lnTo>
                  <a:pt x="96" y="190"/>
                </a:lnTo>
                <a:lnTo>
                  <a:pt x="100" y="190"/>
                </a:lnTo>
                <a:lnTo>
                  <a:pt x="100" y="194"/>
                </a:lnTo>
                <a:lnTo>
                  <a:pt x="100" y="190"/>
                </a:lnTo>
                <a:lnTo>
                  <a:pt x="96" y="190"/>
                </a:lnTo>
                <a:lnTo>
                  <a:pt x="96" y="194"/>
                </a:lnTo>
                <a:lnTo>
                  <a:pt x="96" y="198"/>
                </a:lnTo>
                <a:lnTo>
                  <a:pt x="100" y="202"/>
                </a:lnTo>
                <a:lnTo>
                  <a:pt x="96" y="198"/>
                </a:lnTo>
                <a:lnTo>
                  <a:pt x="96" y="202"/>
                </a:lnTo>
                <a:lnTo>
                  <a:pt x="96" y="204"/>
                </a:lnTo>
                <a:lnTo>
                  <a:pt x="96" y="208"/>
                </a:lnTo>
                <a:lnTo>
                  <a:pt x="92" y="212"/>
                </a:lnTo>
                <a:lnTo>
                  <a:pt x="92" y="208"/>
                </a:lnTo>
                <a:lnTo>
                  <a:pt x="92" y="212"/>
                </a:lnTo>
                <a:lnTo>
                  <a:pt x="90" y="212"/>
                </a:lnTo>
                <a:lnTo>
                  <a:pt x="90" y="216"/>
                </a:lnTo>
                <a:lnTo>
                  <a:pt x="86" y="216"/>
                </a:lnTo>
                <a:lnTo>
                  <a:pt x="82" y="216"/>
                </a:lnTo>
                <a:lnTo>
                  <a:pt x="82" y="220"/>
                </a:lnTo>
                <a:lnTo>
                  <a:pt x="78" y="220"/>
                </a:lnTo>
                <a:lnTo>
                  <a:pt x="78" y="224"/>
                </a:lnTo>
                <a:lnTo>
                  <a:pt x="74" y="224"/>
                </a:lnTo>
                <a:lnTo>
                  <a:pt x="70" y="228"/>
                </a:lnTo>
                <a:lnTo>
                  <a:pt x="70" y="224"/>
                </a:lnTo>
                <a:lnTo>
                  <a:pt x="66" y="224"/>
                </a:lnTo>
                <a:lnTo>
                  <a:pt x="62" y="220"/>
                </a:lnTo>
                <a:lnTo>
                  <a:pt x="62" y="224"/>
                </a:lnTo>
                <a:lnTo>
                  <a:pt x="62" y="228"/>
                </a:lnTo>
                <a:lnTo>
                  <a:pt x="62" y="224"/>
                </a:lnTo>
                <a:lnTo>
                  <a:pt x="62" y="228"/>
                </a:lnTo>
                <a:lnTo>
                  <a:pt x="60" y="228"/>
                </a:lnTo>
                <a:lnTo>
                  <a:pt x="62" y="228"/>
                </a:lnTo>
                <a:lnTo>
                  <a:pt x="62" y="232"/>
                </a:lnTo>
                <a:lnTo>
                  <a:pt x="62" y="234"/>
                </a:lnTo>
                <a:lnTo>
                  <a:pt x="60" y="232"/>
                </a:lnTo>
                <a:lnTo>
                  <a:pt x="60" y="228"/>
                </a:lnTo>
                <a:lnTo>
                  <a:pt x="56" y="228"/>
                </a:lnTo>
                <a:lnTo>
                  <a:pt x="60" y="232"/>
                </a:lnTo>
                <a:lnTo>
                  <a:pt x="60" y="234"/>
                </a:lnTo>
                <a:lnTo>
                  <a:pt x="62" y="234"/>
                </a:lnTo>
                <a:lnTo>
                  <a:pt x="60" y="234"/>
                </a:lnTo>
                <a:lnTo>
                  <a:pt x="56" y="232"/>
                </a:lnTo>
                <a:lnTo>
                  <a:pt x="56" y="228"/>
                </a:lnTo>
                <a:lnTo>
                  <a:pt x="56" y="232"/>
                </a:lnTo>
                <a:lnTo>
                  <a:pt x="56" y="234"/>
                </a:lnTo>
                <a:lnTo>
                  <a:pt x="60" y="234"/>
                </a:lnTo>
                <a:lnTo>
                  <a:pt x="60" y="238"/>
                </a:lnTo>
                <a:lnTo>
                  <a:pt x="60" y="242"/>
                </a:lnTo>
                <a:lnTo>
                  <a:pt x="56" y="238"/>
                </a:lnTo>
                <a:lnTo>
                  <a:pt x="52" y="234"/>
                </a:lnTo>
                <a:lnTo>
                  <a:pt x="52" y="238"/>
                </a:lnTo>
                <a:lnTo>
                  <a:pt x="56" y="238"/>
                </a:lnTo>
                <a:lnTo>
                  <a:pt x="56" y="242"/>
                </a:lnTo>
                <a:lnTo>
                  <a:pt x="56" y="246"/>
                </a:lnTo>
                <a:lnTo>
                  <a:pt x="52" y="246"/>
                </a:lnTo>
                <a:lnTo>
                  <a:pt x="48" y="246"/>
                </a:lnTo>
                <a:lnTo>
                  <a:pt x="48" y="250"/>
                </a:lnTo>
                <a:lnTo>
                  <a:pt x="44" y="250"/>
                </a:lnTo>
                <a:lnTo>
                  <a:pt x="44" y="254"/>
                </a:lnTo>
                <a:lnTo>
                  <a:pt x="40" y="258"/>
                </a:lnTo>
                <a:lnTo>
                  <a:pt x="36" y="258"/>
                </a:lnTo>
                <a:lnTo>
                  <a:pt x="34" y="258"/>
                </a:lnTo>
                <a:lnTo>
                  <a:pt x="36" y="258"/>
                </a:lnTo>
                <a:lnTo>
                  <a:pt x="36" y="254"/>
                </a:lnTo>
                <a:lnTo>
                  <a:pt x="36" y="250"/>
                </a:lnTo>
                <a:lnTo>
                  <a:pt x="36" y="246"/>
                </a:lnTo>
                <a:lnTo>
                  <a:pt x="36" y="242"/>
                </a:lnTo>
                <a:lnTo>
                  <a:pt x="36" y="238"/>
                </a:lnTo>
                <a:lnTo>
                  <a:pt x="36" y="234"/>
                </a:lnTo>
                <a:lnTo>
                  <a:pt x="40" y="234"/>
                </a:lnTo>
                <a:lnTo>
                  <a:pt x="40" y="232"/>
                </a:lnTo>
                <a:lnTo>
                  <a:pt x="36" y="232"/>
                </a:lnTo>
                <a:lnTo>
                  <a:pt x="34" y="232"/>
                </a:lnTo>
                <a:lnTo>
                  <a:pt x="34" y="228"/>
                </a:lnTo>
                <a:lnTo>
                  <a:pt x="30" y="228"/>
                </a:lnTo>
                <a:lnTo>
                  <a:pt x="34" y="228"/>
                </a:lnTo>
                <a:lnTo>
                  <a:pt x="34" y="224"/>
                </a:lnTo>
                <a:lnTo>
                  <a:pt x="36" y="224"/>
                </a:lnTo>
                <a:lnTo>
                  <a:pt x="40" y="220"/>
                </a:lnTo>
                <a:lnTo>
                  <a:pt x="40" y="216"/>
                </a:lnTo>
                <a:lnTo>
                  <a:pt x="44" y="220"/>
                </a:lnTo>
                <a:lnTo>
                  <a:pt x="44" y="216"/>
                </a:lnTo>
                <a:lnTo>
                  <a:pt x="48" y="216"/>
                </a:lnTo>
                <a:lnTo>
                  <a:pt x="52" y="216"/>
                </a:lnTo>
                <a:lnTo>
                  <a:pt x="56" y="220"/>
                </a:lnTo>
                <a:lnTo>
                  <a:pt x="56" y="216"/>
                </a:lnTo>
                <a:lnTo>
                  <a:pt x="52" y="212"/>
                </a:lnTo>
                <a:lnTo>
                  <a:pt x="52" y="208"/>
                </a:lnTo>
                <a:lnTo>
                  <a:pt x="52" y="204"/>
                </a:lnTo>
                <a:lnTo>
                  <a:pt x="52" y="202"/>
                </a:lnTo>
                <a:lnTo>
                  <a:pt x="56" y="202"/>
                </a:lnTo>
                <a:lnTo>
                  <a:pt x="56" y="204"/>
                </a:lnTo>
                <a:lnTo>
                  <a:pt x="60" y="204"/>
                </a:lnTo>
                <a:lnTo>
                  <a:pt x="60" y="202"/>
                </a:lnTo>
                <a:lnTo>
                  <a:pt x="60" y="198"/>
                </a:lnTo>
                <a:lnTo>
                  <a:pt x="62" y="198"/>
                </a:lnTo>
                <a:lnTo>
                  <a:pt x="62" y="202"/>
                </a:lnTo>
                <a:lnTo>
                  <a:pt x="62" y="198"/>
                </a:lnTo>
                <a:lnTo>
                  <a:pt x="66" y="198"/>
                </a:lnTo>
                <a:lnTo>
                  <a:pt x="66" y="194"/>
                </a:lnTo>
                <a:lnTo>
                  <a:pt x="70" y="194"/>
                </a:lnTo>
                <a:lnTo>
                  <a:pt x="74" y="194"/>
                </a:lnTo>
                <a:lnTo>
                  <a:pt x="74" y="190"/>
                </a:lnTo>
                <a:lnTo>
                  <a:pt x="74" y="186"/>
                </a:lnTo>
                <a:lnTo>
                  <a:pt x="74" y="182"/>
                </a:lnTo>
                <a:lnTo>
                  <a:pt x="74" y="174"/>
                </a:lnTo>
                <a:lnTo>
                  <a:pt x="74" y="172"/>
                </a:lnTo>
                <a:lnTo>
                  <a:pt x="74" y="168"/>
                </a:lnTo>
                <a:lnTo>
                  <a:pt x="74" y="164"/>
                </a:lnTo>
                <a:lnTo>
                  <a:pt x="70" y="164"/>
                </a:lnTo>
                <a:lnTo>
                  <a:pt x="70" y="160"/>
                </a:lnTo>
                <a:lnTo>
                  <a:pt x="74" y="160"/>
                </a:lnTo>
                <a:lnTo>
                  <a:pt x="70" y="156"/>
                </a:lnTo>
                <a:lnTo>
                  <a:pt x="74" y="156"/>
                </a:lnTo>
                <a:lnTo>
                  <a:pt x="74" y="152"/>
                </a:lnTo>
                <a:lnTo>
                  <a:pt x="74" y="148"/>
                </a:lnTo>
                <a:lnTo>
                  <a:pt x="74" y="146"/>
                </a:lnTo>
                <a:lnTo>
                  <a:pt x="78" y="142"/>
                </a:lnTo>
                <a:lnTo>
                  <a:pt x="74" y="142"/>
                </a:lnTo>
                <a:lnTo>
                  <a:pt x="74" y="138"/>
                </a:lnTo>
                <a:lnTo>
                  <a:pt x="70" y="138"/>
                </a:lnTo>
                <a:lnTo>
                  <a:pt x="70" y="134"/>
                </a:lnTo>
                <a:lnTo>
                  <a:pt x="70" y="130"/>
                </a:lnTo>
                <a:lnTo>
                  <a:pt x="74" y="130"/>
                </a:lnTo>
                <a:lnTo>
                  <a:pt x="74" y="126"/>
                </a:lnTo>
                <a:lnTo>
                  <a:pt x="70" y="126"/>
                </a:lnTo>
                <a:lnTo>
                  <a:pt x="70" y="122"/>
                </a:lnTo>
                <a:lnTo>
                  <a:pt x="66" y="122"/>
                </a:lnTo>
                <a:lnTo>
                  <a:pt x="66" y="118"/>
                </a:lnTo>
                <a:lnTo>
                  <a:pt x="62" y="118"/>
                </a:lnTo>
                <a:lnTo>
                  <a:pt x="62" y="122"/>
                </a:lnTo>
                <a:lnTo>
                  <a:pt x="60" y="118"/>
                </a:lnTo>
                <a:lnTo>
                  <a:pt x="60" y="116"/>
                </a:lnTo>
                <a:lnTo>
                  <a:pt x="60" y="112"/>
                </a:lnTo>
                <a:lnTo>
                  <a:pt x="60" y="108"/>
                </a:lnTo>
                <a:lnTo>
                  <a:pt x="56" y="108"/>
                </a:lnTo>
                <a:lnTo>
                  <a:pt x="56" y="104"/>
                </a:lnTo>
                <a:lnTo>
                  <a:pt x="52" y="104"/>
                </a:lnTo>
                <a:lnTo>
                  <a:pt x="52" y="100"/>
                </a:lnTo>
                <a:lnTo>
                  <a:pt x="48" y="100"/>
                </a:lnTo>
                <a:lnTo>
                  <a:pt x="48" y="96"/>
                </a:lnTo>
                <a:lnTo>
                  <a:pt x="48" y="92"/>
                </a:lnTo>
                <a:lnTo>
                  <a:pt x="44" y="92"/>
                </a:lnTo>
                <a:lnTo>
                  <a:pt x="44" y="88"/>
                </a:lnTo>
                <a:lnTo>
                  <a:pt x="40" y="88"/>
                </a:lnTo>
                <a:lnTo>
                  <a:pt x="40" y="86"/>
                </a:lnTo>
                <a:lnTo>
                  <a:pt x="40" y="82"/>
                </a:lnTo>
                <a:lnTo>
                  <a:pt x="36" y="82"/>
                </a:lnTo>
                <a:lnTo>
                  <a:pt x="34" y="82"/>
                </a:lnTo>
                <a:lnTo>
                  <a:pt x="34" y="78"/>
                </a:lnTo>
                <a:lnTo>
                  <a:pt x="30" y="74"/>
                </a:lnTo>
                <a:lnTo>
                  <a:pt x="26" y="74"/>
                </a:lnTo>
                <a:lnTo>
                  <a:pt x="22" y="70"/>
                </a:lnTo>
                <a:lnTo>
                  <a:pt x="26" y="70"/>
                </a:lnTo>
                <a:lnTo>
                  <a:pt x="26" y="66"/>
                </a:lnTo>
                <a:lnTo>
                  <a:pt x="26" y="62"/>
                </a:lnTo>
                <a:lnTo>
                  <a:pt x="26" y="66"/>
                </a:lnTo>
                <a:lnTo>
                  <a:pt x="26" y="62"/>
                </a:lnTo>
                <a:lnTo>
                  <a:pt x="30" y="62"/>
                </a:lnTo>
                <a:lnTo>
                  <a:pt x="30" y="66"/>
                </a:lnTo>
                <a:lnTo>
                  <a:pt x="34" y="66"/>
                </a:lnTo>
                <a:lnTo>
                  <a:pt x="34" y="62"/>
                </a:lnTo>
                <a:lnTo>
                  <a:pt x="36" y="62"/>
                </a:lnTo>
                <a:lnTo>
                  <a:pt x="36" y="58"/>
                </a:lnTo>
                <a:lnTo>
                  <a:pt x="36" y="56"/>
                </a:lnTo>
                <a:lnTo>
                  <a:pt x="34" y="52"/>
                </a:lnTo>
                <a:lnTo>
                  <a:pt x="30" y="52"/>
                </a:lnTo>
                <a:lnTo>
                  <a:pt x="34" y="48"/>
                </a:lnTo>
                <a:lnTo>
                  <a:pt x="30" y="44"/>
                </a:lnTo>
                <a:lnTo>
                  <a:pt x="26" y="42"/>
                </a:lnTo>
                <a:lnTo>
                  <a:pt x="22" y="44"/>
                </a:lnTo>
                <a:lnTo>
                  <a:pt x="22" y="48"/>
                </a:lnTo>
                <a:lnTo>
                  <a:pt x="18" y="48"/>
                </a:lnTo>
                <a:lnTo>
                  <a:pt x="18" y="44"/>
                </a:lnTo>
                <a:lnTo>
                  <a:pt x="14" y="44"/>
                </a:lnTo>
                <a:lnTo>
                  <a:pt x="10" y="44"/>
                </a:lnTo>
                <a:lnTo>
                  <a:pt x="10" y="42"/>
                </a:lnTo>
                <a:lnTo>
                  <a:pt x="10" y="38"/>
                </a:lnTo>
                <a:lnTo>
                  <a:pt x="6" y="38"/>
                </a:lnTo>
                <a:lnTo>
                  <a:pt x="10" y="34"/>
                </a:lnTo>
                <a:lnTo>
                  <a:pt x="6" y="34"/>
                </a:lnTo>
                <a:lnTo>
                  <a:pt x="10" y="34"/>
                </a:lnTo>
                <a:lnTo>
                  <a:pt x="10" y="30"/>
                </a:lnTo>
                <a:lnTo>
                  <a:pt x="6" y="30"/>
                </a:lnTo>
                <a:lnTo>
                  <a:pt x="6" y="26"/>
                </a:lnTo>
                <a:lnTo>
                  <a:pt x="4" y="26"/>
                </a:lnTo>
                <a:lnTo>
                  <a:pt x="4" y="22"/>
                </a:lnTo>
                <a:lnTo>
                  <a:pt x="0" y="18"/>
                </a:lnTo>
                <a:lnTo>
                  <a:pt x="0" y="14"/>
                </a:lnTo>
                <a:lnTo>
                  <a:pt x="4" y="14"/>
                </a:lnTo>
                <a:lnTo>
                  <a:pt x="4" y="12"/>
                </a:lnTo>
                <a:lnTo>
                  <a:pt x="6" y="12"/>
                </a:lnTo>
                <a:lnTo>
                  <a:pt x="6" y="14"/>
                </a:lnTo>
                <a:lnTo>
                  <a:pt x="10" y="14"/>
                </a:lnTo>
                <a:lnTo>
                  <a:pt x="14" y="14"/>
                </a:lnTo>
                <a:lnTo>
                  <a:pt x="14" y="12"/>
                </a:lnTo>
                <a:lnTo>
                  <a:pt x="18" y="12"/>
                </a:lnTo>
                <a:lnTo>
                  <a:pt x="18" y="14"/>
                </a:lnTo>
                <a:lnTo>
                  <a:pt x="18" y="12"/>
                </a:lnTo>
                <a:lnTo>
                  <a:pt x="22" y="12"/>
                </a:lnTo>
                <a:lnTo>
                  <a:pt x="22" y="14"/>
                </a:lnTo>
                <a:lnTo>
                  <a:pt x="26" y="14"/>
                </a:lnTo>
                <a:lnTo>
                  <a:pt x="26" y="12"/>
                </a:lnTo>
                <a:lnTo>
                  <a:pt x="30" y="12"/>
                </a:lnTo>
                <a:lnTo>
                  <a:pt x="34" y="12"/>
                </a:lnTo>
                <a:lnTo>
                  <a:pt x="36" y="8"/>
                </a:lnTo>
                <a:lnTo>
                  <a:pt x="36" y="4"/>
                </a:lnTo>
                <a:lnTo>
                  <a:pt x="40" y="0"/>
                </a:lnTo>
                <a:lnTo>
                  <a:pt x="44" y="0"/>
                </a:lnTo>
                <a:lnTo>
                  <a:pt x="44" y="4"/>
                </a:lnTo>
                <a:lnTo>
                  <a:pt x="48" y="4"/>
                </a:lnTo>
                <a:lnTo>
                  <a:pt x="48" y="8"/>
                </a:lnTo>
                <a:lnTo>
                  <a:pt x="52" y="8"/>
                </a:lnTo>
                <a:lnTo>
                  <a:pt x="56" y="8"/>
                </a:lnTo>
                <a:lnTo>
                  <a:pt x="60" y="8"/>
                </a:lnTo>
                <a:lnTo>
                  <a:pt x="62" y="8"/>
                </a:lnTo>
                <a:lnTo>
                  <a:pt x="62" y="12"/>
                </a:lnTo>
                <a:lnTo>
                  <a:pt x="62" y="14"/>
                </a:lnTo>
                <a:lnTo>
                  <a:pt x="60" y="14"/>
                </a:lnTo>
                <a:lnTo>
                  <a:pt x="60" y="18"/>
                </a:lnTo>
                <a:lnTo>
                  <a:pt x="62" y="18"/>
                </a:lnTo>
                <a:lnTo>
                  <a:pt x="62" y="22"/>
                </a:lnTo>
                <a:lnTo>
                  <a:pt x="66" y="26"/>
                </a:lnTo>
                <a:lnTo>
                  <a:pt x="70" y="30"/>
                </a:lnTo>
                <a:lnTo>
                  <a:pt x="74" y="30"/>
                </a:lnTo>
                <a:lnTo>
                  <a:pt x="78" y="30"/>
                </a:lnTo>
                <a:lnTo>
                  <a:pt x="82" y="30"/>
                </a:lnTo>
                <a:lnTo>
                  <a:pt x="82" y="34"/>
                </a:lnTo>
                <a:lnTo>
                  <a:pt x="78" y="34"/>
                </a:lnTo>
                <a:lnTo>
                  <a:pt x="74" y="38"/>
                </a:lnTo>
                <a:lnTo>
                  <a:pt x="70" y="38"/>
                </a:lnTo>
                <a:lnTo>
                  <a:pt x="74" y="42"/>
                </a:lnTo>
                <a:lnTo>
                  <a:pt x="70" y="42"/>
                </a:lnTo>
                <a:lnTo>
                  <a:pt x="70" y="44"/>
                </a:lnTo>
                <a:lnTo>
                  <a:pt x="66" y="42"/>
                </a:lnTo>
                <a:lnTo>
                  <a:pt x="70" y="42"/>
                </a:lnTo>
                <a:lnTo>
                  <a:pt x="66" y="42"/>
                </a:lnTo>
                <a:lnTo>
                  <a:pt x="66" y="44"/>
                </a:lnTo>
                <a:lnTo>
                  <a:pt x="62" y="44"/>
                </a:lnTo>
                <a:lnTo>
                  <a:pt x="62" y="42"/>
                </a:lnTo>
                <a:lnTo>
                  <a:pt x="62" y="44"/>
                </a:lnTo>
                <a:lnTo>
                  <a:pt x="62" y="48"/>
                </a:lnTo>
                <a:lnTo>
                  <a:pt x="60" y="52"/>
                </a:lnTo>
                <a:lnTo>
                  <a:pt x="60" y="56"/>
                </a:lnTo>
                <a:lnTo>
                  <a:pt x="60" y="52"/>
                </a:lnTo>
                <a:lnTo>
                  <a:pt x="60" y="56"/>
                </a:lnTo>
                <a:lnTo>
                  <a:pt x="56" y="56"/>
                </a:lnTo>
                <a:lnTo>
                  <a:pt x="56" y="58"/>
                </a:lnTo>
                <a:lnTo>
                  <a:pt x="52" y="58"/>
                </a:lnTo>
                <a:lnTo>
                  <a:pt x="52" y="62"/>
                </a:lnTo>
                <a:lnTo>
                  <a:pt x="52" y="66"/>
                </a:lnTo>
                <a:lnTo>
                  <a:pt x="52" y="70"/>
                </a:lnTo>
                <a:lnTo>
                  <a:pt x="48" y="70"/>
                </a:lnTo>
                <a:lnTo>
                  <a:pt x="52" y="70"/>
                </a:lnTo>
                <a:lnTo>
                  <a:pt x="48" y="74"/>
                </a:lnTo>
                <a:lnTo>
                  <a:pt x="48" y="78"/>
                </a:lnTo>
                <a:lnTo>
                  <a:pt x="48" y="82"/>
                </a:lnTo>
                <a:lnTo>
                  <a:pt x="52" y="82"/>
                </a:lnTo>
                <a:lnTo>
                  <a:pt x="52" y="86"/>
                </a:lnTo>
                <a:lnTo>
                  <a:pt x="52" y="88"/>
                </a:lnTo>
                <a:lnTo>
                  <a:pt x="56" y="88"/>
                </a:lnTo>
                <a:lnTo>
                  <a:pt x="60" y="92"/>
                </a:lnTo>
                <a:lnTo>
                  <a:pt x="60" y="96"/>
                </a:lnTo>
                <a:lnTo>
                  <a:pt x="60" y="100"/>
                </a:lnTo>
                <a:lnTo>
                  <a:pt x="62" y="104"/>
                </a:lnTo>
                <a:lnTo>
                  <a:pt x="62" y="108"/>
                </a:lnTo>
                <a:lnTo>
                  <a:pt x="66" y="108"/>
                </a:lnTo>
                <a:lnTo>
                  <a:pt x="66" y="112"/>
                </a:lnTo>
                <a:lnTo>
                  <a:pt x="66" y="112"/>
                </a:lnTo>
                <a:lnTo>
                  <a:pt x="66" y="112"/>
                </a:lnTo>
                <a:close/>
                <a:moveTo>
                  <a:pt x="62" y="224"/>
                </a:moveTo>
                <a:lnTo>
                  <a:pt x="66" y="224"/>
                </a:lnTo>
                <a:lnTo>
                  <a:pt x="62" y="224"/>
                </a:lnTo>
                <a:lnTo>
                  <a:pt x="66" y="224"/>
                </a:lnTo>
                <a:lnTo>
                  <a:pt x="66" y="228"/>
                </a:lnTo>
                <a:lnTo>
                  <a:pt x="62" y="228"/>
                </a:lnTo>
                <a:lnTo>
                  <a:pt x="62" y="224"/>
                </a:lnTo>
                <a:lnTo>
                  <a:pt x="62" y="224"/>
                </a:lnTo>
                <a:lnTo>
                  <a:pt x="62" y="224"/>
                </a:lnTo>
                <a:close/>
                <a:moveTo>
                  <a:pt x="74" y="38"/>
                </a:moveTo>
                <a:lnTo>
                  <a:pt x="74" y="42"/>
                </a:lnTo>
                <a:lnTo>
                  <a:pt x="70" y="42"/>
                </a:lnTo>
                <a:lnTo>
                  <a:pt x="74" y="38"/>
                </a:lnTo>
                <a:lnTo>
                  <a:pt x="74" y="38"/>
                </a:lnTo>
                <a:lnTo>
                  <a:pt x="74" y="38"/>
                </a:lnTo>
                <a:close/>
                <a:moveTo>
                  <a:pt x="66" y="44"/>
                </a:moveTo>
                <a:lnTo>
                  <a:pt x="66" y="48"/>
                </a:lnTo>
                <a:lnTo>
                  <a:pt x="66" y="44"/>
                </a:lnTo>
                <a:lnTo>
                  <a:pt x="66" y="44"/>
                </a:lnTo>
                <a:lnTo>
                  <a:pt x="66" y="44"/>
                </a:lnTo>
                <a:close/>
                <a:moveTo>
                  <a:pt x="26" y="228"/>
                </a:moveTo>
                <a:lnTo>
                  <a:pt x="26" y="232"/>
                </a:lnTo>
                <a:lnTo>
                  <a:pt x="22" y="228"/>
                </a:lnTo>
                <a:lnTo>
                  <a:pt x="26" y="228"/>
                </a:lnTo>
                <a:lnTo>
                  <a:pt x="26" y="228"/>
                </a:lnTo>
                <a:lnTo>
                  <a:pt x="26" y="228"/>
                </a:lnTo>
                <a:close/>
              </a:path>
            </a:pathLst>
          </a:custGeom>
          <a:solidFill>
            <a:srgbClr val="A0DCFF"/>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56" name="Freeform 63"/>
          <p:cNvSpPr>
            <a:spLocks noEditPoints="1"/>
          </p:cNvSpPr>
          <p:nvPr/>
        </p:nvSpPr>
        <p:spPr bwMode="auto">
          <a:xfrm>
            <a:off x="4843463" y="3017043"/>
            <a:ext cx="11906" cy="26194"/>
          </a:xfrm>
          <a:custGeom>
            <a:avLst/>
            <a:gdLst>
              <a:gd name="T0" fmla="*/ 10 w 10"/>
              <a:gd name="T1" fmla="*/ 12 h 22"/>
              <a:gd name="T2" fmla="*/ 10 w 10"/>
              <a:gd name="T3" fmla="*/ 12 h 22"/>
              <a:gd name="T4" fmla="*/ 10 w 10"/>
              <a:gd name="T5" fmla="*/ 14 h 22"/>
              <a:gd name="T6" fmla="*/ 10 w 10"/>
              <a:gd name="T7" fmla="*/ 14 h 22"/>
              <a:gd name="T8" fmla="*/ 10 w 10"/>
              <a:gd name="T9" fmla="*/ 18 h 22"/>
              <a:gd name="T10" fmla="*/ 10 w 10"/>
              <a:gd name="T11" fmla="*/ 18 h 22"/>
              <a:gd name="T12" fmla="*/ 10 w 10"/>
              <a:gd name="T13" fmla="*/ 18 h 22"/>
              <a:gd name="T14" fmla="*/ 6 w 10"/>
              <a:gd name="T15" fmla="*/ 22 h 22"/>
              <a:gd name="T16" fmla="*/ 6 w 10"/>
              <a:gd name="T17" fmla="*/ 22 h 22"/>
              <a:gd name="T18" fmla="*/ 4 w 10"/>
              <a:gd name="T19" fmla="*/ 22 h 22"/>
              <a:gd name="T20" fmla="*/ 0 w 10"/>
              <a:gd name="T21" fmla="*/ 22 h 22"/>
              <a:gd name="T22" fmla="*/ 0 w 10"/>
              <a:gd name="T23" fmla="*/ 22 h 22"/>
              <a:gd name="T24" fmla="*/ 4 w 10"/>
              <a:gd name="T25" fmla="*/ 22 h 22"/>
              <a:gd name="T26" fmla="*/ 4 w 10"/>
              <a:gd name="T27" fmla="*/ 18 h 22"/>
              <a:gd name="T28" fmla="*/ 4 w 10"/>
              <a:gd name="T29" fmla="*/ 18 h 22"/>
              <a:gd name="T30" fmla="*/ 4 w 10"/>
              <a:gd name="T31" fmla="*/ 18 h 22"/>
              <a:gd name="T32" fmla="*/ 4 w 10"/>
              <a:gd name="T33" fmla="*/ 14 h 22"/>
              <a:gd name="T34" fmla="*/ 6 w 10"/>
              <a:gd name="T35" fmla="*/ 14 h 22"/>
              <a:gd name="T36" fmla="*/ 4 w 10"/>
              <a:gd name="T37" fmla="*/ 14 h 22"/>
              <a:gd name="T38" fmla="*/ 4 w 10"/>
              <a:gd name="T39" fmla="*/ 14 h 22"/>
              <a:gd name="T40" fmla="*/ 4 w 10"/>
              <a:gd name="T41" fmla="*/ 14 h 22"/>
              <a:gd name="T42" fmla="*/ 4 w 10"/>
              <a:gd name="T43" fmla="*/ 12 h 22"/>
              <a:gd name="T44" fmla="*/ 4 w 10"/>
              <a:gd name="T45" fmla="*/ 12 h 22"/>
              <a:gd name="T46" fmla="*/ 4 w 10"/>
              <a:gd name="T47" fmla="*/ 8 h 22"/>
              <a:gd name="T48" fmla="*/ 4 w 10"/>
              <a:gd name="T49" fmla="*/ 8 h 22"/>
              <a:gd name="T50" fmla="*/ 4 w 10"/>
              <a:gd name="T51" fmla="*/ 4 h 22"/>
              <a:gd name="T52" fmla="*/ 4 w 10"/>
              <a:gd name="T53" fmla="*/ 4 h 22"/>
              <a:gd name="T54" fmla="*/ 4 w 10"/>
              <a:gd name="T55" fmla="*/ 4 h 22"/>
              <a:gd name="T56" fmla="*/ 6 w 10"/>
              <a:gd name="T57" fmla="*/ 0 h 22"/>
              <a:gd name="T58" fmla="*/ 6 w 10"/>
              <a:gd name="T59" fmla="*/ 0 h 22"/>
              <a:gd name="T60" fmla="*/ 6 w 10"/>
              <a:gd name="T61" fmla="*/ 0 h 22"/>
              <a:gd name="T62" fmla="*/ 6 w 10"/>
              <a:gd name="T63" fmla="*/ 4 h 22"/>
              <a:gd name="T64" fmla="*/ 10 w 10"/>
              <a:gd name="T65" fmla="*/ 4 h 22"/>
              <a:gd name="T66" fmla="*/ 10 w 10"/>
              <a:gd name="T67" fmla="*/ 8 h 22"/>
              <a:gd name="T68" fmla="*/ 10 w 10"/>
              <a:gd name="T69" fmla="*/ 8 h 22"/>
              <a:gd name="T70" fmla="*/ 6 w 10"/>
              <a:gd name="T71" fmla="*/ 14 h 22"/>
              <a:gd name="T72" fmla="*/ 6 w 10"/>
              <a:gd name="T73" fmla="*/ 14 h 22"/>
              <a:gd name="T74" fmla="*/ 6 w 10"/>
              <a:gd name="T75" fmla="*/ 14 h 22"/>
              <a:gd name="T76" fmla="*/ 6 w 10"/>
              <a:gd name="T77" fmla="*/ 14 h 22"/>
              <a:gd name="T78" fmla="*/ 6 w 10"/>
              <a:gd name="T79" fmla="*/ 14 h 22"/>
              <a:gd name="T80" fmla="*/ 6 w 10"/>
              <a:gd name="T81" fmla="*/ 1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 h="22">
                <a:moveTo>
                  <a:pt x="10" y="8"/>
                </a:moveTo>
                <a:lnTo>
                  <a:pt x="10" y="12"/>
                </a:lnTo>
                <a:lnTo>
                  <a:pt x="10" y="12"/>
                </a:lnTo>
                <a:lnTo>
                  <a:pt x="10" y="12"/>
                </a:lnTo>
                <a:lnTo>
                  <a:pt x="10" y="14"/>
                </a:lnTo>
                <a:lnTo>
                  <a:pt x="10" y="14"/>
                </a:lnTo>
                <a:lnTo>
                  <a:pt x="10" y="14"/>
                </a:lnTo>
                <a:lnTo>
                  <a:pt x="10" y="14"/>
                </a:lnTo>
                <a:lnTo>
                  <a:pt x="10" y="18"/>
                </a:lnTo>
                <a:lnTo>
                  <a:pt x="10" y="18"/>
                </a:lnTo>
                <a:lnTo>
                  <a:pt x="10" y="18"/>
                </a:lnTo>
                <a:lnTo>
                  <a:pt x="10" y="18"/>
                </a:lnTo>
                <a:lnTo>
                  <a:pt x="10" y="18"/>
                </a:lnTo>
                <a:lnTo>
                  <a:pt x="10" y="18"/>
                </a:lnTo>
                <a:lnTo>
                  <a:pt x="6" y="18"/>
                </a:lnTo>
                <a:lnTo>
                  <a:pt x="6" y="22"/>
                </a:lnTo>
                <a:lnTo>
                  <a:pt x="6" y="22"/>
                </a:lnTo>
                <a:lnTo>
                  <a:pt x="6" y="22"/>
                </a:lnTo>
                <a:lnTo>
                  <a:pt x="6" y="22"/>
                </a:lnTo>
                <a:lnTo>
                  <a:pt x="4" y="22"/>
                </a:lnTo>
                <a:lnTo>
                  <a:pt x="4" y="22"/>
                </a:lnTo>
                <a:lnTo>
                  <a:pt x="0" y="22"/>
                </a:lnTo>
                <a:lnTo>
                  <a:pt x="0" y="22"/>
                </a:lnTo>
                <a:lnTo>
                  <a:pt x="0" y="22"/>
                </a:lnTo>
                <a:lnTo>
                  <a:pt x="0" y="22"/>
                </a:lnTo>
                <a:lnTo>
                  <a:pt x="4" y="22"/>
                </a:lnTo>
                <a:lnTo>
                  <a:pt x="4" y="18"/>
                </a:lnTo>
                <a:lnTo>
                  <a:pt x="4" y="18"/>
                </a:lnTo>
                <a:lnTo>
                  <a:pt x="4" y="18"/>
                </a:lnTo>
                <a:lnTo>
                  <a:pt x="4" y="18"/>
                </a:lnTo>
                <a:lnTo>
                  <a:pt x="4" y="18"/>
                </a:lnTo>
                <a:lnTo>
                  <a:pt x="4" y="18"/>
                </a:lnTo>
                <a:lnTo>
                  <a:pt x="4" y="14"/>
                </a:lnTo>
                <a:lnTo>
                  <a:pt x="4" y="14"/>
                </a:lnTo>
                <a:lnTo>
                  <a:pt x="6" y="14"/>
                </a:lnTo>
                <a:lnTo>
                  <a:pt x="6" y="14"/>
                </a:lnTo>
                <a:lnTo>
                  <a:pt x="4" y="14"/>
                </a:lnTo>
                <a:lnTo>
                  <a:pt x="4" y="14"/>
                </a:lnTo>
                <a:lnTo>
                  <a:pt x="4" y="14"/>
                </a:lnTo>
                <a:lnTo>
                  <a:pt x="4" y="14"/>
                </a:lnTo>
                <a:lnTo>
                  <a:pt x="4" y="14"/>
                </a:lnTo>
                <a:lnTo>
                  <a:pt x="4" y="14"/>
                </a:lnTo>
                <a:lnTo>
                  <a:pt x="4" y="14"/>
                </a:lnTo>
                <a:lnTo>
                  <a:pt x="4" y="12"/>
                </a:lnTo>
                <a:lnTo>
                  <a:pt x="4" y="12"/>
                </a:lnTo>
                <a:lnTo>
                  <a:pt x="4" y="12"/>
                </a:lnTo>
                <a:lnTo>
                  <a:pt x="4" y="12"/>
                </a:lnTo>
                <a:lnTo>
                  <a:pt x="4" y="8"/>
                </a:lnTo>
                <a:lnTo>
                  <a:pt x="4" y="8"/>
                </a:lnTo>
                <a:lnTo>
                  <a:pt x="4" y="8"/>
                </a:lnTo>
                <a:lnTo>
                  <a:pt x="4" y="4"/>
                </a:lnTo>
                <a:lnTo>
                  <a:pt x="4" y="4"/>
                </a:lnTo>
                <a:lnTo>
                  <a:pt x="4" y="4"/>
                </a:lnTo>
                <a:lnTo>
                  <a:pt x="4" y="4"/>
                </a:lnTo>
                <a:lnTo>
                  <a:pt x="4" y="4"/>
                </a:lnTo>
                <a:lnTo>
                  <a:pt x="4" y="4"/>
                </a:lnTo>
                <a:lnTo>
                  <a:pt x="6" y="0"/>
                </a:lnTo>
                <a:lnTo>
                  <a:pt x="6" y="0"/>
                </a:lnTo>
                <a:lnTo>
                  <a:pt x="6" y="0"/>
                </a:lnTo>
                <a:lnTo>
                  <a:pt x="6" y="0"/>
                </a:lnTo>
                <a:lnTo>
                  <a:pt x="6" y="0"/>
                </a:lnTo>
                <a:lnTo>
                  <a:pt x="6" y="0"/>
                </a:lnTo>
                <a:lnTo>
                  <a:pt x="6" y="0"/>
                </a:lnTo>
                <a:lnTo>
                  <a:pt x="6" y="4"/>
                </a:lnTo>
                <a:lnTo>
                  <a:pt x="10" y="4"/>
                </a:lnTo>
                <a:lnTo>
                  <a:pt x="10" y="4"/>
                </a:lnTo>
                <a:lnTo>
                  <a:pt x="10" y="4"/>
                </a:lnTo>
                <a:lnTo>
                  <a:pt x="10" y="8"/>
                </a:lnTo>
                <a:lnTo>
                  <a:pt x="10" y="8"/>
                </a:lnTo>
                <a:lnTo>
                  <a:pt x="10" y="8"/>
                </a:lnTo>
                <a:lnTo>
                  <a:pt x="10" y="8"/>
                </a:lnTo>
                <a:close/>
                <a:moveTo>
                  <a:pt x="6" y="14"/>
                </a:moveTo>
                <a:lnTo>
                  <a:pt x="6" y="14"/>
                </a:lnTo>
                <a:lnTo>
                  <a:pt x="6" y="14"/>
                </a:lnTo>
                <a:lnTo>
                  <a:pt x="6" y="14"/>
                </a:lnTo>
                <a:lnTo>
                  <a:pt x="6" y="14"/>
                </a:lnTo>
                <a:lnTo>
                  <a:pt x="6" y="14"/>
                </a:lnTo>
                <a:lnTo>
                  <a:pt x="6" y="14"/>
                </a:lnTo>
                <a:lnTo>
                  <a:pt x="6" y="14"/>
                </a:lnTo>
                <a:lnTo>
                  <a:pt x="6" y="14"/>
                </a:lnTo>
                <a:lnTo>
                  <a:pt x="6" y="14"/>
                </a:lnTo>
                <a:lnTo>
                  <a:pt x="6" y="14"/>
                </a:lnTo>
                <a:lnTo>
                  <a:pt x="6" y="14"/>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57" name="Freeform 64"/>
          <p:cNvSpPr>
            <a:spLocks noEditPoints="1"/>
          </p:cNvSpPr>
          <p:nvPr/>
        </p:nvSpPr>
        <p:spPr bwMode="auto">
          <a:xfrm>
            <a:off x="4972050" y="3309937"/>
            <a:ext cx="202406" cy="140494"/>
          </a:xfrm>
          <a:custGeom>
            <a:avLst/>
            <a:gdLst>
              <a:gd name="T0" fmla="*/ 64 w 170"/>
              <a:gd name="T1" fmla="*/ 92 h 118"/>
              <a:gd name="T2" fmla="*/ 56 w 170"/>
              <a:gd name="T3" fmla="*/ 96 h 118"/>
              <a:gd name="T4" fmla="*/ 44 w 170"/>
              <a:gd name="T5" fmla="*/ 96 h 118"/>
              <a:gd name="T6" fmla="*/ 40 w 170"/>
              <a:gd name="T7" fmla="*/ 100 h 118"/>
              <a:gd name="T8" fmla="*/ 40 w 170"/>
              <a:gd name="T9" fmla="*/ 104 h 118"/>
              <a:gd name="T10" fmla="*/ 38 w 170"/>
              <a:gd name="T11" fmla="*/ 108 h 118"/>
              <a:gd name="T12" fmla="*/ 34 w 170"/>
              <a:gd name="T13" fmla="*/ 108 h 118"/>
              <a:gd name="T14" fmla="*/ 30 w 170"/>
              <a:gd name="T15" fmla="*/ 108 h 118"/>
              <a:gd name="T16" fmla="*/ 26 w 170"/>
              <a:gd name="T17" fmla="*/ 108 h 118"/>
              <a:gd name="T18" fmla="*/ 18 w 170"/>
              <a:gd name="T19" fmla="*/ 108 h 118"/>
              <a:gd name="T20" fmla="*/ 14 w 170"/>
              <a:gd name="T21" fmla="*/ 108 h 118"/>
              <a:gd name="T22" fmla="*/ 14 w 170"/>
              <a:gd name="T23" fmla="*/ 100 h 118"/>
              <a:gd name="T24" fmla="*/ 10 w 170"/>
              <a:gd name="T25" fmla="*/ 92 h 118"/>
              <a:gd name="T26" fmla="*/ 10 w 170"/>
              <a:gd name="T27" fmla="*/ 90 h 118"/>
              <a:gd name="T28" fmla="*/ 10 w 170"/>
              <a:gd name="T29" fmla="*/ 82 h 118"/>
              <a:gd name="T30" fmla="*/ 8 w 170"/>
              <a:gd name="T31" fmla="*/ 70 h 118"/>
              <a:gd name="T32" fmla="*/ 8 w 170"/>
              <a:gd name="T33" fmla="*/ 66 h 118"/>
              <a:gd name="T34" fmla="*/ 4 w 170"/>
              <a:gd name="T35" fmla="*/ 62 h 118"/>
              <a:gd name="T36" fmla="*/ 4 w 170"/>
              <a:gd name="T37" fmla="*/ 60 h 118"/>
              <a:gd name="T38" fmla="*/ 4 w 170"/>
              <a:gd name="T39" fmla="*/ 56 h 118"/>
              <a:gd name="T40" fmla="*/ 8 w 170"/>
              <a:gd name="T41" fmla="*/ 48 h 118"/>
              <a:gd name="T42" fmla="*/ 8 w 170"/>
              <a:gd name="T43" fmla="*/ 44 h 118"/>
              <a:gd name="T44" fmla="*/ 10 w 170"/>
              <a:gd name="T45" fmla="*/ 40 h 118"/>
              <a:gd name="T46" fmla="*/ 10 w 170"/>
              <a:gd name="T47" fmla="*/ 26 h 118"/>
              <a:gd name="T48" fmla="*/ 14 w 170"/>
              <a:gd name="T49" fmla="*/ 26 h 118"/>
              <a:gd name="T50" fmla="*/ 18 w 170"/>
              <a:gd name="T51" fmla="*/ 26 h 118"/>
              <a:gd name="T52" fmla="*/ 30 w 170"/>
              <a:gd name="T53" fmla="*/ 26 h 118"/>
              <a:gd name="T54" fmla="*/ 60 w 170"/>
              <a:gd name="T55" fmla="*/ 30 h 118"/>
              <a:gd name="T56" fmla="*/ 78 w 170"/>
              <a:gd name="T57" fmla="*/ 22 h 118"/>
              <a:gd name="T58" fmla="*/ 144 w 170"/>
              <a:gd name="T59" fmla="*/ 26 h 118"/>
              <a:gd name="T60" fmla="*/ 148 w 170"/>
              <a:gd name="T61" fmla="*/ 40 h 118"/>
              <a:gd name="T62" fmla="*/ 140 w 170"/>
              <a:gd name="T63" fmla="*/ 44 h 118"/>
              <a:gd name="T64" fmla="*/ 136 w 170"/>
              <a:gd name="T65" fmla="*/ 48 h 118"/>
              <a:gd name="T66" fmla="*/ 134 w 170"/>
              <a:gd name="T67" fmla="*/ 60 h 118"/>
              <a:gd name="T68" fmla="*/ 126 w 170"/>
              <a:gd name="T69" fmla="*/ 62 h 118"/>
              <a:gd name="T70" fmla="*/ 120 w 170"/>
              <a:gd name="T71" fmla="*/ 66 h 118"/>
              <a:gd name="T72" fmla="*/ 112 w 170"/>
              <a:gd name="T73" fmla="*/ 66 h 118"/>
              <a:gd name="T74" fmla="*/ 104 w 170"/>
              <a:gd name="T75" fmla="*/ 70 h 118"/>
              <a:gd name="T76" fmla="*/ 94 w 170"/>
              <a:gd name="T77" fmla="*/ 78 h 118"/>
              <a:gd name="T78" fmla="*/ 90 w 170"/>
              <a:gd name="T79" fmla="*/ 86 h 118"/>
              <a:gd name="T80" fmla="*/ 82 w 170"/>
              <a:gd name="T81" fmla="*/ 86 h 118"/>
              <a:gd name="T82" fmla="*/ 78 w 170"/>
              <a:gd name="T83" fmla="*/ 86 h 118"/>
              <a:gd name="T84" fmla="*/ 78 w 170"/>
              <a:gd name="T85" fmla="*/ 86 h 118"/>
              <a:gd name="T86" fmla="*/ 74 w 170"/>
              <a:gd name="T87" fmla="*/ 90 h 118"/>
              <a:gd name="T88" fmla="*/ 66 w 170"/>
              <a:gd name="T89" fmla="*/ 92 h 118"/>
              <a:gd name="T90" fmla="*/ 136 w 170"/>
              <a:gd name="T91" fmla="*/ 118 h 118"/>
              <a:gd name="T92" fmla="*/ 136 w 170"/>
              <a:gd name="T93" fmla="*/ 116 h 118"/>
              <a:gd name="T94" fmla="*/ 136 w 170"/>
              <a:gd name="T95" fmla="*/ 116 h 118"/>
              <a:gd name="T96" fmla="*/ 140 w 170"/>
              <a:gd name="T97" fmla="*/ 118 h 118"/>
              <a:gd name="T98" fmla="*/ 4 w 170"/>
              <a:gd name="T99" fmla="*/ 62 h 118"/>
              <a:gd name="T100" fmla="*/ 4 w 170"/>
              <a:gd name="T101" fmla="*/ 60 h 118"/>
              <a:gd name="T102" fmla="*/ 4 w 170"/>
              <a:gd name="T103" fmla="*/ 62 h 118"/>
              <a:gd name="T104" fmla="*/ 4 w 170"/>
              <a:gd name="T105" fmla="*/ 86 h 118"/>
              <a:gd name="T106" fmla="*/ 4 w 170"/>
              <a:gd name="T107" fmla="*/ 86 h 118"/>
              <a:gd name="T108" fmla="*/ 170 w 170"/>
              <a:gd name="T109" fmla="*/ 112 h 118"/>
              <a:gd name="T110" fmla="*/ 164 w 170"/>
              <a:gd name="T111" fmla="*/ 116 h 118"/>
              <a:gd name="T112" fmla="*/ 156 w 170"/>
              <a:gd name="T113" fmla="*/ 116 h 118"/>
              <a:gd name="T114" fmla="*/ 156 w 170"/>
              <a:gd name="T115" fmla="*/ 108 h 118"/>
              <a:gd name="T116" fmla="*/ 160 w 170"/>
              <a:gd name="T117" fmla="*/ 112 h 118"/>
              <a:gd name="T118" fmla="*/ 166 w 170"/>
              <a:gd name="T119" fmla="*/ 10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0" h="118">
                <a:moveTo>
                  <a:pt x="66" y="92"/>
                </a:moveTo>
                <a:lnTo>
                  <a:pt x="66" y="92"/>
                </a:lnTo>
                <a:lnTo>
                  <a:pt x="64" y="92"/>
                </a:lnTo>
                <a:lnTo>
                  <a:pt x="64" y="92"/>
                </a:lnTo>
                <a:lnTo>
                  <a:pt x="64" y="92"/>
                </a:lnTo>
                <a:lnTo>
                  <a:pt x="64" y="92"/>
                </a:lnTo>
                <a:lnTo>
                  <a:pt x="64" y="92"/>
                </a:lnTo>
                <a:lnTo>
                  <a:pt x="60" y="96"/>
                </a:lnTo>
                <a:lnTo>
                  <a:pt x="60" y="96"/>
                </a:lnTo>
                <a:lnTo>
                  <a:pt x="56" y="96"/>
                </a:lnTo>
                <a:lnTo>
                  <a:pt x="56" y="96"/>
                </a:lnTo>
                <a:lnTo>
                  <a:pt x="56" y="96"/>
                </a:lnTo>
                <a:lnTo>
                  <a:pt x="52" y="96"/>
                </a:lnTo>
                <a:lnTo>
                  <a:pt x="52" y="96"/>
                </a:lnTo>
                <a:lnTo>
                  <a:pt x="48" y="96"/>
                </a:lnTo>
                <a:lnTo>
                  <a:pt x="48" y="96"/>
                </a:lnTo>
                <a:lnTo>
                  <a:pt x="44" y="96"/>
                </a:lnTo>
                <a:lnTo>
                  <a:pt x="44" y="96"/>
                </a:lnTo>
                <a:lnTo>
                  <a:pt x="44" y="96"/>
                </a:lnTo>
                <a:lnTo>
                  <a:pt x="44" y="100"/>
                </a:lnTo>
                <a:lnTo>
                  <a:pt x="44" y="100"/>
                </a:lnTo>
                <a:lnTo>
                  <a:pt x="44" y="100"/>
                </a:lnTo>
                <a:lnTo>
                  <a:pt x="44" y="100"/>
                </a:lnTo>
                <a:lnTo>
                  <a:pt x="40" y="100"/>
                </a:lnTo>
                <a:lnTo>
                  <a:pt x="40" y="100"/>
                </a:lnTo>
                <a:lnTo>
                  <a:pt x="40" y="100"/>
                </a:lnTo>
                <a:lnTo>
                  <a:pt x="40" y="104"/>
                </a:lnTo>
                <a:lnTo>
                  <a:pt x="40" y="104"/>
                </a:lnTo>
                <a:lnTo>
                  <a:pt x="40" y="104"/>
                </a:lnTo>
                <a:lnTo>
                  <a:pt x="40" y="104"/>
                </a:lnTo>
                <a:lnTo>
                  <a:pt x="38" y="104"/>
                </a:lnTo>
                <a:lnTo>
                  <a:pt x="38" y="104"/>
                </a:lnTo>
                <a:lnTo>
                  <a:pt x="38" y="104"/>
                </a:lnTo>
                <a:lnTo>
                  <a:pt x="38" y="104"/>
                </a:lnTo>
                <a:lnTo>
                  <a:pt x="38" y="104"/>
                </a:lnTo>
                <a:lnTo>
                  <a:pt x="38" y="108"/>
                </a:lnTo>
                <a:lnTo>
                  <a:pt x="38" y="104"/>
                </a:lnTo>
                <a:lnTo>
                  <a:pt x="38" y="104"/>
                </a:lnTo>
                <a:lnTo>
                  <a:pt x="34" y="108"/>
                </a:lnTo>
                <a:lnTo>
                  <a:pt x="34" y="108"/>
                </a:lnTo>
                <a:lnTo>
                  <a:pt x="34" y="108"/>
                </a:lnTo>
                <a:lnTo>
                  <a:pt x="34" y="108"/>
                </a:lnTo>
                <a:lnTo>
                  <a:pt x="34" y="108"/>
                </a:lnTo>
                <a:lnTo>
                  <a:pt x="34" y="108"/>
                </a:lnTo>
                <a:lnTo>
                  <a:pt x="34" y="108"/>
                </a:lnTo>
                <a:lnTo>
                  <a:pt x="34" y="108"/>
                </a:lnTo>
                <a:lnTo>
                  <a:pt x="30" y="108"/>
                </a:lnTo>
                <a:lnTo>
                  <a:pt x="30" y="108"/>
                </a:lnTo>
                <a:lnTo>
                  <a:pt x="30" y="108"/>
                </a:lnTo>
                <a:lnTo>
                  <a:pt x="30" y="108"/>
                </a:lnTo>
                <a:lnTo>
                  <a:pt x="30" y="108"/>
                </a:lnTo>
                <a:lnTo>
                  <a:pt x="30" y="108"/>
                </a:lnTo>
                <a:lnTo>
                  <a:pt x="30" y="108"/>
                </a:lnTo>
                <a:lnTo>
                  <a:pt x="26" y="108"/>
                </a:lnTo>
                <a:lnTo>
                  <a:pt x="26" y="108"/>
                </a:lnTo>
                <a:lnTo>
                  <a:pt x="22" y="112"/>
                </a:lnTo>
                <a:lnTo>
                  <a:pt x="22" y="108"/>
                </a:lnTo>
                <a:lnTo>
                  <a:pt x="22" y="108"/>
                </a:lnTo>
                <a:lnTo>
                  <a:pt x="18" y="108"/>
                </a:lnTo>
                <a:lnTo>
                  <a:pt x="18" y="108"/>
                </a:lnTo>
                <a:lnTo>
                  <a:pt x="14" y="108"/>
                </a:lnTo>
                <a:lnTo>
                  <a:pt x="14" y="108"/>
                </a:lnTo>
                <a:lnTo>
                  <a:pt x="14" y="108"/>
                </a:lnTo>
                <a:lnTo>
                  <a:pt x="14" y="108"/>
                </a:lnTo>
                <a:lnTo>
                  <a:pt x="14" y="108"/>
                </a:lnTo>
                <a:lnTo>
                  <a:pt x="14" y="108"/>
                </a:lnTo>
                <a:lnTo>
                  <a:pt x="14" y="108"/>
                </a:lnTo>
                <a:lnTo>
                  <a:pt x="14" y="108"/>
                </a:lnTo>
                <a:lnTo>
                  <a:pt x="14" y="108"/>
                </a:lnTo>
                <a:lnTo>
                  <a:pt x="14" y="108"/>
                </a:lnTo>
                <a:lnTo>
                  <a:pt x="14" y="104"/>
                </a:lnTo>
                <a:lnTo>
                  <a:pt x="14" y="100"/>
                </a:lnTo>
                <a:lnTo>
                  <a:pt x="10" y="100"/>
                </a:lnTo>
                <a:lnTo>
                  <a:pt x="10" y="100"/>
                </a:lnTo>
                <a:lnTo>
                  <a:pt x="10" y="96"/>
                </a:lnTo>
                <a:lnTo>
                  <a:pt x="10" y="96"/>
                </a:lnTo>
                <a:lnTo>
                  <a:pt x="10" y="96"/>
                </a:lnTo>
                <a:lnTo>
                  <a:pt x="10" y="92"/>
                </a:lnTo>
                <a:lnTo>
                  <a:pt x="10" y="92"/>
                </a:lnTo>
                <a:lnTo>
                  <a:pt x="10" y="92"/>
                </a:lnTo>
                <a:lnTo>
                  <a:pt x="10" y="92"/>
                </a:lnTo>
                <a:lnTo>
                  <a:pt x="10" y="90"/>
                </a:lnTo>
                <a:lnTo>
                  <a:pt x="10" y="90"/>
                </a:lnTo>
                <a:lnTo>
                  <a:pt x="10" y="90"/>
                </a:lnTo>
                <a:lnTo>
                  <a:pt x="10" y="86"/>
                </a:lnTo>
                <a:lnTo>
                  <a:pt x="10" y="86"/>
                </a:lnTo>
                <a:lnTo>
                  <a:pt x="10" y="86"/>
                </a:lnTo>
                <a:lnTo>
                  <a:pt x="10" y="86"/>
                </a:lnTo>
                <a:lnTo>
                  <a:pt x="10" y="82"/>
                </a:lnTo>
                <a:lnTo>
                  <a:pt x="10" y="82"/>
                </a:lnTo>
                <a:lnTo>
                  <a:pt x="8" y="82"/>
                </a:lnTo>
                <a:lnTo>
                  <a:pt x="8" y="78"/>
                </a:lnTo>
                <a:lnTo>
                  <a:pt x="8" y="74"/>
                </a:lnTo>
                <a:lnTo>
                  <a:pt x="8" y="74"/>
                </a:lnTo>
                <a:lnTo>
                  <a:pt x="8" y="74"/>
                </a:lnTo>
                <a:lnTo>
                  <a:pt x="8" y="70"/>
                </a:lnTo>
                <a:lnTo>
                  <a:pt x="8" y="70"/>
                </a:lnTo>
                <a:lnTo>
                  <a:pt x="8" y="70"/>
                </a:lnTo>
                <a:lnTo>
                  <a:pt x="8" y="70"/>
                </a:lnTo>
                <a:lnTo>
                  <a:pt x="8" y="70"/>
                </a:lnTo>
                <a:lnTo>
                  <a:pt x="8" y="66"/>
                </a:lnTo>
                <a:lnTo>
                  <a:pt x="8" y="66"/>
                </a:lnTo>
                <a:lnTo>
                  <a:pt x="4" y="66"/>
                </a:lnTo>
                <a:lnTo>
                  <a:pt x="4" y="62"/>
                </a:lnTo>
                <a:lnTo>
                  <a:pt x="4" y="62"/>
                </a:lnTo>
                <a:lnTo>
                  <a:pt x="4" y="62"/>
                </a:lnTo>
                <a:lnTo>
                  <a:pt x="4" y="62"/>
                </a:lnTo>
                <a:lnTo>
                  <a:pt x="4" y="62"/>
                </a:lnTo>
                <a:lnTo>
                  <a:pt x="4" y="62"/>
                </a:lnTo>
                <a:lnTo>
                  <a:pt x="4" y="62"/>
                </a:lnTo>
                <a:lnTo>
                  <a:pt x="4" y="62"/>
                </a:lnTo>
                <a:lnTo>
                  <a:pt x="4" y="62"/>
                </a:lnTo>
                <a:lnTo>
                  <a:pt x="4" y="62"/>
                </a:lnTo>
                <a:lnTo>
                  <a:pt x="4" y="60"/>
                </a:lnTo>
                <a:lnTo>
                  <a:pt x="4" y="60"/>
                </a:lnTo>
                <a:lnTo>
                  <a:pt x="4" y="60"/>
                </a:lnTo>
                <a:lnTo>
                  <a:pt x="4" y="56"/>
                </a:lnTo>
                <a:lnTo>
                  <a:pt x="4" y="56"/>
                </a:lnTo>
                <a:lnTo>
                  <a:pt x="4" y="56"/>
                </a:lnTo>
                <a:lnTo>
                  <a:pt x="4" y="56"/>
                </a:lnTo>
                <a:lnTo>
                  <a:pt x="4" y="56"/>
                </a:lnTo>
                <a:lnTo>
                  <a:pt x="4" y="56"/>
                </a:lnTo>
                <a:lnTo>
                  <a:pt x="4" y="52"/>
                </a:lnTo>
                <a:lnTo>
                  <a:pt x="8" y="52"/>
                </a:lnTo>
                <a:lnTo>
                  <a:pt x="8" y="52"/>
                </a:lnTo>
                <a:lnTo>
                  <a:pt x="8" y="48"/>
                </a:lnTo>
                <a:lnTo>
                  <a:pt x="8" y="48"/>
                </a:lnTo>
                <a:lnTo>
                  <a:pt x="4" y="44"/>
                </a:lnTo>
                <a:lnTo>
                  <a:pt x="4" y="44"/>
                </a:lnTo>
                <a:lnTo>
                  <a:pt x="4" y="44"/>
                </a:lnTo>
                <a:lnTo>
                  <a:pt x="8" y="44"/>
                </a:lnTo>
                <a:lnTo>
                  <a:pt x="8" y="44"/>
                </a:lnTo>
                <a:lnTo>
                  <a:pt x="8" y="40"/>
                </a:lnTo>
                <a:lnTo>
                  <a:pt x="8" y="40"/>
                </a:lnTo>
                <a:lnTo>
                  <a:pt x="8" y="40"/>
                </a:lnTo>
                <a:lnTo>
                  <a:pt x="10" y="40"/>
                </a:lnTo>
                <a:lnTo>
                  <a:pt x="10" y="40"/>
                </a:lnTo>
                <a:lnTo>
                  <a:pt x="10" y="40"/>
                </a:lnTo>
                <a:lnTo>
                  <a:pt x="10" y="36"/>
                </a:lnTo>
                <a:lnTo>
                  <a:pt x="10" y="36"/>
                </a:lnTo>
                <a:lnTo>
                  <a:pt x="10" y="34"/>
                </a:lnTo>
                <a:lnTo>
                  <a:pt x="10" y="30"/>
                </a:lnTo>
                <a:lnTo>
                  <a:pt x="10" y="26"/>
                </a:lnTo>
                <a:lnTo>
                  <a:pt x="10" y="26"/>
                </a:lnTo>
                <a:lnTo>
                  <a:pt x="10" y="26"/>
                </a:lnTo>
                <a:lnTo>
                  <a:pt x="10" y="26"/>
                </a:lnTo>
                <a:lnTo>
                  <a:pt x="14" y="26"/>
                </a:lnTo>
                <a:lnTo>
                  <a:pt x="14" y="26"/>
                </a:lnTo>
                <a:lnTo>
                  <a:pt x="14" y="26"/>
                </a:lnTo>
                <a:lnTo>
                  <a:pt x="14" y="26"/>
                </a:lnTo>
                <a:lnTo>
                  <a:pt x="18" y="26"/>
                </a:lnTo>
                <a:lnTo>
                  <a:pt x="18" y="26"/>
                </a:lnTo>
                <a:lnTo>
                  <a:pt x="18" y="26"/>
                </a:lnTo>
                <a:lnTo>
                  <a:pt x="18" y="26"/>
                </a:lnTo>
                <a:lnTo>
                  <a:pt x="18" y="26"/>
                </a:lnTo>
                <a:lnTo>
                  <a:pt x="18" y="26"/>
                </a:lnTo>
                <a:lnTo>
                  <a:pt x="22" y="30"/>
                </a:lnTo>
                <a:lnTo>
                  <a:pt x="22" y="26"/>
                </a:lnTo>
                <a:lnTo>
                  <a:pt x="26" y="26"/>
                </a:lnTo>
                <a:lnTo>
                  <a:pt x="26" y="26"/>
                </a:lnTo>
                <a:lnTo>
                  <a:pt x="30" y="26"/>
                </a:lnTo>
                <a:lnTo>
                  <a:pt x="30" y="26"/>
                </a:lnTo>
                <a:lnTo>
                  <a:pt x="30" y="26"/>
                </a:lnTo>
                <a:lnTo>
                  <a:pt x="40" y="26"/>
                </a:lnTo>
                <a:lnTo>
                  <a:pt x="40" y="26"/>
                </a:lnTo>
                <a:lnTo>
                  <a:pt x="52" y="30"/>
                </a:lnTo>
                <a:lnTo>
                  <a:pt x="56" y="30"/>
                </a:lnTo>
                <a:lnTo>
                  <a:pt x="60" y="30"/>
                </a:lnTo>
                <a:lnTo>
                  <a:pt x="64" y="34"/>
                </a:lnTo>
                <a:lnTo>
                  <a:pt x="66" y="34"/>
                </a:lnTo>
                <a:lnTo>
                  <a:pt x="70" y="34"/>
                </a:lnTo>
                <a:lnTo>
                  <a:pt x="70" y="34"/>
                </a:lnTo>
                <a:lnTo>
                  <a:pt x="74" y="26"/>
                </a:lnTo>
                <a:lnTo>
                  <a:pt x="78" y="22"/>
                </a:lnTo>
                <a:lnTo>
                  <a:pt x="82" y="14"/>
                </a:lnTo>
                <a:lnTo>
                  <a:pt x="94" y="4"/>
                </a:lnTo>
                <a:lnTo>
                  <a:pt x="120" y="4"/>
                </a:lnTo>
                <a:lnTo>
                  <a:pt x="122" y="0"/>
                </a:lnTo>
                <a:lnTo>
                  <a:pt x="134" y="0"/>
                </a:lnTo>
                <a:lnTo>
                  <a:pt x="144" y="26"/>
                </a:lnTo>
                <a:lnTo>
                  <a:pt x="144" y="30"/>
                </a:lnTo>
                <a:lnTo>
                  <a:pt x="152" y="40"/>
                </a:lnTo>
                <a:lnTo>
                  <a:pt x="148" y="40"/>
                </a:lnTo>
                <a:lnTo>
                  <a:pt x="148" y="40"/>
                </a:lnTo>
                <a:lnTo>
                  <a:pt x="148" y="40"/>
                </a:lnTo>
                <a:lnTo>
                  <a:pt x="148" y="40"/>
                </a:lnTo>
                <a:lnTo>
                  <a:pt x="148" y="40"/>
                </a:lnTo>
                <a:lnTo>
                  <a:pt x="144" y="40"/>
                </a:lnTo>
                <a:lnTo>
                  <a:pt x="144" y="40"/>
                </a:lnTo>
                <a:lnTo>
                  <a:pt x="144" y="40"/>
                </a:lnTo>
                <a:lnTo>
                  <a:pt x="144" y="40"/>
                </a:lnTo>
                <a:lnTo>
                  <a:pt x="140" y="44"/>
                </a:lnTo>
                <a:lnTo>
                  <a:pt x="140" y="44"/>
                </a:lnTo>
                <a:lnTo>
                  <a:pt x="140" y="44"/>
                </a:lnTo>
                <a:lnTo>
                  <a:pt x="140" y="44"/>
                </a:lnTo>
                <a:lnTo>
                  <a:pt x="140" y="44"/>
                </a:lnTo>
                <a:lnTo>
                  <a:pt x="136" y="44"/>
                </a:lnTo>
                <a:lnTo>
                  <a:pt x="136" y="48"/>
                </a:lnTo>
                <a:lnTo>
                  <a:pt x="136" y="52"/>
                </a:lnTo>
                <a:lnTo>
                  <a:pt x="136" y="52"/>
                </a:lnTo>
                <a:lnTo>
                  <a:pt x="136" y="56"/>
                </a:lnTo>
                <a:lnTo>
                  <a:pt x="136" y="56"/>
                </a:lnTo>
                <a:lnTo>
                  <a:pt x="136" y="60"/>
                </a:lnTo>
                <a:lnTo>
                  <a:pt x="134" y="60"/>
                </a:lnTo>
                <a:lnTo>
                  <a:pt x="134" y="60"/>
                </a:lnTo>
                <a:lnTo>
                  <a:pt x="130" y="60"/>
                </a:lnTo>
                <a:lnTo>
                  <a:pt x="130" y="62"/>
                </a:lnTo>
                <a:lnTo>
                  <a:pt x="130" y="62"/>
                </a:lnTo>
                <a:lnTo>
                  <a:pt x="130" y="62"/>
                </a:lnTo>
                <a:lnTo>
                  <a:pt x="126" y="62"/>
                </a:lnTo>
                <a:lnTo>
                  <a:pt x="126" y="62"/>
                </a:lnTo>
                <a:lnTo>
                  <a:pt x="122" y="66"/>
                </a:lnTo>
                <a:lnTo>
                  <a:pt x="122" y="66"/>
                </a:lnTo>
                <a:lnTo>
                  <a:pt x="122" y="66"/>
                </a:lnTo>
                <a:lnTo>
                  <a:pt x="122" y="66"/>
                </a:lnTo>
                <a:lnTo>
                  <a:pt x="120" y="66"/>
                </a:lnTo>
                <a:lnTo>
                  <a:pt x="120" y="66"/>
                </a:lnTo>
                <a:lnTo>
                  <a:pt x="116" y="66"/>
                </a:lnTo>
                <a:lnTo>
                  <a:pt x="116" y="66"/>
                </a:lnTo>
                <a:lnTo>
                  <a:pt x="116" y="66"/>
                </a:lnTo>
                <a:lnTo>
                  <a:pt x="116" y="66"/>
                </a:lnTo>
                <a:lnTo>
                  <a:pt x="112" y="66"/>
                </a:lnTo>
                <a:lnTo>
                  <a:pt x="112" y="66"/>
                </a:lnTo>
                <a:lnTo>
                  <a:pt x="108" y="70"/>
                </a:lnTo>
                <a:lnTo>
                  <a:pt x="108" y="70"/>
                </a:lnTo>
                <a:lnTo>
                  <a:pt x="108" y="70"/>
                </a:lnTo>
                <a:lnTo>
                  <a:pt x="108" y="70"/>
                </a:lnTo>
                <a:lnTo>
                  <a:pt x="104" y="70"/>
                </a:lnTo>
                <a:lnTo>
                  <a:pt x="100" y="74"/>
                </a:lnTo>
                <a:lnTo>
                  <a:pt x="100" y="74"/>
                </a:lnTo>
                <a:lnTo>
                  <a:pt x="96" y="74"/>
                </a:lnTo>
                <a:lnTo>
                  <a:pt x="94" y="78"/>
                </a:lnTo>
                <a:lnTo>
                  <a:pt x="94" y="78"/>
                </a:lnTo>
                <a:lnTo>
                  <a:pt x="94" y="78"/>
                </a:lnTo>
                <a:lnTo>
                  <a:pt x="94" y="78"/>
                </a:lnTo>
                <a:lnTo>
                  <a:pt x="94" y="78"/>
                </a:lnTo>
                <a:lnTo>
                  <a:pt x="94" y="82"/>
                </a:lnTo>
                <a:lnTo>
                  <a:pt x="90" y="82"/>
                </a:lnTo>
                <a:lnTo>
                  <a:pt x="90" y="86"/>
                </a:lnTo>
                <a:lnTo>
                  <a:pt x="90" y="86"/>
                </a:lnTo>
                <a:lnTo>
                  <a:pt x="90" y="86"/>
                </a:lnTo>
                <a:lnTo>
                  <a:pt x="86" y="86"/>
                </a:lnTo>
                <a:lnTo>
                  <a:pt x="86" y="86"/>
                </a:lnTo>
                <a:lnTo>
                  <a:pt x="86" y="86"/>
                </a:lnTo>
                <a:lnTo>
                  <a:pt x="82" y="86"/>
                </a:lnTo>
                <a:lnTo>
                  <a:pt x="82" y="86"/>
                </a:lnTo>
                <a:lnTo>
                  <a:pt x="82" y="86"/>
                </a:lnTo>
                <a:lnTo>
                  <a:pt x="82" y="86"/>
                </a:lnTo>
                <a:lnTo>
                  <a:pt x="82" y="86"/>
                </a:lnTo>
                <a:lnTo>
                  <a:pt x="78" y="86"/>
                </a:lnTo>
                <a:lnTo>
                  <a:pt x="78" y="86"/>
                </a:lnTo>
                <a:lnTo>
                  <a:pt x="78" y="86"/>
                </a:lnTo>
                <a:lnTo>
                  <a:pt x="78" y="86"/>
                </a:lnTo>
                <a:lnTo>
                  <a:pt x="78" y="86"/>
                </a:lnTo>
                <a:lnTo>
                  <a:pt x="78" y="86"/>
                </a:lnTo>
                <a:lnTo>
                  <a:pt x="78" y="86"/>
                </a:lnTo>
                <a:lnTo>
                  <a:pt x="78" y="86"/>
                </a:lnTo>
                <a:lnTo>
                  <a:pt x="78" y="86"/>
                </a:lnTo>
                <a:lnTo>
                  <a:pt x="74" y="86"/>
                </a:lnTo>
                <a:lnTo>
                  <a:pt x="74" y="86"/>
                </a:lnTo>
                <a:lnTo>
                  <a:pt x="74" y="86"/>
                </a:lnTo>
                <a:lnTo>
                  <a:pt x="74" y="90"/>
                </a:lnTo>
                <a:lnTo>
                  <a:pt x="74" y="90"/>
                </a:lnTo>
                <a:lnTo>
                  <a:pt x="74" y="90"/>
                </a:lnTo>
                <a:lnTo>
                  <a:pt x="74" y="90"/>
                </a:lnTo>
                <a:lnTo>
                  <a:pt x="70" y="90"/>
                </a:lnTo>
                <a:lnTo>
                  <a:pt x="70" y="92"/>
                </a:lnTo>
                <a:lnTo>
                  <a:pt x="70" y="92"/>
                </a:lnTo>
                <a:lnTo>
                  <a:pt x="70" y="92"/>
                </a:lnTo>
                <a:lnTo>
                  <a:pt x="66" y="92"/>
                </a:lnTo>
                <a:lnTo>
                  <a:pt x="66" y="92"/>
                </a:lnTo>
                <a:lnTo>
                  <a:pt x="66" y="92"/>
                </a:lnTo>
                <a:lnTo>
                  <a:pt x="66" y="92"/>
                </a:lnTo>
                <a:close/>
                <a:moveTo>
                  <a:pt x="140" y="118"/>
                </a:moveTo>
                <a:lnTo>
                  <a:pt x="136" y="118"/>
                </a:lnTo>
                <a:lnTo>
                  <a:pt x="136" y="118"/>
                </a:lnTo>
                <a:lnTo>
                  <a:pt x="136" y="116"/>
                </a:lnTo>
                <a:lnTo>
                  <a:pt x="136" y="116"/>
                </a:lnTo>
                <a:lnTo>
                  <a:pt x="136" y="116"/>
                </a:lnTo>
                <a:lnTo>
                  <a:pt x="136" y="116"/>
                </a:lnTo>
                <a:lnTo>
                  <a:pt x="136" y="116"/>
                </a:lnTo>
                <a:lnTo>
                  <a:pt x="136" y="116"/>
                </a:lnTo>
                <a:lnTo>
                  <a:pt x="136" y="116"/>
                </a:lnTo>
                <a:lnTo>
                  <a:pt x="136" y="116"/>
                </a:lnTo>
                <a:lnTo>
                  <a:pt x="136" y="116"/>
                </a:lnTo>
                <a:lnTo>
                  <a:pt x="136" y="116"/>
                </a:lnTo>
                <a:lnTo>
                  <a:pt x="136" y="116"/>
                </a:lnTo>
                <a:lnTo>
                  <a:pt x="136" y="116"/>
                </a:lnTo>
                <a:lnTo>
                  <a:pt x="136" y="116"/>
                </a:lnTo>
                <a:lnTo>
                  <a:pt x="136" y="116"/>
                </a:lnTo>
                <a:lnTo>
                  <a:pt x="136" y="116"/>
                </a:lnTo>
                <a:lnTo>
                  <a:pt x="140" y="116"/>
                </a:lnTo>
                <a:lnTo>
                  <a:pt x="140" y="116"/>
                </a:lnTo>
                <a:lnTo>
                  <a:pt x="140" y="118"/>
                </a:lnTo>
                <a:lnTo>
                  <a:pt x="140" y="118"/>
                </a:lnTo>
                <a:lnTo>
                  <a:pt x="140" y="118"/>
                </a:lnTo>
                <a:lnTo>
                  <a:pt x="140" y="118"/>
                </a:lnTo>
                <a:lnTo>
                  <a:pt x="140" y="118"/>
                </a:lnTo>
                <a:close/>
                <a:moveTo>
                  <a:pt x="4" y="62"/>
                </a:moveTo>
                <a:lnTo>
                  <a:pt x="4" y="62"/>
                </a:lnTo>
                <a:lnTo>
                  <a:pt x="4" y="62"/>
                </a:lnTo>
                <a:lnTo>
                  <a:pt x="0" y="62"/>
                </a:lnTo>
                <a:lnTo>
                  <a:pt x="4" y="62"/>
                </a:lnTo>
                <a:lnTo>
                  <a:pt x="4" y="60"/>
                </a:lnTo>
                <a:lnTo>
                  <a:pt x="4" y="60"/>
                </a:lnTo>
                <a:lnTo>
                  <a:pt x="4" y="60"/>
                </a:lnTo>
                <a:lnTo>
                  <a:pt x="4" y="60"/>
                </a:lnTo>
                <a:lnTo>
                  <a:pt x="4" y="62"/>
                </a:lnTo>
                <a:lnTo>
                  <a:pt x="4" y="62"/>
                </a:lnTo>
                <a:lnTo>
                  <a:pt x="4" y="62"/>
                </a:lnTo>
                <a:lnTo>
                  <a:pt x="4" y="62"/>
                </a:lnTo>
                <a:lnTo>
                  <a:pt x="4" y="62"/>
                </a:lnTo>
                <a:lnTo>
                  <a:pt x="4" y="62"/>
                </a:lnTo>
                <a:lnTo>
                  <a:pt x="4" y="62"/>
                </a:lnTo>
                <a:close/>
                <a:moveTo>
                  <a:pt x="4" y="86"/>
                </a:moveTo>
                <a:lnTo>
                  <a:pt x="4" y="86"/>
                </a:lnTo>
                <a:lnTo>
                  <a:pt x="4" y="86"/>
                </a:lnTo>
                <a:lnTo>
                  <a:pt x="4" y="86"/>
                </a:lnTo>
                <a:lnTo>
                  <a:pt x="4" y="86"/>
                </a:lnTo>
                <a:lnTo>
                  <a:pt x="4" y="86"/>
                </a:lnTo>
                <a:lnTo>
                  <a:pt x="4" y="86"/>
                </a:lnTo>
                <a:lnTo>
                  <a:pt x="4" y="86"/>
                </a:lnTo>
                <a:lnTo>
                  <a:pt x="4" y="86"/>
                </a:lnTo>
                <a:lnTo>
                  <a:pt x="4" y="86"/>
                </a:lnTo>
                <a:lnTo>
                  <a:pt x="4" y="86"/>
                </a:lnTo>
                <a:lnTo>
                  <a:pt x="4" y="86"/>
                </a:lnTo>
                <a:lnTo>
                  <a:pt x="4" y="86"/>
                </a:lnTo>
                <a:close/>
                <a:moveTo>
                  <a:pt x="166" y="108"/>
                </a:moveTo>
                <a:lnTo>
                  <a:pt x="166" y="108"/>
                </a:lnTo>
                <a:lnTo>
                  <a:pt x="170" y="112"/>
                </a:lnTo>
                <a:lnTo>
                  <a:pt x="170" y="112"/>
                </a:lnTo>
                <a:lnTo>
                  <a:pt x="166" y="112"/>
                </a:lnTo>
                <a:lnTo>
                  <a:pt x="166" y="112"/>
                </a:lnTo>
                <a:lnTo>
                  <a:pt x="166" y="116"/>
                </a:lnTo>
                <a:lnTo>
                  <a:pt x="164" y="116"/>
                </a:lnTo>
                <a:lnTo>
                  <a:pt x="164" y="116"/>
                </a:lnTo>
                <a:lnTo>
                  <a:pt x="164" y="116"/>
                </a:lnTo>
                <a:lnTo>
                  <a:pt x="160" y="116"/>
                </a:lnTo>
                <a:lnTo>
                  <a:pt x="160" y="116"/>
                </a:lnTo>
                <a:lnTo>
                  <a:pt x="160" y="116"/>
                </a:lnTo>
                <a:lnTo>
                  <a:pt x="156" y="116"/>
                </a:lnTo>
                <a:lnTo>
                  <a:pt x="156" y="116"/>
                </a:lnTo>
                <a:lnTo>
                  <a:pt x="156" y="112"/>
                </a:lnTo>
                <a:lnTo>
                  <a:pt x="152" y="112"/>
                </a:lnTo>
                <a:lnTo>
                  <a:pt x="156" y="112"/>
                </a:lnTo>
                <a:lnTo>
                  <a:pt x="156" y="112"/>
                </a:lnTo>
                <a:lnTo>
                  <a:pt x="156" y="112"/>
                </a:lnTo>
                <a:lnTo>
                  <a:pt x="156" y="108"/>
                </a:lnTo>
                <a:lnTo>
                  <a:pt x="156" y="108"/>
                </a:lnTo>
                <a:lnTo>
                  <a:pt x="156" y="108"/>
                </a:lnTo>
                <a:lnTo>
                  <a:pt x="160" y="108"/>
                </a:lnTo>
                <a:lnTo>
                  <a:pt x="160" y="108"/>
                </a:lnTo>
                <a:lnTo>
                  <a:pt x="160" y="108"/>
                </a:lnTo>
                <a:lnTo>
                  <a:pt x="160" y="112"/>
                </a:lnTo>
                <a:lnTo>
                  <a:pt x="164" y="108"/>
                </a:lnTo>
                <a:lnTo>
                  <a:pt x="164" y="108"/>
                </a:lnTo>
                <a:lnTo>
                  <a:pt x="164" y="108"/>
                </a:lnTo>
                <a:lnTo>
                  <a:pt x="164" y="108"/>
                </a:lnTo>
                <a:lnTo>
                  <a:pt x="164" y="108"/>
                </a:lnTo>
                <a:lnTo>
                  <a:pt x="166" y="108"/>
                </a:lnTo>
                <a:lnTo>
                  <a:pt x="166" y="108"/>
                </a:lnTo>
                <a:lnTo>
                  <a:pt x="166" y="108"/>
                </a:lnTo>
                <a:lnTo>
                  <a:pt x="166" y="108"/>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58" name="Freeform 65"/>
          <p:cNvSpPr>
            <a:spLocks/>
          </p:cNvSpPr>
          <p:nvPr/>
        </p:nvSpPr>
        <p:spPr bwMode="auto">
          <a:xfrm>
            <a:off x="3076574" y="3438524"/>
            <a:ext cx="4763" cy="4763"/>
          </a:xfrm>
          <a:custGeom>
            <a:avLst/>
            <a:gdLst>
              <a:gd name="T0" fmla="*/ 4 w 4"/>
              <a:gd name="T1" fmla="*/ 4 h 4"/>
              <a:gd name="T2" fmla="*/ 4 w 4"/>
              <a:gd name="T3" fmla="*/ 4 h 4"/>
              <a:gd name="T4" fmla="*/ 0 w 4"/>
              <a:gd name="T5" fmla="*/ 4 h 4"/>
              <a:gd name="T6" fmla="*/ 0 w 4"/>
              <a:gd name="T7" fmla="*/ 0 h 4"/>
              <a:gd name="T8" fmla="*/ 0 w 4"/>
              <a:gd name="T9" fmla="*/ 0 h 4"/>
              <a:gd name="T10" fmla="*/ 4 w 4"/>
              <a:gd name="T11" fmla="*/ 4 h 4"/>
              <a:gd name="T12" fmla="*/ 4 w 4"/>
              <a:gd name="T13" fmla="*/ 4 h 4"/>
              <a:gd name="T14" fmla="*/ 4 w 4"/>
              <a:gd name="T15" fmla="*/ 4 h 4"/>
              <a:gd name="T16" fmla="*/ 4 w 4"/>
              <a:gd name="T17" fmla="*/ 4 h 4"/>
              <a:gd name="T18" fmla="*/ 4 w 4"/>
              <a:gd name="T19" fmla="*/ 4 h 4"/>
              <a:gd name="T20" fmla="*/ 4 w 4"/>
              <a:gd name="T21" fmla="*/ 4 h 4"/>
              <a:gd name="T22" fmla="*/ 4 w 4"/>
              <a:gd name="T23" fmla="*/ 4 h 4"/>
              <a:gd name="T24" fmla="*/ 4 w 4"/>
              <a:gd name="T2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4" y="4"/>
                </a:moveTo>
                <a:lnTo>
                  <a:pt x="4" y="4"/>
                </a:lnTo>
                <a:lnTo>
                  <a:pt x="0" y="4"/>
                </a:lnTo>
                <a:lnTo>
                  <a:pt x="0" y="0"/>
                </a:lnTo>
                <a:lnTo>
                  <a:pt x="0" y="0"/>
                </a:lnTo>
                <a:lnTo>
                  <a:pt x="4" y="4"/>
                </a:lnTo>
                <a:lnTo>
                  <a:pt x="4" y="4"/>
                </a:lnTo>
                <a:lnTo>
                  <a:pt x="4" y="4"/>
                </a:lnTo>
                <a:lnTo>
                  <a:pt x="4" y="4"/>
                </a:lnTo>
                <a:lnTo>
                  <a:pt x="4" y="4"/>
                </a:lnTo>
                <a:lnTo>
                  <a:pt x="4" y="4"/>
                </a:lnTo>
                <a:lnTo>
                  <a:pt x="4" y="4"/>
                </a:lnTo>
                <a:lnTo>
                  <a:pt x="4" y="4"/>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59" name="Freeform 66"/>
          <p:cNvSpPr>
            <a:spLocks noEditPoints="1"/>
          </p:cNvSpPr>
          <p:nvPr/>
        </p:nvSpPr>
        <p:spPr bwMode="auto">
          <a:xfrm>
            <a:off x="2755106" y="3319462"/>
            <a:ext cx="23813" cy="52388"/>
          </a:xfrm>
          <a:custGeom>
            <a:avLst/>
            <a:gdLst>
              <a:gd name="T0" fmla="*/ 14 w 20"/>
              <a:gd name="T1" fmla="*/ 0 h 44"/>
              <a:gd name="T2" fmla="*/ 14 w 20"/>
              <a:gd name="T3" fmla="*/ 4 h 44"/>
              <a:gd name="T4" fmla="*/ 16 w 20"/>
              <a:gd name="T5" fmla="*/ 4 h 44"/>
              <a:gd name="T6" fmla="*/ 16 w 20"/>
              <a:gd name="T7" fmla="*/ 4 h 44"/>
              <a:gd name="T8" fmla="*/ 16 w 20"/>
              <a:gd name="T9" fmla="*/ 6 h 44"/>
              <a:gd name="T10" fmla="*/ 14 w 20"/>
              <a:gd name="T11" fmla="*/ 10 h 44"/>
              <a:gd name="T12" fmla="*/ 14 w 20"/>
              <a:gd name="T13" fmla="*/ 10 h 44"/>
              <a:gd name="T14" fmla="*/ 14 w 20"/>
              <a:gd name="T15" fmla="*/ 10 h 44"/>
              <a:gd name="T16" fmla="*/ 14 w 20"/>
              <a:gd name="T17" fmla="*/ 14 h 44"/>
              <a:gd name="T18" fmla="*/ 14 w 20"/>
              <a:gd name="T19" fmla="*/ 14 h 44"/>
              <a:gd name="T20" fmla="*/ 14 w 20"/>
              <a:gd name="T21" fmla="*/ 14 h 44"/>
              <a:gd name="T22" fmla="*/ 14 w 20"/>
              <a:gd name="T23" fmla="*/ 18 h 44"/>
              <a:gd name="T24" fmla="*/ 14 w 20"/>
              <a:gd name="T25" fmla="*/ 22 h 44"/>
              <a:gd name="T26" fmla="*/ 14 w 20"/>
              <a:gd name="T27" fmla="*/ 22 h 44"/>
              <a:gd name="T28" fmla="*/ 14 w 20"/>
              <a:gd name="T29" fmla="*/ 22 h 44"/>
              <a:gd name="T30" fmla="*/ 14 w 20"/>
              <a:gd name="T31" fmla="*/ 26 h 44"/>
              <a:gd name="T32" fmla="*/ 14 w 20"/>
              <a:gd name="T33" fmla="*/ 26 h 44"/>
              <a:gd name="T34" fmla="*/ 14 w 20"/>
              <a:gd name="T35" fmla="*/ 26 h 44"/>
              <a:gd name="T36" fmla="*/ 14 w 20"/>
              <a:gd name="T37" fmla="*/ 28 h 44"/>
              <a:gd name="T38" fmla="*/ 14 w 20"/>
              <a:gd name="T39" fmla="*/ 32 h 44"/>
              <a:gd name="T40" fmla="*/ 14 w 20"/>
              <a:gd name="T41" fmla="*/ 32 h 44"/>
              <a:gd name="T42" fmla="*/ 14 w 20"/>
              <a:gd name="T43" fmla="*/ 32 h 44"/>
              <a:gd name="T44" fmla="*/ 10 w 20"/>
              <a:gd name="T45" fmla="*/ 36 h 44"/>
              <a:gd name="T46" fmla="*/ 6 w 20"/>
              <a:gd name="T47" fmla="*/ 40 h 44"/>
              <a:gd name="T48" fmla="*/ 6 w 20"/>
              <a:gd name="T49" fmla="*/ 40 h 44"/>
              <a:gd name="T50" fmla="*/ 6 w 20"/>
              <a:gd name="T51" fmla="*/ 44 h 44"/>
              <a:gd name="T52" fmla="*/ 6 w 20"/>
              <a:gd name="T53" fmla="*/ 44 h 44"/>
              <a:gd name="T54" fmla="*/ 2 w 20"/>
              <a:gd name="T55" fmla="*/ 44 h 44"/>
              <a:gd name="T56" fmla="*/ 0 w 20"/>
              <a:gd name="T57" fmla="*/ 44 h 44"/>
              <a:gd name="T58" fmla="*/ 0 w 20"/>
              <a:gd name="T59" fmla="*/ 40 h 44"/>
              <a:gd name="T60" fmla="*/ 2 w 20"/>
              <a:gd name="T61" fmla="*/ 26 h 44"/>
              <a:gd name="T62" fmla="*/ 2 w 20"/>
              <a:gd name="T63" fmla="*/ 14 h 44"/>
              <a:gd name="T64" fmla="*/ 2 w 20"/>
              <a:gd name="T65" fmla="*/ 10 h 44"/>
              <a:gd name="T66" fmla="*/ 2 w 20"/>
              <a:gd name="T67" fmla="*/ 6 h 44"/>
              <a:gd name="T68" fmla="*/ 2 w 20"/>
              <a:gd name="T69" fmla="*/ 6 h 44"/>
              <a:gd name="T70" fmla="*/ 6 w 20"/>
              <a:gd name="T71" fmla="*/ 10 h 44"/>
              <a:gd name="T72" fmla="*/ 6 w 20"/>
              <a:gd name="T73" fmla="*/ 6 h 44"/>
              <a:gd name="T74" fmla="*/ 6 w 20"/>
              <a:gd name="T75" fmla="*/ 6 h 44"/>
              <a:gd name="T76" fmla="*/ 10 w 20"/>
              <a:gd name="T77" fmla="*/ 4 h 44"/>
              <a:gd name="T78" fmla="*/ 10 w 20"/>
              <a:gd name="T79" fmla="*/ 0 h 44"/>
              <a:gd name="T80" fmla="*/ 10 w 20"/>
              <a:gd name="T81" fmla="*/ 0 h 44"/>
              <a:gd name="T82" fmla="*/ 14 w 20"/>
              <a:gd name="T83" fmla="*/ 0 h 44"/>
              <a:gd name="T84" fmla="*/ 14 w 20"/>
              <a:gd name="T85" fmla="*/ 0 h 44"/>
              <a:gd name="T86" fmla="*/ 14 w 20"/>
              <a:gd name="T87" fmla="*/ 0 h 44"/>
              <a:gd name="T88" fmla="*/ 16 w 20"/>
              <a:gd name="T89" fmla="*/ 6 h 44"/>
              <a:gd name="T90" fmla="*/ 16 w 20"/>
              <a:gd name="T91" fmla="*/ 10 h 44"/>
              <a:gd name="T92" fmla="*/ 16 w 20"/>
              <a:gd name="T93" fmla="*/ 10 h 44"/>
              <a:gd name="T94" fmla="*/ 16 w 20"/>
              <a:gd name="T95" fmla="*/ 10 h 44"/>
              <a:gd name="T96" fmla="*/ 16 w 20"/>
              <a:gd name="T97" fmla="*/ 10 h 44"/>
              <a:gd name="T98" fmla="*/ 20 w 20"/>
              <a:gd name="T99" fmla="*/ 6 h 44"/>
              <a:gd name="T100" fmla="*/ 20 w 20"/>
              <a:gd name="T101" fmla="*/ 6 h 44"/>
              <a:gd name="T102" fmla="*/ 16 w 20"/>
              <a:gd name="T103" fmla="*/ 6 h 44"/>
              <a:gd name="T104" fmla="*/ 16 w 20"/>
              <a:gd name="T105" fmla="*/ 6 h 44"/>
              <a:gd name="T106" fmla="*/ 16 w 20"/>
              <a:gd name="T107" fmla="*/ 22 h 44"/>
              <a:gd name="T108" fmla="*/ 16 w 20"/>
              <a:gd name="T109" fmla="*/ 22 h 44"/>
              <a:gd name="T110" fmla="*/ 20 w 20"/>
              <a:gd name="T111" fmla="*/ 14 h 44"/>
              <a:gd name="T112" fmla="*/ 20 w 20"/>
              <a:gd name="T113" fmla="*/ 18 h 44"/>
              <a:gd name="T114" fmla="*/ 20 w 20"/>
              <a:gd name="T115" fmla="*/ 18 h 44"/>
              <a:gd name="T116" fmla="*/ 20 w 20"/>
              <a:gd name="T117" fmla="*/ 18 h 44"/>
              <a:gd name="T118" fmla="*/ 20 w 20"/>
              <a:gd name="T119" fmla="*/ 18 h 44"/>
              <a:gd name="T120" fmla="*/ 16 w 20"/>
              <a:gd name="T121" fmla="*/ 18 h 44"/>
              <a:gd name="T122" fmla="*/ 16 w 20"/>
              <a:gd name="T123" fmla="*/ 22 h 44"/>
              <a:gd name="T124" fmla="*/ 16 w 20"/>
              <a:gd name="T125" fmla="*/ 2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 h="44">
                <a:moveTo>
                  <a:pt x="14" y="0"/>
                </a:moveTo>
                <a:lnTo>
                  <a:pt x="14" y="0"/>
                </a:lnTo>
                <a:lnTo>
                  <a:pt x="14" y="0"/>
                </a:lnTo>
                <a:lnTo>
                  <a:pt x="14" y="4"/>
                </a:lnTo>
                <a:lnTo>
                  <a:pt x="14" y="4"/>
                </a:lnTo>
                <a:lnTo>
                  <a:pt x="16" y="4"/>
                </a:lnTo>
                <a:lnTo>
                  <a:pt x="16" y="4"/>
                </a:lnTo>
                <a:lnTo>
                  <a:pt x="16" y="4"/>
                </a:lnTo>
                <a:lnTo>
                  <a:pt x="16" y="6"/>
                </a:lnTo>
                <a:lnTo>
                  <a:pt x="16" y="6"/>
                </a:lnTo>
                <a:lnTo>
                  <a:pt x="14" y="10"/>
                </a:lnTo>
                <a:lnTo>
                  <a:pt x="14" y="10"/>
                </a:lnTo>
                <a:lnTo>
                  <a:pt x="14" y="10"/>
                </a:lnTo>
                <a:lnTo>
                  <a:pt x="14" y="10"/>
                </a:lnTo>
                <a:lnTo>
                  <a:pt x="14" y="10"/>
                </a:lnTo>
                <a:lnTo>
                  <a:pt x="14" y="10"/>
                </a:lnTo>
                <a:lnTo>
                  <a:pt x="14" y="14"/>
                </a:lnTo>
                <a:lnTo>
                  <a:pt x="14" y="14"/>
                </a:lnTo>
                <a:lnTo>
                  <a:pt x="14" y="14"/>
                </a:lnTo>
                <a:lnTo>
                  <a:pt x="14" y="14"/>
                </a:lnTo>
                <a:lnTo>
                  <a:pt x="14" y="14"/>
                </a:lnTo>
                <a:lnTo>
                  <a:pt x="14" y="14"/>
                </a:lnTo>
                <a:lnTo>
                  <a:pt x="14" y="18"/>
                </a:lnTo>
                <a:lnTo>
                  <a:pt x="14" y="18"/>
                </a:lnTo>
                <a:lnTo>
                  <a:pt x="14" y="18"/>
                </a:lnTo>
                <a:lnTo>
                  <a:pt x="14" y="22"/>
                </a:lnTo>
                <a:lnTo>
                  <a:pt x="14" y="22"/>
                </a:lnTo>
                <a:lnTo>
                  <a:pt x="14" y="22"/>
                </a:lnTo>
                <a:lnTo>
                  <a:pt x="14" y="22"/>
                </a:lnTo>
                <a:lnTo>
                  <a:pt x="14" y="22"/>
                </a:lnTo>
                <a:lnTo>
                  <a:pt x="14" y="26"/>
                </a:lnTo>
                <a:lnTo>
                  <a:pt x="14" y="26"/>
                </a:lnTo>
                <a:lnTo>
                  <a:pt x="14" y="26"/>
                </a:lnTo>
                <a:lnTo>
                  <a:pt x="14" y="26"/>
                </a:lnTo>
                <a:lnTo>
                  <a:pt x="14" y="26"/>
                </a:lnTo>
                <a:lnTo>
                  <a:pt x="14" y="26"/>
                </a:lnTo>
                <a:lnTo>
                  <a:pt x="14" y="28"/>
                </a:lnTo>
                <a:lnTo>
                  <a:pt x="14" y="28"/>
                </a:lnTo>
                <a:lnTo>
                  <a:pt x="14" y="32"/>
                </a:lnTo>
                <a:lnTo>
                  <a:pt x="14" y="32"/>
                </a:lnTo>
                <a:lnTo>
                  <a:pt x="14" y="32"/>
                </a:lnTo>
                <a:lnTo>
                  <a:pt x="14" y="32"/>
                </a:lnTo>
                <a:lnTo>
                  <a:pt x="14" y="32"/>
                </a:lnTo>
                <a:lnTo>
                  <a:pt x="14" y="32"/>
                </a:lnTo>
                <a:lnTo>
                  <a:pt x="14" y="32"/>
                </a:lnTo>
                <a:lnTo>
                  <a:pt x="10" y="36"/>
                </a:lnTo>
                <a:lnTo>
                  <a:pt x="10" y="36"/>
                </a:lnTo>
                <a:lnTo>
                  <a:pt x="6" y="40"/>
                </a:lnTo>
                <a:lnTo>
                  <a:pt x="6" y="40"/>
                </a:lnTo>
                <a:lnTo>
                  <a:pt x="6" y="40"/>
                </a:lnTo>
                <a:lnTo>
                  <a:pt x="6" y="40"/>
                </a:lnTo>
                <a:lnTo>
                  <a:pt x="6" y="44"/>
                </a:lnTo>
                <a:lnTo>
                  <a:pt x="6" y="44"/>
                </a:lnTo>
                <a:lnTo>
                  <a:pt x="6" y="44"/>
                </a:lnTo>
                <a:lnTo>
                  <a:pt x="2" y="44"/>
                </a:lnTo>
                <a:lnTo>
                  <a:pt x="2" y="44"/>
                </a:lnTo>
                <a:lnTo>
                  <a:pt x="2" y="44"/>
                </a:lnTo>
                <a:lnTo>
                  <a:pt x="0" y="44"/>
                </a:lnTo>
                <a:lnTo>
                  <a:pt x="0" y="44"/>
                </a:lnTo>
                <a:lnTo>
                  <a:pt x="0" y="40"/>
                </a:lnTo>
                <a:lnTo>
                  <a:pt x="2" y="36"/>
                </a:lnTo>
                <a:lnTo>
                  <a:pt x="2" y="26"/>
                </a:lnTo>
                <a:lnTo>
                  <a:pt x="2" y="18"/>
                </a:lnTo>
                <a:lnTo>
                  <a:pt x="2" y="14"/>
                </a:lnTo>
                <a:lnTo>
                  <a:pt x="2" y="10"/>
                </a:lnTo>
                <a:lnTo>
                  <a:pt x="2" y="10"/>
                </a:lnTo>
                <a:lnTo>
                  <a:pt x="2" y="6"/>
                </a:lnTo>
                <a:lnTo>
                  <a:pt x="2" y="6"/>
                </a:lnTo>
                <a:lnTo>
                  <a:pt x="2" y="6"/>
                </a:lnTo>
                <a:lnTo>
                  <a:pt x="2" y="6"/>
                </a:lnTo>
                <a:lnTo>
                  <a:pt x="2" y="10"/>
                </a:lnTo>
                <a:lnTo>
                  <a:pt x="6" y="10"/>
                </a:lnTo>
                <a:lnTo>
                  <a:pt x="6" y="10"/>
                </a:lnTo>
                <a:lnTo>
                  <a:pt x="6" y="6"/>
                </a:lnTo>
                <a:lnTo>
                  <a:pt x="6" y="6"/>
                </a:lnTo>
                <a:lnTo>
                  <a:pt x="6" y="6"/>
                </a:lnTo>
                <a:lnTo>
                  <a:pt x="6" y="4"/>
                </a:lnTo>
                <a:lnTo>
                  <a:pt x="10" y="4"/>
                </a:lnTo>
                <a:lnTo>
                  <a:pt x="10" y="4"/>
                </a:lnTo>
                <a:lnTo>
                  <a:pt x="10" y="0"/>
                </a:lnTo>
                <a:lnTo>
                  <a:pt x="10" y="0"/>
                </a:lnTo>
                <a:lnTo>
                  <a:pt x="10" y="0"/>
                </a:lnTo>
                <a:lnTo>
                  <a:pt x="14" y="0"/>
                </a:lnTo>
                <a:lnTo>
                  <a:pt x="14" y="0"/>
                </a:lnTo>
                <a:lnTo>
                  <a:pt x="14" y="0"/>
                </a:lnTo>
                <a:lnTo>
                  <a:pt x="14" y="0"/>
                </a:lnTo>
                <a:lnTo>
                  <a:pt x="14" y="0"/>
                </a:lnTo>
                <a:lnTo>
                  <a:pt x="14" y="0"/>
                </a:lnTo>
                <a:close/>
                <a:moveTo>
                  <a:pt x="16" y="6"/>
                </a:moveTo>
                <a:lnTo>
                  <a:pt x="16" y="6"/>
                </a:lnTo>
                <a:lnTo>
                  <a:pt x="16" y="6"/>
                </a:lnTo>
                <a:lnTo>
                  <a:pt x="16" y="10"/>
                </a:lnTo>
                <a:lnTo>
                  <a:pt x="16" y="10"/>
                </a:lnTo>
                <a:lnTo>
                  <a:pt x="16" y="10"/>
                </a:lnTo>
                <a:lnTo>
                  <a:pt x="16" y="10"/>
                </a:lnTo>
                <a:lnTo>
                  <a:pt x="16" y="10"/>
                </a:lnTo>
                <a:lnTo>
                  <a:pt x="16" y="10"/>
                </a:lnTo>
                <a:lnTo>
                  <a:pt x="16" y="10"/>
                </a:lnTo>
                <a:lnTo>
                  <a:pt x="16" y="6"/>
                </a:lnTo>
                <a:lnTo>
                  <a:pt x="20" y="6"/>
                </a:lnTo>
                <a:lnTo>
                  <a:pt x="20" y="6"/>
                </a:lnTo>
                <a:lnTo>
                  <a:pt x="20" y="6"/>
                </a:lnTo>
                <a:lnTo>
                  <a:pt x="16" y="6"/>
                </a:lnTo>
                <a:lnTo>
                  <a:pt x="16" y="6"/>
                </a:lnTo>
                <a:lnTo>
                  <a:pt x="16" y="6"/>
                </a:lnTo>
                <a:lnTo>
                  <a:pt x="16" y="6"/>
                </a:lnTo>
                <a:close/>
                <a:moveTo>
                  <a:pt x="16" y="22"/>
                </a:moveTo>
                <a:lnTo>
                  <a:pt x="16" y="22"/>
                </a:lnTo>
                <a:lnTo>
                  <a:pt x="16" y="22"/>
                </a:lnTo>
                <a:lnTo>
                  <a:pt x="16" y="22"/>
                </a:lnTo>
                <a:lnTo>
                  <a:pt x="16" y="18"/>
                </a:lnTo>
                <a:lnTo>
                  <a:pt x="20" y="14"/>
                </a:lnTo>
                <a:lnTo>
                  <a:pt x="20" y="14"/>
                </a:lnTo>
                <a:lnTo>
                  <a:pt x="20" y="18"/>
                </a:lnTo>
                <a:lnTo>
                  <a:pt x="20" y="18"/>
                </a:lnTo>
                <a:lnTo>
                  <a:pt x="20" y="18"/>
                </a:lnTo>
                <a:lnTo>
                  <a:pt x="20" y="18"/>
                </a:lnTo>
                <a:lnTo>
                  <a:pt x="20" y="18"/>
                </a:lnTo>
                <a:lnTo>
                  <a:pt x="20" y="18"/>
                </a:lnTo>
                <a:lnTo>
                  <a:pt x="20" y="18"/>
                </a:lnTo>
                <a:lnTo>
                  <a:pt x="20" y="18"/>
                </a:lnTo>
                <a:lnTo>
                  <a:pt x="16" y="18"/>
                </a:lnTo>
                <a:lnTo>
                  <a:pt x="16" y="18"/>
                </a:lnTo>
                <a:lnTo>
                  <a:pt x="16" y="22"/>
                </a:lnTo>
                <a:lnTo>
                  <a:pt x="16" y="22"/>
                </a:lnTo>
                <a:lnTo>
                  <a:pt x="16" y="22"/>
                </a:lnTo>
                <a:lnTo>
                  <a:pt x="16" y="22"/>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60" name="Freeform 67"/>
          <p:cNvSpPr>
            <a:spLocks/>
          </p:cNvSpPr>
          <p:nvPr/>
        </p:nvSpPr>
        <p:spPr bwMode="auto">
          <a:xfrm>
            <a:off x="3164681" y="3021805"/>
            <a:ext cx="4763" cy="4763"/>
          </a:xfrm>
          <a:custGeom>
            <a:avLst/>
            <a:gdLst>
              <a:gd name="T0" fmla="*/ 0 w 4"/>
              <a:gd name="T1" fmla="*/ 4 h 4"/>
              <a:gd name="T2" fmla="*/ 0 w 4"/>
              <a:gd name="T3" fmla="*/ 4 h 4"/>
              <a:gd name="T4" fmla="*/ 0 w 4"/>
              <a:gd name="T5" fmla="*/ 4 h 4"/>
              <a:gd name="T6" fmla="*/ 0 w 4"/>
              <a:gd name="T7" fmla="*/ 0 h 4"/>
              <a:gd name="T8" fmla="*/ 0 w 4"/>
              <a:gd name="T9" fmla="*/ 0 h 4"/>
              <a:gd name="T10" fmla="*/ 0 w 4"/>
              <a:gd name="T11" fmla="*/ 0 h 4"/>
              <a:gd name="T12" fmla="*/ 4 w 4"/>
              <a:gd name="T13" fmla="*/ 0 h 4"/>
              <a:gd name="T14" fmla="*/ 0 w 4"/>
              <a:gd name="T15" fmla="*/ 0 h 4"/>
              <a:gd name="T16" fmla="*/ 0 w 4"/>
              <a:gd name="T17" fmla="*/ 0 h 4"/>
              <a:gd name="T18" fmla="*/ 0 w 4"/>
              <a:gd name="T19" fmla="*/ 4 h 4"/>
              <a:gd name="T20" fmla="*/ 0 w 4"/>
              <a:gd name="T21" fmla="*/ 4 h 4"/>
              <a:gd name="T22" fmla="*/ 0 w 4"/>
              <a:gd name="T23" fmla="*/ 4 h 4"/>
              <a:gd name="T24" fmla="*/ 0 w 4"/>
              <a:gd name="T25" fmla="*/ 4 h 4"/>
              <a:gd name="T26" fmla="*/ 0 w 4"/>
              <a:gd name="T27" fmla="*/ 4 h 4"/>
              <a:gd name="T28" fmla="*/ 0 w 4"/>
              <a:gd name="T29" fmla="*/ 4 h 4"/>
              <a:gd name="T30" fmla="*/ 0 w 4"/>
              <a:gd name="T31" fmla="*/ 4 h 4"/>
              <a:gd name="T32" fmla="*/ 0 w 4"/>
              <a:gd name="T3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 h="4">
                <a:moveTo>
                  <a:pt x="0" y="4"/>
                </a:moveTo>
                <a:lnTo>
                  <a:pt x="0" y="4"/>
                </a:lnTo>
                <a:lnTo>
                  <a:pt x="0" y="4"/>
                </a:lnTo>
                <a:lnTo>
                  <a:pt x="0" y="0"/>
                </a:lnTo>
                <a:lnTo>
                  <a:pt x="0" y="0"/>
                </a:lnTo>
                <a:lnTo>
                  <a:pt x="0" y="0"/>
                </a:lnTo>
                <a:lnTo>
                  <a:pt x="4" y="0"/>
                </a:lnTo>
                <a:lnTo>
                  <a:pt x="0" y="0"/>
                </a:lnTo>
                <a:lnTo>
                  <a:pt x="0" y="0"/>
                </a:lnTo>
                <a:lnTo>
                  <a:pt x="0" y="4"/>
                </a:lnTo>
                <a:lnTo>
                  <a:pt x="0" y="4"/>
                </a:lnTo>
                <a:lnTo>
                  <a:pt x="0" y="4"/>
                </a:lnTo>
                <a:lnTo>
                  <a:pt x="0" y="4"/>
                </a:lnTo>
                <a:lnTo>
                  <a:pt x="0" y="4"/>
                </a:lnTo>
                <a:lnTo>
                  <a:pt x="0" y="4"/>
                </a:lnTo>
                <a:lnTo>
                  <a:pt x="0" y="4"/>
                </a:lnTo>
                <a:lnTo>
                  <a:pt x="0" y="4"/>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61" name="Freeform 68"/>
          <p:cNvSpPr>
            <a:spLocks noEditPoints="1"/>
          </p:cNvSpPr>
          <p:nvPr/>
        </p:nvSpPr>
        <p:spPr bwMode="auto">
          <a:xfrm>
            <a:off x="1883568" y="1631156"/>
            <a:ext cx="1485900" cy="1181100"/>
          </a:xfrm>
          <a:custGeom>
            <a:avLst/>
            <a:gdLst>
              <a:gd name="T0" fmla="*/ 682 w 1248"/>
              <a:gd name="T1" fmla="*/ 556 h 992"/>
              <a:gd name="T2" fmla="*/ 876 w 1248"/>
              <a:gd name="T3" fmla="*/ 788 h 992"/>
              <a:gd name="T4" fmla="*/ 1006 w 1248"/>
              <a:gd name="T5" fmla="*/ 590 h 992"/>
              <a:gd name="T6" fmla="*/ 1106 w 1248"/>
              <a:gd name="T7" fmla="*/ 642 h 992"/>
              <a:gd name="T8" fmla="*/ 1144 w 1248"/>
              <a:gd name="T9" fmla="*/ 754 h 992"/>
              <a:gd name="T10" fmla="*/ 1018 w 1248"/>
              <a:gd name="T11" fmla="*/ 862 h 992"/>
              <a:gd name="T12" fmla="*/ 1080 w 1248"/>
              <a:gd name="T13" fmla="*/ 910 h 992"/>
              <a:gd name="T14" fmla="*/ 672 w 1248"/>
              <a:gd name="T15" fmla="*/ 854 h 992"/>
              <a:gd name="T16" fmla="*/ 194 w 1248"/>
              <a:gd name="T17" fmla="*/ 802 h 992"/>
              <a:gd name="T18" fmla="*/ 100 w 1248"/>
              <a:gd name="T19" fmla="*/ 638 h 992"/>
              <a:gd name="T20" fmla="*/ 124 w 1248"/>
              <a:gd name="T21" fmla="*/ 396 h 992"/>
              <a:gd name="T22" fmla="*/ 384 w 1248"/>
              <a:gd name="T23" fmla="*/ 422 h 992"/>
              <a:gd name="T24" fmla="*/ 596 w 1248"/>
              <a:gd name="T25" fmla="*/ 418 h 992"/>
              <a:gd name="T26" fmla="*/ 646 w 1248"/>
              <a:gd name="T27" fmla="*/ 332 h 992"/>
              <a:gd name="T28" fmla="*/ 790 w 1248"/>
              <a:gd name="T29" fmla="*/ 374 h 992"/>
              <a:gd name="T30" fmla="*/ 992 w 1248"/>
              <a:gd name="T31" fmla="*/ 550 h 992"/>
              <a:gd name="T32" fmla="*/ 790 w 1248"/>
              <a:gd name="T33" fmla="*/ 124 h 992"/>
              <a:gd name="T34" fmla="*/ 336 w 1248"/>
              <a:gd name="T35" fmla="*/ 350 h 992"/>
              <a:gd name="T36" fmla="*/ 1104 w 1248"/>
              <a:gd name="T37" fmla="*/ 440 h 992"/>
              <a:gd name="T38" fmla="*/ 206 w 1248"/>
              <a:gd name="T39" fmla="*/ 806 h 992"/>
              <a:gd name="T40" fmla="*/ 698 w 1248"/>
              <a:gd name="T41" fmla="*/ 116 h 992"/>
              <a:gd name="T42" fmla="*/ 694 w 1248"/>
              <a:gd name="T43" fmla="*/ 64 h 992"/>
              <a:gd name="T44" fmla="*/ 578 w 1248"/>
              <a:gd name="T45" fmla="*/ 132 h 992"/>
              <a:gd name="T46" fmla="*/ 536 w 1248"/>
              <a:gd name="T47" fmla="*/ 142 h 992"/>
              <a:gd name="T48" fmla="*/ 280 w 1248"/>
              <a:gd name="T49" fmla="*/ 208 h 992"/>
              <a:gd name="T50" fmla="*/ 820 w 1248"/>
              <a:gd name="T51" fmla="*/ 246 h 992"/>
              <a:gd name="T52" fmla="*/ 734 w 1248"/>
              <a:gd name="T53" fmla="*/ 202 h 992"/>
              <a:gd name="T54" fmla="*/ 352 w 1248"/>
              <a:gd name="T55" fmla="*/ 216 h 992"/>
              <a:gd name="T56" fmla="*/ 418 w 1248"/>
              <a:gd name="T57" fmla="*/ 246 h 992"/>
              <a:gd name="T58" fmla="*/ 552 w 1248"/>
              <a:gd name="T59" fmla="*/ 202 h 992"/>
              <a:gd name="T60" fmla="*/ 544 w 1248"/>
              <a:gd name="T61" fmla="*/ 208 h 992"/>
              <a:gd name="T62" fmla="*/ 284 w 1248"/>
              <a:gd name="T63" fmla="*/ 250 h 992"/>
              <a:gd name="T64" fmla="*/ 620 w 1248"/>
              <a:gd name="T65" fmla="*/ 280 h 992"/>
              <a:gd name="T66" fmla="*/ 988 w 1248"/>
              <a:gd name="T67" fmla="*/ 522 h 992"/>
              <a:gd name="T68" fmla="*/ 924 w 1248"/>
              <a:gd name="T69" fmla="*/ 396 h 992"/>
              <a:gd name="T70" fmla="*/ 756 w 1248"/>
              <a:gd name="T71" fmla="*/ 340 h 992"/>
              <a:gd name="T72" fmla="*/ 802 w 1248"/>
              <a:gd name="T73" fmla="*/ 288 h 992"/>
              <a:gd name="T74" fmla="*/ 948 w 1248"/>
              <a:gd name="T75" fmla="*/ 314 h 992"/>
              <a:gd name="T76" fmla="*/ 1014 w 1248"/>
              <a:gd name="T77" fmla="*/ 362 h 992"/>
              <a:gd name="T78" fmla="*/ 1056 w 1248"/>
              <a:gd name="T79" fmla="*/ 414 h 992"/>
              <a:gd name="T80" fmla="*/ 1092 w 1248"/>
              <a:gd name="T81" fmla="*/ 494 h 992"/>
              <a:gd name="T82" fmla="*/ 1076 w 1248"/>
              <a:gd name="T83" fmla="*/ 538 h 992"/>
              <a:gd name="T84" fmla="*/ 508 w 1248"/>
              <a:gd name="T85" fmla="*/ 292 h 992"/>
              <a:gd name="T86" fmla="*/ 448 w 1248"/>
              <a:gd name="T87" fmla="*/ 294 h 992"/>
              <a:gd name="T88" fmla="*/ 444 w 1248"/>
              <a:gd name="T89" fmla="*/ 400 h 992"/>
              <a:gd name="T90" fmla="*/ 574 w 1248"/>
              <a:gd name="T91" fmla="*/ 348 h 992"/>
              <a:gd name="T92" fmla="*/ 94 w 1248"/>
              <a:gd name="T93" fmla="*/ 388 h 992"/>
              <a:gd name="T94" fmla="*/ 932 w 1248"/>
              <a:gd name="T95" fmla="*/ 410 h 992"/>
              <a:gd name="T96" fmla="*/ 842 w 1248"/>
              <a:gd name="T97" fmla="*/ 512 h 992"/>
              <a:gd name="T98" fmla="*/ 832 w 1248"/>
              <a:gd name="T99" fmla="*/ 538 h 992"/>
              <a:gd name="T100" fmla="*/ 872 w 1248"/>
              <a:gd name="T101" fmla="*/ 698 h 992"/>
              <a:gd name="T102" fmla="*/ 168 w 1248"/>
              <a:gd name="T103" fmla="*/ 754 h 992"/>
              <a:gd name="T104" fmla="*/ 1208 w 1248"/>
              <a:gd name="T105" fmla="*/ 792 h 992"/>
              <a:gd name="T106" fmla="*/ 1208 w 1248"/>
              <a:gd name="T107" fmla="*/ 874 h 992"/>
              <a:gd name="T108" fmla="*/ 246 w 1248"/>
              <a:gd name="T109" fmla="*/ 852 h 992"/>
              <a:gd name="T110" fmla="*/ 772 w 1248"/>
              <a:gd name="T111" fmla="*/ 78 h 992"/>
              <a:gd name="T112" fmla="*/ 786 w 1248"/>
              <a:gd name="T113" fmla="*/ 34 h 992"/>
              <a:gd name="T114" fmla="*/ 918 w 1248"/>
              <a:gd name="T115" fmla="*/ 4 h 992"/>
              <a:gd name="T116" fmla="*/ 1040 w 1248"/>
              <a:gd name="T117" fmla="*/ 52 h 992"/>
              <a:gd name="T118" fmla="*/ 918 w 1248"/>
              <a:gd name="T119" fmla="*/ 116 h 992"/>
              <a:gd name="T120" fmla="*/ 894 w 1248"/>
              <a:gd name="T121" fmla="*/ 190 h 992"/>
              <a:gd name="T122" fmla="*/ 820 w 1248"/>
              <a:gd name="T123" fmla="*/ 158 h 992"/>
              <a:gd name="T124" fmla="*/ 794 w 1248"/>
              <a:gd name="T125" fmla="*/ 86 h 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48" h="992">
                <a:moveTo>
                  <a:pt x="600" y="254"/>
                </a:moveTo>
                <a:lnTo>
                  <a:pt x="596" y="254"/>
                </a:lnTo>
                <a:lnTo>
                  <a:pt x="600" y="250"/>
                </a:lnTo>
                <a:lnTo>
                  <a:pt x="600" y="254"/>
                </a:lnTo>
                <a:lnTo>
                  <a:pt x="600" y="254"/>
                </a:lnTo>
                <a:lnTo>
                  <a:pt x="600" y="254"/>
                </a:lnTo>
                <a:close/>
                <a:moveTo>
                  <a:pt x="612" y="258"/>
                </a:moveTo>
                <a:lnTo>
                  <a:pt x="612" y="262"/>
                </a:lnTo>
                <a:lnTo>
                  <a:pt x="608" y="264"/>
                </a:lnTo>
                <a:lnTo>
                  <a:pt x="604" y="264"/>
                </a:lnTo>
                <a:lnTo>
                  <a:pt x="600" y="264"/>
                </a:lnTo>
                <a:lnTo>
                  <a:pt x="596" y="264"/>
                </a:lnTo>
                <a:lnTo>
                  <a:pt x="592" y="264"/>
                </a:lnTo>
                <a:lnTo>
                  <a:pt x="590" y="264"/>
                </a:lnTo>
                <a:lnTo>
                  <a:pt x="590" y="262"/>
                </a:lnTo>
                <a:lnTo>
                  <a:pt x="592" y="262"/>
                </a:lnTo>
                <a:lnTo>
                  <a:pt x="596" y="262"/>
                </a:lnTo>
                <a:lnTo>
                  <a:pt x="600" y="262"/>
                </a:lnTo>
                <a:lnTo>
                  <a:pt x="604" y="262"/>
                </a:lnTo>
                <a:lnTo>
                  <a:pt x="604" y="258"/>
                </a:lnTo>
                <a:lnTo>
                  <a:pt x="608" y="258"/>
                </a:lnTo>
                <a:lnTo>
                  <a:pt x="612" y="258"/>
                </a:lnTo>
                <a:lnTo>
                  <a:pt x="612" y="258"/>
                </a:lnTo>
                <a:lnTo>
                  <a:pt x="612" y="258"/>
                </a:lnTo>
                <a:close/>
                <a:moveTo>
                  <a:pt x="764" y="478"/>
                </a:moveTo>
                <a:lnTo>
                  <a:pt x="760" y="478"/>
                </a:lnTo>
                <a:lnTo>
                  <a:pt x="760" y="482"/>
                </a:lnTo>
                <a:lnTo>
                  <a:pt x="756" y="482"/>
                </a:lnTo>
                <a:lnTo>
                  <a:pt x="752" y="482"/>
                </a:lnTo>
                <a:lnTo>
                  <a:pt x="748" y="482"/>
                </a:lnTo>
                <a:lnTo>
                  <a:pt x="746" y="478"/>
                </a:lnTo>
                <a:lnTo>
                  <a:pt x="742" y="474"/>
                </a:lnTo>
                <a:lnTo>
                  <a:pt x="738" y="474"/>
                </a:lnTo>
                <a:lnTo>
                  <a:pt x="742" y="474"/>
                </a:lnTo>
                <a:lnTo>
                  <a:pt x="738" y="474"/>
                </a:lnTo>
                <a:lnTo>
                  <a:pt x="734" y="474"/>
                </a:lnTo>
                <a:lnTo>
                  <a:pt x="734" y="470"/>
                </a:lnTo>
                <a:lnTo>
                  <a:pt x="732" y="470"/>
                </a:lnTo>
                <a:lnTo>
                  <a:pt x="728" y="466"/>
                </a:lnTo>
                <a:lnTo>
                  <a:pt x="724" y="466"/>
                </a:lnTo>
                <a:lnTo>
                  <a:pt x="720" y="466"/>
                </a:lnTo>
                <a:lnTo>
                  <a:pt x="724" y="466"/>
                </a:lnTo>
                <a:lnTo>
                  <a:pt x="724" y="470"/>
                </a:lnTo>
                <a:lnTo>
                  <a:pt x="720" y="466"/>
                </a:lnTo>
                <a:lnTo>
                  <a:pt x="720" y="470"/>
                </a:lnTo>
                <a:lnTo>
                  <a:pt x="716" y="470"/>
                </a:lnTo>
                <a:lnTo>
                  <a:pt x="716" y="466"/>
                </a:lnTo>
                <a:lnTo>
                  <a:pt x="720" y="466"/>
                </a:lnTo>
                <a:lnTo>
                  <a:pt x="716" y="466"/>
                </a:lnTo>
                <a:lnTo>
                  <a:pt x="712" y="466"/>
                </a:lnTo>
                <a:lnTo>
                  <a:pt x="708" y="466"/>
                </a:lnTo>
                <a:lnTo>
                  <a:pt x="706" y="466"/>
                </a:lnTo>
                <a:lnTo>
                  <a:pt x="702" y="466"/>
                </a:lnTo>
                <a:lnTo>
                  <a:pt x="706" y="470"/>
                </a:lnTo>
                <a:lnTo>
                  <a:pt x="708" y="470"/>
                </a:lnTo>
                <a:lnTo>
                  <a:pt x="706" y="470"/>
                </a:lnTo>
                <a:lnTo>
                  <a:pt x="706" y="466"/>
                </a:lnTo>
                <a:lnTo>
                  <a:pt x="708" y="466"/>
                </a:lnTo>
                <a:lnTo>
                  <a:pt x="712" y="466"/>
                </a:lnTo>
                <a:lnTo>
                  <a:pt x="720" y="470"/>
                </a:lnTo>
                <a:lnTo>
                  <a:pt x="724" y="470"/>
                </a:lnTo>
                <a:lnTo>
                  <a:pt x="728" y="470"/>
                </a:lnTo>
                <a:lnTo>
                  <a:pt x="728" y="474"/>
                </a:lnTo>
                <a:lnTo>
                  <a:pt x="732" y="478"/>
                </a:lnTo>
                <a:lnTo>
                  <a:pt x="734" y="482"/>
                </a:lnTo>
                <a:lnTo>
                  <a:pt x="738" y="482"/>
                </a:lnTo>
                <a:lnTo>
                  <a:pt x="742" y="482"/>
                </a:lnTo>
                <a:lnTo>
                  <a:pt x="746" y="482"/>
                </a:lnTo>
                <a:lnTo>
                  <a:pt x="748" y="482"/>
                </a:lnTo>
                <a:lnTo>
                  <a:pt x="752" y="482"/>
                </a:lnTo>
                <a:lnTo>
                  <a:pt x="756" y="482"/>
                </a:lnTo>
                <a:lnTo>
                  <a:pt x="760" y="482"/>
                </a:lnTo>
                <a:lnTo>
                  <a:pt x="764" y="486"/>
                </a:lnTo>
                <a:lnTo>
                  <a:pt x="764" y="490"/>
                </a:lnTo>
                <a:lnTo>
                  <a:pt x="760" y="490"/>
                </a:lnTo>
                <a:lnTo>
                  <a:pt x="756" y="496"/>
                </a:lnTo>
                <a:lnTo>
                  <a:pt x="756" y="500"/>
                </a:lnTo>
                <a:lnTo>
                  <a:pt x="752" y="500"/>
                </a:lnTo>
                <a:lnTo>
                  <a:pt x="752" y="504"/>
                </a:lnTo>
                <a:lnTo>
                  <a:pt x="748" y="508"/>
                </a:lnTo>
                <a:lnTo>
                  <a:pt x="748" y="512"/>
                </a:lnTo>
                <a:lnTo>
                  <a:pt x="746" y="512"/>
                </a:lnTo>
                <a:lnTo>
                  <a:pt x="742" y="512"/>
                </a:lnTo>
                <a:lnTo>
                  <a:pt x="738" y="516"/>
                </a:lnTo>
                <a:lnTo>
                  <a:pt x="734" y="516"/>
                </a:lnTo>
                <a:lnTo>
                  <a:pt x="734" y="512"/>
                </a:lnTo>
                <a:lnTo>
                  <a:pt x="732" y="512"/>
                </a:lnTo>
                <a:lnTo>
                  <a:pt x="732" y="508"/>
                </a:lnTo>
                <a:lnTo>
                  <a:pt x="732" y="512"/>
                </a:lnTo>
                <a:lnTo>
                  <a:pt x="734" y="512"/>
                </a:lnTo>
                <a:lnTo>
                  <a:pt x="734" y="516"/>
                </a:lnTo>
                <a:lnTo>
                  <a:pt x="732" y="516"/>
                </a:lnTo>
                <a:lnTo>
                  <a:pt x="732" y="512"/>
                </a:lnTo>
                <a:lnTo>
                  <a:pt x="728" y="512"/>
                </a:lnTo>
                <a:lnTo>
                  <a:pt x="728" y="516"/>
                </a:lnTo>
                <a:lnTo>
                  <a:pt x="728" y="512"/>
                </a:lnTo>
                <a:lnTo>
                  <a:pt x="724" y="512"/>
                </a:lnTo>
                <a:lnTo>
                  <a:pt x="724" y="508"/>
                </a:lnTo>
                <a:lnTo>
                  <a:pt x="724" y="512"/>
                </a:lnTo>
                <a:lnTo>
                  <a:pt x="724" y="508"/>
                </a:lnTo>
                <a:lnTo>
                  <a:pt x="720" y="512"/>
                </a:lnTo>
                <a:lnTo>
                  <a:pt x="724" y="512"/>
                </a:lnTo>
                <a:lnTo>
                  <a:pt x="724" y="516"/>
                </a:lnTo>
                <a:lnTo>
                  <a:pt x="720" y="516"/>
                </a:lnTo>
                <a:lnTo>
                  <a:pt x="724" y="516"/>
                </a:lnTo>
                <a:lnTo>
                  <a:pt x="720" y="516"/>
                </a:lnTo>
                <a:lnTo>
                  <a:pt x="720" y="512"/>
                </a:lnTo>
                <a:lnTo>
                  <a:pt x="716" y="512"/>
                </a:lnTo>
                <a:lnTo>
                  <a:pt x="720" y="516"/>
                </a:lnTo>
                <a:lnTo>
                  <a:pt x="724" y="520"/>
                </a:lnTo>
                <a:lnTo>
                  <a:pt x="720" y="520"/>
                </a:lnTo>
                <a:lnTo>
                  <a:pt x="720" y="522"/>
                </a:lnTo>
                <a:lnTo>
                  <a:pt x="716" y="522"/>
                </a:lnTo>
                <a:lnTo>
                  <a:pt x="712" y="520"/>
                </a:lnTo>
                <a:lnTo>
                  <a:pt x="712" y="522"/>
                </a:lnTo>
                <a:lnTo>
                  <a:pt x="708" y="522"/>
                </a:lnTo>
                <a:lnTo>
                  <a:pt x="706" y="522"/>
                </a:lnTo>
                <a:lnTo>
                  <a:pt x="702" y="522"/>
                </a:lnTo>
                <a:lnTo>
                  <a:pt x="702" y="520"/>
                </a:lnTo>
                <a:lnTo>
                  <a:pt x="698" y="520"/>
                </a:lnTo>
                <a:lnTo>
                  <a:pt x="694" y="520"/>
                </a:lnTo>
                <a:lnTo>
                  <a:pt x="690" y="520"/>
                </a:lnTo>
                <a:lnTo>
                  <a:pt x="686" y="520"/>
                </a:lnTo>
                <a:lnTo>
                  <a:pt x="682" y="520"/>
                </a:lnTo>
                <a:lnTo>
                  <a:pt x="682" y="516"/>
                </a:lnTo>
                <a:lnTo>
                  <a:pt x="678" y="516"/>
                </a:lnTo>
                <a:lnTo>
                  <a:pt x="676" y="516"/>
                </a:lnTo>
                <a:lnTo>
                  <a:pt x="672" y="512"/>
                </a:lnTo>
                <a:lnTo>
                  <a:pt x="668" y="508"/>
                </a:lnTo>
                <a:lnTo>
                  <a:pt x="672" y="512"/>
                </a:lnTo>
                <a:lnTo>
                  <a:pt x="672" y="516"/>
                </a:lnTo>
                <a:lnTo>
                  <a:pt x="668" y="516"/>
                </a:lnTo>
                <a:lnTo>
                  <a:pt x="672" y="516"/>
                </a:lnTo>
                <a:lnTo>
                  <a:pt x="672" y="520"/>
                </a:lnTo>
                <a:lnTo>
                  <a:pt x="676" y="520"/>
                </a:lnTo>
                <a:lnTo>
                  <a:pt x="676" y="516"/>
                </a:lnTo>
                <a:lnTo>
                  <a:pt x="672" y="516"/>
                </a:lnTo>
                <a:lnTo>
                  <a:pt x="676" y="516"/>
                </a:lnTo>
                <a:lnTo>
                  <a:pt x="678" y="516"/>
                </a:lnTo>
                <a:lnTo>
                  <a:pt x="682" y="520"/>
                </a:lnTo>
                <a:lnTo>
                  <a:pt x="686" y="520"/>
                </a:lnTo>
                <a:lnTo>
                  <a:pt x="690" y="520"/>
                </a:lnTo>
                <a:lnTo>
                  <a:pt x="690" y="522"/>
                </a:lnTo>
                <a:lnTo>
                  <a:pt x="686" y="522"/>
                </a:lnTo>
                <a:lnTo>
                  <a:pt x="690" y="522"/>
                </a:lnTo>
                <a:lnTo>
                  <a:pt x="694" y="522"/>
                </a:lnTo>
                <a:lnTo>
                  <a:pt x="698" y="520"/>
                </a:lnTo>
                <a:lnTo>
                  <a:pt x="698" y="522"/>
                </a:lnTo>
                <a:lnTo>
                  <a:pt x="702" y="526"/>
                </a:lnTo>
                <a:lnTo>
                  <a:pt x="706" y="526"/>
                </a:lnTo>
                <a:lnTo>
                  <a:pt x="708" y="526"/>
                </a:lnTo>
                <a:lnTo>
                  <a:pt x="712" y="530"/>
                </a:lnTo>
                <a:lnTo>
                  <a:pt x="712" y="534"/>
                </a:lnTo>
                <a:lnTo>
                  <a:pt x="712" y="538"/>
                </a:lnTo>
                <a:lnTo>
                  <a:pt x="708" y="538"/>
                </a:lnTo>
                <a:lnTo>
                  <a:pt x="706" y="538"/>
                </a:lnTo>
                <a:lnTo>
                  <a:pt x="706" y="542"/>
                </a:lnTo>
                <a:lnTo>
                  <a:pt x="702" y="542"/>
                </a:lnTo>
                <a:lnTo>
                  <a:pt x="698" y="542"/>
                </a:lnTo>
                <a:lnTo>
                  <a:pt x="694" y="542"/>
                </a:lnTo>
                <a:lnTo>
                  <a:pt x="690" y="542"/>
                </a:lnTo>
                <a:lnTo>
                  <a:pt x="686" y="542"/>
                </a:lnTo>
                <a:lnTo>
                  <a:pt x="690" y="546"/>
                </a:lnTo>
                <a:lnTo>
                  <a:pt x="694" y="546"/>
                </a:lnTo>
                <a:lnTo>
                  <a:pt x="694" y="550"/>
                </a:lnTo>
                <a:lnTo>
                  <a:pt x="690" y="546"/>
                </a:lnTo>
                <a:lnTo>
                  <a:pt x="690" y="550"/>
                </a:lnTo>
                <a:lnTo>
                  <a:pt x="686" y="550"/>
                </a:lnTo>
                <a:lnTo>
                  <a:pt x="682" y="550"/>
                </a:lnTo>
                <a:lnTo>
                  <a:pt x="682" y="552"/>
                </a:lnTo>
                <a:lnTo>
                  <a:pt x="686" y="552"/>
                </a:lnTo>
                <a:lnTo>
                  <a:pt x="686" y="556"/>
                </a:lnTo>
                <a:lnTo>
                  <a:pt x="682" y="556"/>
                </a:lnTo>
                <a:lnTo>
                  <a:pt x="682" y="552"/>
                </a:lnTo>
                <a:lnTo>
                  <a:pt x="678" y="552"/>
                </a:lnTo>
                <a:lnTo>
                  <a:pt x="682" y="552"/>
                </a:lnTo>
                <a:lnTo>
                  <a:pt x="682" y="556"/>
                </a:lnTo>
                <a:lnTo>
                  <a:pt x="678" y="556"/>
                </a:lnTo>
                <a:lnTo>
                  <a:pt x="678" y="560"/>
                </a:lnTo>
                <a:lnTo>
                  <a:pt x="676" y="560"/>
                </a:lnTo>
                <a:lnTo>
                  <a:pt x="676" y="564"/>
                </a:lnTo>
                <a:lnTo>
                  <a:pt x="672" y="564"/>
                </a:lnTo>
                <a:lnTo>
                  <a:pt x="672" y="560"/>
                </a:lnTo>
                <a:lnTo>
                  <a:pt x="672" y="564"/>
                </a:lnTo>
                <a:lnTo>
                  <a:pt x="676" y="564"/>
                </a:lnTo>
                <a:lnTo>
                  <a:pt x="676" y="566"/>
                </a:lnTo>
                <a:lnTo>
                  <a:pt x="672" y="566"/>
                </a:lnTo>
                <a:lnTo>
                  <a:pt x="668" y="570"/>
                </a:lnTo>
                <a:lnTo>
                  <a:pt x="664" y="570"/>
                </a:lnTo>
                <a:lnTo>
                  <a:pt x="664" y="574"/>
                </a:lnTo>
                <a:lnTo>
                  <a:pt x="668" y="574"/>
                </a:lnTo>
                <a:lnTo>
                  <a:pt x="664" y="578"/>
                </a:lnTo>
                <a:lnTo>
                  <a:pt x="664" y="582"/>
                </a:lnTo>
                <a:lnTo>
                  <a:pt x="660" y="586"/>
                </a:lnTo>
                <a:lnTo>
                  <a:pt x="660" y="590"/>
                </a:lnTo>
                <a:lnTo>
                  <a:pt x="656" y="594"/>
                </a:lnTo>
                <a:lnTo>
                  <a:pt x="656" y="596"/>
                </a:lnTo>
                <a:lnTo>
                  <a:pt x="656" y="600"/>
                </a:lnTo>
                <a:lnTo>
                  <a:pt x="656" y="604"/>
                </a:lnTo>
                <a:lnTo>
                  <a:pt x="652" y="604"/>
                </a:lnTo>
                <a:lnTo>
                  <a:pt x="652" y="608"/>
                </a:lnTo>
                <a:lnTo>
                  <a:pt x="652" y="612"/>
                </a:lnTo>
                <a:lnTo>
                  <a:pt x="652" y="616"/>
                </a:lnTo>
                <a:lnTo>
                  <a:pt x="652" y="620"/>
                </a:lnTo>
                <a:lnTo>
                  <a:pt x="656" y="620"/>
                </a:lnTo>
                <a:lnTo>
                  <a:pt x="656" y="622"/>
                </a:lnTo>
                <a:lnTo>
                  <a:pt x="652" y="622"/>
                </a:lnTo>
                <a:lnTo>
                  <a:pt x="652" y="626"/>
                </a:lnTo>
                <a:lnTo>
                  <a:pt x="656" y="630"/>
                </a:lnTo>
                <a:lnTo>
                  <a:pt x="656" y="634"/>
                </a:lnTo>
                <a:lnTo>
                  <a:pt x="660" y="634"/>
                </a:lnTo>
                <a:lnTo>
                  <a:pt x="660" y="638"/>
                </a:lnTo>
                <a:lnTo>
                  <a:pt x="660" y="642"/>
                </a:lnTo>
                <a:lnTo>
                  <a:pt x="660" y="646"/>
                </a:lnTo>
                <a:lnTo>
                  <a:pt x="660" y="642"/>
                </a:lnTo>
                <a:lnTo>
                  <a:pt x="660" y="638"/>
                </a:lnTo>
                <a:lnTo>
                  <a:pt x="664" y="634"/>
                </a:lnTo>
                <a:lnTo>
                  <a:pt x="668" y="634"/>
                </a:lnTo>
                <a:lnTo>
                  <a:pt x="672" y="634"/>
                </a:lnTo>
                <a:lnTo>
                  <a:pt x="676" y="634"/>
                </a:lnTo>
                <a:lnTo>
                  <a:pt x="678" y="634"/>
                </a:lnTo>
                <a:lnTo>
                  <a:pt x="678" y="638"/>
                </a:lnTo>
                <a:lnTo>
                  <a:pt x="678" y="642"/>
                </a:lnTo>
                <a:lnTo>
                  <a:pt x="678" y="646"/>
                </a:lnTo>
                <a:lnTo>
                  <a:pt x="682" y="650"/>
                </a:lnTo>
                <a:lnTo>
                  <a:pt x="682" y="652"/>
                </a:lnTo>
                <a:lnTo>
                  <a:pt x="682" y="656"/>
                </a:lnTo>
                <a:lnTo>
                  <a:pt x="686" y="660"/>
                </a:lnTo>
                <a:lnTo>
                  <a:pt x="686" y="664"/>
                </a:lnTo>
                <a:lnTo>
                  <a:pt x="686" y="668"/>
                </a:lnTo>
                <a:lnTo>
                  <a:pt x="686" y="672"/>
                </a:lnTo>
                <a:lnTo>
                  <a:pt x="682" y="676"/>
                </a:lnTo>
                <a:lnTo>
                  <a:pt x="686" y="676"/>
                </a:lnTo>
                <a:lnTo>
                  <a:pt x="686" y="672"/>
                </a:lnTo>
                <a:lnTo>
                  <a:pt x="690" y="672"/>
                </a:lnTo>
                <a:lnTo>
                  <a:pt x="690" y="676"/>
                </a:lnTo>
                <a:lnTo>
                  <a:pt x="686" y="676"/>
                </a:lnTo>
                <a:lnTo>
                  <a:pt x="690" y="676"/>
                </a:lnTo>
                <a:lnTo>
                  <a:pt x="690" y="672"/>
                </a:lnTo>
                <a:lnTo>
                  <a:pt x="694" y="672"/>
                </a:lnTo>
                <a:lnTo>
                  <a:pt x="698" y="672"/>
                </a:lnTo>
                <a:lnTo>
                  <a:pt x="706" y="668"/>
                </a:lnTo>
                <a:lnTo>
                  <a:pt x="708" y="668"/>
                </a:lnTo>
                <a:lnTo>
                  <a:pt x="712" y="668"/>
                </a:lnTo>
                <a:lnTo>
                  <a:pt x="716" y="668"/>
                </a:lnTo>
                <a:lnTo>
                  <a:pt x="716" y="672"/>
                </a:lnTo>
                <a:lnTo>
                  <a:pt x="720" y="672"/>
                </a:lnTo>
                <a:lnTo>
                  <a:pt x="724" y="672"/>
                </a:lnTo>
                <a:lnTo>
                  <a:pt x="724" y="676"/>
                </a:lnTo>
                <a:lnTo>
                  <a:pt x="728" y="676"/>
                </a:lnTo>
                <a:lnTo>
                  <a:pt x="732" y="676"/>
                </a:lnTo>
                <a:lnTo>
                  <a:pt x="734" y="676"/>
                </a:lnTo>
                <a:lnTo>
                  <a:pt x="738" y="680"/>
                </a:lnTo>
                <a:lnTo>
                  <a:pt x="742" y="680"/>
                </a:lnTo>
                <a:lnTo>
                  <a:pt x="742" y="682"/>
                </a:lnTo>
                <a:lnTo>
                  <a:pt x="746" y="682"/>
                </a:lnTo>
                <a:lnTo>
                  <a:pt x="746" y="686"/>
                </a:lnTo>
                <a:lnTo>
                  <a:pt x="748" y="686"/>
                </a:lnTo>
                <a:lnTo>
                  <a:pt x="752" y="690"/>
                </a:lnTo>
                <a:lnTo>
                  <a:pt x="756" y="694"/>
                </a:lnTo>
                <a:lnTo>
                  <a:pt x="760" y="698"/>
                </a:lnTo>
                <a:lnTo>
                  <a:pt x="764" y="698"/>
                </a:lnTo>
                <a:lnTo>
                  <a:pt x="768" y="698"/>
                </a:lnTo>
                <a:lnTo>
                  <a:pt x="772" y="698"/>
                </a:lnTo>
                <a:lnTo>
                  <a:pt x="772" y="702"/>
                </a:lnTo>
                <a:lnTo>
                  <a:pt x="776" y="702"/>
                </a:lnTo>
                <a:lnTo>
                  <a:pt x="778" y="702"/>
                </a:lnTo>
                <a:lnTo>
                  <a:pt x="782" y="706"/>
                </a:lnTo>
                <a:lnTo>
                  <a:pt x="786" y="708"/>
                </a:lnTo>
                <a:lnTo>
                  <a:pt x="790" y="708"/>
                </a:lnTo>
                <a:lnTo>
                  <a:pt x="790" y="712"/>
                </a:lnTo>
                <a:lnTo>
                  <a:pt x="786" y="712"/>
                </a:lnTo>
                <a:lnTo>
                  <a:pt x="786" y="716"/>
                </a:lnTo>
                <a:lnTo>
                  <a:pt x="786" y="712"/>
                </a:lnTo>
                <a:lnTo>
                  <a:pt x="790" y="712"/>
                </a:lnTo>
                <a:lnTo>
                  <a:pt x="794" y="712"/>
                </a:lnTo>
                <a:lnTo>
                  <a:pt x="798" y="712"/>
                </a:lnTo>
                <a:lnTo>
                  <a:pt x="802" y="712"/>
                </a:lnTo>
                <a:lnTo>
                  <a:pt x="806" y="712"/>
                </a:lnTo>
                <a:lnTo>
                  <a:pt x="806" y="708"/>
                </a:lnTo>
                <a:lnTo>
                  <a:pt x="808" y="708"/>
                </a:lnTo>
                <a:lnTo>
                  <a:pt x="812" y="712"/>
                </a:lnTo>
                <a:lnTo>
                  <a:pt x="808" y="712"/>
                </a:lnTo>
                <a:lnTo>
                  <a:pt x="812" y="712"/>
                </a:lnTo>
                <a:lnTo>
                  <a:pt x="816" y="712"/>
                </a:lnTo>
                <a:lnTo>
                  <a:pt x="820" y="712"/>
                </a:lnTo>
                <a:lnTo>
                  <a:pt x="824" y="712"/>
                </a:lnTo>
                <a:lnTo>
                  <a:pt x="828" y="712"/>
                </a:lnTo>
                <a:lnTo>
                  <a:pt x="828" y="716"/>
                </a:lnTo>
                <a:lnTo>
                  <a:pt x="832" y="716"/>
                </a:lnTo>
                <a:lnTo>
                  <a:pt x="832" y="712"/>
                </a:lnTo>
                <a:lnTo>
                  <a:pt x="832" y="716"/>
                </a:lnTo>
                <a:lnTo>
                  <a:pt x="832" y="720"/>
                </a:lnTo>
                <a:lnTo>
                  <a:pt x="832" y="728"/>
                </a:lnTo>
                <a:lnTo>
                  <a:pt x="828" y="732"/>
                </a:lnTo>
                <a:lnTo>
                  <a:pt x="828" y="736"/>
                </a:lnTo>
                <a:lnTo>
                  <a:pt x="832" y="736"/>
                </a:lnTo>
                <a:lnTo>
                  <a:pt x="832" y="738"/>
                </a:lnTo>
                <a:lnTo>
                  <a:pt x="832" y="742"/>
                </a:lnTo>
                <a:lnTo>
                  <a:pt x="832" y="746"/>
                </a:lnTo>
                <a:lnTo>
                  <a:pt x="832" y="750"/>
                </a:lnTo>
                <a:lnTo>
                  <a:pt x="832" y="754"/>
                </a:lnTo>
                <a:lnTo>
                  <a:pt x="832" y="758"/>
                </a:lnTo>
                <a:lnTo>
                  <a:pt x="832" y="762"/>
                </a:lnTo>
                <a:lnTo>
                  <a:pt x="834" y="766"/>
                </a:lnTo>
                <a:lnTo>
                  <a:pt x="838" y="768"/>
                </a:lnTo>
                <a:lnTo>
                  <a:pt x="838" y="772"/>
                </a:lnTo>
                <a:lnTo>
                  <a:pt x="842" y="772"/>
                </a:lnTo>
                <a:lnTo>
                  <a:pt x="842" y="776"/>
                </a:lnTo>
                <a:lnTo>
                  <a:pt x="838" y="776"/>
                </a:lnTo>
                <a:lnTo>
                  <a:pt x="834" y="776"/>
                </a:lnTo>
                <a:lnTo>
                  <a:pt x="838" y="776"/>
                </a:lnTo>
                <a:lnTo>
                  <a:pt x="842" y="776"/>
                </a:lnTo>
                <a:lnTo>
                  <a:pt x="842" y="780"/>
                </a:lnTo>
                <a:lnTo>
                  <a:pt x="846" y="780"/>
                </a:lnTo>
                <a:lnTo>
                  <a:pt x="850" y="780"/>
                </a:lnTo>
                <a:lnTo>
                  <a:pt x="850" y="784"/>
                </a:lnTo>
                <a:lnTo>
                  <a:pt x="854" y="788"/>
                </a:lnTo>
                <a:lnTo>
                  <a:pt x="854" y="792"/>
                </a:lnTo>
                <a:lnTo>
                  <a:pt x="858" y="792"/>
                </a:lnTo>
                <a:lnTo>
                  <a:pt x="858" y="794"/>
                </a:lnTo>
                <a:lnTo>
                  <a:pt x="854" y="794"/>
                </a:lnTo>
                <a:lnTo>
                  <a:pt x="854" y="798"/>
                </a:lnTo>
                <a:lnTo>
                  <a:pt x="850" y="798"/>
                </a:lnTo>
                <a:lnTo>
                  <a:pt x="850" y="802"/>
                </a:lnTo>
                <a:lnTo>
                  <a:pt x="850" y="798"/>
                </a:lnTo>
                <a:lnTo>
                  <a:pt x="854" y="798"/>
                </a:lnTo>
                <a:lnTo>
                  <a:pt x="854" y="794"/>
                </a:lnTo>
                <a:lnTo>
                  <a:pt x="858" y="794"/>
                </a:lnTo>
                <a:lnTo>
                  <a:pt x="862" y="794"/>
                </a:lnTo>
                <a:lnTo>
                  <a:pt x="862" y="798"/>
                </a:lnTo>
                <a:lnTo>
                  <a:pt x="864" y="798"/>
                </a:lnTo>
                <a:lnTo>
                  <a:pt x="864" y="802"/>
                </a:lnTo>
                <a:lnTo>
                  <a:pt x="868" y="802"/>
                </a:lnTo>
                <a:lnTo>
                  <a:pt x="868" y="806"/>
                </a:lnTo>
                <a:lnTo>
                  <a:pt x="872" y="806"/>
                </a:lnTo>
                <a:lnTo>
                  <a:pt x="872" y="810"/>
                </a:lnTo>
                <a:lnTo>
                  <a:pt x="872" y="806"/>
                </a:lnTo>
                <a:lnTo>
                  <a:pt x="868" y="806"/>
                </a:lnTo>
                <a:lnTo>
                  <a:pt x="868" y="802"/>
                </a:lnTo>
                <a:lnTo>
                  <a:pt x="864" y="798"/>
                </a:lnTo>
                <a:lnTo>
                  <a:pt x="868" y="798"/>
                </a:lnTo>
                <a:lnTo>
                  <a:pt x="868" y="794"/>
                </a:lnTo>
                <a:lnTo>
                  <a:pt x="868" y="792"/>
                </a:lnTo>
                <a:lnTo>
                  <a:pt x="872" y="792"/>
                </a:lnTo>
                <a:lnTo>
                  <a:pt x="872" y="788"/>
                </a:lnTo>
                <a:lnTo>
                  <a:pt x="872" y="792"/>
                </a:lnTo>
                <a:lnTo>
                  <a:pt x="876" y="792"/>
                </a:lnTo>
                <a:lnTo>
                  <a:pt x="876" y="794"/>
                </a:lnTo>
                <a:lnTo>
                  <a:pt x="876" y="798"/>
                </a:lnTo>
                <a:lnTo>
                  <a:pt x="880" y="798"/>
                </a:lnTo>
                <a:lnTo>
                  <a:pt x="880" y="794"/>
                </a:lnTo>
                <a:lnTo>
                  <a:pt x="880" y="792"/>
                </a:lnTo>
                <a:lnTo>
                  <a:pt x="876" y="788"/>
                </a:lnTo>
                <a:lnTo>
                  <a:pt x="880" y="788"/>
                </a:lnTo>
                <a:lnTo>
                  <a:pt x="880" y="784"/>
                </a:lnTo>
                <a:lnTo>
                  <a:pt x="880" y="780"/>
                </a:lnTo>
                <a:lnTo>
                  <a:pt x="884" y="780"/>
                </a:lnTo>
                <a:lnTo>
                  <a:pt x="884" y="776"/>
                </a:lnTo>
                <a:lnTo>
                  <a:pt x="884" y="772"/>
                </a:lnTo>
                <a:lnTo>
                  <a:pt x="884" y="768"/>
                </a:lnTo>
                <a:lnTo>
                  <a:pt x="880" y="768"/>
                </a:lnTo>
                <a:lnTo>
                  <a:pt x="880" y="766"/>
                </a:lnTo>
                <a:lnTo>
                  <a:pt x="880" y="762"/>
                </a:lnTo>
                <a:lnTo>
                  <a:pt x="880" y="758"/>
                </a:lnTo>
                <a:lnTo>
                  <a:pt x="880" y="754"/>
                </a:lnTo>
                <a:lnTo>
                  <a:pt x="876" y="754"/>
                </a:lnTo>
                <a:lnTo>
                  <a:pt x="876" y="750"/>
                </a:lnTo>
                <a:lnTo>
                  <a:pt x="880" y="750"/>
                </a:lnTo>
                <a:lnTo>
                  <a:pt x="876" y="746"/>
                </a:lnTo>
                <a:lnTo>
                  <a:pt x="876" y="742"/>
                </a:lnTo>
                <a:lnTo>
                  <a:pt x="880" y="742"/>
                </a:lnTo>
                <a:lnTo>
                  <a:pt x="876" y="742"/>
                </a:lnTo>
                <a:lnTo>
                  <a:pt x="876" y="738"/>
                </a:lnTo>
                <a:lnTo>
                  <a:pt x="876" y="736"/>
                </a:lnTo>
                <a:lnTo>
                  <a:pt x="872" y="736"/>
                </a:lnTo>
                <a:lnTo>
                  <a:pt x="872" y="732"/>
                </a:lnTo>
                <a:lnTo>
                  <a:pt x="868" y="732"/>
                </a:lnTo>
                <a:lnTo>
                  <a:pt x="868" y="728"/>
                </a:lnTo>
                <a:lnTo>
                  <a:pt x="868" y="724"/>
                </a:lnTo>
                <a:lnTo>
                  <a:pt x="864" y="724"/>
                </a:lnTo>
                <a:lnTo>
                  <a:pt x="868" y="724"/>
                </a:lnTo>
                <a:lnTo>
                  <a:pt x="872" y="724"/>
                </a:lnTo>
                <a:lnTo>
                  <a:pt x="876" y="720"/>
                </a:lnTo>
                <a:lnTo>
                  <a:pt x="880" y="720"/>
                </a:lnTo>
                <a:lnTo>
                  <a:pt x="884" y="716"/>
                </a:lnTo>
                <a:lnTo>
                  <a:pt x="888" y="716"/>
                </a:lnTo>
                <a:lnTo>
                  <a:pt x="890" y="712"/>
                </a:lnTo>
                <a:lnTo>
                  <a:pt x="894" y="708"/>
                </a:lnTo>
                <a:lnTo>
                  <a:pt x="898" y="706"/>
                </a:lnTo>
                <a:lnTo>
                  <a:pt x="902" y="706"/>
                </a:lnTo>
                <a:lnTo>
                  <a:pt x="902" y="702"/>
                </a:lnTo>
                <a:lnTo>
                  <a:pt x="906" y="702"/>
                </a:lnTo>
                <a:lnTo>
                  <a:pt x="910" y="698"/>
                </a:lnTo>
                <a:lnTo>
                  <a:pt x="910" y="694"/>
                </a:lnTo>
                <a:lnTo>
                  <a:pt x="914" y="690"/>
                </a:lnTo>
                <a:lnTo>
                  <a:pt x="914" y="686"/>
                </a:lnTo>
                <a:lnTo>
                  <a:pt x="914" y="682"/>
                </a:lnTo>
                <a:lnTo>
                  <a:pt x="914" y="680"/>
                </a:lnTo>
                <a:lnTo>
                  <a:pt x="914" y="676"/>
                </a:lnTo>
                <a:lnTo>
                  <a:pt x="910" y="672"/>
                </a:lnTo>
                <a:lnTo>
                  <a:pt x="914" y="672"/>
                </a:lnTo>
                <a:lnTo>
                  <a:pt x="910" y="668"/>
                </a:lnTo>
                <a:lnTo>
                  <a:pt x="910" y="664"/>
                </a:lnTo>
                <a:lnTo>
                  <a:pt x="910" y="660"/>
                </a:lnTo>
                <a:lnTo>
                  <a:pt x="906" y="656"/>
                </a:lnTo>
                <a:lnTo>
                  <a:pt x="902" y="650"/>
                </a:lnTo>
                <a:lnTo>
                  <a:pt x="898" y="650"/>
                </a:lnTo>
                <a:lnTo>
                  <a:pt x="898" y="646"/>
                </a:lnTo>
                <a:lnTo>
                  <a:pt x="894" y="646"/>
                </a:lnTo>
                <a:lnTo>
                  <a:pt x="890" y="642"/>
                </a:lnTo>
                <a:lnTo>
                  <a:pt x="888" y="638"/>
                </a:lnTo>
                <a:lnTo>
                  <a:pt x="884" y="638"/>
                </a:lnTo>
                <a:lnTo>
                  <a:pt x="888" y="638"/>
                </a:lnTo>
                <a:lnTo>
                  <a:pt x="884" y="638"/>
                </a:lnTo>
                <a:lnTo>
                  <a:pt x="884" y="634"/>
                </a:lnTo>
                <a:lnTo>
                  <a:pt x="884" y="630"/>
                </a:lnTo>
                <a:lnTo>
                  <a:pt x="888" y="630"/>
                </a:lnTo>
                <a:lnTo>
                  <a:pt x="888" y="626"/>
                </a:lnTo>
                <a:lnTo>
                  <a:pt x="890" y="626"/>
                </a:lnTo>
                <a:lnTo>
                  <a:pt x="890" y="622"/>
                </a:lnTo>
                <a:lnTo>
                  <a:pt x="894" y="622"/>
                </a:lnTo>
                <a:lnTo>
                  <a:pt x="894" y="620"/>
                </a:lnTo>
                <a:lnTo>
                  <a:pt x="890" y="620"/>
                </a:lnTo>
                <a:lnTo>
                  <a:pt x="894" y="616"/>
                </a:lnTo>
                <a:lnTo>
                  <a:pt x="894" y="612"/>
                </a:lnTo>
                <a:lnTo>
                  <a:pt x="898" y="612"/>
                </a:lnTo>
                <a:lnTo>
                  <a:pt x="898" y="616"/>
                </a:lnTo>
                <a:lnTo>
                  <a:pt x="902" y="616"/>
                </a:lnTo>
                <a:lnTo>
                  <a:pt x="898" y="616"/>
                </a:lnTo>
                <a:lnTo>
                  <a:pt x="898" y="612"/>
                </a:lnTo>
                <a:lnTo>
                  <a:pt x="902" y="612"/>
                </a:lnTo>
                <a:lnTo>
                  <a:pt x="898" y="608"/>
                </a:lnTo>
                <a:lnTo>
                  <a:pt x="902" y="604"/>
                </a:lnTo>
                <a:lnTo>
                  <a:pt x="906" y="604"/>
                </a:lnTo>
                <a:lnTo>
                  <a:pt x="910" y="604"/>
                </a:lnTo>
                <a:lnTo>
                  <a:pt x="910" y="600"/>
                </a:lnTo>
                <a:lnTo>
                  <a:pt x="906" y="600"/>
                </a:lnTo>
                <a:lnTo>
                  <a:pt x="906" y="604"/>
                </a:lnTo>
                <a:lnTo>
                  <a:pt x="902" y="604"/>
                </a:lnTo>
                <a:lnTo>
                  <a:pt x="898" y="604"/>
                </a:lnTo>
                <a:lnTo>
                  <a:pt x="898" y="600"/>
                </a:lnTo>
                <a:lnTo>
                  <a:pt x="898" y="596"/>
                </a:lnTo>
                <a:lnTo>
                  <a:pt x="894" y="596"/>
                </a:lnTo>
                <a:lnTo>
                  <a:pt x="898" y="594"/>
                </a:lnTo>
                <a:lnTo>
                  <a:pt x="894" y="594"/>
                </a:lnTo>
                <a:lnTo>
                  <a:pt x="894" y="590"/>
                </a:lnTo>
                <a:lnTo>
                  <a:pt x="898" y="586"/>
                </a:lnTo>
                <a:lnTo>
                  <a:pt x="894" y="590"/>
                </a:lnTo>
                <a:lnTo>
                  <a:pt x="890" y="590"/>
                </a:lnTo>
                <a:lnTo>
                  <a:pt x="890" y="586"/>
                </a:lnTo>
                <a:lnTo>
                  <a:pt x="890" y="590"/>
                </a:lnTo>
                <a:lnTo>
                  <a:pt x="888" y="590"/>
                </a:lnTo>
                <a:lnTo>
                  <a:pt x="888" y="586"/>
                </a:lnTo>
                <a:lnTo>
                  <a:pt x="890" y="582"/>
                </a:lnTo>
                <a:lnTo>
                  <a:pt x="894" y="582"/>
                </a:lnTo>
                <a:lnTo>
                  <a:pt x="894" y="578"/>
                </a:lnTo>
                <a:lnTo>
                  <a:pt x="894" y="574"/>
                </a:lnTo>
                <a:lnTo>
                  <a:pt x="894" y="570"/>
                </a:lnTo>
                <a:lnTo>
                  <a:pt x="898" y="570"/>
                </a:lnTo>
                <a:lnTo>
                  <a:pt x="894" y="570"/>
                </a:lnTo>
                <a:lnTo>
                  <a:pt x="898" y="570"/>
                </a:lnTo>
                <a:lnTo>
                  <a:pt x="894" y="570"/>
                </a:lnTo>
                <a:lnTo>
                  <a:pt x="894" y="566"/>
                </a:lnTo>
                <a:lnTo>
                  <a:pt x="890" y="566"/>
                </a:lnTo>
                <a:lnTo>
                  <a:pt x="890" y="564"/>
                </a:lnTo>
                <a:lnTo>
                  <a:pt x="890" y="560"/>
                </a:lnTo>
                <a:lnTo>
                  <a:pt x="888" y="560"/>
                </a:lnTo>
                <a:lnTo>
                  <a:pt x="888" y="556"/>
                </a:lnTo>
                <a:lnTo>
                  <a:pt x="888" y="552"/>
                </a:lnTo>
                <a:lnTo>
                  <a:pt x="890" y="552"/>
                </a:lnTo>
                <a:lnTo>
                  <a:pt x="894" y="550"/>
                </a:lnTo>
                <a:lnTo>
                  <a:pt x="898" y="550"/>
                </a:lnTo>
                <a:lnTo>
                  <a:pt x="906" y="550"/>
                </a:lnTo>
                <a:lnTo>
                  <a:pt x="910" y="550"/>
                </a:lnTo>
                <a:lnTo>
                  <a:pt x="914" y="550"/>
                </a:lnTo>
                <a:lnTo>
                  <a:pt x="914" y="552"/>
                </a:lnTo>
                <a:lnTo>
                  <a:pt x="918" y="552"/>
                </a:lnTo>
                <a:lnTo>
                  <a:pt x="924" y="552"/>
                </a:lnTo>
                <a:lnTo>
                  <a:pt x="924" y="556"/>
                </a:lnTo>
                <a:lnTo>
                  <a:pt x="920" y="556"/>
                </a:lnTo>
                <a:lnTo>
                  <a:pt x="924" y="556"/>
                </a:lnTo>
                <a:lnTo>
                  <a:pt x="924" y="552"/>
                </a:lnTo>
                <a:lnTo>
                  <a:pt x="928" y="552"/>
                </a:lnTo>
                <a:lnTo>
                  <a:pt x="932" y="552"/>
                </a:lnTo>
                <a:lnTo>
                  <a:pt x="936" y="556"/>
                </a:lnTo>
                <a:lnTo>
                  <a:pt x="940" y="556"/>
                </a:lnTo>
                <a:lnTo>
                  <a:pt x="936" y="556"/>
                </a:lnTo>
                <a:lnTo>
                  <a:pt x="940" y="556"/>
                </a:lnTo>
                <a:lnTo>
                  <a:pt x="944" y="556"/>
                </a:lnTo>
                <a:lnTo>
                  <a:pt x="944" y="552"/>
                </a:lnTo>
                <a:lnTo>
                  <a:pt x="948" y="552"/>
                </a:lnTo>
                <a:lnTo>
                  <a:pt x="950" y="550"/>
                </a:lnTo>
                <a:lnTo>
                  <a:pt x="954" y="550"/>
                </a:lnTo>
                <a:lnTo>
                  <a:pt x="954" y="552"/>
                </a:lnTo>
                <a:lnTo>
                  <a:pt x="958" y="552"/>
                </a:lnTo>
                <a:lnTo>
                  <a:pt x="958" y="556"/>
                </a:lnTo>
                <a:lnTo>
                  <a:pt x="962" y="556"/>
                </a:lnTo>
                <a:lnTo>
                  <a:pt x="966" y="556"/>
                </a:lnTo>
                <a:lnTo>
                  <a:pt x="970" y="560"/>
                </a:lnTo>
                <a:lnTo>
                  <a:pt x="966" y="560"/>
                </a:lnTo>
                <a:lnTo>
                  <a:pt x="966" y="564"/>
                </a:lnTo>
                <a:lnTo>
                  <a:pt x="970" y="564"/>
                </a:lnTo>
                <a:lnTo>
                  <a:pt x="966" y="564"/>
                </a:lnTo>
                <a:lnTo>
                  <a:pt x="970" y="564"/>
                </a:lnTo>
                <a:lnTo>
                  <a:pt x="974" y="564"/>
                </a:lnTo>
                <a:lnTo>
                  <a:pt x="976" y="566"/>
                </a:lnTo>
                <a:lnTo>
                  <a:pt x="974" y="570"/>
                </a:lnTo>
                <a:lnTo>
                  <a:pt x="974" y="566"/>
                </a:lnTo>
                <a:lnTo>
                  <a:pt x="974" y="570"/>
                </a:lnTo>
                <a:lnTo>
                  <a:pt x="976" y="570"/>
                </a:lnTo>
                <a:lnTo>
                  <a:pt x="976" y="566"/>
                </a:lnTo>
                <a:lnTo>
                  <a:pt x="980" y="566"/>
                </a:lnTo>
                <a:lnTo>
                  <a:pt x="980" y="570"/>
                </a:lnTo>
                <a:lnTo>
                  <a:pt x="976" y="574"/>
                </a:lnTo>
                <a:lnTo>
                  <a:pt x="980" y="574"/>
                </a:lnTo>
                <a:lnTo>
                  <a:pt x="980" y="578"/>
                </a:lnTo>
                <a:lnTo>
                  <a:pt x="984" y="578"/>
                </a:lnTo>
                <a:lnTo>
                  <a:pt x="988" y="578"/>
                </a:lnTo>
                <a:lnTo>
                  <a:pt x="992" y="582"/>
                </a:lnTo>
                <a:lnTo>
                  <a:pt x="996" y="582"/>
                </a:lnTo>
                <a:lnTo>
                  <a:pt x="1000" y="582"/>
                </a:lnTo>
                <a:lnTo>
                  <a:pt x="1004" y="582"/>
                </a:lnTo>
                <a:lnTo>
                  <a:pt x="1004" y="586"/>
                </a:lnTo>
                <a:lnTo>
                  <a:pt x="1006" y="586"/>
                </a:lnTo>
                <a:lnTo>
                  <a:pt x="1010" y="586"/>
                </a:lnTo>
                <a:lnTo>
                  <a:pt x="1010" y="582"/>
                </a:lnTo>
                <a:lnTo>
                  <a:pt x="1014" y="586"/>
                </a:lnTo>
                <a:lnTo>
                  <a:pt x="1014" y="590"/>
                </a:lnTo>
                <a:lnTo>
                  <a:pt x="1010" y="590"/>
                </a:lnTo>
                <a:lnTo>
                  <a:pt x="1006" y="590"/>
                </a:lnTo>
                <a:lnTo>
                  <a:pt x="1010" y="590"/>
                </a:lnTo>
                <a:lnTo>
                  <a:pt x="1010" y="594"/>
                </a:lnTo>
                <a:lnTo>
                  <a:pt x="1006" y="594"/>
                </a:lnTo>
                <a:lnTo>
                  <a:pt x="1006" y="596"/>
                </a:lnTo>
                <a:lnTo>
                  <a:pt x="1006" y="600"/>
                </a:lnTo>
                <a:lnTo>
                  <a:pt x="1010" y="600"/>
                </a:lnTo>
                <a:lnTo>
                  <a:pt x="1010" y="604"/>
                </a:lnTo>
                <a:lnTo>
                  <a:pt x="1006" y="604"/>
                </a:lnTo>
                <a:lnTo>
                  <a:pt x="1004" y="604"/>
                </a:lnTo>
                <a:lnTo>
                  <a:pt x="1000" y="604"/>
                </a:lnTo>
                <a:lnTo>
                  <a:pt x="996" y="604"/>
                </a:lnTo>
                <a:lnTo>
                  <a:pt x="992" y="604"/>
                </a:lnTo>
                <a:lnTo>
                  <a:pt x="996" y="608"/>
                </a:lnTo>
                <a:lnTo>
                  <a:pt x="1000" y="608"/>
                </a:lnTo>
                <a:lnTo>
                  <a:pt x="1004" y="608"/>
                </a:lnTo>
                <a:lnTo>
                  <a:pt x="1006" y="608"/>
                </a:lnTo>
                <a:lnTo>
                  <a:pt x="1010" y="608"/>
                </a:lnTo>
                <a:lnTo>
                  <a:pt x="1010" y="612"/>
                </a:lnTo>
                <a:lnTo>
                  <a:pt x="1010" y="616"/>
                </a:lnTo>
                <a:lnTo>
                  <a:pt x="1006" y="616"/>
                </a:lnTo>
                <a:lnTo>
                  <a:pt x="1006" y="620"/>
                </a:lnTo>
                <a:lnTo>
                  <a:pt x="1010" y="620"/>
                </a:lnTo>
                <a:lnTo>
                  <a:pt x="1006" y="620"/>
                </a:lnTo>
                <a:lnTo>
                  <a:pt x="1006" y="622"/>
                </a:lnTo>
                <a:lnTo>
                  <a:pt x="1010" y="622"/>
                </a:lnTo>
                <a:lnTo>
                  <a:pt x="1010" y="620"/>
                </a:lnTo>
                <a:lnTo>
                  <a:pt x="1014" y="620"/>
                </a:lnTo>
                <a:lnTo>
                  <a:pt x="1014" y="622"/>
                </a:lnTo>
                <a:lnTo>
                  <a:pt x="1010" y="622"/>
                </a:lnTo>
                <a:lnTo>
                  <a:pt x="1010" y="626"/>
                </a:lnTo>
                <a:lnTo>
                  <a:pt x="1014" y="626"/>
                </a:lnTo>
                <a:lnTo>
                  <a:pt x="1010" y="626"/>
                </a:lnTo>
                <a:lnTo>
                  <a:pt x="1010" y="630"/>
                </a:lnTo>
                <a:lnTo>
                  <a:pt x="1010" y="634"/>
                </a:lnTo>
                <a:lnTo>
                  <a:pt x="1006" y="630"/>
                </a:lnTo>
                <a:lnTo>
                  <a:pt x="1010" y="630"/>
                </a:lnTo>
                <a:lnTo>
                  <a:pt x="1006" y="630"/>
                </a:lnTo>
                <a:lnTo>
                  <a:pt x="1006" y="626"/>
                </a:lnTo>
                <a:lnTo>
                  <a:pt x="1006" y="630"/>
                </a:lnTo>
                <a:lnTo>
                  <a:pt x="1006" y="634"/>
                </a:lnTo>
                <a:lnTo>
                  <a:pt x="1004" y="634"/>
                </a:lnTo>
                <a:lnTo>
                  <a:pt x="1006" y="634"/>
                </a:lnTo>
                <a:lnTo>
                  <a:pt x="1006" y="638"/>
                </a:lnTo>
                <a:lnTo>
                  <a:pt x="1010" y="634"/>
                </a:lnTo>
                <a:lnTo>
                  <a:pt x="1014" y="634"/>
                </a:lnTo>
                <a:lnTo>
                  <a:pt x="1014" y="630"/>
                </a:lnTo>
                <a:lnTo>
                  <a:pt x="1018" y="630"/>
                </a:lnTo>
                <a:lnTo>
                  <a:pt x="1022" y="630"/>
                </a:lnTo>
                <a:lnTo>
                  <a:pt x="1026" y="630"/>
                </a:lnTo>
                <a:lnTo>
                  <a:pt x="1026" y="634"/>
                </a:lnTo>
                <a:lnTo>
                  <a:pt x="1030" y="634"/>
                </a:lnTo>
                <a:lnTo>
                  <a:pt x="1030" y="638"/>
                </a:lnTo>
                <a:lnTo>
                  <a:pt x="1030" y="642"/>
                </a:lnTo>
                <a:lnTo>
                  <a:pt x="1030" y="646"/>
                </a:lnTo>
                <a:lnTo>
                  <a:pt x="1030" y="650"/>
                </a:lnTo>
                <a:lnTo>
                  <a:pt x="1026" y="650"/>
                </a:lnTo>
                <a:lnTo>
                  <a:pt x="1022" y="652"/>
                </a:lnTo>
                <a:lnTo>
                  <a:pt x="1018" y="652"/>
                </a:lnTo>
                <a:lnTo>
                  <a:pt x="1014" y="652"/>
                </a:lnTo>
                <a:lnTo>
                  <a:pt x="1014" y="656"/>
                </a:lnTo>
                <a:lnTo>
                  <a:pt x="1014" y="652"/>
                </a:lnTo>
                <a:lnTo>
                  <a:pt x="1018" y="652"/>
                </a:lnTo>
                <a:lnTo>
                  <a:pt x="1022" y="652"/>
                </a:lnTo>
                <a:lnTo>
                  <a:pt x="1026" y="652"/>
                </a:lnTo>
                <a:lnTo>
                  <a:pt x="1026" y="650"/>
                </a:lnTo>
                <a:lnTo>
                  <a:pt x="1030" y="650"/>
                </a:lnTo>
                <a:lnTo>
                  <a:pt x="1030" y="646"/>
                </a:lnTo>
                <a:lnTo>
                  <a:pt x="1030" y="642"/>
                </a:lnTo>
                <a:lnTo>
                  <a:pt x="1030" y="638"/>
                </a:lnTo>
                <a:lnTo>
                  <a:pt x="1032" y="638"/>
                </a:lnTo>
                <a:lnTo>
                  <a:pt x="1032" y="642"/>
                </a:lnTo>
                <a:lnTo>
                  <a:pt x="1032" y="646"/>
                </a:lnTo>
                <a:lnTo>
                  <a:pt x="1032" y="650"/>
                </a:lnTo>
                <a:lnTo>
                  <a:pt x="1032" y="646"/>
                </a:lnTo>
                <a:lnTo>
                  <a:pt x="1036" y="646"/>
                </a:lnTo>
                <a:lnTo>
                  <a:pt x="1036" y="642"/>
                </a:lnTo>
                <a:lnTo>
                  <a:pt x="1036" y="646"/>
                </a:lnTo>
                <a:lnTo>
                  <a:pt x="1036" y="652"/>
                </a:lnTo>
                <a:lnTo>
                  <a:pt x="1036" y="650"/>
                </a:lnTo>
                <a:lnTo>
                  <a:pt x="1040" y="646"/>
                </a:lnTo>
                <a:lnTo>
                  <a:pt x="1044" y="642"/>
                </a:lnTo>
                <a:lnTo>
                  <a:pt x="1048" y="642"/>
                </a:lnTo>
                <a:lnTo>
                  <a:pt x="1052" y="642"/>
                </a:lnTo>
                <a:lnTo>
                  <a:pt x="1052" y="638"/>
                </a:lnTo>
                <a:lnTo>
                  <a:pt x="1052" y="634"/>
                </a:lnTo>
                <a:lnTo>
                  <a:pt x="1056" y="634"/>
                </a:lnTo>
                <a:lnTo>
                  <a:pt x="1056" y="630"/>
                </a:lnTo>
                <a:lnTo>
                  <a:pt x="1060" y="634"/>
                </a:lnTo>
                <a:lnTo>
                  <a:pt x="1060" y="638"/>
                </a:lnTo>
                <a:lnTo>
                  <a:pt x="1062" y="638"/>
                </a:lnTo>
                <a:lnTo>
                  <a:pt x="1060" y="642"/>
                </a:lnTo>
                <a:lnTo>
                  <a:pt x="1060" y="646"/>
                </a:lnTo>
                <a:lnTo>
                  <a:pt x="1060" y="642"/>
                </a:lnTo>
                <a:lnTo>
                  <a:pt x="1062" y="642"/>
                </a:lnTo>
                <a:lnTo>
                  <a:pt x="1062" y="638"/>
                </a:lnTo>
                <a:lnTo>
                  <a:pt x="1060" y="634"/>
                </a:lnTo>
                <a:lnTo>
                  <a:pt x="1060" y="630"/>
                </a:lnTo>
                <a:lnTo>
                  <a:pt x="1062" y="630"/>
                </a:lnTo>
                <a:lnTo>
                  <a:pt x="1062" y="634"/>
                </a:lnTo>
                <a:lnTo>
                  <a:pt x="1062" y="630"/>
                </a:lnTo>
                <a:lnTo>
                  <a:pt x="1062" y="626"/>
                </a:lnTo>
                <a:lnTo>
                  <a:pt x="1066" y="626"/>
                </a:lnTo>
                <a:lnTo>
                  <a:pt x="1066" y="630"/>
                </a:lnTo>
                <a:lnTo>
                  <a:pt x="1066" y="626"/>
                </a:lnTo>
                <a:lnTo>
                  <a:pt x="1070" y="626"/>
                </a:lnTo>
                <a:lnTo>
                  <a:pt x="1066" y="626"/>
                </a:lnTo>
                <a:lnTo>
                  <a:pt x="1066" y="622"/>
                </a:lnTo>
                <a:lnTo>
                  <a:pt x="1066" y="620"/>
                </a:lnTo>
                <a:lnTo>
                  <a:pt x="1070" y="620"/>
                </a:lnTo>
                <a:lnTo>
                  <a:pt x="1070" y="622"/>
                </a:lnTo>
                <a:lnTo>
                  <a:pt x="1070" y="620"/>
                </a:lnTo>
                <a:lnTo>
                  <a:pt x="1066" y="620"/>
                </a:lnTo>
                <a:lnTo>
                  <a:pt x="1070" y="620"/>
                </a:lnTo>
                <a:lnTo>
                  <a:pt x="1074" y="620"/>
                </a:lnTo>
                <a:lnTo>
                  <a:pt x="1070" y="620"/>
                </a:lnTo>
                <a:lnTo>
                  <a:pt x="1070" y="616"/>
                </a:lnTo>
                <a:lnTo>
                  <a:pt x="1066" y="616"/>
                </a:lnTo>
                <a:lnTo>
                  <a:pt x="1066" y="612"/>
                </a:lnTo>
                <a:lnTo>
                  <a:pt x="1070" y="612"/>
                </a:lnTo>
                <a:lnTo>
                  <a:pt x="1070" y="608"/>
                </a:lnTo>
                <a:lnTo>
                  <a:pt x="1070" y="612"/>
                </a:lnTo>
                <a:lnTo>
                  <a:pt x="1074" y="612"/>
                </a:lnTo>
                <a:lnTo>
                  <a:pt x="1074" y="608"/>
                </a:lnTo>
                <a:lnTo>
                  <a:pt x="1070" y="608"/>
                </a:lnTo>
                <a:lnTo>
                  <a:pt x="1074" y="608"/>
                </a:lnTo>
                <a:lnTo>
                  <a:pt x="1074" y="604"/>
                </a:lnTo>
                <a:lnTo>
                  <a:pt x="1076" y="600"/>
                </a:lnTo>
                <a:lnTo>
                  <a:pt x="1076" y="596"/>
                </a:lnTo>
                <a:lnTo>
                  <a:pt x="1080" y="596"/>
                </a:lnTo>
                <a:lnTo>
                  <a:pt x="1080" y="600"/>
                </a:lnTo>
                <a:lnTo>
                  <a:pt x="1076" y="600"/>
                </a:lnTo>
                <a:lnTo>
                  <a:pt x="1080" y="600"/>
                </a:lnTo>
                <a:lnTo>
                  <a:pt x="1084" y="600"/>
                </a:lnTo>
                <a:lnTo>
                  <a:pt x="1080" y="604"/>
                </a:lnTo>
                <a:lnTo>
                  <a:pt x="1076" y="604"/>
                </a:lnTo>
                <a:lnTo>
                  <a:pt x="1076" y="608"/>
                </a:lnTo>
                <a:lnTo>
                  <a:pt x="1076" y="604"/>
                </a:lnTo>
                <a:lnTo>
                  <a:pt x="1080" y="604"/>
                </a:lnTo>
                <a:lnTo>
                  <a:pt x="1084" y="604"/>
                </a:lnTo>
                <a:lnTo>
                  <a:pt x="1084" y="608"/>
                </a:lnTo>
                <a:lnTo>
                  <a:pt x="1080" y="608"/>
                </a:lnTo>
                <a:lnTo>
                  <a:pt x="1084" y="608"/>
                </a:lnTo>
                <a:lnTo>
                  <a:pt x="1084" y="604"/>
                </a:lnTo>
                <a:lnTo>
                  <a:pt x="1088" y="604"/>
                </a:lnTo>
                <a:lnTo>
                  <a:pt x="1088" y="608"/>
                </a:lnTo>
                <a:lnTo>
                  <a:pt x="1084" y="612"/>
                </a:lnTo>
                <a:lnTo>
                  <a:pt x="1088" y="612"/>
                </a:lnTo>
                <a:lnTo>
                  <a:pt x="1088" y="616"/>
                </a:lnTo>
                <a:lnTo>
                  <a:pt x="1092" y="616"/>
                </a:lnTo>
                <a:lnTo>
                  <a:pt x="1092" y="620"/>
                </a:lnTo>
                <a:lnTo>
                  <a:pt x="1088" y="620"/>
                </a:lnTo>
                <a:lnTo>
                  <a:pt x="1092" y="620"/>
                </a:lnTo>
                <a:lnTo>
                  <a:pt x="1092" y="622"/>
                </a:lnTo>
                <a:lnTo>
                  <a:pt x="1092" y="620"/>
                </a:lnTo>
                <a:lnTo>
                  <a:pt x="1096" y="620"/>
                </a:lnTo>
                <a:lnTo>
                  <a:pt x="1096" y="622"/>
                </a:lnTo>
                <a:lnTo>
                  <a:pt x="1100" y="622"/>
                </a:lnTo>
                <a:lnTo>
                  <a:pt x="1096" y="626"/>
                </a:lnTo>
                <a:lnTo>
                  <a:pt x="1092" y="626"/>
                </a:lnTo>
                <a:lnTo>
                  <a:pt x="1088" y="626"/>
                </a:lnTo>
                <a:lnTo>
                  <a:pt x="1088" y="630"/>
                </a:lnTo>
                <a:lnTo>
                  <a:pt x="1092" y="626"/>
                </a:lnTo>
                <a:lnTo>
                  <a:pt x="1096" y="626"/>
                </a:lnTo>
                <a:lnTo>
                  <a:pt x="1100" y="626"/>
                </a:lnTo>
                <a:lnTo>
                  <a:pt x="1100" y="630"/>
                </a:lnTo>
                <a:lnTo>
                  <a:pt x="1104" y="630"/>
                </a:lnTo>
                <a:lnTo>
                  <a:pt x="1104" y="634"/>
                </a:lnTo>
                <a:lnTo>
                  <a:pt x="1106" y="634"/>
                </a:lnTo>
                <a:lnTo>
                  <a:pt x="1106" y="638"/>
                </a:lnTo>
                <a:lnTo>
                  <a:pt x="1104" y="638"/>
                </a:lnTo>
                <a:lnTo>
                  <a:pt x="1100" y="642"/>
                </a:lnTo>
                <a:lnTo>
                  <a:pt x="1096" y="642"/>
                </a:lnTo>
                <a:lnTo>
                  <a:pt x="1096" y="646"/>
                </a:lnTo>
                <a:lnTo>
                  <a:pt x="1096" y="642"/>
                </a:lnTo>
                <a:lnTo>
                  <a:pt x="1100" y="642"/>
                </a:lnTo>
                <a:lnTo>
                  <a:pt x="1104" y="642"/>
                </a:lnTo>
                <a:lnTo>
                  <a:pt x="1106" y="642"/>
                </a:lnTo>
                <a:lnTo>
                  <a:pt x="1110" y="642"/>
                </a:lnTo>
                <a:lnTo>
                  <a:pt x="1106" y="642"/>
                </a:lnTo>
                <a:lnTo>
                  <a:pt x="1106" y="646"/>
                </a:lnTo>
                <a:lnTo>
                  <a:pt x="1110" y="646"/>
                </a:lnTo>
                <a:lnTo>
                  <a:pt x="1106" y="646"/>
                </a:lnTo>
                <a:lnTo>
                  <a:pt x="1106" y="650"/>
                </a:lnTo>
                <a:lnTo>
                  <a:pt x="1106" y="646"/>
                </a:lnTo>
                <a:lnTo>
                  <a:pt x="1104" y="650"/>
                </a:lnTo>
                <a:lnTo>
                  <a:pt x="1100" y="650"/>
                </a:lnTo>
                <a:lnTo>
                  <a:pt x="1100" y="652"/>
                </a:lnTo>
                <a:lnTo>
                  <a:pt x="1104" y="650"/>
                </a:lnTo>
                <a:lnTo>
                  <a:pt x="1106" y="650"/>
                </a:lnTo>
                <a:lnTo>
                  <a:pt x="1110" y="650"/>
                </a:lnTo>
                <a:lnTo>
                  <a:pt x="1110" y="646"/>
                </a:lnTo>
                <a:lnTo>
                  <a:pt x="1110" y="650"/>
                </a:lnTo>
                <a:lnTo>
                  <a:pt x="1114" y="650"/>
                </a:lnTo>
                <a:lnTo>
                  <a:pt x="1110" y="650"/>
                </a:lnTo>
                <a:lnTo>
                  <a:pt x="1110" y="652"/>
                </a:lnTo>
                <a:lnTo>
                  <a:pt x="1110" y="650"/>
                </a:lnTo>
                <a:lnTo>
                  <a:pt x="1110" y="652"/>
                </a:lnTo>
                <a:lnTo>
                  <a:pt x="1106" y="652"/>
                </a:lnTo>
                <a:lnTo>
                  <a:pt x="1110" y="652"/>
                </a:lnTo>
                <a:lnTo>
                  <a:pt x="1114" y="652"/>
                </a:lnTo>
                <a:lnTo>
                  <a:pt x="1114" y="656"/>
                </a:lnTo>
                <a:lnTo>
                  <a:pt x="1118" y="656"/>
                </a:lnTo>
                <a:lnTo>
                  <a:pt x="1118" y="660"/>
                </a:lnTo>
                <a:lnTo>
                  <a:pt x="1114" y="660"/>
                </a:lnTo>
                <a:lnTo>
                  <a:pt x="1114" y="664"/>
                </a:lnTo>
                <a:lnTo>
                  <a:pt x="1110" y="664"/>
                </a:lnTo>
                <a:lnTo>
                  <a:pt x="1110" y="660"/>
                </a:lnTo>
                <a:lnTo>
                  <a:pt x="1110" y="664"/>
                </a:lnTo>
                <a:lnTo>
                  <a:pt x="1114" y="664"/>
                </a:lnTo>
                <a:lnTo>
                  <a:pt x="1118" y="664"/>
                </a:lnTo>
                <a:lnTo>
                  <a:pt x="1118" y="668"/>
                </a:lnTo>
                <a:lnTo>
                  <a:pt x="1118" y="672"/>
                </a:lnTo>
                <a:lnTo>
                  <a:pt x="1122" y="672"/>
                </a:lnTo>
                <a:lnTo>
                  <a:pt x="1126" y="672"/>
                </a:lnTo>
                <a:lnTo>
                  <a:pt x="1126" y="676"/>
                </a:lnTo>
                <a:lnTo>
                  <a:pt x="1122" y="676"/>
                </a:lnTo>
                <a:lnTo>
                  <a:pt x="1122" y="680"/>
                </a:lnTo>
                <a:lnTo>
                  <a:pt x="1118" y="680"/>
                </a:lnTo>
                <a:lnTo>
                  <a:pt x="1122" y="680"/>
                </a:lnTo>
                <a:lnTo>
                  <a:pt x="1118" y="680"/>
                </a:lnTo>
                <a:lnTo>
                  <a:pt x="1122" y="680"/>
                </a:lnTo>
                <a:lnTo>
                  <a:pt x="1122" y="682"/>
                </a:lnTo>
                <a:lnTo>
                  <a:pt x="1118" y="682"/>
                </a:lnTo>
                <a:lnTo>
                  <a:pt x="1118" y="680"/>
                </a:lnTo>
                <a:lnTo>
                  <a:pt x="1114" y="680"/>
                </a:lnTo>
                <a:lnTo>
                  <a:pt x="1110" y="680"/>
                </a:lnTo>
                <a:lnTo>
                  <a:pt x="1114" y="680"/>
                </a:lnTo>
                <a:lnTo>
                  <a:pt x="1114" y="676"/>
                </a:lnTo>
                <a:lnTo>
                  <a:pt x="1110" y="676"/>
                </a:lnTo>
                <a:lnTo>
                  <a:pt x="1110" y="680"/>
                </a:lnTo>
                <a:lnTo>
                  <a:pt x="1114" y="680"/>
                </a:lnTo>
                <a:lnTo>
                  <a:pt x="1118" y="682"/>
                </a:lnTo>
                <a:lnTo>
                  <a:pt x="1114" y="682"/>
                </a:lnTo>
                <a:lnTo>
                  <a:pt x="1118" y="682"/>
                </a:lnTo>
                <a:lnTo>
                  <a:pt x="1122" y="682"/>
                </a:lnTo>
                <a:lnTo>
                  <a:pt x="1122" y="686"/>
                </a:lnTo>
                <a:lnTo>
                  <a:pt x="1118" y="686"/>
                </a:lnTo>
                <a:lnTo>
                  <a:pt x="1118" y="682"/>
                </a:lnTo>
                <a:lnTo>
                  <a:pt x="1114" y="686"/>
                </a:lnTo>
                <a:lnTo>
                  <a:pt x="1118" y="686"/>
                </a:lnTo>
                <a:lnTo>
                  <a:pt x="1114" y="686"/>
                </a:lnTo>
                <a:lnTo>
                  <a:pt x="1118" y="686"/>
                </a:lnTo>
                <a:lnTo>
                  <a:pt x="1122" y="686"/>
                </a:lnTo>
                <a:lnTo>
                  <a:pt x="1122" y="690"/>
                </a:lnTo>
                <a:lnTo>
                  <a:pt x="1118" y="690"/>
                </a:lnTo>
                <a:lnTo>
                  <a:pt x="1114" y="690"/>
                </a:lnTo>
                <a:lnTo>
                  <a:pt x="1118" y="690"/>
                </a:lnTo>
                <a:lnTo>
                  <a:pt x="1122" y="690"/>
                </a:lnTo>
                <a:lnTo>
                  <a:pt x="1126" y="690"/>
                </a:lnTo>
                <a:lnTo>
                  <a:pt x="1126" y="694"/>
                </a:lnTo>
                <a:lnTo>
                  <a:pt x="1130" y="694"/>
                </a:lnTo>
                <a:lnTo>
                  <a:pt x="1126" y="694"/>
                </a:lnTo>
                <a:lnTo>
                  <a:pt x="1126" y="698"/>
                </a:lnTo>
                <a:lnTo>
                  <a:pt x="1130" y="698"/>
                </a:lnTo>
                <a:lnTo>
                  <a:pt x="1132" y="698"/>
                </a:lnTo>
                <a:lnTo>
                  <a:pt x="1136" y="698"/>
                </a:lnTo>
                <a:lnTo>
                  <a:pt x="1136" y="702"/>
                </a:lnTo>
                <a:lnTo>
                  <a:pt x="1132" y="702"/>
                </a:lnTo>
                <a:lnTo>
                  <a:pt x="1136" y="702"/>
                </a:lnTo>
                <a:lnTo>
                  <a:pt x="1136" y="698"/>
                </a:lnTo>
                <a:lnTo>
                  <a:pt x="1136" y="702"/>
                </a:lnTo>
                <a:lnTo>
                  <a:pt x="1136" y="706"/>
                </a:lnTo>
                <a:lnTo>
                  <a:pt x="1136" y="702"/>
                </a:lnTo>
                <a:lnTo>
                  <a:pt x="1140" y="702"/>
                </a:lnTo>
                <a:lnTo>
                  <a:pt x="1136" y="702"/>
                </a:lnTo>
                <a:lnTo>
                  <a:pt x="1136" y="706"/>
                </a:lnTo>
                <a:lnTo>
                  <a:pt x="1140" y="706"/>
                </a:lnTo>
                <a:lnTo>
                  <a:pt x="1140" y="708"/>
                </a:lnTo>
                <a:lnTo>
                  <a:pt x="1136" y="708"/>
                </a:lnTo>
                <a:lnTo>
                  <a:pt x="1140" y="708"/>
                </a:lnTo>
                <a:lnTo>
                  <a:pt x="1140" y="706"/>
                </a:lnTo>
                <a:lnTo>
                  <a:pt x="1144" y="706"/>
                </a:lnTo>
                <a:lnTo>
                  <a:pt x="1144" y="708"/>
                </a:lnTo>
                <a:lnTo>
                  <a:pt x="1140" y="708"/>
                </a:lnTo>
                <a:lnTo>
                  <a:pt x="1140" y="712"/>
                </a:lnTo>
                <a:lnTo>
                  <a:pt x="1136" y="712"/>
                </a:lnTo>
                <a:lnTo>
                  <a:pt x="1140" y="712"/>
                </a:lnTo>
                <a:lnTo>
                  <a:pt x="1136" y="716"/>
                </a:lnTo>
                <a:lnTo>
                  <a:pt x="1140" y="716"/>
                </a:lnTo>
                <a:lnTo>
                  <a:pt x="1140" y="712"/>
                </a:lnTo>
                <a:lnTo>
                  <a:pt x="1144" y="712"/>
                </a:lnTo>
                <a:lnTo>
                  <a:pt x="1144" y="716"/>
                </a:lnTo>
                <a:lnTo>
                  <a:pt x="1140" y="716"/>
                </a:lnTo>
                <a:lnTo>
                  <a:pt x="1144" y="716"/>
                </a:lnTo>
                <a:lnTo>
                  <a:pt x="1144" y="712"/>
                </a:lnTo>
                <a:lnTo>
                  <a:pt x="1148" y="712"/>
                </a:lnTo>
                <a:lnTo>
                  <a:pt x="1148" y="708"/>
                </a:lnTo>
                <a:lnTo>
                  <a:pt x="1148" y="712"/>
                </a:lnTo>
                <a:lnTo>
                  <a:pt x="1144" y="712"/>
                </a:lnTo>
                <a:lnTo>
                  <a:pt x="1144" y="716"/>
                </a:lnTo>
                <a:lnTo>
                  <a:pt x="1148" y="716"/>
                </a:lnTo>
                <a:lnTo>
                  <a:pt x="1152" y="712"/>
                </a:lnTo>
                <a:lnTo>
                  <a:pt x="1152" y="716"/>
                </a:lnTo>
                <a:lnTo>
                  <a:pt x="1148" y="720"/>
                </a:lnTo>
                <a:lnTo>
                  <a:pt x="1148" y="724"/>
                </a:lnTo>
                <a:lnTo>
                  <a:pt x="1148" y="720"/>
                </a:lnTo>
                <a:lnTo>
                  <a:pt x="1152" y="720"/>
                </a:lnTo>
                <a:lnTo>
                  <a:pt x="1156" y="716"/>
                </a:lnTo>
                <a:lnTo>
                  <a:pt x="1156" y="712"/>
                </a:lnTo>
                <a:lnTo>
                  <a:pt x="1160" y="712"/>
                </a:lnTo>
                <a:lnTo>
                  <a:pt x="1156" y="712"/>
                </a:lnTo>
                <a:lnTo>
                  <a:pt x="1156" y="716"/>
                </a:lnTo>
                <a:lnTo>
                  <a:pt x="1160" y="716"/>
                </a:lnTo>
                <a:lnTo>
                  <a:pt x="1160" y="712"/>
                </a:lnTo>
                <a:lnTo>
                  <a:pt x="1160" y="716"/>
                </a:lnTo>
                <a:lnTo>
                  <a:pt x="1160" y="720"/>
                </a:lnTo>
                <a:lnTo>
                  <a:pt x="1162" y="720"/>
                </a:lnTo>
                <a:lnTo>
                  <a:pt x="1166" y="724"/>
                </a:lnTo>
                <a:lnTo>
                  <a:pt x="1166" y="720"/>
                </a:lnTo>
                <a:lnTo>
                  <a:pt x="1170" y="720"/>
                </a:lnTo>
                <a:lnTo>
                  <a:pt x="1170" y="724"/>
                </a:lnTo>
                <a:lnTo>
                  <a:pt x="1174" y="724"/>
                </a:lnTo>
                <a:lnTo>
                  <a:pt x="1178" y="724"/>
                </a:lnTo>
                <a:lnTo>
                  <a:pt x="1182" y="724"/>
                </a:lnTo>
                <a:lnTo>
                  <a:pt x="1182" y="728"/>
                </a:lnTo>
                <a:lnTo>
                  <a:pt x="1178" y="728"/>
                </a:lnTo>
                <a:lnTo>
                  <a:pt x="1182" y="728"/>
                </a:lnTo>
                <a:lnTo>
                  <a:pt x="1182" y="732"/>
                </a:lnTo>
                <a:lnTo>
                  <a:pt x="1178" y="732"/>
                </a:lnTo>
                <a:lnTo>
                  <a:pt x="1174" y="732"/>
                </a:lnTo>
                <a:lnTo>
                  <a:pt x="1170" y="732"/>
                </a:lnTo>
                <a:lnTo>
                  <a:pt x="1174" y="732"/>
                </a:lnTo>
                <a:lnTo>
                  <a:pt x="1170" y="736"/>
                </a:lnTo>
                <a:lnTo>
                  <a:pt x="1166" y="736"/>
                </a:lnTo>
                <a:lnTo>
                  <a:pt x="1162" y="736"/>
                </a:lnTo>
                <a:lnTo>
                  <a:pt x="1160" y="736"/>
                </a:lnTo>
                <a:lnTo>
                  <a:pt x="1156" y="738"/>
                </a:lnTo>
                <a:lnTo>
                  <a:pt x="1152" y="738"/>
                </a:lnTo>
                <a:lnTo>
                  <a:pt x="1156" y="738"/>
                </a:lnTo>
                <a:lnTo>
                  <a:pt x="1160" y="738"/>
                </a:lnTo>
                <a:lnTo>
                  <a:pt x="1162" y="736"/>
                </a:lnTo>
                <a:lnTo>
                  <a:pt x="1166" y="736"/>
                </a:lnTo>
                <a:lnTo>
                  <a:pt x="1166" y="738"/>
                </a:lnTo>
                <a:lnTo>
                  <a:pt x="1162" y="738"/>
                </a:lnTo>
                <a:lnTo>
                  <a:pt x="1160" y="738"/>
                </a:lnTo>
                <a:lnTo>
                  <a:pt x="1156" y="738"/>
                </a:lnTo>
                <a:lnTo>
                  <a:pt x="1156" y="742"/>
                </a:lnTo>
                <a:lnTo>
                  <a:pt x="1152" y="742"/>
                </a:lnTo>
                <a:lnTo>
                  <a:pt x="1148" y="742"/>
                </a:lnTo>
                <a:lnTo>
                  <a:pt x="1144" y="742"/>
                </a:lnTo>
                <a:lnTo>
                  <a:pt x="1144" y="746"/>
                </a:lnTo>
                <a:lnTo>
                  <a:pt x="1144" y="750"/>
                </a:lnTo>
                <a:lnTo>
                  <a:pt x="1140" y="746"/>
                </a:lnTo>
                <a:lnTo>
                  <a:pt x="1136" y="746"/>
                </a:lnTo>
                <a:lnTo>
                  <a:pt x="1132" y="742"/>
                </a:lnTo>
                <a:lnTo>
                  <a:pt x="1132" y="746"/>
                </a:lnTo>
                <a:lnTo>
                  <a:pt x="1136" y="746"/>
                </a:lnTo>
                <a:lnTo>
                  <a:pt x="1140" y="746"/>
                </a:lnTo>
                <a:lnTo>
                  <a:pt x="1140" y="750"/>
                </a:lnTo>
                <a:lnTo>
                  <a:pt x="1144" y="750"/>
                </a:lnTo>
                <a:lnTo>
                  <a:pt x="1140" y="754"/>
                </a:lnTo>
                <a:lnTo>
                  <a:pt x="1144" y="754"/>
                </a:lnTo>
                <a:lnTo>
                  <a:pt x="1140" y="754"/>
                </a:lnTo>
                <a:lnTo>
                  <a:pt x="1144" y="754"/>
                </a:lnTo>
                <a:lnTo>
                  <a:pt x="1144" y="750"/>
                </a:lnTo>
                <a:lnTo>
                  <a:pt x="1148" y="750"/>
                </a:lnTo>
                <a:lnTo>
                  <a:pt x="1152" y="750"/>
                </a:lnTo>
                <a:lnTo>
                  <a:pt x="1152" y="746"/>
                </a:lnTo>
                <a:lnTo>
                  <a:pt x="1156" y="746"/>
                </a:lnTo>
                <a:lnTo>
                  <a:pt x="1160" y="746"/>
                </a:lnTo>
                <a:lnTo>
                  <a:pt x="1160" y="742"/>
                </a:lnTo>
                <a:lnTo>
                  <a:pt x="1162" y="742"/>
                </a:lnTo>
                <a:lnTo>
                  <a:pt x="1166" y="738"/>
                </a:lnTo>
                <a:lnTo>
                  <a:pt x="1170" y="738"/>
                </a:lnTo>
                <a:lnTo>
                  <a:pt x="1174" y="738"/>
                </a:lnTo>
                <a:lnTo>
                  <a:pt x="1178" y="738"/>
                </a:lnTo>
                <a:lnTo>
                  <a:pt x="1174" y="736"/>
                </a:lnTo>
                <a:lnTo>
                  <a:pt x="1170" y="736"/>
                </a:lnTo>
                <a:lnTo>
                  <a:pt x="1166" y="736"/>
                </a:lnTo>
                <a:lnTo>
                  <a:pt x="1170" y="736"/>
                </a:lnTo>
                <a:lnTo>
                  <a:pt x="1174" y="736"/>
                </a:lnTo>
                <a:lnTo>
                  <a:pt x="1178" y="736"/>
                </a:lnTo>
                <a:lnTo>
                  <a:pt x="1182" y="736"/>
                </a:lnTo>
                <a:lnTo>
                  <a:pt x="1182" y="738"/>
                </a:lnTo>
                <a:lnTo>
                  <a:pt x="1186" y="742"/>
                </a:lnTo>
                <a:lnTo>
                  <a:pt x="1186" y="746"/>
                </a:lnTo>
                <a:lnTo>
                  <a:pt x="1182" y="746"/>
                </a:lnTo>
                <a:lnTo>
                  <a:pt x="1186" y="750"/>
                </a:lnTo>
                <a:lnTo>
                  <a:pt x="1182" y="750"/>
                </a:lnTo>
                <a:lnTo>
                  <a:pt x="1186" y="750"/>
                </a:lnTo>
                <a:lnTo>
                  <a:pt x="1186" y="746"/>
                </a:lnTo>
                <a:lnTo>
                  <a:pt x="1188" y="746"/>
                </a:lnTo>
                <a:lnTo>
                  <a:pt x="1192" y="746"/>
                </a:lnTo>
                <a:lnTo>
                  <a:pt x="1192" y="742"/>
                </a:lnTo>
                <a:lnTo>
                  <a:pt x="1196" y="742"/>
                </a:lnTo>
                <a:lnTo>
                  <a:pt x="1196" y="746"/>
                </a:lnTo>
                <a:lnTo>
                  <a:pt x="1192" y="746"/>
                </a:lnTo>
                <a:lnTo>
                  <a:pt x="1196" y="746"/>
                </a:lnTo>
                <a:lnTo>
                  <a:pt x="1200" y="746"/>
                </a:lnTo>
                <a:lnTo>
                  <a:pt x="1204" y="750"/>
                </a:lnTo>
                <a:lnTo>
                  <a:pt x="1200" y="750"/>
                </a:lnTo>
                <a:lnTo>
                  <a:pt x="1204" y="750"/>
                </a:lnTo>
                <a:lnTo>
                  <a:pt x="1200" y="754"/>
                </a:lnTo>
                <a:lnTo>
                  <a:pt x="1204" y="754"/>
                </a:lnTo>
                <a:lnTo>
                  <a:pt x="1204" y="758"/>
                </a:lnTo>
                <a:lnTo>
                  <a:pt x="1204" y="762"/>
                </a:lnTo>
                <a:lnTo>
                  <a:pt x="1200" y="762"/>
                </a:lnTo>
                <a:lnTo>
                  <a:pt x="1204" y="762"/>
                </a:lnTo>
                <a:lnTo>
                  <a:pt x="1204" y="766"/>
                </a:lnTo>
                <a:lnTo>
                  <a:pt x="1200" y="766"/>
                </a:lnTo>
                <a:lnTo>
                  <a:pt x="1204" y="768"/>
                </a:lnTo>
                <a:lnTo>
                  <a:pt x="1200" y="768"/>
                </a:lnTo>
                <a:lnTo>
                  <a:pt x="1204" y="768"/>
                </a:lnTo>
                <a:lnTo>
                  <a:pt x="1200" y="768"/>
                </a:lnTo>
                <a:lnTo>
                  <a:pt x="1196" y="768"/>
                </a:lnTo>
                <a:lnTo>
                  <a:pt x="1200" y="768"/>
                </a:lnTo>
                <a:lnTo>
                  <a:pt x="1204" y="772"/>
                </a:lnTo>
                <a:lnTo>
                  <a:pt x="1208" y="772"/>
                </a:lnTo>
                <a:lnTo>
                  <a:pt x="1204" y="776"/>
                </a:lnTo>
                <a:lnTo>
                  <a:pt x="1204" y="772"/>
                </a:lnTo>
                <a:lnTo>
                  <a:pt x="1200" y="772"/>
                </a:lnTo>
                <a:lnTo>
                  <a:pt x="1204" y="772"/>
                </a:lnTo>
                <a:lnTo>
                  <a:pt x="1204" y="776"/>
                </a:lnTo>
                <a:lnTo>
                  <a:pt x="1208" y="776"/>
                </a:lnTo>
                <a:lnTo>
                  <a:pt x="1208" y="780"/>
                </a:lnTo>
                <a:lnTo>
                  <a:pt x="1204" y="784"/>
                </a:lnTo>
                <a:lnTo>
                  <a:pt x="1200" y="784"/>
                </a:lnTo>
                <a:lnTo>
                  <a:pt x="1200" y="788"/>
                </a:lnTo>
                <a:lnTo>
                  <a:pt x="1196" y="788"/>
                </a:lnTo>
                <a:lnTo>
                  <a:pt x="1192" y="792"/>
                </a:lnTo>
                <a:lnTo>
                  <a:pt x="1188" y="792"/>
                </a:lnTo>
                <a:lnTo>
                  <a:pt x="1188" y="794"/>
                </a:lnTo>
                <a:lnTo>
                  <a:pt x="1186" y="794"/>
                </a:lnTo>
                <a:lnTo>
                  <a:pt x="1186" y="792"/>
                </a:lnTo>
                <a:lnTo>
                  <a:pt x="1182" y="792"/>
                </a:lnTo>
                <a:lnTo>
                  <a:pt x="1182" y="794"/>
                </a:lnTo>
                <a:lnTo>
                  <a:pt x="1178" y="794"/>
                </a:lnTo>
                <a:lnTo>
                  <a:pt x="1178" y="792"/>
                </a:lnTo>
                <a:lnTo>
                  <a:pt x="1174" y="794"/>
                </a:lnTo>
                <a:lnTo>
                  <a:pt x="1170" y="798"/>
                </a:lnTo>
                <a:lnTo>
                  <a:pt x="1166" y="794"/>
                </a:lnTo>
                <a:lnTo>
                  <a:pt x="1166" y="798"/>
                </a:lnTo>
                <a:lnTo>
                  <a:pt x="1162" y="798"/>
                </a:lnTo>
                <a:lnTo>
                  <a:pt x="1166" y="798"/>
                </a:lnTo>
                <a:lnTo>
                  <a:pt x="1162" y="802"/>
                </a:lnTo>
                <a:lnTo>
                  <a:pt x="1160" y="802"/>
                </a:lnTo>
                <a:lnTo>
                  <a:pt x="1160" y="806"/>
                </a:lnTo>
                <a:lnTo>
                  <a:pt x="1160" y="810"/>
                </a:lnTo>
                <a:lnTo>
                  <a:pt x="1160" y="806"/>
                </a:lnTo>
                <a:lnTo>
                  <a:pt x="1156" y="810"/>
                </a:lnTo>
                <a:lnTo>
                  <a:pt x="1152" y="810"/>
                </a:lnTo>
                <a:lnTo>
                  <a:pt x="1152" y="814"/>
                </a:lnTo>
                <a:lnTo>
                  <a:pt x="1148" y="814"/>
                </a:lnTo>
                <a:lnTo>
                  <a:pt x="1148" y="818"/>
                </a:lnTo>
                <a:lnTo>
                  <a:pt x="1144" y="818"/>
                </a:lnTo>
                <a:lnTo>
                  <a:pt x="1140" y="818"/>
                </a:lnTo>
                <a:lnTo>
                  <a:pt x="1136" y="818"/>
                </a:lnTo>
                <a:lnTo>
                  <a:pt x="1136" y="822"/>
                </a:lnTo>
                <a:lnTo>
                  <a:pt x="1136" y="818"/>
                </a:lnTo>
                <a:lnTo>
                  <a:pt x="1132" y="822"/>
                </a:lnTo>
                <a:lnTo>
                  <a:pt x="1130" y="822"/>
                </a:lnTo>
                <a:lnTo>
                  <a:pt x="1126" y="822"/>
                </a:lnTo>
                <a:lnTo>
                  <a:pt x="1122" y="822"/>
                </a:lnTo>
                <a:lnTo>
                  <a:pt x="1118" y="822"/>
                </a:lnTo>
                <a:lnTo>
                  <a:pt x="1118" y="818"/>
                </a:lnTo>
                <a:lnTo>
                  <a:pt x="1114" y="818"/>
                </a:lnTo>
                <a:lnTo>
                  <a:pt x="1110" y="818"/>
                </a:lnTo>
                <a:lnTo>
                  <a:pt x="1106" y="818"/>
                </a:lnTo>
                <a:lnTo>
                  <a:pt x="1100" y="818"/>
                </a:lnTo>
                <a:lnTo>
                  <a:pt x="1096" y="818"/>
                </a:lnTo>
                <a:lnTo>
                  <a:pt x="1092" y="818"/>
                </a:lnTo>
                <a:lnTo>
                  <a:pt x="1088" y="818"/>
                </a:lnTo>
                <a:lnTo>
                  <a:pt x="1084" y="818"/>
                </a:lnTo>
                <a:lnTo>
                  <a:pt x="1080" y="818"/>
                </a:lnTo>
                <a:lnTo>
                  <a:pt x="1076" y="818"/>
                </a:lnTo>
                <a:lnTo>
                  <a:pt x="1074" y="818"/>
                </a:lnTo>
                <a:lnTo>
                  <a:pt x="1070" y="818"/>
                </a:lnTo>
                <a:lnTo>
                  <a:pt x="1066" y="818"/>
                </a:lnTo>
                <a:lnTo>
                  <a:pt x="1062" y="818"/>
                </a:lnTo>
                <a:lnTo>
                  <a:pt x="1060" y="818"/>
                </a:lnTo>
                <a:lnTo>
                  <a:pt x="1060" y="822"/>
                </a:lnTo>
                <a:lnTo>
                  <a:pt x="1056" y="822"/>
                </a:lnTo>
                <a:lnTo>
                  <a:pt x="1056" y="818"/>
                </a:lnTo>
                <a:lnTo>
                  <a:pt x="1052" y="822"/>
                </a:lnTo>
                <a:lnTo>
                  <a:pt x="1048" y="824"/>
                </a:lnTo>
                <a:lnTo>
                  <a:pt x="1048" y="828"/>
                </a:lnTo>
                <a:lnTo>
                  <a:pt x="1044" y="828"/>
                </a:lnTo>
                <a:lnTo>
                  <a:pt x="1044" y="832"/>
                </a:lnTo>
                <a:lnTo>
                  <a:pt x="1044" y="836"/>
                </a:lnTo>
                <a:lnTo>
                  <a:pt x="1040" y="836"/>
                </a:lnTo>
                <a:lnTo>
                  <a:pt x="1036" y="840"/>
                </a:lnTo>
                <a:lnTo>
                  <a:pt x="1032" y="840"/>
                </a:lnTo>
                <a:lnTo>
                  <a:pt x="1030" y="840"/>
                </a:lnTo>
                <a:lnTo>
                  <a:pt x="1030" y="844"/>
                </a:lnTo>
                <a:lnTo>
                  <a:pt x="1026" y="844"/>
                </a:lnTo>
                <a:lnTo>
                  <a:pt x="1022" y="848"/>
                </a:lnTo>
                <a:lnTo>
                  <a:pt x="1018" y="852"/>
                </a:lnTo>
                <a:lnTo>
                  <a:pt x="1018" y="854"/>
                </a:lnTo>
                <a:lnTo>
                  <a:pt x="1014" y="854"/>
                </a:lnTo>
                <a:lnTo>
                  <a:pt x="1014" y="858"/>
                </a:lnTo>
                <a:lnTo>
                  <a:pt x="1010" y="858"/>
                </a:lnTo>
                <a:lnTo>
                  <a:pt x="1010" y="862"/>
                </a:lnTo>
                <a:lnTo>
                  <a:pt x="1006" y="862"/>
                </a:lnTo>
                <a:lnTo>
                  <a:pt x="1004" y="858"/>
                </a:lnTo>
                <a:lnTo>
                  <a:pt x="1000" y="858"/>
                </a:lnTo>
                <a:lnTo>
                  <a:pt x="996" y="858"/>
                </a:lnTo>
                <a:lnTo>
                  <a:pt x="996" y="854"/>
                </a:lnTo>
                <a:lnTo>
                  <a:pt x="992" y="854"/>
                </a:lnTo>
                <a:lnTo>
                  <a:pt x="988" y="854"/>
                </a:lnTo>
                <a:lnTo>
                  <a:pt x="992" y="854"/>
                </a:lnTo>
                <a:lnTo>
                  <a:pt x="992" y="858"/>
                </a:lnTo>
                <a:lnTo>
                  <a:pt x="996" y="858"/>
                </a:lnTo>
                <a:lnTo>
                  <a:pt x="1000" y="858"/>
                </a:lnTo>
                <a:lnTo>
                  <a:pt x="1004" y="858"/>
                </a:lnTo>
                <a:lnTo>
                  <a:pt x="1006" y="862"/>
                </a:lnTo>
                <a:lnTo>
                  <a:pt x="1006" y="866"/>
                </a:lnTo>
                <a:lnTo>
                  <a:pt x="1006" y="870"/>
                </a:lnTo>
                <a:lnTo>
                  <a:pt x="1004" y="870"/>
                </a:lnTo>
                <a:lnTo>
                  <a:pt x="1004" y="874"/>
                </a:lnTo>
                <a:lnTo>
                  <a:pt x="1004" y="878"/>
                </a:lnTo>
                <a:lnTo>
                  <a:pt x="1000" y="878"/>
                </a:lnTo>
                <a:lnTo>
                  <a:pt x="996" y="878"/>
                </a:lnTo>
                <a:lnTo>
                  <a:pt x="996" y="880"/>
                </a:lnTo>
                <a:lnTo>
                  <a:pt x="996" y="884"/>
                </a:lnTo>
                <a:lnTo>
                  <a:pt x="992" y="884"/>
                </a:lnTo>
                <a:lnTo>
                  <a:pt x="988" y="888"/>
                </a:lnTo>
                <a:lnTo>
                  <a:pt x="984" y="892"/>
                </a:lnTo>
                <a:lnTo>
                  <a:pt x="988" y="888"/>
                </a:lnTo>
                <a:lnTo>
                  <a:pt x="992" y="888"/>
                </a:lnTo>
                <a:lnTo>
                  <a:pt x="996" y="888"/>
                </a:lnTo>
                <a:lnTo>
                  <a:pt x="996" y="884"/>
                </a:lnTo>
                <a:lnTo>
                  <a:pt x="1000" y="884"/>
                </a:lnTo>
                <a:lnTo>
                  <a:pt x="1000" y="880"/>
                </a:lnTo>
                <a:lnTo>
                  <a:pt x="1004" y="878"/>
                </a:lnTo>
                <a:lnTo>
                  <a:pt x="1004" y="874"/>
                </a:lnTo>
                <a:lnTo>
                  <a:pt x="1006" y="874"/>
                </a:lnTo>
                <a:lnTo>
                  <a:pt x="1010" y="870"/>
                </a:lnTo>
                <a:lnTo>
                  <a:pt x="1010" y="866"/>
                </a:lnTo>
                <a:lnTo>
                  <a:pt x="1014" y="866"/>
                </a:lnTo>
                <a:lnTo>
                  <a:pt x="1014" y="862"/>
                </a:lnTo>
                <a:lnTo>
                  <a:pt x="1018" y="862"/>
                </a:lnTo>
                <a:lnTo>
                  <a:pt x="1018" y="858"/>
                </a:lnTo>
                <a:lnTo>
                  <a:pt x="1022" y="858"/>
                </a:lnTo>
                <a:lnTo>
                  <a:pt x="1026" y="854"/>
                </a:lnTo>
                <a:lnTo>
                  <a:pt x="1030" y="854"/>
                </a:lnTo>
                <a:lnTo>
                  <a:pt x="1030" y="852"/>
                </a:lnTo>
                <a:lnTo>
                  <a:pt x="1032" y="852"/>
                </a:lnTo>
                <a:lnTo>
                  <a:pt x="1036" y="848"/>
                </a:lnTo>
                <a:lnTo>
                  <a:pt x="1040" y="848"/>
                </a:lnTo>
                <a:lnTo>
                  <a:pt x="1044" y="848"/>
                </a:lnTo>
                <a:lnTo>
                  <a:pt x="1044" y="844"/>
                </a:lnTo>
                <a:lnTo>
                  <a:pt x="1048" y="844"/>
                </a:lnTo>
                <a:lnTo>
                  <a:pt x="1052" y="844"/>
                </a:lnTo>
                <a:lnTo>
                  <a:pt x="1056" y="840"/>
                </a:lnTo>
                <a:lnTo>
                  <a:pt x="1060" y="840"/>
                </a:lnTo>
                <a:lnTo>
                  <a:pt x="1062" y="840"/>
                </a:lnTo>
                <a:lnTo>
                  <a:pt x="1066" y="840"/>
                </a:lnTo>
                <a:lnTo>
                  <a:pt x="1070" y="840"/>
                </a:lnTo>
                <a:lnTo>
                  <a:pt x="1074" y="840"/>
                </a:lnTo>
                <a:lnTo>
                  <a:pt x="1076" y="840"/>
                </a:lnTo>
                <a:lnTo>
                  <a:pt x="1080" y="844"/>
                </a:lnTo>
                <a:lnTo>
                  <a:pt x="1084" y="844"/>
                </a:lnTo>
                <a:lnTo>
                  <a:pt x="1084" y="848"/>
                </a:lnTo>
                <a:lnTo>
                  <a:pt x="1088" y="852"/>
                </a:lnTo>
                <a:lnTo>
                  <a:pt x="1084" y="848"/>
                </a:lnTo>
                <a:lnTo>
                  <a:pt x="1080" y="848"/>
                </a:lnTo>
                <a:lnTo>
                  <a:pt x="1084" y="848"/>
                </a:lnTo>
                <a:lnTo>
                  <a:pt x="1084" y="852"/>
                </a:lnTo>
                <a:lnTo>
                  <a:pt x="1088" y="852"/>
                </a:lnTo>
                <a:lnTo>
                  <a:pt x="1084" y="852"/>
                </a:lnTo>
                <a:lnTo>
                  <a:pt x="1084" y="854"/>
                </a:lnTo>
                <a:lnTo>
                  <a:pt x="1084" y="858"/>
                </a:lnTo>
                <a:lnTo>
                  <a:pt x="1080" y="858"/>
                </a:lnTo>
                <a:lnTo>
                  <a:pt x="1076" y="858"/>
                </a:lnTo>
                <a:lnTo>
                  <a:pt x="1076" y="862"/>
                </a:lnTo>
                <a:lnTo>
                  <a:pt x="1074" y="862"/>
                </a:lnTo>
                <a:lnTo>
                  <a:pt x="1074" y="866"/>
                </a:lnTo>
                <a:lnTo>
                  <a:pt x="1070" y="866"/>
                </a:lnTo>
                <a:lnTo>
                  <a:pt x="1066" y="866"/>
                </a:lnTo>
                <a:lnTo>
                  <a:pt x="1066" y="862"/>
                </a:lnTo>
                <a:lnTo>
                  <a:pt x="1062" y="862"/>
                </a:lnTo>
                <a:lnTo>
                  <a:pt x="1060" y="862"/>
                </a:lnTo>
                <a:lnTo>
                  <a:pt x="1056" y="862"/>
                </a:lnTo>
                <a:lnTo>
                  <a:pt x="1052" y="866"/>
                </a:lnTo>
                <a:lnTo>
                  <a:pt x="1048" y="866"/>
                </a:lnTo>
                <a:lnTo>
                  <a:pt x="1052" y="866"/>
                </a:lnTo>
                <a:lnTo>
                  <a:pt x="1056" y="862"/>
                </a:lnTo>
                <a:lnTo>
                  <a:pt x="1060" y="866"/>
                </a:lnTo>
                <a:lnTo>
                  <a:pt x="1062" y="866"/>
                </a:lnTo>
                <a:lnTo>
                  <a:pt x="1066" y="870"/>
                </a:lnTo>
                <a:lnTo>
                  <a:pt x="1066" y="874"/>
                </a:lnTo>
                <a:lnTo>
                  <a:pt x="1070" y="870"/>
                </a:lnTo>
                <a:lnTo>
                  <a:pt x="1074" y="870"/>
                </a:lnTo>
                <a:lnTo>
                  <a:pt x="1076" y="870"/>
                </a:lnTo>
                <a:lnTo>
                  <a:pt x="1080" y="870"/>
                </a:lnTo>
                <a:lnTo>
                  <a:pt x="1076" y="870"/>
                </a:lnTo>
                <a:lnTo>
                  <a:pt x="1076" y="874"/>
                </a:lnTo>
                <a:lnTo>
                  <a:pt x="1076" y="878"/>
                </a:lnTo>
                <a:lnTo>
                  <a:pt x="1074" y="880"/>
                </a:lnTo>
                <a:lnTo>
                  <a:pt x="1070" y="884"/>
                </a:lnTo>
                <a:lnTo>
                  <a:pt x="1074" y="884"/>
                </a:lnTo>
                <a:lnTo>
                  <a:pt x="1076" y="884"/>
                </a:lnTo>
                <a:lnTo>
                  <a:pt x="1076" y="888"/>
                </a:lnTo>
                <a:lnTo>
                  <a:pt x="1076" y="892"/>
                </a:lnTo>
                <a:lnTo>
                  <a:pt x="1080" y="896"/>
                </a:lnTo>
                <a:lnTo>
                  <a:pt x="1080" y="900"/>
                </a:lnTo>
                <a:lnTo>
                  <a:pt x="1084" y="900"/>
                </a:lnTo>
                <a:lnTo>
                  <a:pt x="1088" y="904"/>
                </a:lnTo>
                <a:lnTo>
                  <a:pt x="1092" y="904"/>
                </a:lnTo>
                <a:lnTo>
                  <a:pt x="1088" y="904"/>
                </a:lnTo>
                <a:lnTo>
                  <a:pt x="1088" y="908"/>
                </a:lnTo>
                <a:lnTo>
                  <a:pt x="1092" y="908"/>
                </a:lnTo>
                <a:lnTo>
                  <a:pt x="1092" y="910"/>
                </a:lnTo>
                <a:lnTo>
                  <a:pt x="1096" y="908"/>
                </a:lnTo>
                <a:lnTo>
                  <a:pt x="1096" y="910"/>
                </a:lnTo>
                <a:lnTo>
                  <a:pt x="1100" y="910"/>
                </a:lnTo>
                <a:lnTo>
                  <a:pt x="1104" y="910"/>
                </a:lnTo>
                <a:lnTo>
                  <a:pt x="1106" y="910"/>
                </a:lnTo>
                <a:lnTo>
                  <a:pt x="1110" y="910"/>
                </a:lnTo>
                <a:lnTo>
                  <a:pt x="1110" y="914"/>
                </a:lnTo>
                <a:lnTo>
                  <a:pt x="1114" y="910"/>
                </a:lnTo>
                <a:lnTo>
                  <a:pt x="1118" y="910"/>
                </a:lnTo>
                <a:lnTo>
                  <a:pt x="1118" y="908"/>
                </a:lnTo>
                <a:lnTo>
                  <a:pt x="1118" y="910"/>
                </a:lnTo>
                <a:lnTo>
                  <a:pt x="1122" y="914"/>
                </a:lnTo>
                <a:lnTo>
                  <a:pt x="1122" y="910"/>
                </a:lnTo>
                <a:lnTo>
                  <a:pt x="1126" y="910"/>
                </a:lnTo>
                <a:lnTo>
                  <a:pt x="1126" y="914"/>
                </a:lnTo>
                <a:lnTo>
                  <a:pt x="1130" y="914"/>
                </a:lnTo>
                <a:lnTo>
                  <a:pt x="1130" y="918"/>
                </a:lnTo>
                <a:lnTo>
                  <a:pt x="1126" y="918"/>
                </a:lnTo>
                <a:lnTo>
                  <a:pt x="1130" y="918"/>
                </a:lnTo>
                <a:lnTo>
                  <a:pt x="1132" y="918"/>
                </a:lnTo>
                <a:lnTo>
                  <a:pt x="1132" y="922"/>
                </a:lnTo>
                <a:lnTo>
                  <a:pt x="1130" y="922"/>
                </a:lnTo>
                <a:lnTo>
                  <a:pt x="1126" y="922"/>
                </a:lnTo>
                <a:lnTo>
                  <a:pt x="1122" y="922"/>
                </a:lnTo>
                <a:lnTo>
                  <a:pt x="1122" y="926"/>
                </a:lnTo>
                <a:lnTo>
                  <a:pt x="1118" y="926"/>
                </a:lnTo>
                <a:lnTo>
                  <a:pt x="1114" y="926"/>
                </a:lnTo>
                <a:lnTo>
                  <a:pt x="1110" y="930"/>
                </a:lnTo>
                <a:lnTo>
                  <a:pt x="1106" y="930"/>
                </a:lnTo>
                <a:lnTo>
                  <a:pt x="1104" y="934"/>
                </a:lnTo>
                <a:lnTo>
                  <a:pt x="1104" y="930"/>
                </a:lnTo>
                <a:lnTo>
                  <a:pt x="1104" y="934"/>
                </a:lnTo>
                <a:lnTo>
                  <a:pt x="1100" y="934"/>
                </a:lnTo>
                <a:lnTo>
                  <a:pt x="1096" y="934"/>
                </a:lnTo>
                <a:lnTo>
                  <a:pt x="1092" y="934"/>
                </a:lnTo>
                <a:lnTo>
                  <a:pt x="1096" y="934"/>
                </a:lnTo>
                <a:lnTo>
                  <a:pt x="1096" y="938"/>
                </a:lnTo>
                <a:lnTo>
                  <a:pt x="1088" y="938"/>
                </a:lnTo>
                <a:lnTo>
                  <a:pt x="1088" y="934"/>
                </a:lnTo>
                <a:lnTo>
                  <a:pt x="1088" y="938"/>
                </a:lnTo>
                <a:lnTo>
                  <a:pt x="1088" y="934"/>
                </a:lnTo>
                <a:lnTo>
                  <a:pt x="1084" y="934"/>
                </a:lnTo>
                <a:lnTo>
                  <a:pt x="1084" y="938"/>
                </a:lnTo>
                <a:lnTo>
                  <a:pt x="1084" y="940"/>
                </a:lnTo>
                <a:lnTo>
                  <a:pt x="1080" y="940"/>
                </a:lnTo>
                <a:lnTo>
                  <a:pt x="1080" y="944"/>
                </a:lnTo>
                <a:lnTo>
                  <a:pt x="1076" y="948"/>
                </a:lnTo>
                <a:lnTo>
                  <a:pt x="1074" y="952"/>
                </a:lnTo>
                <a:lnTo>
                  <a:pt x="1070" y="952"/>
                </a:lnTo>
                <a:lnTo>
                  <a:pt x="1070" y="956"/>
                </a:lnTo>
                <a:lnTo>
                  <a:pt x="1066" y="956"/>
                </a:lnTo>
                <a:lnTo>
                  <a:pt x="1062" y="956"/>
                </a:lnTo>
                <a:lnTo>
                  <a:pt x="1062" y="952"/>
                </a:lnTo>
                <a:lnTo>
                  <a:pt x="1062" y="948"/>
                </a:lnTo>
                <a:lnTo>
                  <a:pt x="1062" y="952"/>
                </a:lnTo>
                <a:lnTo>
                  <a:pt x="1060" y="952"/>
                </a:lnTo>
                <a:lnTo>
                  <a:pt x="1060" y="948"/>
                </a:lnTo>
                <a:lnTo>
                  <a:pt x="1060" y="944"/>
                </a:lnTo>
                <a:lnTo>
                  <a:pt x="1060" y="940"/>
                </a:lnTo>
                <a:lnTo>
                  <a:pt x="1060" y="938"/>
                </a:lnTo>
                <a:lnTo>
                  <a:pt x="1062" y="938"/>
                </a:lnTo>
                <a:lnTo>
                  <a:pt x="1062" y="934"/>
                </a:lnTo>
                <a:lnTo>
                  <a:pt x="1062" y="938"/>
                </a:lnTo>
                <a:lnTo>
                  <a:pt x="1060" y="938"/>
                </a:lnTo>
                <a:lnTo>
                  <a:pt x="1062" y="934"/>
                </a:lnTo>
                <a:lnTo>
                  <a:pt x="1066" y="934"/>
                </a:lnTo>
                <a:lnTo>
                  <a:pt x="1066" y="930"/>
                </a:lnTo>
                <a:lnTo>
                  <a:pt x="1066" y="934"/>
                </a:lnTo>
                <a:lnTo>
                  <a:pt x="1066" y="930"/>
                </a:lnTo>
                <a:lnTo>
                  <a:pt x="1070" y="926"/>
                </a:lnTo>
                <a:lnTo>
                  <a:pt x="1074" y="926"/>
                </a:lnTo>
                <a:lnTo>
                  <a:pt x="1076" y="926"/>
                </a:lnTo>
                <a:lnTo>
                  <a:pt x="1076" y="922"/>
                </a:lnTo>
                <a:lnTo>
                  <a:pt x="1080" y="922"/>
                </a:lnTo>
                <a:lnTo>
                  <a:pt x="1084" y="922"/>
                </a:lnTo>
                <a:lnTo>
                  <a:pt x="1084" y="918"/>
                </a:lnTo>
                <a:lnTo>
                  <a:pt x="1080" y="918"/>
                </a:lnTo>
                <a:lnTo>
                  <a:pt x="1084" y="918"/>
                </a:lnTo>
                <a:lnTo>
                  <a:pt x="1084" y="922"/>
                </a:lnTo>
                <a:lnTo>
                  <a:pt x="1084" y="926"/>
                </a:lnTo>
                <a:lnTo>
                  <a:pt x="1084" y="922"/>
                </a:lnTo>
                <a:lnTo>
                  <a:pt x="1088" y="926"/>
                </a:lnTo>
                <a:lnTo>
                  <a:pt x="1084" y="922"/>
                </a:lnTo>
                <a:lnTo>
                  <a:pt x="1088" y="922"/>
                </a:lnTo>
                <a:lnTo>
                  <a:pt x="1092" y="918"/>
                </a:lnTo>
                <a:lnTo>
                  <a:pt x="1096" y="918"/>
                </a:lnTo>
                <a:lnTo>
                  <a:pt x="1100" y="918"/>
                </a:lnTo>
                <a:lnTo>
                  <a:pt x="1092" y="918"/>
                </a:lnTo>
                <a:lnTo>
                  <a:pt x="1088" y="918"/>
                </a:lnTo>
                <a:lnTo>
                  <a:pt x="1084" y="918"/>
                </a:lnTo>
                <a:lnTo>
                  <a:pt x="1080" y="918"/>
                </a:lnTo>
                <a:lnTo>
                  <a:pt x="1076" y="918"/>
                </a:lnTo>
                <a:lnTo>
                  <a:pt x="1076" y="914"/>
                </a:lnTo>
                <a:lnTo>
                  <a:pt x="1080" y="914"/>
                </a:lnTo>
                <a:lnTo>
                  <a:pt x="1080" y="910"/>
                </a:lnTo>
                <a:lnTo>
                  <a:pt x="1084" y="910"/>
                </a:lnTo>
                <a:lnTo>
                  <a:pt x="1084" y="908"/>
                </a:lnTo>
                <a:lnTo>
                  <a:pt x="1084" y="910"/>
                </a:lnTo>
                <a:lnTo>
                  <a:pt x="1080" y="910"/>
                </a:lnTo>
                <a:lnTo>
                  <a:pt x="1080" y="908"/>
                </a:lnTo>
                <a:lnTo>
                  <a:pt x="1080" y="904"/>
                </a:lnTo>
                <a:lnTo>
                  <a:pt x="1076" y="904"/>
                </a:lnTo>
                <a:lnTo>
                  <a:pt x="1076" y="908"/>
                </a:lnTo>
                <a:lnTo>
                  <a:pt x="1080" y="908"/>
                </a:lnTo>
                <a:lnTo>
                  <a:pt x="1080" y="910"/>
                </a:lnTo>
                <a:lnTo>
                  <a:pt x="1076" y="914"/>
                </a:lnTo>
                <a:lnTo>
                  <a:pt x="1074" y="914"/>
                </a:lnTo>
                <a:lnTo>
                  <a:pt x="1070" y="918"/>
                </a:lnTo>
                <a:lnTo>
                  <a:pt x="1066" y="918"/>
                </a:lnTo>
                <a:lnTo>
                  <a:pt x="1062" y="922"/>
                </a:lnTo>
                <a:lnTo>
                  <a:pt x="1060" y="918"/>
                </a:lnTo>
                <a:lnTo>
                  <a:pt x="1062" y="918"/>
                </a:lnTo>
                <a:lnTo>
                  <a:pt x="1060" y="918"/>
                </a:lnTo>
                <a:lnTo>
                  <a:pt x="1060" y="922"/>
                </a:lnTo>
                <a:lnTo>
                  <a:pt x="1056" y="926"/>
                </a:lnTo>
                <a:lnTo>
                  <a:pt x="1056" y="922"/>
                </a:lnTo>
                <a:lnTo>
                  <a:pt x="1052" y="922"/>
                </a:lnTo>
                <a:lnTo>
                  <a:pt x="1052" y="926"/>
                </a:lnTo>
                <a:lnTo>
                  <a:pt x="1048" y="922"/>
                </a:lnTo>
                <a:lnTo>
                  <a:pt x="1044" y="922"/>
                </a:lnTo>
                <a:lnTo>
                  <a:pt x="1040" y="922"/>
                </a:lnTo>
                <a:lnTo>
                  <a:pt x="1040" y="918"/>
                </a:lnTo>
                <a:lnTo>
                  <a:pt x="1040" y="914"/>
                </a:lnTo>
                <a:lnTo>
                  <a:pt x="1036" y="914"/>
                </a:lnTo>
                <a:lnTo>
                  <a:pt x="1036" y="910"/>
                </a:lnTo>
                <a:lnTo>
                  <a:pt x="1036" y="908"/>
                </a:lnTo>
                <a:lnTo>
                  <a:pt x="1036" y="900"/>
                </a:lnTo>
                <a:lnTo>
                  <a:pt x="1036" y="888"/>
                </a:lnTo>
                <a:lnTo>
                  <a:pt x="1036" y="884"/>
                </a:lnTo>
                <a:lnTo>
                  <a:pt x="1032" y="884"/>
                </a:lnTo>
                <a:lnTo>
                  <a:pt x="1032" y="880"/>
                </a:lnTo>
                <a:lnTo>
                  <a:pt x="1030" y="878"/>
                </a:lnTo>
                <a:lnTo>
                  <a:pt x="1026" y="880"/>
                </a:lnTo>
                <a:lnTo>
                  <a:pt x="1022" y="880"/>
                </a:lnTo>
                <a:lnTo>
                  <a:pt x="1018" y="880"/>
                </a:lnTo>
                <a:lnTo>
                  <a:pt x="1018" y="878"/>
                </a:lnTo>
                <a:lnTo>
                  <a:pt x="1014" y="878"/>
                </a:lnTo>
                <a:lnTo>
                  <a:pt x="1014" y="880"/>
                </a:lnTo>
                <a:lnTo>
                  <a:pt x="1010" y="884"/>
                </a:lnTo>
                <a:lnTo>
                  <a:pt x="1006" y="884"/>
                </a:lnTo>
                <a:lnTo>
                  <a:pt x="1006" y="888"/>
                </a:lnTo>
                <a:lnTo>
                  <a:pt x="1004" y="892"/>
                </a:lnTo>
                <a:lnTo>
                  <a:pt x="1004" y="896"/>
                </a:lnTo>
                <a:lnTo>
                  <a:pt x="1004" y="900"/>
                </a:lnTo>
                <a:lnTo>
                  <a:pt x="1000" y="900"/>
                </a:lnTo>
                <a:lnTo>
                  <a:pt x="1000" y="904"/>
                </a:lnTo>
                <a:lnTo>
                  <a:pt x="1000" y="908"/>
                </a:lnTo>
                <a:lnTo>
                  <a:pt x="1000" y="910"/>
                </a:lnTo>
                <a:lnTo>
                  <a:pt x="996" y="910"/>
                </a:lnTo>
                <a:lnTo>
                  <a:pt x="996" y="914"/>
                </a:lnTo>
                <a:lnTo>
                  <a:pt x="996" y="918"/>
                </a:lnTo>
                <a:lnTo>
                  <a:pt x="992" y="922"/>
                </a:lnTo>
                <a:lnTo>
                  <a:pt x="988" y="918"/>
                </a:lnTo>
                <a:lnTo>
                  <a:pt x="988" y="922"/>
                </a:lnTo>
                <a:lnTo>
                  <a:pt x="988" y="918"/>
                </a:lnTo>
                <a:lnTo>
                  <a:pt x="984" y="918"/>
                </a:lnTo>
                <a:lnTo>
                  <a:pt x="984" y="922"/>
                </a:lnTo>
                <a:lnTo>
                  <a:pt x="984" y="926"/>
                </a:lnTo>
                <a:lnTo>
                  <a:pt x="980" y="926"/>
                </a:lnTo>
                <a:lnTo>
                  <a:pt x="976" y="926"/>
                </a:lnTo>
                <a:lnTo>
                  <a:pt x="974" y="926"/>
                </a:lnTo>
                <a:lnTo>
                  <a:pt x="970" y="926"/>
                </a:lnTo>
                <a:lnTo>
                  <a:pt x="966" y="926"/>
                </a:lnTo>
                <a:lnTo>
                  <a:pt x="962" y="926"/>
                </a:lnTo>
                <a:lnTo>
                  <a:pt x="958" y="926"/>
                </a:lnTo>
                <a:lnTo>
                  <a:pt x="954" y="926"/>
                </a:lnTo>
                <a:lnTo>
                  <a:pt x="950" y="926"/>
                </a:lnTo>
                <a:lnTo>
                  <a:pt x="944" y="926"/>
                </a:lnTo>
                <a:lnTo>
                  <a:pt x="940" y="926"/>
                </a:lnTo>
                <a:lnTo>
                  <a:pt x="936" y="926"/>
                </a:lnTo>
                <a:lnTo>
                  <a:pt x="932" y="926"/>
                </a:lnTo>
                <a:lnTo>
                  <a:pt x="932" y="930"/>
                </a:lnTo>
                <a:lnTo>
                  <a:pt x="928" y="930"/>
                </a:lnTo>
                <a:lnTo>
                  <a:pt x="924" y="934"/>
                </a:lnTo>
                <a:lnTo>
                  <a:pt x="924" y="938"/>
                </a:lnTo>
                <a:lnTo>
                  <a:pt x="920" y="938"/>
                </a:lnTo>
                <a:lnTo>
                  <a:pt x="920" y="940"/>
                </a:lnTo>
                <a:lnTo>
                  <a:pt x="918" y="940"/>
                </a:lnTo>
                <a:lnTo>
                  <a:pt x="914" y="944"/>
                </a:lnTo>
                <a:lnTo>
                  <a:pt x="914" y="948"/>
                </a:lnTo>
                <a:lnTo>
                  <a:pt x="910" y="948"/>
                </a:lnTo>
                <a:lnTo>
                  <a:pt x="910" y="952"/>
                </a:lnTo>
                <a:lnTo>
                  <a:pt x="906" y="952"/>
                </a:lnTo>
                <a:lnTo>
                  <a:pt x="902" y="952"/>
                </a:lnTo>
                <a:lnTo>
                  <a:pt x="898" y="952"/>
                </a:lnTo>
                <a:lnTo>
                  <a:pt x="894" y="952"/>
                </a:lnTo>
                <a:lnTo>
                  <a:pt x="890" y="952"/>
                </a:lnTo>
                <a:lnTo>
                  <a:pt x="888" y="952"/>
                </a:lnTo>
                <a:lnTo>
                  <a:pt x="880" y="952"/>
                </a:lnTo>
                <a:lnTo>
                  <a:pt x="876" y="956"/>
                </a:lnTo>
                <a:lnTo>
                  <a:pt x="876" y="960"/>
                </a:lnTo>
                <a:lnTo>
                  <a:pt x="876" y="964"/>
                </a:lnTo>
                <a:lnTo>
                  <a:pt x="876" y="966"/>
                </a:lnTo>
                <a:lnTo>
                  <a:pt x="880" y="966"/>
                </a:lnTo>
                <a:lnTo>
                  <a:pt x="876" y="966"/>
                </a:lnTo>
                <a:lnTo>
                  <a:pt x="876" y="970"/>
                </a:lnTo>
                <a:lnTo>
                  <a:pt x="872" y="970"/>
                </a:lnTo>
                <a:lnTo>
                  <a:pt x="868" y="974"/>
                </a:lnTo>
                <a:lnTo>
                  <a:pt x="864" y="974"/>
                </a:lnTo>
                <a:lnTo>
                  <a:pt x="862" y="978"/>
                </a:lnTo>
                <a:lnTo>
                  <a:pt x="854" y="978"/>
                </a:lnTo>
                <a:lnTo>
                  <a:pt x="850" y="980"/>
                </a:lnTo>
                <a:lnTo>
                  <a:pt x="846" y="980"/>
                </a:lnTo>
                <a:lnTo>
                  <a:pt x="842" y="980"/>
                </a:lnTo>
                <a:lnTo>
                  <a:pt x="838" y="984"/>
                </a:lnTo>
                <a:lnTo>
                  <a:pt x="834" y="984"/>
                </a:lnTo>
                <a:lnTo>
                  <a:pt x="832" y="988"/>
                </a:lnTo>
                <a:lnTo>
                  <a:pt x="828" y="992"/>
                </a:lnTo>
                <a:lnTo>
                  <a:pt x="824" y="992"/>
                </a:lnTo>
                <a:lnTo>
                  <a:pt x="820" y="988"/>
                </a:lnTo>
                <a:lnTo>
                  <a:pt x="820" y="984"/>
                </a:lnTo>
                <a:lnTo>
                  <a:pt x="816" y="984"/>
                </a:lnTo>
                <a:lnTo>
                  <a:pt x="820" y="980"/>
                </a:lnTo>
                <a:lnTo>
                  <a:pt x="820" y="978"/>
                </a:lnTo>
                <a:lnTo>
                  <a:pt x="824" y="978"/>
                </a:lnTo>
                <a:lnTo>
                  <a:pt x="824" y="974"/>
                </a:lnTo>
                <a:lnTo>
                  <a:pt x="828" y="974"/>
                </a:lnTo>
                <a:lnTo>
                  <a:pt x="828" y="970"/>
                </a:lnTo>
                <a:lnTo>
                  <a:pt x="828" y="966"/>
                </a:lnTo>
                <a:lnTo>
                  <a:pt x="828" y="964"/>
                </a:lnTo>
                <a:lnTo>
                  <a:pt x="832" y="964"/>
                </a:lnTo>
                <a:lnTo>
                  <a:pt x="832" y="960"/>
                </a:lnTo>
                <a:lnTo>
                  <a:pt x="832" y="956"/>
                </a:lnTo>
                <a:lnTo>
                  <a:pt x="832" y="948"/>
                </a:lnTo>
                <a:lnTo>
                  <a:pt x="832" y="938"/>
                </a:lnTo>
                <a:lnTo>
                  <a:pt x="828" y="930"/>
                </a:lnTo>
                <a:lnTo>
                  <a:pt x="828" y="918"/>
                </a:lnTo>
                <a:lnTo>
                  <a:pt x="824" y="918"/>
                </a:lnTo>
                <a:lnTo>
                  <a:pt x="820" y="914"/>
                </a:lnTo>
                <a:lnTo>
                  <a:pt x="816" y="910"/>
                </a:lnTo>
                <a:lnTo>
                  <a:pt x="812" y="910"/>
                </a:lnTo>
                <a:lnTo>
                  <a:pt x="812" y="908"/>
                </a:lnTo>
                <a:lnTo>
                  <a:pt x="812" y="904"/>
                </a:lnTo>
                <a:lnTo>
                  <a:pt x="808" y="904"/>
                </a:lnTo>
                <a:lnTo>
                  <a:pt x="806" y="904"/>
                </a:lnTo>
                <a:lnTo>
                  <a:pt x="806" y="900"/>
                </a:lnTo>
                <a:lnTo>
                  <a:pt x="806" y="896"/>
                </a:lnTo>
                <a:lnTo>
                  <a:pt x="802" y="896"/>
                </a:lnTo>
                <a:lnTo>
                  <a:pt x="798" y="896"/>
                </a:lnTo>
                <a:lnTo>
                  <a:pt x="794" y="892"/>
                </a:lnTo>
                <a:lnTo>
                  <a:pt x="794" y="888"/>
                </a:lnTo>
                <a:lnTo>
                  <a:pt x="786" y="884"/>
                </a:lnTo>
                <a:lnTo>
                  <a:pt x="786" y="880"/>
                </a:lnTo>
                <a:lnTo>
                  <a:pt x="782" y="880"/>
                </a:lnTo>
                <a:lnTo>
                  <a:pt x="778" y="880"/>
                </a:lnTo>
                <a:lnTo>
                  <a:pt x="778" y="878"/>
                </a:lnTo>
                <a:lnTo>
                  <a:pt x="776" y="878"/>
                </a:lnTo>
                <a:lnTo>
                  <a:pt x="772" y="874"/>
                </a:lnTo>
                <a:lnTo>
                  <a:pt x="768" y="874"/>
                </a:lnTo>
                <a:lnTo>
                  <a:pt x="764" y="870"/>
                </a:lnTo>
                <a:lnTo>
                  <a:pt x="760" y="870"/>
                </a:lnTo>
                <a:lnTo>
                  <a:pt x="760" y="866"/>
                </a:lnTo>
                <a:lnTo>
                  <a:pt x="756" y="866"/>
                </a:lnTo>
                <a:lnTo>
                  <a:pt x="746" y="858"/>
                </a:lnTo>
                <a:lnTo>
                  <a:pt x="742" y="858"/>
                </a:lnTo>
                <a:lnTo>
                  <a:pt x="738" y="858"/>
                </a:lnTo>
                <a:lnTo>
                  <a:pt x="734" y="862"/>
                </a:lnTo>
                <a:lnTo>
                  <a:pt x="732" y="866"/>
                </a:lnTo>
                <a:lnTo>
                  <a:pt x="728" y="866"/>
                </a:lnTo>
                <a:lnTo>
                  <a:pt x="724" y="866"/>
                </a:lnTo>
                <a:lnTo>
                  <a:pt x="720" y="866"/>
                </a:lnTo>
                <a:lnTo>
                  <a:pt x="720" y="862"/>
                </a:lnTo>
                <a:lnTo>
                  <a:pt x="716" y="862"/>
                </a:lnTo>
                <a:lnTo>
                  <a:pt x="712" y="862"/>
                </a:lnTo>
                <a:lnTo>
                  <a:pt x="708" y="862"/>
                </a:lnTo>
                <a:lnTo>
                  <a:pt x="708" y="858"/>
                </a:lnTo>
                <a:lnTo>
                  <a:pt x="708" y="862"/>
                </a:lnTo>
                <a:lnTo>
                  <a:pt x="706" y="862"/>
                </a:lnTo>
                <a:lnTo>
                  <a:pt x="702" y="862"/>
                </a:lnTo>
                <a:lnTo>
                  <a:pt x="702" y="866"/>
                </a:lnTo>
                <a:lnTo>
                  <a:pt x="702" y="862"/>
                </a:lnTo>
                <a:lnTo>
                  <a:pt x="698" y="862"/>
                </a:lnTo>
                <a:lnTo>
                  <a:pt x="694" y="862"/>
                </a:lnTo>
                <a:lnTo>
                  <a:pt x="694" y="858"/>
                </a:lnTo>
                <a:lnTo>
                  <a:pt x="690" y="858"/>
                </a:lnTo>
                <a:lnTo>
                  <a:pt x="690" y="862"/>
                </a:lnTo>
                <a:lnTo>
                  <a:pt x="686" y="858"/>
                </a:lnTo>
                <a:lnTo>
                  <a:pt x="686" y="854"/>
                </a:lnTo>
                <a:lnTo>
                  <a:pt x="682" y="854"/>
                </a:lnTo>
                <a:lnTo>
                  <a:pt x="678" y="852"/>
                </a:lnTo>
                <a:lnTo>
                  <a:pt x="676" y="852"/>
                </a:lnTo>
                <a:lnTo>
                  <a:pt x="672" y="854"/>
                </a:lnTo>
                <a:lnTo>
                  <a:pt x="668" y="854"/>
                </a:lnTo>
                <a:lnTo>
                  <a:pt x="668" y="852"/>
                </a:lnTo>
                <a:lnTo>
                  <a:pt x="664" y="852"/>
                </a:lnTo>
                <a:lnTo>
                  <a:pt x="660" y="852"/>
                </a:lnTo>
                <a:lnTo>
                  <a:pt x="656" y="852"/>
                </a:lnTo>
                <a:lnTo>
                  <a:pt x="656" y="848"/>
                </a:lnTo>
                <a:lnTo>
                  <a:pt x="656" y="844"/>
                </a:lnTo>
                <a:lnTo>
                  <a:pt x="652" y="844"/>
                </a:lnTo>
                <a:lnTo>
                  <a:pt x="652" y="840"/>
                </a:lnTo>
                <a:lnTo>
                  <a:pt x="652" y="836"/>
                </a:lnTo>
                <a:lnTo>
                  <a:pt x="650" y="836"/>
                </a:lnTo>
                <a:lnTo>
                  <a:pt x="650" y="840"/>
                </a:lnTo>
                <a:lnTo>
                  <a:pt x="650" y="844"/>
                </a:lnTo>
                <a:lnTo>
                  <a:pt x="646" y="844"/>
                </a:lnTo>
                <a:lnTo>
                  <a:pt x="620" y="844"/>
                </a:lnTo>
                <a:lnTo>
                  <a:pt x="616" y="844"/>
                </a:lnTo>
                <a:lnTo>
                  <a:pt x="612" y="844"/>
                </a:lnTo>
                <a:lnTo>
                  <a:pt x="608" y="844"/>
                </a:lnTo>
                <a:lnTo>
                  <a:pt x="604" y="844"/>
                </a:lnTo>
                <a:lnTo>
                  <a:pt x="600" y="844"/>
                </a:lnTo>
                <a:lnTo>
                  <a:pt x="596" y="844"/>
                </a:lnTo>
                <a:lnTo>
                  <a:pt x="590" y="844"/>
                </a:lnTo>
                <a:lnTo>
                  <a:pt x="582" y="844"/>
                </a:lnTo>
                <a:lnTo>
                  <a:pt x="574" y="844"/>
                </a:lnTo>
                <a:lnTo>
                  <a:pt x="564" y="844"/>
                </a:lnTo>
                <a:lnTo>
                  <a:pt x="560" y="844"/>
                </a:lnTo>
                <a:lnTo>
                  <a:pt x="548" y="844"/>
                </a:lnTo>
                <a:lnTo>
                  <a:pt x="544" y="844"/>
                </a:lnTo>
                <a:lnTo>
                  <a:pt x="540" y="844"/>
                </a:lnTo>
                <a:lnTo>
                  <a:pt x="536" y="844"/>
                </a:lnTo>
                <a:lnTo>
                  <a:pt x="534" y="844"/>
                </a:lnTo>
                <a:lnTo>
                  <a:pt x="530" y="844"/>
                </a:lnTo>
                <a:lnTo>
                  <a:pt x="526" y="844"/>
                </a:lnTo>
                <a:lnTo>
                  <a:pt x="522" y="844"/>
                </a:lnTo>
                <a:lnTo>
                  <a:pt x="518" y="844"/>
                </a:lnTo>
                <a:lnTo>
                  <a:pt x="510" y="844"/>
                </a:lnTo>
                <a:lnTo>
                  <a:pt x="508" y="844"/>
                </a:lnTo>
                <a:lnTo>
                  <a:pt x="500" y="844"/>
                </a:lnTo>
                <a:lnTo>
                  <a:pt x="496" y="844"/>
                </a:lnTo>
                <a:lnTo>
                  <a:pt x="492" y="844"/>
                </a:lnTo>
                <a:lnTo>
                  <a:pt x="488" y="844"/>
                </a:lnTo>
                <a:lnTo>
                  <a:pt x="484" y="844"/>
                </a:lnTo>
                <a:lnTo>
                  <a:pt x="478" y="844"/>
                </a:lnTo>
                <a:lnTo>
                  <a:pt x="474" y="844"/>
                </a:lnTo>
                <a:lnTo>
                  <a:pt x="470" y="844"/>
                </a:lnTo>
                <a:lnTo>
                  <a:pt x="466" y="844"/>
                </a:lnTo>
                <a:lnTo>
                  <a:pt x="462" y="844"/>
                </a:lnTo>
                <a:lnTo>
                  <a:pt x="458" y="844"/>
                </a:lnTo>
                <a:lnTo>
                  <a:pt x="454" y="844"/>
                </a:lnTo>
                <a:lnTo>
                  <a:pt x="448" y="844"/>
                </a:lnTo>
                <a:lnTo>
                  <a:pt x="444" y="844"/>
                </a:lnTo>
                <a:lnTo>
                  <a:pt x="440" y="844"/>
                </a:lnTo>
                <a:lnTo>
                  <a:pt x="436" y="844"/>
                </a:lnTo>
                <a:lnTo>
                  <a:pt x="432" y="844"/>
                </a:lnTo>
                <a:lnTo>
                  <a:pt x="428" y="844"/>
                </a:lnTo>
                <a:lnTo>
                  <a:pt x="418" y="844"/>
                </a:lnTo>
                <a:lnTo>
                  <a:pt x="414" y="844"/>
                </a:lnTo>
                <a:lnTo>
                  <a:pt x="410" y="844"/>
                </a:lnTo>
                <a:lnTo>
                  <a:pt x="408" y="844"/>
                </a:lnTo>
                <a:lnTo>
                  <a:pt x="404" y="844"/>
                </a:lnTo>
                <a:lnTo>
                  <a:pt x="396" y="844"/>
                </a:lnTo>
                <a:lnTo>
                  <a:pt x="392" y="844"/>
                </a:lnTo>
                <a:lnTo>
                  <a:pt x="388" y="844"/>
                </a:lnTo>
                <a:lnTo>
                  <a:pt x="380" y="844"/>
                </a:lnTo>
                <a:lnTo>
                  <a:pt x="378" y="844"/>
                </a:lnTo>
                <a:lnTo>
                  <a:pt x="374" y="844"/>
                </a:lnTo>
                <a:lnTo>
                  <a:pt x="370" y="844"/>
                </a:lnTo>
                <a:lnTo>
                  <a:pt x="366" y="844"/>
                </a:lnTo>
                <a:lnTo>
                  <a:pt x="362" y="844"/>
                </a:lnTo>
                <a:lnTo>
                  <a:pt x="358" y="844"/>
                </a:lnTo>
                <a:lnTo>
                  <a:pt x="354" y="844"/>
                </a:lnTo>
                <a:lnTo>
                  <a:pt x="340" y="844"/>
                </a:lnTo>
                <a:lnTo>
                  <a:pt x="336" y="844"/>
                </a:lnTo>
                <a:lnTo>
                  <a:pt x="332" y="844"/>
                </a:lnTo>
                <a:lnTo>
                  <a:pt x="328" y="844"/>
                </a:lnTo>
                <a:lnTo>
                  <a:pt x="324" y="844"/>
                </a:lnTo>
                <a:lnTo>
                  <a:pt x="322" y="844"/>
                </a:lnTo>
                <a:lnTo>
                  <a:pt x="314" y="844"/>
                </a:lnTo>
                <a:lnTo>
                  <a:pt x="310" y="844"/>
                </a:lnTo>
                <a:lnTo>
                  <a:pt x="306" y="844"/>
                </a:lnTo>
                <a:lnTo>
                  <a:pt x="298" y="844"/>
                </a:lnTo>
                <a:lnTo>
                  <a:pt x="294" y="844"/>
                </a:lnTo>
                <a:lnTo>
                  <a:pt x="292" y="844"/>
                </a:lnTo>
                <a:lnTo>
                  <a:pt x="284" y="844"/>
                </a:lnTo>
                <a:lnTo>
                  <a:pt x="268" y="844"/>
                </a:lnTo>
                <a:lnTo>
                  <a:pt x="266" y="844"/>
                </a:lnTo>
                <a:lnTo>
                  <a:pt x="262" y="844"/>
                </a:lnTo>
                <a:lnTo>
                  <a:pt x="258" y="844"/>
                </a:lnTo>
                <a:lnTo>
                  <a:pt x="254" y="844"/>
                </a:lnTo>
                <a:lnTo>
                  <a:pt x="250" y="844"/>
                </a:lnTo>
                <a:lnTo>
                  <a:pt x="250" y="840"/>
                </a:lnTo>
                <a:lnTo>
                  <a:pt x="254" y="840"/>
                </a:lnTo>
                <a:lnTo>
                  <a:pt x="258" y="840"/>
                </a:lnTo>
                <a:lnTo>
                  <a:pt x="258" y="836"/>
                </a:lnTo>
                <a:lnTo>
                  <a:pt x="254" y="836"/>
                </a:lnTo>
                <a:lnTo>
                  <a:pt x="254" y="840"/>
                </a:lnTo>
                <a:lnTo>
                  <a:pt x="250" y="836"/>
                </a:lnTo>
                <a:lnTo>
                  <a:pt x="250" y="832"/>
                </a:lnTo>
                <a:lnTo>
                  <a:pt x="254" y="828"/>
                </a:lnTo>
                <a:lnTo>
                  <a:pt x="250" y="832"/>
                </a:lnTo>
                <a:lnTo>
                  <a:pt x="246" y="832"/>
                </a:lnTo>
                <a:lnTo>
                  <a:pt x="246" y="836"/>
                </a:lnTo>
                <a:lnTo>
                  <a:pt x="242" y="836"/>
                </a:lnTo>
                <a:lnTo>
                  <a:pt x="242" y="832"/>
                </a:lnTo>
                <a:lnTo>
                  <a:pt x="238" y="832"/>
                </a:lnTo>
                <a:lnTo>
                  <a:pt x="238" y="828"/>
                </a:lnTo>
                <a:lnTo>
                  <a:pt x="242" y="828"/>
                </a:lnTo>
                <a:lnTo>
                  <a:pt x="242" y="832"/>
                </a:lnTo>
                <a:lnTo>
                  <a:pt x="246" y="832"/>
                </a:lnTo>
                <a:lnTo>
                  <a:pt x="246" y="828"/>
                </a:lnTo>
                <a:lnTo>
                  <a:pt x="246" y="832"/>
                </a:lnTo>
                <a:lnTo>
                  <a:pt x="242" y="832"/>
                </a:lnTo>
                <a:lnTo>
                  <a:pt x="242" y="828"/>
                </a:lnTo>
                <a:lnTo>
                  <a:pt x="242" y="824"/>
                </a:lnTo>
                <a:lnTo>
                  <a:pt x="242" y="822"/>
                </a:lnTo>
                <a:lnTo>
                  <a:pt x="238" y="822"/>
                </a:lnTo>
                <a:lnTo>
                  <a:pt x="242" y="822"/>
                </a:lnTo>
                <a:lnTo>
                  <a:pt x="242" y="824"/>
                </a:lnTo>
                <a:lnTo>
                  <a:pt x="238" y="824"/>
                </a:lnTo>
                <a:lnTo>
                  <a:pt x="242" y="824"/>
                </a:lnTo>
                <a:lnTo>
                  <a:pt x="242" y="828"/>
                </a:lnTo>
                <a:lnTo>
                  <a:pt x="238" y="828"/>
                </a:lnTo>
                <a:lnTo>
                  <a:pt x="238" y="824"/>
                </a:lnTo>
                <a:lnTo>
                  <a:pt x="238" y="828"/>
                </a:lnTo>
                <a:lnTo>
                  <a:pt x="236" y="828"/>
                </a:lnTo>
                <a:lnTo>
                  <a:pt x="232" y="828"/>
                </a:lnTo>
                <a:lnTo>
                  <a:pt x="232" y="824"/>
                </a:lnTo>
                <a:lnTo>
                  <a:pt x="228" y="824"/>
                </a:lnTo>
                <a:lnTo>
                  <a:pt x="228" y="822"/>
                </a:lnTo>
                <a:lnTo>
                  <a:pt x="232" y="824"/>
                </a:lnTo>
                <a:lnTo>
                  <a:pt x="232" y="822"/>
                </a:lnTo>
                <a:lnTo>
                  <a:pt x="232" y="818"/>
                </a:lnTo>
                <a:lnTo>
                  <a:pt x="232" y="814"/>
                </a:lnTo>
                <a:lnTo>
                  <a:pt x="232" y="818"/>
                </a:lnTo>
                <a:lnTo>
                  <a:pt x="232" y="814"/>
                </a:lnTo>
                <a:lnTo>
                  <a:pt x="236" y="814"/>
                </a:lnTo>
                <a:lnTo>
                  <a:pt x="232" y="814"/>
                </a:lnTo>
                <a:lnTo>
                  <a:pt x="232" y="818"/>
                </a:lnTo>
                <a:lnTo>
                  <a:pt x="228" y="818"/>
                </a:lnTo>
                <a:lnTo>
                  <a:pt x="224" y="818"/>
                </a:lnTo>
                <a:lnTo>
                  <a:pt x="224" y="814"/>
                </a:lnTo>
                <a:lnTo>
                  <a:pt x="228" y="814"/>
                </a:lnTo>
                <a:lnTo>
                  <a:pt x="228" y="810"/>
                </a:lnTo>
                <a:lnTo>
                  <a:pt x="228" y="806"/>
                </a:lnTo>
                <a:lnTo>
                  <a:pt x="228" y="810"/>
                </a:lnTo>
                <a:lnTo>
                  <a:pt x="228" y="814"/>
                </a:lnTo>
                <a:lnTo>
                  <a:pt x="224" y="814"/>
                </a:lnTo>
                <a:lnTo>
                  <a:pt x="220" y="814"/>
                </a:lnTo>
                <a:lnTo>
                  <a:pt x="220" y="810"/>
                </a:lnTo>
                <a:lnTo>
                  <a:pt x="216" y="810"/>
                </a:lnTo>
                <a:lnTo>
                  <a:pt x="216" y="814"/>
                </a:lnTo>
                <a:lnTo>
                  <a:pt x="212" y="814"/>
                </a:lnTo>
                <a:lnTo>
                  <a:pt x="210" y="814"/>
                </a:lnTo>
                <a:lnTo>
                  <a:pt x="210" y="810"/>
                </a:lnTo>
                <a:lnTo>
                  <a:pt x="212" y="810"/>
                </a:lnTo>
                <a:lnTo>
                  <a:pt x="216" y="810"/>
                </a:lnTo>
                <a:lnTo>
                  <a:pt x="220" y="806"/>
                </a:lnTo>
                <a:lnTo>
                  <a:pt x="220" y="802"/>
                </a:lnTo>
                <a:lnTo>
                  <a:pt x="216" y="802"/>
                </a:lnTo>
                <a:lnTo>
                  <a:pt x="216" y="806"/>
                </a:lnTo>
                <a:lnTo>
                  <a:pt x="216" y="810"/>
                </a:lnTo>
                <a:lnTo>
                  <a:pt x="212" y="810"/>
                </a:lnTo>
                <a:lnTo>
                  <a:pt x="210" y="810"/>
                </a:lnTo>
                <a:lnTo>
                  <a:pt x="210" y="806"/>
                </a:lnTo>
                <a:lnTo>
                  <a:pt x="206" y="806"/>
                </a:lnTo>
                <a:lnTo>
                  <a:pt x="210" y="806"/>
                </a:lnTo>
                <a:lnTo>
                  <a:pt x="210" y="802"/>
                </a:lnTo>
                <a:lnTo>
                  <a:pt x="210" y="806"/>
                </a:lnTo>
                <a:lnTo>
                  <a:pt x="206" y="802"/>
                </a:lnTo>
                <a:lnTo>
                  <a:pt x="206" y="806"/>
                </a:lnTo>
                <a:lnTo>
                  <a:pt x="202" y="806"/>
                </a:lnTo>
                <a:lnTo>
                  <a:pt x="198" y="806"/>
                </a:lnTo>
                <a:lnTo>
                  <a:pt x="194" y="806"/>
                </a:lnTo>
                <a:lnTo>
                  <a:pt x="198" y="806"/>
                </a:lnTo>
                <a:lnTo>
                  <a:pt x="194" y="806"/>
                </a:lnTo>
                <a:lnTo>
                  <a:pt x="190" y="802"/>
                </a:lnTo>
                <a:lnTo>
                  <a:pt x="194" y="802"/>
                </a:lnTo>
                <a:lnTo>
                  <a:pt x="198" y="802"/>
                </a:lnTo>
                <a:lnTo>
                  <a:pt x="202" y="802"/>
                </a:lnTo>
                <a:lnTo>
                  <a:pt x="202" y="798"/>
                </a:lnTo>
                <a:lnTo>
                  <a:pt x="202" y="802"/>
                </a:lnTo>
                <a:lnTo>
                  <a:pt x="198" y="802"/>
                </a:lnTo>
                <a:lnTo>
                  <a:pt x="194" y="802"/>
                </a:lnTo>
                <a:lnTo>
                  <a:pt x="190" y="798"/>
                </a:lnTo>
                <a:lnTo>
                  <a:pt x="190" y="802"/>
                </a:lnTo>
                <a:lnTo>
                  <a:pt x="186" y="798"/>
                </a:lnTo>
                <a:lnTo>
                  <a:pt x="190" y="794"/>
                </a:lnTo>
                <a:lnTo>
                  <a:pt x="194" y="798"/>
                </a:lnTo>
                <a:lnTo>
                  <a:pt x="194" y="794"/>
                </a:lnTo>
                <a:lnTo>
                  <a:pt x="198" y="794"/>
                </a:lnTo>
                <a:lnTo>
                  <a:pt x="194" y="794"/>
                </a:lnTo>
                <a:lnTo>
                  <a:pt x="190" y="794"/>
                </a:lnTo>
                <a:lnTo>
                  <a:pt x="186" y="794"/>
                </a:lnTo>
                <a:lnTo>
                  <a:pt x="190" y="794"/>
                </a:lnTo>
                <a:lnTo>
                  <a:pt x="190" y="792"/>
                </a:lnTo>
                <a:lnTo>
                  <a:pt x="194" y="788"/>
                </a:lnTo>
                <a:lnTo>
                  <a:pt x="198" y="788"/>
                </a:lnTo>
                <a:lnTo>
                  <a:pt x="202" y="792"/>
                </a:lnTo>
                <a:lnTo>
                  <a:pt x="202" y="788"/>
                </a:lnTo>
                <a:lnTo>
                  <a:pt x="206" y="788"/>
                </a:lnTo>
                <a:lnTo>
                  <a:pt x="202" y="788"/>
                </a:lnTo>
                <a:lnTo>
                  <a:pt x="198" y="788"/>
                </a:lnTo>
                <a:lnTo>
                  <a:pt x="194" y="788"/>
                </a:lnTo>
                <a:lnTo>
                  <a:pt x="190" y="788"/>
                </a:lnTo>
                <a:lnTo>
                  <a:pt x="194" y="788"/>
                </a:lnTo>
                <a:lnTo>
                  <a:pt x="194" y="784"/>
                </a:lnTo>
                <a:lnTo>
                  <a:pt x="190" y="788"/>
                </a:lnTo>
                <a:lnTo>
                  <a:pt x="190" y="792"/>
                </a:lnTo>
                <a:lnTo>
                  <a:pt x="190" y="794"/>
                </a:lnTo>
                <a:lnTo>
                  <a:pt x="186" y="794"/>
                </a:lnTo>
                <a:lnTo>
                  <a:pt x="186" y="792"/>
                </a:lnTo>
                <a:lnTo>
                  <a:pt x="186" y="788"/>
                </a:lnTo>
                <a:lnTo>
                  <a:pt x="186" y="784"/>
                </a:lnTo>
                <a:lnTo>
                  <a:pt x="190" y="784"/>
                </a:lnTo>
                <a:lnTo>
                  <a:pt x="190" y="780"/>
                </a:lnTo>
                <a:lnTo>
                  <a:pt x="190" y="776"/>
                </a:lnTo>
                <a:lnTo>
                  <a:pt x="194" y="776"/>
                </a:lnTo>
                <a:lnTo>
                  <a:pt x="198" y="776"/>
                </a:lnTo>
                <a:lnTo>
                  <a:pt x="202" y="780"/>
                </a:lnTo>
                <a:lnTo>
                  <a:pt x="202" y="784"/>
                </a:lnTo>
                <a:lnTo>
                  <a:pt x="202" y="780"/>
                </a:lnTo>
                <a:lnTo>
                  <a:pt x="202" y="776"/>
                </a:lnTo>
                <a:lnTo>
                  <a:pt x="198" y="776"/>
                </a:lnTo>
                <a:lnTo>
                  <a:pt x="202" y="772"/>
                </a:lnTo>
                <a:lnTo>
                  <a:pt x="198" y="772"/>
                </a:lnTo>
                <a:lnTo>
                  <a:pt x="198" y="776"/>
                </a:lnTo>
                <a:lnTo>
                  <a:pt x="194" y="772"/>
                </a:lnTo>
                <a:lnTo>
                  <a:pt x="194" y="768"/>
                </a:lnTo>
                <a:lnTo>
                  <a:pt x="198" y="768"/>
                </a:lnTo>
                <a:lnTo>
                  <a:pt x="198" y="766"/>
                </a:lnTo>
                <a:lnTo>
                  <a:pt x="198" y="768"/>
                </a:lnTo>
                <a:lnTo>
                  <a:pt x="194" y="768"/>
                </a:lnTo>
                <a:lnTo>
                  <a:pt x="194" y="772"/>
                </a:lnTo>
                <a:lnTo>
                  <a:pt x="190" y="772"/>
                </a:lnTo>
                <a:lnTo>
                  <a:pt x="190" y="776"/>
                </a:lnTo>
                <a:lnTo>
                  <a:pt x="186" y="776"/>
                </a:lnTo>
                <a:lnTo>
                  <a:pt x="186" y="772"/>
                </a:lnTo>
                <a:lnTo>
                  <a:pt x="182" y="776"/>
                </a:lnTo>
                <a:lnTo>
                  <a:pt x="182" y="772"/>
                </a:lnTo>
                <a:lnTo>
                  <a:pt x="186" y="768"/>
                </a:lnTo>
                <a:lnTo>
                  <a:pt x="182" y="768"/>
                </a:lnTo>
                <a:lnTo>
                  <a:pt x="182" y="772"/>
                </a:lnTo>
                <a:lnTo>
                  <a:pt x="180" y="776"/>
                </a:lnTo>
                <a:lnTo>
                  <a:pt x="180" y="772"/>
                </a:lnTo>
                <a:lnTo>
                  <a:pt x="180" y="768"/>
                </a:lnTo>
                <a:lnTo>
                  <a:pt x="182" y="768"/>
                </a:lnTo>
                <a:lnTo>
                  <a:pt x="182" y="766"/>
                </a:lnTo>
                <a:lnTo>
                  <a:pt x="182" y="762"/>
                </a:lnTo>
                <a:lnTo>
                  <a:pt x="182" y="766"/>
                </a:lnTo>
                <a:lnTo>
                  <a:pt x="180" y="766"/>
                </a:lnTo>
                <a:lnTo>
                  <a:pt x="176" y="762"/>
                </a:lnTo>
                <a:lnTo>
                  <a:pt x="176" y="758"/>
                </a:lnTo>
                <a:lnTo>
                  <a:pt x="172" y="754"/>
                </a:lnTo>
                <a:lnTo>
                  <a:pt x="172" y="750"/>
                </a:lnTo>
                <a:lnTo>
                  <a:pt x="176" y="750"/>
                </a:lnTo>
                <a:lnTo>
                  <a:pt x="176" y="754"/>
                </a:lnTo>
                <a:lnTo>
                  <a:pt x="180" y="750"/>
                </a:lnTo>
                <a:lnTo>
                  <a:pt x="182" y="750"/>
                </a:lnTo>
                <a:lnTo>
                  <a:pt x="182" y="754"/>
                </a:lnTo>
                <a:lnTo>
                  <a:pt x="186" y="754"/>
                </a:lnTo>
                <a:lnTo>
                  <a:pt x="182" y="754"/>
                </a:lnTo>
                <a:lnTo>
                  <a:pt x="182" y="750"/>
                </a:lnTo>
                <a:lnTo>
                  <a:pt x="180" y="750"/>
                </a:lnTo>
                <a:lnTo>
                  <a:pt x="176" y="750"/>
                </a:lnTo>
                <a:lnTo>
                  <a:pt x="172" y="746"/>
                </a:lnTo>
                <a:lnTo>
                  <a:pt x="172" y="742"/>
                </a:lnTo>
                <a:lnTo>
                  <a:pt x="176" y="742"/>
                </a:lnTo>
                <a:lnTo>
                  <a:pt x="176" y="738"/>
                </a:lnTo>
                <a:lnTo>
                  <a:pt x="172" y="742"/>
                </a:lnTo>
                <a:lnTo>
                  <a:pt x="168" y="746"/>
                </a:lnTo>
                <a:lnTo>
                  <a:pt x="168" y="750"/>
                </a:lnTo>
                <a:lnTo>
                  <a:pt x="164" y="754"/>
                </a:lnTo>
                <a:lnTo>
                  <a:pt x="164" y="750"/>
                </a:lnTo>
                <a:lnTo>
                  <a:pt x="160" y="750"/>
                </a:lnTo>
                <a:lnTo>
                  <a:pt x="160" y="746"/>
                </a:lnTo>
                <a:lnTo>
                  <a:pt x="156" y="742"/>
                </a:lnTo>
                <a:lnTo>
                  <a:pt x="152" y="742"/>
                </a:lnTo>
                <a:lnTo>
                  <a:pt x="152" y="738"/>
                </a:lnTo>
                <a:lnTo>
                  <a:pt x="152" y="736"/>
                </a:lnTo>
                <a:lnTo>
                  <a:pt x="156" y="736"/>
                </a:lnTo>
                <a:lnTo>
                  <a:pt x="160" y="736"/>
                </a:lnTo>
                <a:lnTo>
                  <a:pt x="164" y="736"/>
                </a:lnTo>
                <a:lnTo>
                  <a:pt x="160" y="736"/>
                </a:lnTo>
                <a:lnTo>
                  <a:pt x="156" y="736"/>
                </a:lnTo>
                <a:lnTo>
                  <a:pt x="152" y="736"/>
                </a:lnTo>
                <a:lnTo>
                  <a:pt x="152" y="732"/>
                </a:lnTo>
                <a:lnTo>
                  <a:pt x="150" y="732"/>
                </a:lnTo>
                <a:lnTo>
                  <a:pt x="150" y="728"/>
                </a:lnTo>
                <a:lnTo>
                  <a:pt x="150" y="724"/>
                </a:lnTo>
                <a:lnTo>
                  <a:pt x="150" y="728"/>
                </a:lnTo>
                <a:lnTo>
                  <a:pt x="152" y="728"/>
                </a:lnTo>
                <a:lnTo>
                  <a:pt x="152" y="732"/>
                </a:lnTo>
                <a:lnTo>
                  <a:pt x="156" y="732"/>
                </a:lnTo>
                <a:lnTo>
                  <a:pt x="152" y="728"/>
                </a:lnTo>
                <a:lnTo>
                  <a:pt x="150" y="728"/>
                </a:lnTo>
                <a:lnTo>
                  <a:pt x="150" y="724"/>
                </a:lnTo>
                <a:lnTo>
                  <a:pt x="152" y="724"/>
                </a:lnTo>
                <a:lnTo>
                  <a:pt x="156" y="724"/>
                </a:lnTo>
                <a:lnTo>
                  <a:pt x="156" y="728"/>
                </a:lnTo>
                <a:lnTo>
                  <a:pt x="156" y="724"/>
                </a:lnTo>
                <a:lnTo>
                  <a:pt x="152" y="724"/>
                </a:lnTo>
                <a:lnTo>
                  <a:pt x="152" y="720"/>
                </a:lnTo>
                <a:lnTo>
                  <a:pt x="152" y="716"/>
                </a:lnTo>
                <a:lnTo>
                  <a:pt x="156" y="716"/>
                </a:lnTo>
                <a:lnTo>
                  <a:pt x="160" y="716"/>
                </a:lnTo>
                <a:lnTo>
                  <a:pt x="156" y="716"/>
                </a:lnTo>
                <a:lnTo>
                  <a:pt x="156" y="712"/>
                </a:lnTo>
                <a:lnTo>
                  <a:pt x="160" y="708"/>
                </a:lnTo>
                <a:lnTo>
                  <a:pt x="164" y="708"/>
                </a:lnTo>
                <a:lnTo>
                  <a:pt x="164" y="706"/>
                </a:lnTo>
                <a:lnTo>
                  <a:pt x="160" y="708"/>
                </a:lnTo>
                <a:lnTo>
                  <a:pt x="160" y="706"/>
                </a:lnTo>
                <a:lnTo>
                  <a:pt x="160" y="708"/>
                </a:lnTo>
                <a:lnTo>
                  <a:pt x="156" y="706"/>
                </a:lnTo>
                <a:lnTo>
                  <a:pt x="160" y="706"/>
                </a:lnTo>
                <a:lnTo>
                  <a:pt x="160" y="708"/>
                </a:lnTo>
                <a:lnTo>
                  <a:pt x="156" y="712"/>
                </a:lnTo>
                <a:lnTo>
                  <a:pt x="156" y="716"/>
                </a:lnTo>
                <a:lnTo>
                  <a:pt x="152" y="716"/>
                </a:lnTo>
                <a:lnTo>
                  <a:pt x="152" y="712"/>
                </a:lnTo>
                <a:lnTo>
                  <a:pt x="156" y="712"/>
                </a:lnTo>
                <a:lnTo>
                  <a:pt x="156" y="708"/>
                </a:lnTo>
                <a:lnTo>
                  <a:pt x="152" y="706"/>
                </a:lnTo>
                <a:lnTo>
                  <a:pt x="152" y="702"/>
                </a:lnTo>
                <a:lnTo>
                  <a:pt x="152" y="698"/>
                </a:lnTo>
                <a:lnTo>
                  <a:pt x="156" y="698"/>
                </a:lnTo>
                <a:lnTo>
                  <a:pt x="156" y="694"/>
                </a:lnTo>
                <a:lnTo>
                  <a:pt x="152" y="694"/>
                </a:lnTo>
                <a:lnTo>
                  <a:pt x="150" y="694"/>
                </a:lnTo>
                <a:lnTo>
                  <a:pt x="150" y="690"/>
                </a:lnTo>
                <a:lnTo>
                  <a:pt x="146" y="690"/>
                </a:lnTo>
                <a:lnTo>
                  <a:pt x="146" y="686"/>
                </a:lnTo>
                <a:lnTo>
                  <a:pt x="142" y="686"/>
                </a:lnTo>
                <a:lnTo>
                  <a:pt x="138" y="686"/>
                </a:lnTo>
                <a:lnTo>
                  <a:pt x="138" y="682"/>
                </a:lnTo>
                <a:lnTo>
                  <a:pt x="134" y="682"/>
                </a:lnTo>
                <a:lnTo>
                  <a:pt x="130" y="682"/>
                </a:lnTo>
                <a:lnTo>
                  <a:pt x="130" y="680"/>
                </a:lnTo>
                <a:lnTo>
                  <a:pt x="126" y="676"/>
                </a:lnTo>
                <a:lnTo>
                  <a:pt x="126" y="672"/>
                </a:lnTo>
                <a:lnTo>
                  <a:pt x="124" y="672"/>
                </a:lnTo>
                <a:lnTo>
                  <a:pt x="124" y="668"/>
                </a:lnTo>
                <a:lnTo>
                  <a:pt x="124" y="664"/>
                </a:lnTo>
                <a:lnTo>
                  <a:pt x="120" y="664"/>
                </a:lnTo>
                <a:lnTo>
                  <a:pt x="120" y="660"/>
                </a:lnTo>
                <a:lnTo>
                  <a:pt x="116" y="656"/>
                </a:lnTo>
                <a:lnTo>
                  <a:pt x="116" y="652"/>
                </a:lnTo>
                <a:lnTo>
                  <a:pt x="112" y="652"/>
                </a:lnTo>
                <a:lnTo>
                  <a:pt x="112" y="650"/>
                </a:lnTo>
                <a:lnTo>
                  <a:pt x="112" y="646"/>
                </a:lnTo>
                <a:lnTo>
                  <a:pt x="108" y="646"/>
                </a:lnTo>
                <a:lnTo>
                  <a:pt x="108" y="642"/>
                </a:lnTo>
                <a:lnTo>
                  <a:pt x="104" y="638"/>
                </a:lnTo>
                <a:lnTo>
                  <a:pt x="100" y="638"/>
                </a:lnTo>
                <a:lnTo>
                  <a:pt x="100" y="634"/>
                </a:lnTo>
                <a:lnTo>
                  <a:pt x="96" y="634"/>
                </a:lnTo>
                <a:lnTo>
                  <a:pt x="96" y="630"/>
                </a:lnTo>
                <a:lnTo>
                  <a:pt x="94" y="630"/>
                </a:lnTo>
                <a:lnTo>
                  <a:pt x="94" y="626"/>
                </a:lnTo>
                <a:lnTo>
                  <a:pt x="90" y="626"/>
                </a:lnTo>
                <a:lnTo>
                  <a:pt x="90" y="622"/>
                </a:lnTo>
                <a:lnTo>
                  <a:pt x="86" y="622"/>
                </a:lnTo>
                <a:lnTo>
                  <a:pt x="82" y="620"/>
                </a:lnTo>
                <a:lnTo>
                  <a:pt x="86" y="620"/>
                </a:lnTo>
                <a:lnTo>
                  <a:pt x="86" y="616"/>
                </a:lnTo>
                <a:lnTo>
                  <a:pt x="82" y="616"/>
                </a:lnTo>
                <a:lnTo>
                  <a:pt x="80" y="612"/>
                </a:lnTo>
                <a:lnTo>
                  <a:pt x="76" y="612"/>
                </a:lnTo>
                <a:lnTo>
                  <a:pt x="72" y="612"/>
                </a:lnTo>
                <a:lnTo>
                  <a:pt x="72" y="616"/>
                </a:lnTo>
                <a:lnTo>
                  <a:pt x="68" y="616"/>
                </a:lnTo>
                <a:lnTo>
                  <a:pt x="68" y="620"/>
                </a:lnTo>
                <a:lnTo>
                  <a:pt x="64" y="620"/>
                </a:lnTo>
                <a:lnTo>
                  <a:pt x="64" y="622"/>
                </a:lnTo>
                <a:lnTo>
                  <a:pt x="64" y="626"/>
                </a:lnTo>
                <a:lnTo>
                  <a:pt x="60" y="626"/>
                </a:lnTo>
                <a:lnTo>
                  <a:pt x="56" y="626"/>
                </a:lnTo>
                <a:lnTo>
                  <a:pt x="54" y="626"/>
                </a:lnTo>
                <a:lnTo>
                  <a:pt x="54" y="630"/>
                </a:lnTo>
                <a:lnTo>
                  <a:pt x="50" y="630"/>
                </a:lnTo>
                <a:lnTo>
                  <a:pt x="50" y="626"/>
                </a:lnTo>
                <a:lnTo>
                  <a:pt x="50" y="622"/>
                </a:lnTo>
                <a:lnTo>
                  <a:pt x="46" y="620"/>
                </a:lnTo>
                <a:lnTo>
                  <a:pt x="42" y="616"/>
                </a:lnTo>
                <a:lnTo>
                  <a:pt x="38" y="616"/>
                </a:lnTo>
                <a:lnTo>
                  <a:pt x="34" y="612"/>
                </a:lnTo>
                <a:lnTo>
                  <a:pt x="34" y="608"/>
                </a:lnTo>
                <a:lnTo>
                  <a:pt x="30" y="608"/>
                </a:lnTo>
                <a:lnTo>
                  <a:pt x="26" y="604"/>
                </a:lnTo>
                <a:lnTo>
                  <a:pt x="26" y="600"/>
                </a:lnTo>
                <a:lnTo>
                  <a:pt x="26" y="596"/>
                </a:lnTo>
                <a:lnTo>
                  <a:pt x="24" y="596"/>
                </a:lnTo>
                <a:lnTo>
                  <a:pt x="20" y="596"/>
                </a:lnTo>
                <a:lnTo>
                  <a:pt x="20" y="600"/>
                </a:lnTo>
                <a:lnTo>
                  <a:pt x="16" y="600"/>
                </a:lnTo>
                <a:lnTo>
                  <a:pt x="8" y="600"/>
                </a:lnTo>
                <a:lnTo>
                  <a:pt x="0" y="600"/>
                </a:lnTo>
                <a:lnTo>
                  <a:pt x="0" y="596"/>
                </a:lnTo>
                <a:lnTo>
                  <a:pt x="0" y="586"/>
                </a:lnTo>
                <a:lnTo>
                  <a:pt x="0" y="546"/>
                </a:lnTo>
                <a:lnTo>
                  <a:pt x="0" y="534"/>
                </a:lnTo>
                <a:lnTo>
                  <a:pt x="0" y="520"/>
                </a:lnTo>
                <a:lnTo>
                  <a:pt x="0" y="516"/>
                </a:lnTo>
                <a:lnTo>
                  <a:pt x="0" y="508"/>
                </a:lnTo>
                <a:lnTo>
                  <a:pt x="0" y="486"/>
                </a:lnTo>
                <a:lnTo>
                  <a:pt x="0" y="474"/>
                </a:lnTo>
                <a:lnTo>
                  <a:pt x="0" y="464"/>
                </a:lnTo>
                <a:lnTo>
                  <a:pt x="0" y="452"/>
                </a:lnTo>
                <a:lnTo>
                  <a:pt x="0" y="448"/>
                </a:lnTo>
                <a:lnTo>
                  <a:pt x="0" y="444"/>
                </a:lnTo>
                <a:lnTo>
                  <a:pt x="0" y="440"/>
                </a:lnTo>
                <a:lnTo>
                  <a:pt x="0" y="434"/>
                </a:lnTo>
                <a:lnTo>
                  <a:pt x="0" y="430"/>
                </a:lnTo>
                <a:lnTo>
                  <a:pt x="0" y="422"/>
                </a:lnTo>
                <a:lnTo>
                  <a:pt x="0" y="418"/>
                </a:lnTo>
                <a:lnTo>
                  <a:pt x="0" y="414"/>
                </a:lnTo>
                <a:lnTo>
                  <a:pt x="0" y="410"/>
                </a:lnTo>
                <a:lnTo>
                  <a:pt x="0" y="404"/>
                </a:lnTo>
                <a:lnTo>
                  <a:pt x="0" y="392"/>
                </a:lnTo>
                <a:lnTo>
                  <a:pt x="0" y="380"/>
                </a:lnTo>
                <a:lnTo>
                  <a:pt x="0" y="378"/>
                </a:lnTo>
                <a:lnTo>
                  <a:pt x="0" y="374"/>
                </a:lnTo>
                <a:lnTo>
                  <a:pt x="4" y="374"/>
                </a:lnTo>
                <a:lnTo>
                  <a:pt x="4" y="378"/>
                </a:lnTo>
                <a:lnTo>
                  <a:pt x="8" y="378"/>
                </a:lnTo>
                <a:lnTo>
                  <a:pt x="12" y="378"/>
                </a:lnTo>
                <a:lnTo>
                  <a:pt x="16" y="378"/>
                </a:lnTo>
                <a:lnTo>
                  <a:pt x="20" y="378"/>
                </a:lnTo>
                <a:lnTo>
                  <a:pt x="24" y="378"/>
                </a:lnTo>
                <a:lnTo>
                  <a:pt x="26" y="378"/>
                </a:lnTo>
                <a:lnTo>
                  <a:pt x="26" y="380"/>
                </a:lnTo>
                <a:lnTo>
                  <a:pt x="30" y="380"/>
                </a:lnTo>
                <a:lnTo>
                  <a:pt x="34" y="384"/>
                </a:lnTo>
                <a:lnTo>
                  <a:pt x="38" y="384"/>
                </a:lnTo>
                <a:lnTo>
                  <a:pt x="38" y="388"/>
                </a:lnTo>
                <a:lnTo>
                  <a:pt x="42" y="388"/>
                </a:lnTo>
                <a:lnTo>
                  <a:pt x="46" y="388"/>
                </a:lnTo>
                <a:lnTo>
                  <a:pt x="50" y="392"/>
                </a:lnTo>
                <a:lnTo>
                  <a:pt x="54" y="392"/>
                </a:lnTo>
                <a:lnTo>
                  <a:pt x="56" y="392"/>
                </a:lnTo>
                <a:lnTo>
                  <a:pt x="60" y="396"/>
                </a:lnTo>
                <a:lnTo>
                  <a:pt x="64" y="392"/>
                </a:lnTo>
                <a:lnTo>
                  <a:pt x="68" y="392"/>
                </a:lnTo>
                <a:lnTo>
                  <a:pt x="68" y="396"/>
                </a:lnTo>
                <a:lnTo>
                  <a:pt x="72" y="396"/>
                </a:lnTo>
                <a:lnTo>
                  <a:pt x="76" y="396"/>
                </a:lnTo>
                <a:lnTo>
                  <a:pt x="80" y="396"/>
                </a:lnTo>
                <a:lnTo>
                  <a:pt x="80" y="400"/>
                </a:lnTo>
                <a:lnTo>
                  <a:pt x="82" y="400"/>
                </a:lnTo>
                <a:lnTo>
                  <a:pt x="80" y="396"/>
                </a:lnTo>
                <a:lnTo>
                  <a:pt x="76" y="396"/>
                </a:lnTo>
                <a:lnTo>
                  <a:pt x="76" y="392"/>
                </a:lnTo>
                <a:lnTo>
                  <a:pt x="80" y="392"/>
                </a:lnTo>
                <a:lnTo>
                  <a:pt x="82" y="392"/>
                </a:lnTo>
                <a:lnTo>
                  <a:pt x="86" y="396"/>
                </a:lnTo>
                <a:lnTo>
                  <a:pt x="86" y="392"/>
                </a:lnTo>
                <a:lnTo>
                  <a:pt x="90" y="392"/>
                </a:lnTo>
                <a:lnTo>
                  <a:pt x="90" y="396"/>
                </a:lnTo>
                <a:lnTo>
                  <a:pt x="94" y="400"/>
                </a:lnTo>
                <a:lnTo>
                  <a:pt x="96" y="400"/>
                </a:lnTo>
                <a:lnTo>
                  <a:pt x="94" y="400"/>
                </a:lnTo>
                <a:lnTo>
                  <a:pt x="94" y="396"/>
                </a:lnTo>
                <a:lnTo>
                  <a:pt x="90" y="392"/>
                </a:lnTo>
                <a:lnTo>
                  <a:pt x="90" y="388"/>
                </a:lnTo>
                <a:lnTo>
                  <a:pt x="94" y="388"/>
                </a:lnTo>
                <a:lnTo>
                  <a:pt x="96" y="384"/>
                </a:lnTo>
                <a:lnTo>
                  <a:pt x="100" y="384"/>
                </a:lnTo>
                <a:lnTo>
                  <a:pt x="104" y="380"/>
                </a:lnTo>
                <a:lnTo>
                  <a:pt x="108" y="380"/>
                </a:lnTo>
                <a:lnTo>
                  <a:pt x="112" y="380"/>
                </a:lnTo>
                <a:lnTo>
                  <a:pt x="112" y="378"/>
                </a:lnTo>
                <a:lnTo>
                  <a:pt x="116" y="374"/>
                </a:lnTo>
                <a:lnTo>
                  <a:pt x="120" y="374"/>
                </a:lnTo>
                <a:lnTo>
                  <a:pt x="124" y="374"/>
                </a:lnTo>
                <a:lnTo>
                  <a:pt x="120" y="374"/>
                </a:lnTo>
                <a:lnTo>
                  <a:pt x="124" y="374"/>
                </a:lnTo>
                <a:lnTo>
                  <a:pt x="126" y="374"/>
                </a:lnTo>
                <a:lnTo>
                  <a:pt x="130" y="374"/>
                </a:lnTo>
                <a:lnTo>
                  <a:pt x="130" y="370"/>
                </a:lnTo>
                <a:lnTo>
                  <a:pt x="134" y="370"/>
                </a:lnTo>
                <a:lnTo>
                  <a:pt x="134" y="366"/>
                </a:lnTo>
                <a:lnTo>
                  <a:pt x="138" y="366"/>
                </a:lnTo>
                <a:lnTo>
                  <a:pt x="138" y="370"/>
                </a:lnTo>
                <a:lnTo>
                  <a:pt x="142" y="370"/>
                </a:lnTo>
                <a:lnTo>
                  <a:pt x="142" y="366"/>
                </a:lnTo>
                <a:lnTo>
                  <a:pt x="142" y="362"/>
                </a:lnTo>
                <a:lnTo>
                  <a:pt x="146" y="362"/>
                </a:lnTo>
                <a:lnTo>
                  <a:pt x="150" y="362"/>
                </a:lnTo>
                <a:lnTo>
                  <a:pt x="152" y="366"/>
                </a:lnTo>
                <a:lnTo>
                  <a:pt x="156" y="362"/>
                </a:lnTo>
                <a:lnTo>
                  <a:pt x="156" y="358"/>
                </a:lnTo>
                <a:lnTo>
                  <a:pt x="160" y="358"/>
                </a:lnTo>
                <a:lnTo>
                  <a:pt x="164" y="362"/>
                </a:lnTo>
                <a:lnTo>
                  <a:pt x="164" y="366"/>
                </a:lnTo>
                <a:lnTo>
                  <a:pt x="160" y="366"/>
                </a:lnTo>
                <a:lnTo>
                  <a:pt x="156" y="370"/>
                </a:lnTo>
                <a:lnTo>
                  <a:pt x="152" y="370"/>
                </a:lnTo>
                <a:lnTo>
                  <a:pt x="150" y="370"/>
                </a:lnTo>
                <a:lnTo>
                  <a:pt x="150" y="374"/>
                </a:lnTo>
                <a:lnTo>
                  <a:pt x="146" y="374"/>
                </a:lnTo>
                <a:lnTo>
                  <a:pt x="142" y="378"/>
                </a:lnTo>
                <a:lnTo>
                  <a:pt x="142" y="374"/>
                </a:lnTo>
                <a:lnTo>
                  <a:pt x="138" y="374"/>
                </a:lnTo>
                <a:lnTo>
                  <a:pt x="138" y="378"/>
                </a:lnTo>
                <a:lnTo>
                  <a:pt x="134" y="378"/>
                </a:lnTo>
                <a:lnTo>
                  <a:pt x="130" y="378"/>
                </a:lnTo>
                <a:lnTo>
                  <a:pt x="126" y="378"/>
                </a:lnTo>
                <a:lnTo>
                  <a:pt x="126" y="380"/>
                </a:lnTo>
                <a:lnTo>
                  <a:pt x="124" y="384"/>
                </a:lnTo>
                <a:lnTo>
                  <a:pt x="120" y="384"/>
                </a:lnTo>
                <a:lnTo>
                  <a:pt x="116" y="384"/>
                </a:lnTo>
                <a:lnTo>
                  <a:pt x="116" y="388"/>
                </a:lnTo>
                <a:lnTo>
                  <a:pt x="112" y="388"/>
                </a:lnTo>
                <a:lnTo>
                  <a:pt x="112" y="392"/>
                </a:lnTo>
                <a:lnTo>
                  <a:pt x="108" y="392"/>
                </a:lnTo>
                <a:lnTo>
                  <a:pt x="112" y="392"/>
                </a:lnTo>
                <a:lnTo>
                  <a:pt x="108" y="392"/>
                </a:lnTo>
                <a:lnTo>
                  <a:pt x="108" y="396"/>
                </a:lnTo>
                <a:lnTo>
                  <a:pt x="108" y="392"/>
                </a:lnTo>
                <a:lnTo>
                  <a:pt x="104" y="396"/>
                </a:lnTo>
                <a:lnTo>
                  <a:pt x="108" y="396"/>
                </a:lnTo>
                <a:lnTo>
                  <a:pt x="112" y="400"/>
                </a:lnTo>
                <a:lnTo>
                  <a:pt x="116" y="400"/>
                </a:lnTo>
                <a:lnTo>
                  <a:pt x="112" y="400"/>
                </a:lnTo>
                <a:lnTo>
                  <a:pt x="108" y="396"/>
                </a:lnTo>
                <a:lnTo>
                  <a:pt x="112" y="396"/>
                </a:lnTo>
                <a:lnTo>
                  <a:pt x="108" y="396"/>
                </a:lnTo>
                <a:lnTo>
                  <a:pt x="112" y="396"/>
                </a:lnTo>
                <a:lnTo>
                  <a:pt x="116" y="396"/>
                </a:lnTo>
                <a:lnTo>
                  <a:pt x="120" y="396"/>
                </a:lnTo>
                <a:lnTo>
                  <a:pt x="124" y="396"/>
                </a:lnTo>
                <a:lnTo>
                  <a:pt x="120" y="392"/>
                </a:lnTo>
                <a:lnTo>
                  <a:pt x="120" y="396"/>
                </a:lnTo>
                <a:lnTo>
                  <a:pt x="116" y="396"/>
                </a:lnTo>
                <a:lnTo>
                  <a:pt x="116" y="392"/>
                </a:lnTo>
                <a:lnTo>
                  <a:pt x="116" y="388"/>
                </a:lnTo>
                <a:lnTo>
                  <a:pt x="120" y="388"/>
                </a:lnTo>
                <a:lnTo>
                  <a:pt x="124" y="388"/>
                </a:lnTo>
                <a:lnTo>
                  <a:pt x="124" y="384"/>
                </a:lnTo>
                <a:lnTo>
                  <a:pt x="124" y="388"/>
                </a:lnTo>
                <a:lnTo>
                  <a:pt x="124" y="384"/>
                </a:lnTo>
                <a:lnTo>
                  <a:pt x="126" y="384"/>
                </a:lnTo>
                <a:lnTo>
                  <a:pt x="130" y="384"/>
                </a:lnTo>
                <a:lnTo>
                  <a:pt x="130" y="380"/>
                </a:lnTo>
                <a:lnTo>
                  <a:pt x="126" y="380"/>
                </a:lnTo>
                <a:lnTo>
                  <a:pt x="130" y="380"/>
                </a:lnTo>
                <a:lnTo>
                  <a:pt x="134" y="380"/>
                </a:lnTo>
                <a:lnTo>
                  <a:pt x="138" y="378"/>
                </a:lnTo>
                <a:lnTo>
                  <a:pt x="138" y="380"/>
                </a:lnTo>
                <a:lnTo>
                  <a:pt x="134" y="384"/>
                </a:lnTo>
                <a:lnTo>
                  <a:pt x="138" y="384"/>
                </a:lnTo>
                <a:lnTo>
                  <a:pt x="138" y="380"/>
                </a:lnTo>
                <a:lnTo>
                  <a:pt x="138" y="378"/>
                </a:lnTo>
                <a:lnTo>
                  <a:pt x="138" y="380"/>
                </a:lnTo>
                <a:lnTo>
                  <a:pt x="142" y="380"/>
                </a:lnTo>
                <a:lnTo>
                  <a:pt x="142" y="378"/>
                </a:lnTo>
                <a:lnTo>
                  <a:pt x="138" y="378"/>
                </a:lnTo>
                <a:lnTo>
                  <a:pt x="142" y="378"/>
                </a:lnTo>
                <a:lnTo>
                  <a:pt x="142" y="380"/>
                </a:lnTo>
                <a:lnTo>
                  <a:pt x="138" y="384"/>
                </a:lnTo>
                <a:lnTo>
                  <a:pt x="142" y="380"/>
                </a:lnTo>
                <a:lnTo>
                  <a:pt x="142" y="378"/>
                </a:lnTo>
                <a:lnTo>
                  <a:pt x="142" y="380"/>
                </a:lnTo>
                <a:lnTo>
                  <a:pt x="142" y="384"/>
                </a:lnTo>
                <a:lnTo>
                  <a:pt x="142" y="380"/>
                </a:lnTo>
                <a:lnTo>
                  <a:pt x="142" y="384"/>
                </a:lnTo>
                <a:lnTo>
                  <a:pt x="142" y="388"/>
                </a:lnTo>
                <a:lnTo>
                  <a:pt x="142" y="384"/>
                </a:lnTo>
                <a:lnTo>
                  <a:pt x="146" y="380"/>
                </a:lnTo>
                <a:lnTo>
                  <a:pt x="150" y="378"/>
                </a:lnTo>
                <a:lnTo>
                  <a:pt x="150" y="374"/>
                </a:lnTo>
                <a:lnTo>
                  <a:pt x="152" y="374"/>
                </a:lnTo>
                <a:lnTo>
                  <a:pt x="156" y="374"/>
                </a:lnTo>
                <a:lnTo>
                  <a:pt x="160" y="370"/>
                </a:lnTo>
                <a:lnTo>
                  <a:pt x="164" y="370"/>
                </a:lnTo>
                <a:lnTo>
                  <a:pt x="168" y="370"/>
                </a:lnTo>
                <a:lnTo>
                  <a:pt x="168" y="366"/>
                </a:lnTo>
                <a:lnTo>
                  <a:pt x="172" y="366"/>
                </a:lnTo>
                <a:lnTo>
                  <a:pt x="172" y="370"/>
                </a:lnTo>
                <a:lnTo>
                  <a:pt x="168" y="370"/>
                </a:lnTo>
                <a:lnTo>
                  <a:pt x="168" y="374"/>
                </a:lnTo>
                <a:lnTo>
                  <a:pt x="172" y="374"/>
                </a:lnTo>
                <a:lnTo>
                  <a:pt x="176" y="370"/>
                </a:lnTo>
                <a:lnTo>
                  <a:pt x="180" y="366"/>
                </a:lnTo>
                <a:lnTo>
                  <a:pt x="180" y="362"/>
                </a:lnTo>
                <a:lnTo>
                  <a:pt x="182" y="362"/>
                </a:lnTo>
                <a:lnTo>
                  <a:pt x="186" y="362"/>
                </a:lnTo>
                <a:lnTo>
                  <a:pt x="190" y="358"/>
                </a:lnTo>
                <a:lnTo>
                  <a:pt x="186" y="358"/>
                </a:lnTo>
                <a:lnTo>
                  <a:pt x="182" y="358"/>
                </a:lnTo>
                <a:lnTo>
                  <a:pt x="186" y="354"/>
                </a:lnTo>
                <a:lnTo>
                  <a:pt x="182" y="354"/>
                </a:lnTo>
                <a:lnTo>
                  <a:pt x="182" y="350"/>
                </a:lnTo>
                <a:lnTo>
                  <a:pt x="186" y="350"/>
                </a:lnTo>
                <a:lnTo>
                  <a:pt x="186" y="354"/>
                </a:lnTo>
                <a:lnTo>
                  <a:pt x="190" y="354"/>
                </a:lnTo>
                <a:lnTo>
                  <a:pt x="194" y="358"/>
                </a:lnTo>
                <a:lnTo>
                  <a:pt x="198" y="358"/>
                </a:lnTo>
                <a:lnTo>
                  <a:pt x="198" y="362"/>
                </a:lnTo>
                <a:lnTo>
                  <a:pt x="198" y="366"/>
                </a:lnTo>
                <a:lnTo>
                  <a:pt x="202" y="370"/>
                </a:lnTo>
                <a:lnTo>
                  <a:pt x="202" y="374"/>
                </a:lnTo>
                <a:lnTo>
                  <a:pt x="206" y="374"/>
                </a:lnTo>
                <a:lnTo>
                  <a:pt x="210" y="378"/>
                </a:lnTo>
                <a:lnTo>
                  <a:pt x="210" y="380"/>
                </a:lnTo>
                <a:lnTo>
                  <a:pt x="212" y="380"/>
                </a:lnTo>
                <a:lnTo>
                  <a:pt x="220" y="380"/>
                </a:lnTo>
                <a:lnTo>
                  <a:pt x="220" y="384"/>
                </a:lnTo>
                <a:lnTo>
                  <a:pt x="220" y="380"/>
                </a:lnTo>
                <a:lnTo>
                  <a:pt x="224" y="380"/>
                </a:lnTo>
                <a:lnTo>
                  <a:pt x="220" y="380"/>
                </a:lnTo>
                <a:lnTo>
                  <a:pt x="216" y="380"/>
                </a:lnTo>
                <a:lnTo>
                  <a:pt x="220" y="378"/>
                </a:lnTo>
                <a:lnTo>
                  <a:pt x="224" y="378"/>
                </a:lnTo>
                <a:lnTo>
                  <a:pt x="220" y="374"/>
                </a:lnTo>
                <a:lnTo>
                  <a:pt x="224" y="374"/>
                </a:lnTo>
                <a:lnTo>
                  <a:pt x="228" y="374"/>
                </a:lnTo>
                <a:lnTo>
                  <a:pt x="224" y="374"/>
                </a:lnTo>
                <a:lnTo>
                  <a:pt x="224" y="370"/>
                </a:lnTo>
                <a:lnTo>
                  <a:pt x="228" y="370"/>
                </a:lnTo>
                <a:lnTo>
                  <a:pt x="228" y="366"/>
                </a:lnTo>
                <a:lnTo>
                  <a:pt x="232" y="366"/>
                </a:lnTo>
                <a:lnTo>
                  <a:pt x="228" y="366"/>
                </a:lnTo>
                <a:lnTo>
                  <a:pt x="224" y="366"/>
                </a:lnTo>
                <a:lnTo>
                  <a:pt x="228" y="362"/>
                </a:lnTo>
                <a:lnTo>
                  <a:pt x="228" y="366"/>
                </a:lnTo>
                <a:lnTo>
                  <a:pt x="232" y="362"/>
                </a:lnTo>
                <a:lnTo>
                  <a:pt x="232" y="366"/>
                </a:lnTo>
                <a:lnTo>
                  <a:pt x="236" y="366"/>
                </a:lnTo>
                <a:lnTo>
                  <a:pt x="236" y="362"/>
                </a:lnTo>
                <a:lnTo>
                  <a:pt x="232" y="362"/>
                </a:lnTo>
                <a:lnTo>
                  <a:pt x="236" y="362"/>
                </a:lnTo>
                <a:lnTo>
                  <a:pt x="236" y="366"/>
                </a:lnTo>
                <a:lnTo>
                  <a:pt x="236" y="370"/>
                </a:lnTo>
                <a:lnTo>
                  <a:pt x="236" y="374"/>
                </a:lnTo>
                <a:lnTo>
                  <a:pt x="238" y="374"/>
                </a:lnTo>
                <a:lnTo>
                  <a:pt x="238" y="378"/>
                </a:lnTo>
                <a:lnTo>
                  <a:pt x="236" y="378"/>
                </a:lnTo>
                <a:lnTo>
                  <a:pt x="232" y="380"/>
                </a:lnTo>
                <a:lnTo>
                  <a:pt x="236" y="380"/>
                </a:lnTo>
                <a:lnTo>
                  <a:pt x="238" y="380"/>
                </a:lnTo>
                <a:lnTo>
                  <a:pt x="242" y="380"/>
                </a:lnTo>
                <a:lnTo>
                  <a:pt x="246" y="380"/>
                </a:lnTo>
                <a:lnTo>
                  <a:pt x="250" y="380"/>
                </a:lnTo>
                <a:lnTo>
                  <a:pt x="250" y="378"/>
                </a:lnTo>
                <a:lnTo>
                  <a:pt x="254" y="378"/>
                </a:lnTo>
                <a:lnTo>
                  <a:pt x="254" y="374"/>
                </a:lnTo>
                <a:lnTo>
                  <a:pt x="254" y="370"/>
                </a:lnTo>
                <a:lnTo>
                  <a:pt x="258" y="370"/>
                </a:lnTo>
                <a:lnTo>
                  <a:pt x="262" y="370"/>
                </a:lnTo>
                <a:lnTo>
                  <a:pt x="266" y="370"/>
                </a:lnTo>
                <a:lnTo>
                  <a:pt x="268" y="370"/>
                </a:lnTo>
                <a:lnTo>
                  <a:pt x="272" y="370"/>
                </a:lnTo>
                <a:lnTo>
                  <a:pt x="276" y="374"/>
                </a:lnTo>
                <a:lnTo>
                  <a:pt x="280" y="374"/>
                </a:lnTo>
                <a:lnTo>
                  <a:pt x="284" y="374"/>
                </a:lnTo>
                <a:lnTo>
                  <a:pt x="284" y="378"/>
                </a:lnTo>
                <a:lnTo>
                  <a:pt x="288" y="378"/>
                </a:lnTo>
                <a:lnTo>
                  <a:pt x="292" y="380"/>
                </a:lnTo>
                <a:lnTo>
                  <a:pt x="294" y="380"/>
                </a:lnTo>
                <a:lnTo>
                  <a:pt x="298" y="380"/>
                </a:lnTo>
                <a:lnTo>
                  <a:pt x="302" y="384"/>
                </a:lnTo>
                <a:lnTo>
                  <a:pt x="306" y="384"/>
                </a:lnTo>
                <a:lnTo>
                  <a:pt x="310" y="384"/>
                </a:lnTo>
                <a:lnTo>
                  <a:pt x="314" y="384"/>
                </a:lnTo>
                <a:lnTo>
                  <a:pt x="318" y="384"/>
                </a:lnTo>
                <a:lnTo>
                  <a:pt x="318" y="388"/>
                </a:lnTo>
                <a:lnTo>
                  <a:pt x="322" y="388"/>
                </a:lnTo>
                <a:lnTo>
                  <a:pt x="324" y="388"/>
                </a:lnTo>
                <a:lnTo>
                  <a:pt x="324" y="392"/>
                </a:lnTo>
                <a:lnTo>
                  <a:pt x="328" y="392"/>
                </a:lnTo>
                <a:lnTo>
                  <a:pt x="332" y="392"/>
                </a:lnTo>
                <a:lnTo>
                  <a:pt x="336" y="392"/>
                </a:lnTo>
                <a:lnTo>
                  <a:pt x="336" y="396"/>
                </a:lnTo>
                <a:lnTo>
                  <a:pt x="340" y="392"/>
                </a:lnTo>
                <a:lnTo>
                  <a:pt x="344" y="396"/>
                </a:lnTo>
                <a:lnTo>
                  <a:pt x="348" y="396"/>
                </a:lnTo>
                <a:lnTo>
                  <a:pt x="352" y="396"/>
                </a:lnTo>
                <a:lnTo>
                  <a:pt x="354" y="396"/>
                </a:lnTo>
                <a:lnTo>
                  <a:pt x="352" y="396"/>
                </a:lnTo>
                <a:lnTo>
                  <a:pt x="352" y="392"/>
                </a:lnTo>
                <a:lnTo>
                  <a:pt x="354" y="392"/>
                </a:lnTo>
                <a:lnTo>
                  <a:pt x="358" y="392"/>
                </a:lnTo>
                <a:lnTo>
                  <a:pt x="354" y="392"/>
                </a:lnTo>
                <a:lnTo>
                  <a:pt x="358" y="392"/>
                </a:lnTo>
                <a:lnTo>
                  <a:pt x="362" y="392"/>
                </a:lnTo>
                <a:lnTo>
                  <a:pt x="366" y="396"/>
                </a:lnTo>
                <a:lnTo>
                  <a:pt x="370" y="396"/>
                </a:lnTo>
                <a:lnTo>
                  <a:pt x="374" y="396"/>
                </a:lnTo>
                <a:lnTo>
                  <a:pt x="374" y="400"/>
                </a:lnTo>
                <a:lnTo>
                  <a:pt x="378" y="400"/>
                </a:lnTo>
                <a:lnTo>
                  <a:pt x="378" y="404"/>
                </a:lnTo>
                <a:lnTo>
                  <a:pt x="380" y="404"/>
                </a:lnTo>
                <a:lnTo>
                  <a:pt x="380" y="410"/>
                </a:lnTo>
                <a:lnTo>
                  <a:pt x="378" y="410"/>
                </a:lnTo>
                <a:lnTo>
                  <a:pt x="374" y="410"/>
                </a:lnTo>
                <a:lnTo>
                  <a:pt x="370" y="410"/>
                </a:lnTo>
                <a:lnTo>
                  <a:pt x="366" y="410"/>
                </a:lnTo>
                <a:lnTo>
                  <a:pt x="366" y="414"/>
                </a:lnTo>
                <a:lnTo>
                  <a:pt x="366" y="418"/>
                </a:lnTo>
                <a:lnTo>
                  <a:pt x="362" y="418"/>
                </a:lnTo>
                <a:lnTo>
                  <a:pt x="366" y="418"/>
                </a:lnTo>
                <a:lnTo>
                  <a:pt x="366" y="422"/>
                </a:lnTo>
                <a:lnTo>
                  <a:pt x="370" y="422"/>
                </a:lnTo>
                <a:lnTo>
                  <a:pt x="374" y="422"/>
                </a:lnTo>
                <a:lnTo>
                  <a:pt x="378" y="422"/>
                </a:lnTo>
                <a:lnTo>
                  <a:pt x="380" y="422"/>
                </a:lnTo>
                <a:lnTo>
                  <a:pt x="384" y="422"/>
                </a:lnTo>
                <a:lnTo>
                  <a:pt x="388" y="422"/>
                </a:lnTo>
                <a:lnTo>
                  <a:pt x="392" y="422"/>
                </a:lnTo>
                <a:lnTo>
                  <a:pt x="396" y="422"/>
                </a:lnTo>
                <a:lnTo>
                  <a:pt x="396" y="426"/>
                </a:lnTo>
                <a:lnTo>
                  <a:pt x="400" y="426"/>
                </a:lnTo>
                <a:lnTo>
                  <a:pt x="404" y="426"/>
                </a:lnTo>
                <a:lnTo>
                  <a:pt x="408" y="426"/>
                </a:lnTo>
                <a:lnTo>
                  <a:pt x="408" y="422"/>
                </a:lnTo>
                <a:lnTo>
                  <a:pt x="410" y="422"/>
                </a:lnTo>
                <a:lnTo>
                  <a:pt x="414" y="422"/>
                </a:lnTo>
                <a:lnTo>
                  <a:pt x="418" y="422"/>
                </a:lnTo>
                <a:lnTo>
                  <a:pt x="422" y="422"/>
                </a:lnTo>
                <a:lnTo>
                  <a:pt x="424" y="422"/>
                </a:lnTo>
                <a:lnTo>
                  <a:pt x="428" y="422"/>
                </a:lnTo>
                <a:lnTo>
                  <a:pt x="428" y="418"/>
                </a:lnTo>
                <a:lnTo>
                  <a:pt x="432" y="418"/>
                </a:lnTo>
                <a:lnTo>
                  <a:pt x="436" y="418"/>
                </a:lnTo>
                <a:lnTo>
                  <a:pt x="436" y="414"/>
                </a:lnTo>
                <a:lnTo>
                  <a:pt x="440" y="418"/>
                </a:lnTo>
                <a:lnTo>
                  <a:pt x="440" y="422"/>
                </a:lnTo>
                <a:lnTo>
                  <a:pt x="440" y="418"/>
                </a:lnTo>
                <a:lnTo>
                  <a:pt x="440" y="422"/>
                </a:lnTo>
                <a:lnTo>
                  <a:pt x="444" y="422"/>
                </a:lnTo>
                <a:lnTo>
                  <a:pt x="444" y="426"/>
                </a:lnTo>
                <a:lnTo>
                  <a:pt x="444" y="422"/>
                </a:lnTo>
                <a:lnTo>
                  <a:pt x="448" y="422"/>
                </a:lnTo>
                <a:lnTo>
                  <a:pt x="450" y="422"/>
                </a:lnTo>
                <a:lnTo>
                  <a:pt x="450" y="426"/>
                </a:lnTo>
                <a:lnTo>
                  <a:pt x="454" y="430"/>
                </a:lnTo>
                <a:lnTo>
                  <a:pt x="450" y="430"/>
                </a:lnTo>
                <a:lnTo>
                  <a:pt x="454" y="430"/>
                </a:lnTo>
                <a:lnTo>
                  <a:pt x="454" y="434"/>
                </a:lnTo>
                <a:lnTo>
                  <a:pt x="454" y="430"/>
                </a:lnTo>
                <a:lnTo>
                  <a:pt x="454" y="426"/>
                </a:lnTo>
                <a:lnTo>
                  <a:pt x="458" y="426"/>
                </a:lnTo>
                <a:lnTo>
                  <a:pt x="458" y="430"/>
                </a:lnTo>
                <a:lnTo>
                  <a:pt x="458" y="434"/>
                </a:lnTo>
                <a:lnTo>
                  <a:pt x="462" y="434"/>
                </a:lnTo>
                <a:lnTo>
                  <a:pt x="458" y="430"/>
                </a:lnTo>
                <a:lnTo>
                  <a:pt x="462" y="430"/>
                </a:lnTo>
                <a:lnTo>
                  <a:pt x="466" y="434"/>
                </a:lnTo>
                <a:lnTo>
                  <a:pt x="466" y="436"/>
                </a:lnTo>
                <a:lnTo>
                  <a:pt x="470" y="436"/>
                </a:lnTo>
                <a:lnTo>
                  <a:pt x="470" y="440"/>
                </a:lnTo>
                <a:lnTo>
                  <a:pt x="466" y="440"/>
                </a:lnTo>
                <a:lnTo>
                  <a:pt x="462" y="440"/>
                </a:lnTo>
                <a:lnTo>
                  <a:pt x="458" y="440"/>
                </a:lnTo>
                <a:lnTo>
                  <a:pt x="458" y="436"/>
                </a:lnTo>
                <a:lnTo>
                  <a:pt x="458" y="440"/>
                </a:lnTo>
                <a:lnTo>
                  <a:pt x="462" y="440"/>
                </a:lnTo>
                <a:lnTo>
                  <a:pt x="466" y="440"/>
                </a:lnTo>
                <a:lnTo>
                  <a:pt x="466" y="444"/>
                </a:lnTo>
                <a:lnTo>
                  <a:pt x="466" y="448"/>
                </a:lnTo>
                <a:lnTo>
                  <a:pt x="470" y="448"/>
                </a:lnTo>
                <a:lnTo>
                  <a:pt x="470" y="452"/>
                </a:lnTo>
                <a:lnTo>
                  <a:pt x="474" y="452"/>
                </a:lnTo>
                <a:lnTo>
                  <a:pt x="474" y="456"/>
                </a:lnTo>
                <a:lnTo>
                  <a:pt x="478" y="456"/>
                </a:lnTo>
                <a:lnTo>
                  <a:pt x="474" y="452"/>
                </a:lnTo>
                <a:lnTo>
                  <a:pt x="474" y="448"/>
                </a:lnTo>
                <a:lnTo>
                  <a:pt x="470" y="448"/>
                </a:lnTo>
                <a:lnTo>
                  <a:pt x="470" y="444"/>
                </a:lnTo>
                <a:lnTo>
                  <a:pt x="470" y="440"/>
                </a:lnTo>
                <a:lnTo>
                  <a:pt x="474" y="440"/>
                </a:lnTo>
                <a:lnTo>
                  <a:pt x="470" y="440"/>
                </a:lnTo>
                <a:lnTo>
                  <a:pt x="474" y="440"/>
                </a:lnTo>
                <a:lnTo>
                  <a:pt x="474" y="444"/>
                </a:lnTo>
                <a:lnTo>
                  <a:pt x="474" y="440"/>
                </a:lnTo>
                <a:lnTo>
                  <a:pt x="470" y="440"/>
                </a:lnTo>
                <a:lnTo>
                  <a:pt x="474" y="444"/>
                </a:lnTo>
                <a:lnTo>
                  <a:pt x="474" y="440"/>
                </a:lnTo>
                <a:lnTo>
                  <a:pt x="478" y="440"/>
                </a:lnTo>
                <a:lnTo>
                  <a:pt x="478" y="444"/>
                </a:lnTo>
                <a:lnTo>
                  <a:pt x="480" y="444"/>
                </a:lnTo>
                <a:lnTo>
                  <a:pt x="478" y="444"/>
                </a:lnTo>
                <a:lnTo>
                  <a:pt x="478" y="440"/>
                </a:lnTo>
                <a:lnTo>
                  <a:pt x="478" y="436"/>
                </a:lnTo>
                <a:lnTo>
                  <a:pt x="474" y="436"/>
                </a:lnTo>
                <a:lnTo>
                  <a:pt x="470" y="434"/>
                </a:lnTo>
                <a:lnTo>
                  <a:pt x="474" y="430"/>
                </a:lnTo>
                <a:lnTo>
                  <a:pt x="470" y="426"/>
                </a:lnTo>
                <a:lnTo>
                  <a:pt x="466" y="426"/>
                </a:lnTo>
                <a:lnTo>
                  <a:pt x="466" y="422"/>
                </a:lnTo>
                <a:lnTo>
                  <a:pt x="466" y="418"/>
                </a:lnTo>
                <a:lnTo>
                  <a:pt x="470" y="418"/>
                </a:lnTo>
                <a:lnTo>
                  <a:pt x="466" y="414"/>
                </a:lnTo>
                <a:lnTo>
                  <a:pt x="470" y="414"/>
                </a:lnTo>
                <a:lnTo>
                  <a:pt x="474" y="414"/>
                </a:lnTo>
                <a:lnTo>
                  <a:pt x="478" y="414"/>
                </a:lnTo>
                <a:lnTo>
                  <a:pt x="480" y="414"/>
                </a:lnTo>
                <a:lnTo>
                  <a:pt x="484" y="414"/>
                </a:lnTo>
                <a:lnTo>
                  <a:pt x="484" y="410"/>
                </a:lnTo>
                <a:lnTo>
                  <a:pt x="488" y="410"/>
                </a:lnTo>
                <a:lnTo>
                  <a:pt x="488" y="408"/>
                </a:lnTo>
                <a:lnTo>
                  <a:pt x="492" y="408"/>
                </a:lnTo>
                <a:lnTo>
                  <a:pt x="500" y="408"/>
                </a:lnTo>
                <a:lnTo>
                  <a:pt x="500" y="404"/>
                </a:lnTo>
                <a:lnTo>
                  <a:pt x="500" y="400"/>
                </a:lnTo>
                <a:lnTo>
                  <a:pt x="496" y="400"/>
                </a:lnTo>
                <a:lnTo>
                  <a:pt x="492" y="404"/>
                </a:lnTo>
                <a:lnTo>
                  <a:pt x="488" y="404"/>
                </a:lnTo>
                <a:lnTo>
                  <a:pt x="484" y="404"/>
                </a:lnTo>
                <a:lnTo>
                  <a:pt x="488" y="408"/>
                </a:lnTo>
                <a:lnTo>
                  <a:pt x="484" y="408"/>
                </a:lnTo>
                <a:lnTo>
                  <a:pt x="480" y="408"/>
                </a:lnTo>
                <a:lnTo>
                  <a:pt x="478" y="410"/>
                </a:lnTo>
                <a:lnTo>
                  <a:pt x="478" y="408"/>
                </a:lnTo>
                <a:lnTo>
                  <a:pt x="474" y="408"/>
                </a:lnTo>
                <a:lnTo>
                  <a:pt x="470" y="408"/>
                </a:lnTo>
                <a:lnTo>
                  <a:pt x="470" y="410"/>
                </a:lnTo>
                <a:lnTo>
                  <a:pt x="474" y="410"/>
                </a:lnTo>
                <a:lnTo>
                  <a:pt x="470" y="410"/>
                </a:lnTo>
                <a:lnTo>
                  <a:pt x="466" y="410"/>
                </a:lnTo>
                <a:lnTo>
                  <a:pt x="462" y="410"/>
                </a:lnTo>
                <a:lnTo>
                  <a:pt x="462" y="414"/>
                </a:lnTo>
                <a:lnTo>
                  <a:pt x="462" y="410"/>
                </a:lnTo>
                <a:lnTo>
                  <a:pt x="462" y="414"/>
                </a:lnTo>
                <a:lnTo>
                  <a:pt x="462" y="410"/>
                </a:lnTo>
                <a:lnTo>
                  <a:pt x="462" y="408"/>
                </a:lnTo>
                <a:lnTo>
                  <a:pt x="458" y="408"/>
                </a:lnTo>
                <a:lnTo>
                  <a:pt x="458" y="410"/>
                </a:lnTo>
                <a:lnTo>
                  <a:pt x="454" y="410"/>
                </a:lnTo>
                <a:lnTo>
                  <a:pt x="454" y="408"/>
                </a:lnTo>
                <a:lnTo>
                  <a:pt x="458" y="408"/>
                </a:lnTo>
                <a:lnTo>
                  <a:pt x="458" y="404"/>
                </a:lnTo>
                <a:lnTo>
                  <a:pt x="462" y="404"/>
                </a:lnTo>
                <a:lnTo>
                  <a:pt x="462" y="400"/>
                </a:lnTo>
                <a:lnTo>
                  <a:pt x="466" y="400"/>
                </a:lnTo>
                <a:lnTo>
                  <a:pt x="470" y="400"/>
                </a:lnTo>
                <a:lnTo>
                  <a:pt x="474" y="400"/>
                </a:lnTo>
                <a:lnTo>
                  <a:pt x="478" y="400"/>
                </a:lnTo>
                <a:lnTo>
                  <a:pt x="480" y="396"/>
                </a:lnTo>
                <a:lnTo>
                  <a:pt x="484" y="396"/>
                </a:lnTo>
                <a:lnTo>
                  <a:pt x="492" y="392"/>
                </a:lnTo>
                <a:lnTo>
                  <a:pt x="496" y="396"/>
                </a:lnTo>
                <a:lnTo>
                  <a:pt x="500" y="396"/>
                </a:lnTo>
                <a:lnTo>
                  <a:pt x="504" y="400"/>
                </a:lnTo>
                <a:lnTo>
                  <a:pt x="504" y="404"/>
                </a:lnTo>
                <a:lnTo>
                  <a:pt x="500" y="408"/>
                </a:lnTo>
                <a:lnTo>
                  <a:pt x="504" y="408"/>
                </a:lnTo>
                <a:lnTo>
                  <a:pt x="508" y="410"/>
                </a:lnTo>
                <a:lnTo>
                  <a:pt x="508" y="408"/>
                </a:lnTo>
                <a:lnTo>
                  <a:pt x="510" y="408"/>
                </a:lnTo>
                <a:lnTo>
                  <a:pt x="510" y="410"/>
                </a:lnTo>
                <a:lnTo>
                  <a:pt x="514" y="410"/>
                </a:lnTo>
                <a:lnTo>
                  <a:pt x="514" y="414"/>
                </a:lnTo>
                <a:lnTo>
                  <a:pt x="518" y="414"/>
                </a:lnTo>
                <a:lnTo>
                  <a:pt x="522" y="414"/>
                </a:lnTo>
                <a:lnTo>
                  <a:pt x="526" y="414"/>
                </a:lnTo>
                <a:lnTo>
                  <a:pt x="530" y="414"/>
                </a:lnTo>
                <a:lnTo>
                  <a:pt x="530" y="410"/>
                </a:lnTo>
                <a:lnTo>
                  <a:pt x="534" y="410"/>
                </a:lnTo>
                <a:lnTo>
                  <a:pt x="534" y="414"/>
                </a:lnTo>
                <a:lnTo>
                  <a:pt x="534" y="418"/>
                </a:lnTo>
                <a:lnTo>
                  <a:pt x="536" y="418"/>
                </a:lnTo>
                <a:lnTo>
                  <a:pt x="540" y="422"/>
                </a:lnTo>
                <a:lnTo>
                  <a:pt x="544" y="422"/>
                </a:lnTo>
                <a:lnTo>
                  <a:pt x="548" y="422"/>
                </a:lnTo>
                <a:lnTo>
                  <a:pt x="552" y="422"/>
                </a:lnTo>
                <a:lnTo>
                  <a:pt x="556" y="422"/>
                </a:lnTo>
                <a:lnTo>
                  <a:pt x="560" y="426"/>
                </a:lnTo>
                <a:lnTo>
                  <a:pt x="560" y="422"/>
                </a:lnTo>
                <a:lnTo>
                  <a:pt x="564" y="422"/>
                </a:lnTo>
                <a:lnTo>
                  <a:pt x="566" y="422"/>
                </a:lnTo>
                <a:lnTo>
                  <a:pt x="570" y="422"/>
                </a:lnTo>
                <a:lnTo>
                  <a:pt x="574" y="418"/>
                </a:lnTo>
                <a:lnTo>
                  <a:pt x="578" y="418"/>
                </a:lnTo>
                <a:lnTo>
                  <a:pt x="578" y="422"/>
                </a:lnTo>
                <a:lnTo>
                  <a:pt x="582" y="422"/>
                </a:lnTo>
                <a:lnTo>
                  <a:pt x="586" y="422"/>
                </a:lnTo>
                <a:lnTo>
                  <a:pt x="590" y="422"/>
                </a:lnTo>
                <a:lnTo>
                  <a:pt x="592" y="422"/>
                </a:lnTo>
                <a:lnTo>
                  <a:pt x="596" y="422"/>
                </a:lnTo>
                <a:lnTo>
                  <a:pt x="600" y="422"/>
                </a:lnTo>
                <a:lnTo>
                  <a:pt x="604" y="422"/>
                </a:lnTo>
                <a:lnTo>
                  <a:pt x="600" y="418"/>
                </a:lnTo>
                <a:lnTo>
                  <a:pt x="596" y="418"/>
                </a:lnTo>
                <a:lnTo>
                  <a:pt x="596" y="414"/>
                </a:lnTo>
                <a:lnTo>
                  <a:pt x="600" y="414"/>
                </a:lnTo>
                <a:lnTo>
                  <a:pt x="604" y="418"/>
                </a:lnTo>
                <a:lnTo>
                  <a:pt x="608" y="422"/>
                </a:lnTo>
                <a:lnTo>
                  <a:pt x="612" y="426"/>
                </a:lnTo>
                <a:lnTo>
                  <a:pt x="616" y="426"/>
                </a:lnTo>
                <a:lnTo>
                  <a:pt x="620" y="426"/>
                </a:lnTo>
                <a:lnTo>
                  <a:pt x="620" y="422"/>
                </a:lnTo>
                <a:lnTo>
                  <a:pt x="620" y="418"/>
                </a:lnTo>
                <a:lnTo>
                  <a:pt x="616" y="418"/>
                </a:lnTo>
                <a:lnTo>
                  <a:pt x="612" y="414"/>
                </a:lnTo>
                <a:lnTo>
                  <a:pt x="612" y="418"/>
                </a:lnTo>
                <a:lnTo>
                  <a:pt x="608" y="418"/>
                </a:lnTo>
                <a:lnTo>
                  <a:pt x="608" y="422"/>
                </a:lnTo>
                <a:lnTo>
                  <a:pt x="604" y="418"/>
                </a:lnTo>
                <a:lnTo>
                  <a:pt x="604" y="414"/>
                </a:lnTo>
                <a:lnTo>
                  <a:pt x="600" y="410"/>
                </a:lnTo>
                <a:lnTo>
                  <a:pt x="600" y="414"/>
                </a:lnTo>
                <a:lnTo>
                  <a:pt x="604" y="414"/>
                </a:lnTo>
                <a:lnTo>
                  <a:pt x="604" y="410"/>
                </a:lnTo>
                <a:lnTo>
                  <a:pt x="600" y="410"/>
                </a:lnTo>
                <a:lnTo>
                  <a:pt x="600" y="408"/>
                </a:lnTo>
                <a:lnTo>
                  <a:pt x="596" y="408"/>
                </a:lnTo>
                <a:lnTo>
                  <a:pt x="600" y="408"/>
                </a:lnTo>
                <a:lnTo>
                  <a:pt x="604" y="408"/>
                </a:lnTo>
                <a:lnTo>
                  <a:pt x="608" y="408"/>
                </a:lnTo>
                <a:lnTo>
                  <a:pt x="612" y="408"/>
                </a:lnTo>
                <a:lnTo>
                  <a:pt x="608" y="408"/>
                </a:lnTo>
                <a:lnTo>
                  <a:pt x="608" y="404"/>
                </a:lnTo>
                <a:lnTo>
                  <a:pt x="612" y="404"/>
                </a:lnTo>
                <a:lnTo>
                  <a:pt x="616" y="408"/>
                </a:lnTo>
                <a:lnTo>
                  <a:pt x="616" y="404"/>
                </a:lnTo>
                <a:lnTo>
                  <a:pt x="620" y="404"/>
                </a:lnTo>
                <a:lnTo>
                  <a:pt x="620" y="408"/>
                </a:lnTo>
                <a:lnTo>
                  <a:pt x="622" y="408"/>
                </a:lnTo>
                <a:lnTo>
                  <a:pt x="622" y="410"/>
                </a:lnTo>
                <a:lnTo>
                  <a:pt x="626" y="410"/>
                </a:lnTo>
                <a:lnTo>
                  <a:pt x="630" y="410"/>
                </a:lnTo>
                <a:lnTo>
                  <a:pt x="630" y="408"/>
                </a:lnTo>
                <a:lnTo>
                  <a:pt x="630" y="410"/>
                </a:lnTo>
                <a:lnTo>
                  <a:pt x="626" y="414"/>
                </a:lnTo>
                <a:lnTo>
                  <a:pt x="630" y="414"/>
                </a:lnTo>
                <a:lnTo>
                  <a:pt x="630" y="410"/>
                </a:lnTo>
                <a:lnTo>
                  <a:pt x="634" y="410"/>
                </a:lnTo>
                <a:lnTo>
                  <a:pt x="638" y="410"/>
                </a:lnTo>
                <a:lnTo>
                  <a:pt x="634" y="410"/>
                </a:lnTo>
                <a:lnTo>
                  <a:pt x="638" y="414"/>
                </a:lnTo>
                <a:lnTo>
                  <a:pt x="634" y="414"/>
                </a:lnTo>
                <a:lnTo>
                  <a:pt x="634" y="418"/>
                </a:lnTo>
                <a:lnTo>
                  <a:pt x="634" y="422"/>
                </a:lnTo>
                <a:lnTo>
                  <a:pt x="634" y="426"/>
                </a:lnTo>
                <a:lnTo>
                  <a:pt x="630" y="426"/>
                </a:lnTo>
                <a:lnTo>
                  <a:pt x="630" y="430"/>
                </a:lnTo>
                <a:lnTo>
                  <a:pt x="634" y="430"/>
                </a:lnTo>
                <a:lnTo>
                  <a:pt x="634" y="434"/>
                </a:lnTo>
                <a:lnTo>
                  <a:pt x="634" y="436"/>
                </a:lnTo>
                <a:lnTo>
                  <a:pt x="638" y="434"/>
                </a:lnTo>
                <a:lnTo>
                  <a:pt x="642" y="434"/>
                </a:lnTo>
                <a:lnTo>
                  <a:pt x="642" y="436"/>
                </a:lnTo>
                <a:lnTo>
                  <a:pt x="638" y="436"/>
                </a:lnTo>
                <a:lnTo>
                  <a:pt x="642" y="436"/>
                </a:lnTo>
                <a:lnTo>
                  <a:pt x="646" y="436"/>
                </a:lnTo>
                <a:lnTo>
                  <a:pt x="646" y="440"/>
                </a:lnTo>
                <a:lnTo>
                  <a:pt x="642" y="440"/>
                </a:lnTo>
                <a:lnTo>
                  <a:pt x="638" y="440"/>
                </a:lnTo>
                <a:lnTo>
                  <a:pt x="634" y="440"/>
                </a:lnTo>
                <a:lnTo>
                  <a:pt x="630" y="440"/>
                </a:lnTo>
                <a:lnTo>
                  <a:pt x="630" y="436"/>
                </a:lnTo>
                <a:lnTo>
                  <a:pt x="630" y="440"/>
                </a:lnTo>
                <a:lnTo>
                  <a:pt x="634" y="440"/>
                </a:lnTo>
                <a:lnTo>
                  <a:pt x="634" y="444"/>
                </a:lnTo>
                <a:lnTo>
                  <a:pt x="638" y="444"/>
                </a:lnTo>
                <a:lnTo>
                  <a:pt x="638" y="448"/>
                </a:lnTo>
                <a:lnTo>
                  <a:pt x="642" y="448"/>
                </a:lnTo>
                <a:lnTo>
                  <a:pt x="638" y="444"/>
                </a:lnTo>
                <a:lnTo>
                  <a:pt x="634" y="444"/>
                </a:lnTo>
                <a:lnTo>
                  <a:pt x="634" y="440"/>
                </a:lnTo>
                <a:lnTo>
                  <a:pt x="638" y="440"/>
                </a:lnTo>
                <a:lnTo>
                  <a:pt x="642" y="440"/>
                </a:lnTo>
                <a:lnTo>
                  <a:pt x="642" y="444"/>
                </a:lnTo>
                <a:lnTo>
                  <a:pt x="646" y="444"/>
                </a:lnTo>
                <a:lnTo>
                  <a:pt x="650" y="440"/>
                </a:lnTo>
                <a:lnTo>
                  <a:pt x="646" y="440"/>
                </a:lnTo>
                <a:lnTo>
                  <a:pt x="646" y="436"/>
                </a:lnTo>
                <a:lnTo>
                  <a:pt x="650" y="434"/>
                </a:lnTo>
                <a:lnTo>
                  <a:pt x="646" y="434"/>
                </a:lnTo>
                <a:lnTo>
                  <a:pt x="646" y="430"/>
                </a:lnTo>
                <a:lnTo>
                  <a:pt x="646" y="426"/>
                </a:lnTo>
                <a:lnTo>
                  <a:pt x="642" y="426"/>
                </a:lnTo>
                <a:lnTo>
                  <a:pt x="642" y="422"/>
                </a:lnTo>
                <a:lnTo>
                  <a:pt x="646" y="418"/>
                </a:lnTo>
                <a:lnTo>
                  <a:pt x="642" y="418"/>
                </a:lnTo>
                <a:lnTo>
                  <a:pt x="646" y="418"/>
                </a:lnTo>
                <a:lnTo>
                  <a:pt x="646" y="414"/>
                </a:lnTo>
                <a:lnTo>
                  <a:pt x="650" y="414"/>
                </a:lnTo>
                <a:lnTo>
                  <a:pt x="652" y="414"/>
                </a:lnTo>
                <a:lnTo>
                  <a:pt x="656" y="414"/>
                </a:lnTo>
                <a:lnTo>
                  <a:pt x="660" y="410"/>
                </a:lnTo>
                <a:lnTo>
                  <a:pt x="664" y="410"/>
                </a:lnTo>
                <a:lnTo>
                  <a:pt x="664" y="408"/>
                </a:lnTo>
                <a:lnTo>
                  <a:pt x="660" y="408"/>
                </a:lnTo>
                <a:lnTo>
                  <a:pt x="664" y="408"/>
                </a:lnTo>
                <a:lnTo>
                  <a:pt x="664" y="404"/>
                </a:lnTo>
                <a:lnTo>
                  <a:pt x="668" y="404"/>
                </a:lnTo>
                <a:lnTo>
                  <a:pt x="672" y="404"/>
                </a:lnTo>
                <a:lnTo>
                  <a:pt x="672" y="400"/>
                </a:lnTo>
                <a:lnTo>
                  <a:pt x="668" y="400"/>
                </a:lnTo>
                <a:lnTo>
                  <a:pt x="668" y="396"/>
                </a:lnTo>
                <a:lnTo>
                  <a:pt x="672" y="396"/>
                </a:lnTo>
                <a:lnTo>
                  <a:pt x="672" y="392"/>
                </a:lnTo>
                <a:lnTo>
                  <a:pt x="668" y="392"/>
                </a:lnTo>
                <a:lnTo>
                  <a:pt x="664" y="392"/>
                </a:lnTo>
                <a:lnTo>
                  <a:pt x="664" y="396"/>
                </a:lnTo>
                <a:lnTo>
                  <a:pt x="668" y="396"/>
                </a:lnTo>
                <a:lnTo>
                  <a:pt x="668" y="392"/>
                </a:lnTo>
                <a:lnTo>
                  <a:pt x="668" y="396"/>
                </a:lnTo>
                <a:lnTo>
                  <a:pt x="664" y="396"/>
                </a:lnTo>
                <a:lnTo>
                  <a:pt x="660" y="400"/>
                </a:lnTo>
                <a:lnTo>
                  <a:pt x="656" y="400"/>
                </a:lnTo>
                <a:lnTo>
                  <a:pt x="656" y="396"/>
                </a:lnTo>
                <a:lnTo>
                  <a:pt x="656" y="392"/>
                </a:lnTo>
                <a:lnTo>
                  <a:pt x="660" y="392"/>
                </a:lnTo>
                <a:lnTo>
                  <a:pt x="664" y="388"/>
                </a:lnTo>
                <a:lnTo>
                  <a:pt x="660" y="388"/>
                </a:lnTo>
                <a:lnTo>
                  <a:pt x="660" y="384"/>
                </a:lnTo>
                <a:lnTo>
                  <a:pt x="664" y="380"/>
                </a:lnTo>
                <a:lnTo>
                  <a:pt x="668" y="380"/>
                </a:lnTo>
                <a:lnTo>
                  <a:pt x="672" y="380"/>
                </a:lnTo>
                <a:lnTo>
                  <a:pt x="668" y="380"/>
                </a:lnTo>
                <a:lnTo>
                  <a:pt x="668" y="384"/>
                </a:lnTo>
                <a:lnTo>
                  <a:pt x="668" y="388"/>
                </a:lnTo>
                <a:lnTo>
                  <a:pt x="672" y="384"/>
                </a:lnTo>
                <a:lnTo>
                  <a:pt x="676" y="380"/>
                </a:lnTo>
                <a:lnTo>
                  <a:pt x="672" y="380"/>
                </a:lnTo>
                <a:lnTo>
                  <a:pt x="672" y="378"/>
                </a:lnTo>
                <a:lnTo>
                  <a:pt x="668" y="378"/>
                </a:lnTo>
                <a:lnTo>
                  <a:pt x="668" y="380"/>
                </a:lnTo>
                <a:lnTo>
                  <a:pt x="664" y="380"/>
                </a:lnTo>
                <a:lnTo>
                  <a:pt x="660" y="380"/>
                </a:lnTo>
                <a:lnTo>
                  <a:pt x="660" y="378"/>
                </a:lnTo>
                <a:lnTo>
                  <a:pt x="656" y="378"/>
                </a:lnTo>
                <a:lnTo>
                  <a:pt x="656" y="374"/>
                </a:lnTo>
                <a:lnTo>
                  <a:pt x="652" y="374"/>
                </a:lnTo>
                <a:lnTo>
                  <a:pt x="656" y="378"/>
                </a:lnTo>
                <a:lnTo>
                  <a:pt x="652" y="378"/>
                </a:lnTo>
                <a:lnTo>
                  <a:pt x="650" y="378"/>
                </a:lnTo>
                <a:lnTo>
                  <a:pt x="650" y="374"/>
                </a:lnTo>
                <a:lnTo>
                  <a:pt x="646" y="374"/>
                </a:lnTo>
                <a:lnTo>
                  <a:pt x="642" y="374"/>
                </a:lnTo>
                <a:lnTo>
                  <a:pt x="642" y="370"/>
                </a:lnTo>
                <a:lnTo>
                  <a:pt x="638" y="370"/>
                </a:lnTo>
                <a:lnTo>
                  <a:pt x="634" y="370"/>
                </a:lnTo>
                <a:lnTo>
                  <a:pt x="634" y="366"/>
                </a:lnTo>
                <a:lnTo>
                  <a:pt x="630" y="366"/>
                </a:lnTo>
                <a:lnTo>
                  <a:pt x="630" y="362"/>
                </a:lnTo>
                <a:lnTo>
                  <a:pt x="630" y="358"/>
                </a:lnTo>
                <a:lnTo>
                  <a:pt x="634" y="350"/>
                </a:lnTo>
                <a:lnTo>
                  <a:pt x="638" y="350"/>
                </a:lnTo>
                <a:lnTo>
                  <a:pt x="634" y="350"/>
                </a:lnTo>
                <a:lnTo>
                  <a:pt x="638" y="348"/>
                </a:lnTo>
                <a:lnTo>
                  <a:pt x="634" y="348"/>
                </a:lnTo>
                <a:lnTo>
                  <a:pt x="634" y="350"/>
                </a:lnTo>
                <a:lnTo>
                  <a:pt x="630" y="348"/>
                </a:lnTo>
                <a:lnTo>
                  <a:pt x="626" y="348"/>
                </a:lnTo>
                <a:lnTo>
                  <a:pt x="626" y="344"/>
                </a:lnTo>
                <a:lnTo>
                  <a:pt x="630" y="344"/>
                </a:lnTo>
                <a:lnTo>
                  <a:pt x="630" y="340"/>
                </a:lnTo>
                <a:lnTo>
                  <a:pt x="630" y="336"/>
                </a:lnTo>
                <a:lnTo>
                  <a:pt x="630" y="340"/>
                </a:lnTo>
                <a:lnTo>
                  <a:pt x="630" y="336"/>
                </a:lnTo>
                <a:lnTo>
                  <a:pt x="630" y="332"/>
                </a:lnTo>
                <a:lnTo>
                  <a:pt x="634" y="332"/>
                </a:lnTo>
                <a:lnTo>
                  <a:pt x="634" y="328"/>
                </a:lnTo>
                <a:lnTo>
                  <a:pt x="638" y="328"/>
                </a:lnTo>
                <a:lnTo>
                  <a:pt x="638" y="332"/>
                </a:lnTo>
                <a:lnTo>
                  <a:pt x="642" y="332"/>
                </a:lnTo>
                <a:lnTo>
                  <a:pt x="646" y="332"/>
                </a:lnTo>
                <a:lnTo>
                  <a:pt x="642" y="328"/>
                </a:lnTo>
                <a:lnTo>
                  <a:pt x="638" y="328"/>
                </a:lnTo>
                <a:lnTo>
                  <a:pt x="638" y="324"/>
                </a:lnTo>
                <a:lnTo>
                  <a:pt x="642" y="324"/>
                </a:lnTo>
                <a:lnTo>
                  <a:pt x="642" y="322"/>
                </a:lnTo>
                <a:lnTo>
                  <a:pt x="646" y="322"/>
                </a:lnTo>
                <a:lnTo>
                  <a:pt x="650" y="318"/>
                </a:lnTo>
                <a:lnTo>
                  <a:pt x="652" y="318"/>
                </a:lnTo>
                <a:lnTo>
                  <a:pt x="656" y="318"/>
                </a:lnTo>
                <a:lnTo>
                  <a:pt x="652" y="318"/>
                </a:lnTo>
                <a:lnTo>
                  <a:pt x="650" y="318"/>
                </a:lnTo>
                <a:lnTo>
                  <a:pt x="652" y="314"/>
                </a:lnTo>
                <a:lnTo>
                  <a:pt x="656" y="314"/>
                </a:lnTo>
                <a:lnTo>
                  <a:pt x="660" y="318"/>
                </a:lnTo>
                <a:lnTo>
                  <a:pt x="656" y="318"/>
                </a:lnTo>
                <a:lnTo>
                  <a:pt x="656" y="322"/>
                </a:lnTo>
                <a:lnTo>
                  <a:pt x="656" y="318"/>
                </a:lnTo>
                <a:lnTo>
                  <a:pt x="660" y="318"/>
                </a:lnTo>
                <a:lnTo>
                  <a:pt x="660" y="322"/>
                </a:lnTo>
                <a:lnTo>
                  <a:pt x="664" y="322"/>
                </a:lnTo>
                <a:lnTo>
                  <a:pt x="668" y="322"/>
                </a:lnTo>
                <a:lnTo>
                  <a:pt x="668" y="324"/>
                </a:lnTo>
                <a:lnTo>
                  <a:pt x="672" y="324"/>
                </a:lnTo>
                <a:lnTo>
                  <a:pt x="676" y="328"/>
                </a:lnTo>
                <a:lnTo>
                  <a:pt x="678" y="332"/>
                </a:lnTo>
                <a:lnTo>
                  <a:pt x="678" y="336"/>
                </a:lnTo>
                <a:lnTo>
                  <a:pt x="682" y="336"/>
                </a:lnTo>
                <a:lnTo>
                  <a:pt x="682" y="340"/>
                </a:lnTo>
                <a:lnTo>
                  <a:pt x="678" y="344"/>
                </a:lnTo>
                <a:lnTo>
                  <a:pt x="682" y="344"/>
                </a:lnTo>
                <a:lnTo>
                  <a:pt x="682" y="348"/>
                </a:lnTo>
                <a:lnTo>
                  <a:pt x="686" y="348"/>
                </a:lnTo>
                <a:lnTo>
                  <a:pt x="690" y="350"/>
                </a:lnTo>
                <a:lnTo>
                  <a:pt x="690" y="354"/>
                </a:lnTo>
                <a:lnTo>
                  <a:pt x="694" y="354"/>
                </a:lnTo>
                <a:lnTo>
                  <a:pt x="694" y="358"/>
                </a:lnTo>
                <a:lnTo>
                  <a:pt x="694" y="354"/>
                </a:lnTo>
                <a:lnTo>
                  <a:pt x="698" y="354"/>
                </a:lnTo>
                <a:lnTo>
                  <a:pt x="698" y="358"/>
                </a:lnTo>
                <a:lnTo>
                  <a:pt x="702" y="362"/>
                </a:lnTo>
                <a:lnTo>
                  <a:pt x="698" y="362"/>
                </a:lnTo>
                <a:lnTo>
                  <a:pt x="694" y="362"/>
                </a:lnTo>
                <a:lnTo>
                  <a:pt x="690" y="358"/>
                </a:lnTo>
                <a:lnTo>
                  <a:pt x="690" y="362"/>
                </a:lnTo>
                <a:lnTo>
                  <a:pt x="686" y="362"/>
                </a:lnTo>
                <a:lnTo>
                  <a:pt x="690" y="362"/>
                </a:lnTo>
                <a:lnTo>
                  <a:pt x="694" y="362"/>
                </a:lnTo>
                <a:lnTo>
                  <a:pt x="694" y="366"/>
                </a:lnTo>
                <a:lnTo>
                  <a:pt x="690" y="366"/>
                </a:lnTo>
                <a:lnTo>
                  <a:pt x="686" y="370"/>
                </a:lnTo>
                <a:lnTo>
                  <a:pt x="682" y="374"/>
                </a:lnTo>
                <a:lnTo>
                  <a:pt x="686" y="374"/>
                </a:lnTo>
                <a:lnTo>
                  <a:pt x="682" y="374"/>
                </a:lnTo>
                <a:lnTo>
                  <a:pt x="678" y="374"/>
                </a:lnTo>
                <a:lnTo>
                  <a:pt x="682" y="374"/>
                </a:lnTo>
                <a:lnTo>
                  <a:pt x="686" y="374"/>
                </a:lnTo>
                <a:lnTo>
                  <a:pt x="690" y="374"/>
                </a:lnTo>
                <a:lnTo>
                  <a:pt x="694" y="378"/>
                </a:lnTo>
                <a:lnTo>
                  <a:pt x="690" y="378"/>
                </a:lnTo>
                <a:lnTo>
                  <a:pt x="690" y="374"/>
                </a:lnTo>
                <a:lnTo>
                  <a:pt x="690" y="378"/>
                </a:lnTo>
                <a:lnTo>
                  <a:pt x="694" y="378"/>
                </a:lnTo>
                <a:lnTo>
                  <a:pt x="698" y="378"/>
                </a:lnTo>
                <a:lnTo>
                  <a:pt x="702" y="374"/>
                </a:lnTo>
                <a:lnTo>
                  <a:pt x="706" y="374"/>
                </a:lnTo>
                <a:lnTo>
                  <a:pt x="702" y="378"/>
                </a:lnTo>
                <a:lnTo>
                  <a:pt x="706" y="378"/>
                </a:lnTo>
                <a:lnTo>
                  <a:pt x="708" y="378"/>
                </a:lnTo>
                <a:lnTo>
                  <a:pt x="712" y="378"/>
                </a:lnTo>
                <a:lnTo>
                  <a:pt x="716" y="378"/>
                </a:lnTo>
                <a:lnTo>
                  <a:pt x="716" y="380"/>
                </a:lnTo>
                <a:lnTo>
                  <a:pt x="712" y="380"/>
                </a:lnTo>
                <a:lnTo>
                  <a:pt x="708" y="380"/>
                </a:lnTo>
                <a:lnTo>
                  <a:pt x="708" y="384"/>
                </a:lnTo>
                <a:lnTo>
                  <a:pt x="706" y="384"/>
                </a:lnTo>
                <a:lnTo>
                  <a:pt x="702" y="384"/>
                </a:lnTo>
                <a:lnTo>
                  <a:pt x="702" y="380"/>
                </a:lnTo>
                <a:lnTo>
                  <a:pt x="702" y="384"/>
                </a:lnTo>
                <a:lnTo>
                  <a:pt x="706" y="384"/>
                </a:lnTo>
                <a:lnTo>
                  <a:pt x="708" y="384"/>
                </a:lnTo>
                <a:lnTo>
                  <a:pt x="708" y="388"/>
                </a:lnTo>
                <a:lnTo>
                  <a:pt x="712" y="388"/>
                </a:lnTo>
                <a:lnTo>
                  <a:pt x="712" y="392"/>
                </a:lnTo>
                <a:lnTo>
                  <a:pt x="716" y="392"/>
                </a:lnTo>
                <a:lnTo>
                  <a:pt x="716" y="396"/>
                </a:lnTo>
                <a:lnTo>
                  <a:pt x="712" y="396"/>
                </a:lnTo>
                <a:lnTo>
                  <a:pt x="716" y="400"/>
                </a:lnTo>
                <a:lnTo>
                  <a:pt x="716" y="404"/>
                </a:lnTo>
                <a:lnTo>
                  <a:pt x="712" y="404"/>
                </a:lnTo>
                <a:lnTo>
                  <a:pt x="712" y="408"/>
                </a:lnTo>
                <a:lnTo>
                  <a:pt x="716" y="408"/>
                </a:lnTo>
                <a:lnTo>
                  <a:pt x="716" y="410"/>
                </a:lnTo>
                <a:lnTo>
                  <a:pt x="720" y="410"/>
                </a:lnTo>
                <a:lnTo>
                  <a:pt x="720" y="408"/>
                </a:lnTo>
                <a:lnTo>
                  <a:pt x="724" y="408"/>
                </a:lnTo>
                <a:lnTo>
                  <a:pt x="724" y="404"/>
                </a:lnTo>
                <a:lnTo>
                  <a:pt x="724" y="400"/>
                </a:lnTo>
                <a:lnTo>
                  <a:pt x="728" y="396"/>
                </a:lnTo>
                <a:lnTo>
                  <a:pt x="724" y="392"/>
                </a:lnTo>
                <a:lnTo>
                  <a:pt x="728" y="392"/>
                </a:lnTo>
                <a:lnTo>
                  <a:pt x="728" y="388"/>
                </a:lnTo>
                <a:lnTo>
                  <a:pt x="732" y="388"/>
                </a:lnTo>
                <a:lnTo>
                  <a:pt x="732" y="384"/>
                </a:lnTo>
                <a:lnTo>
                  <a:pt x="734" y="384"/>
                </a:lnTo>
                <a:lnTo>
                  <a:pt x="738" y="388"/>
                </a:lnTo>
                <a:lnTo>
                  <a:pt x="742" y="388"/>
                </a:lnTo>
                <a:lnTo>
                  <a:pt x="742" y="392"/>
                </a:lnTo>
                <a:lnTo>
                  <a:pt x="746" y="392"/>
                </a:lnTo>
                <a:lnTo>
                  <a:pt x="748" y="396"/>
                </a:lnTo>
                <a:lnTo>
                  <a:pt x="748" y="400"/>
                </a:lnTo>
                <a:lnTo>
                  <a:pt x="748" y="404"/>
                </a:lnTo>
                <a:lnTo>
                  <a:pt x="752" y="404"/>
                </a:lnTo>
                <a:lnTo>
                  <a:pt x="752" y="408"/>
                </a:lnTo>
                <a:lnTo>
                  <a:pt x="752" y="410"/>
                </a:lnTo>
                <a:lnTo>
                  <a:pt x="748" y="410"/>
                </a:lnTo>
                <a:lnTo>
                  <a:pt x="746" y="408"/>
                </a:lnTo>
                <a:lnTo>
                  <a:pt x="746" y="410"/>
                </a:lnTo>
                <a:lnTo>
                  <a:pt x="746" y="414"/>
                </a:lnTo>
                <a:lnTo>
                  <a:pt x="746" y="418"/>
                </a:lnTo>
                <a:lnTo>
                  <a:pt x="746" y="422"/>
                </a:lnTo>
                <a:lnTo>
                  <a:pt x="746" y="426"/>
                </a:lnTo>
                <a:lnTo>
                  <a:pt x="748" y="426"/>
                </a:lnTo>
                <a:lnTo>
                  <a:pt x="752" y="426"/>
                </a:lnTo>
                <a:lnTo>
                  <a:pt x="752" y="430"/>
                </a:lnTo>
                <a:lnTo>
                  <a:pt x="756" y="430"/>
                </a:lnTo>
                <a:lnTo>
                  <a:pt x="756" y="434"/>
                </a:lnTo>
                <a:lnTo>
                  <a:pt x="756" y="436"/>
                </a:lnTo>
                <a:lnTo>
                  <a:pt x="760" y="436"/>
                </a:lnTo>
                <a:lnTo>
                  <a:pt x="764" y="436"/>
                </a:lnTo>
                <a:lnTo>
                  <a:pt x="764" y="434"/>
                </a:lnTo>
                <a:lnTo>
                  <a:pt x="764" y="430"/>
                </a:lnTo>
                <a:lnTo>
                  <a:pt x="768" y="430"/>
                </a:lnTo>
                <a:lnTo>
                  <a:pt x="768" y="434"/>
                </a:lnTo>
                <a:lnTo>
                  <a:pt x="772" y="434"/>
                </a:lnTo>
                <a:lnTo>
                  <a:pt x="772" y="430"/>
                </a:lnTo>
                <a:lnTo>
                  <a:pt x="772" y="426"/>
                </a:lnTo>
                <a:lnTo>
                  <a:pt x="772" y="422"/>
                </a:lnTo>
                <a:lnTo>
                  <a:pt x="776" y="418"/>
                </a:lnTo>
                <a:lnTo>
                  <a:pt x="778" y="414"/>
                </a:lnTo>
                <a:lnTo>
                  <a:pt x="778" y="410"/>
                </a:lnTo>
                <a:lnTo>
                  <a:pt x="778" y="408"/>
                </a:lnTo>
                <a:lnTo>
                  <a:pt x="782" y="408"/>
                </a:lnTo>
                <a:lnTo>
                  <a:pt x="782" y="404"/>
                </a:lnTo>
                <a:lnTo>
                  <a:pt x="782" y="400"/>
                </a:lnTo>
                <a:lnTo>
                  <a:pt x="782" y="396"/>
                </a:lnTo>
                <a:lnTo>
                  <a:pt x="782" y="400"/>
                </a:lnTo>
                <a:lnTo>
                  <a:pt x="786" y="400"/>
                </a:lnTo>
                <a:lnTo>
                  <a:pt x="786" y="396"/>
                </a:lnTo>
                <a:lnTo>
                  <a:pt x="782" y="396"/>
                </a:lnTo>
                <a:lnTo>
                  <a:pt x="786" y="396"/>
                </a:lnTo>
                <a:lnTo>
                  <a:pt x="786" y="400"/>
                </a:lnTo>
                <a:lnTo>
                  <a:pt x="790" y="400"/>
                </a:lnTo>
                <a:lnTo>
                  <a:pt x="790" y="396"/>
                </a:lnTo>
                <a:lnTo>
                  <a:pt x="794" y="396"/>
                </a:lnTo>
                <a:lnTo>
                  <a:pt x="794" y="400"/>
                </a:lnTo>
                <a:lnTo>
                  <a:pt x="794" y="396"/>
                </a:lnTo>
                <a:lnTo>
                  <a:pt x="790" y="396"/>
                </a:lnTo>
                <a:lnTo>
                  <a:pt x="790" y="392"/>
                </a:lnTo>
                <a:lnTo>
                  <a:pt x="794" y="392"/>
                </a:lnTo>
                <a:lnTo>
                  <a:pt x="790" y="392"/>
                </a:lnTo>
                <a:lnTo>
                  <a:pt x="794" y="392"/>
                </a:lnTo>
                <a:lnTo>
                  <a:pt x="798" y="392"/>
                </a:lnTo>
                <a:lnTo>
                  <a:pt x="794" y="388"/>
                </a:lnTo>
                <a:lnTo>
                  <a:pt x="790" y="388"/>
                </a:lnTo>
                <a:lnTo>
                  <a:pt x="786" y="388"/>
                </a:lnTo>
                <a:lnTo>
                  <a:pt x="790" y="388"/>
                </a:lnTo>
                <a:lnTo>
                  <a:pt x="786" y="384"/>
                </a:lnTo>
                <a:lnTo>
                  <a:pt x="786" y="380"/>
                </a:lnTo>
                <a:lnTo>
                  <a:pt x="782" y="380"/>
                </a:lnTo>
                <a:lnTo>
                  <a:pt x="782" y="374"/>
                </a:lnTo>
                <a:lnTo>
                  <a:pt x="786" y="370"/>
                </a:lnTo>
                <a:lnTo>
                  <a:pt x="786" y="374"/>
                </a:lnTo>
                <a:lnTo>
                  <a:pt x="786" y="370"/>
                </a:lnTo>
                <a:lnTo>
                  <a:pt x="782" y="370"/>
                </a:lnTo>
                <a:lnTo>
                  <a:pt x="786" y="370"/>
                </a:lnTo>
                <a:lnTo>
                  <a:pt x="790" y="370"/>
                </a:lnTo>
                <a:lnTo>
                  <a:pt x="790" y="374"/>
                </a:lnTo>
                <a:lnTo>
                  <a:pt x="794" y="370"/>
                </a:lnTo>
                <a:lnTo>
                  <a:pt x="798" y="370"/>
                </a:lnTo>
                <a:lnTo>
                  <a:pt x="802" y="370"/>
                </a:lnTo>
                <a:lnTo>
                  <a:pt x="806" y="370"/>
                </a:lnTo>
                <a:lnTo>
                  <a:pt x="806" y="374"/>
                </a:lnTo>
                <a:lnTo>
                  <a:pt x="808" y="374"/>
                </a:lnTo>
                <a:lnTo>
                  <a:pt x="812" y="374"/>
                </a:lnTo>
                <a:lnTo>
                  <a:pt x="816" y="374"/>
                </a:lnTo>
                <a:lnTo>
                  <a:pt x="820" y="374"/>
                </a:lnTo>
                <a:lnTo>
                  <a:pt x="824" y="374"/>
                </a:lnTo>
                <a:lnTo>
                  <a:pt x="828" y="374"/>
                </a:lnTo>
                <a:lnTo>
                  <a:pt x="832" y="374"/>
                </a:lnTo>
                <a:lnTo>
                  <a:pt x="832" y="378"/>
                </a:lnTo>
                <a:lnTo>
                  <a:pt x="828" y="378"/>
                </a:lnTo>
                <a:lnTo>
                  <a:pt x="828" y="374"/>
                </a:lnTo>
                <a:lnTo>
                  <a:pt x="824" y="378"/>
                </a:lnTo>
                <a:lnTo>
                  <a:pt x="828" y="378"/>
                </a:lnTo>
                <a:lnTo>
                  <a:pt x="824" y="378"/>
                </a:lnTo>
                <a:lnTo>
                  <a:pt x="820" y="378"/>
                </a:lnTo>
                <a:lnTo>
                  <a:pt x="816" y="378"/>
                </a:lnTo>
                <a:lnTo>
                  <a:pt x="820" y="378"/>
                </a:lnTo>
                <a:lnTo>
                  <a:pt x="824" y="378"/>
                </a:lnTo>
                <a:lnTo>
                  <a:pt x="832" y="380"/>
                </a:lnTo>
                <a:lnTo>
                  <a:pt x="832" y="384"/>
                </a:lnTo>
                <a:lnTo>
                  <a:pt x="834" y="384"/>
                </a:lnTo>
                <a:lnTo>
                  <a:pt x="838" y="384"/>
                </a:lnTo>
                <a:lnTo>
                  <a:pt x="842" y="384"/>
                </a:lnTo>
                <a:lnTo>
                  <a:pt x="842" y="388"/>
                </a:lnTo>
                <a:lnTo>
                  <a:pt x="838" y="392"/>
                </a:lnTo>
                <a:lnTo>
                  <a:pt x="834" y="392"/>
                </a:lnTo>
                <a:lnTo>
                  <a:pt x="834" y="396"/>
                </a:lnTo>
                <a:lnTo>
                  <a:pt x="834" y="392"/>
                </a:lnTo>
                <a:lnTo>
                  <a:pt x="838" y="392"/>
                </a:lnTo>
                <a:lnTo>
                  <a:pt x="838" y="396"/>
                </a:lnTo>
                <a:lnTo>
                  <a:pt x="842" y="396"/>
                </a:lnTo>
                <a:lnTo>
                  <a:pt x="846" y="396"/>
                </a:lnTo>
                <a:lnTo>
                  <a:pt x="846" y="400"/>
                </a:lnTo>
                <a:lnTo>
                  <a:pt x="842" y="400"/>
                </a:lnTo>
                <a:lnTo>
                  <a:pt x="838" y="404"/>
                </a:lnTo>
                <a:lnTo>
                  <a:pt x="834" y="404"/>
                </a:lnTo>
                <a:lnTo>
                  <a:pt x="834" y="408"/>
                </a:lnTo>
                <a:lnTo>
                  <a:pt x="834" y="404"/>
                </a:lnTo>
                <a:lnTo>
                  <a:pt x="832" y="404"/>
                </a:lnTo>
                <a:lnTo>
                  <a:pt x="828" y="404"/>
                </a:lnTo>
                <a:lnTo>
                  <a:pt x="824" y="404"/>
                </a:lnTo>
                <a:lnTo>
                  <a:pt x="828" y="404"/>
                </a:lnTo>
                <a:lnTo>
                  <a:pt x="828" y="408"/>
                </a:lnTo>
                <a:lnTo>
                  <a:pt x="828" y="410"/>
                </a:lnTo>
                <a:lnTo>
                  <a:pt x="832" y="410"/>
                </a:lnTo>
                <a:lnTo>
                  <a:pt x="832" y="414"/>
                </a:lnTo>
                <a:lnTo>
                  <a:pt x="832" y="410"/>
                </a:lnTo>
                <a:lnTo>
                  <a:pt x="834" y="410"/>
                </a:lnTo>
                <a:lnTo>
                  <a:pt x="834" y="414"/>
                </a:lnTo>
                <a:lnTo>
                  <a:pt x="832" y="414"/>
                </a:lnTo>
                <a:lnTo>
                  <a:pt x="832" y="418"/>
                </a:lnTo>
                <a:lnTo>
                  <a:pt x="834" y="418"/>
                </a:lnTo>
                <a:lnTo>
                  <a:pt x="834" y="422"/>
                </a:lnTo>
                <a:lnTo>
                  <a:pt x="838" y="422"/>
                </a:lnTo>
                <a:lnTo>
                  <a:pt x="838" y="426"/>
                </a:lnTo>
                <a:lnTo>
                  <a:pt x="842" y="426"/>
                </a:lnTo>
                <a:lnTo>
                  <a:pt x="846" y="430"/>
                </a:lnTo>
                <a:lnTo>
                  <a:pt x="842" y="430"/>
                </a:lnTo>
                <a:lnTo>
                  <a:pt x="842" y="434"/>
                </a:lnTo>
                <a:lnTo>
                  <a:pt x="842" y="436"/>
                </a:lnTo>
                <a:lnTo>
                  <a:pt x="842" y="440"/>
                </a:lnTo>
                <a:lnTo>
                  <a:pt x="838" y="440"/>
                </a:lnTo>
                <a:lnTo>
                  <a:pt x="834" y="440"/>
                </a:lnTo>
                <a:lnTo>
                  <a:pt x="834" y="444"/>
                </a:lnTo>
                <a:lnTo>
                  <a:pt x="832" y="448"/>
                </a:lnTo>
                <a:lnTo>
                  <a:pt x="828" y="448"/>
                </a:lnTo>
                <a:lnTo>
                  <a:pt x="828" y="452"/>
                </a:lnTo>
                <a:lnTo>
                  <a:pt x="824" y="452"/>
                </a:lnTo>
                <a:lnTo>
                  <a:pt x="820" y="452"/>
                </a:lnTo>
                <a:lnTo>
                  <a:pt x="820" y="456"/>
                </a:lnTo>
                <a:lnTo>
                  <a:pt x="816" y="456"/>
                </a:lnTo>
                <a:lnTo>
                  <a:pt x="812" y="456"/>
                </a:lnTo>
                <a:lnTo>
                  <a:pt x="808" y="452"/>
                </a:lnTo>
                <a:lnTo>
                  <a:pt x="806" y="452"/>
                </a:lnTo>
                <a:lnTo>
                  <a:pt x="806" y="448"/>
                </a:lnTo>
                <a:lnTo>
                  <a:pt x="808" y="444"/>
                </a:lnTo>
                <a:lnTo>
                  <a:pt x="806" y="444"/>
                </a:lnTo>
                <a:lnTo>
                  <a:pt x="806" y="448"/>
                </a:lnTo>
                <a:lnTo>
                  <a:pt x="802" y="448"/>
                </a:lnTo>
                <a:lnTo>
                  <a:pt x="802" y="444"/>
                </a:lnTo>
                <a:lnTo>
                  <a:pt x="802" y="440"/>
                </a:lnTo>
                <a:lnTo>
                  <a:pt x="798" y="440"/>
                </a:lnTo>
                <a:lnTo>
                  <a:pt x="794" y="440"/>
                </a:lnTo>
                <a:lnTo>
                  <a:pt x="798" y="440"/>
                </a:lnTo>
                <a:lnTo>
                  <a:pt x="794" y="440"/>
                </a:lnTo>
                <a:lnTo>
                  <a:pt x="790" y="440"/>
                </a:lnTo>
                <a:lnTo>
                  <a:pt x="790" y="444"/>
                </a:lnTo>
                <a:lnTo>
                  <a:pt x="794" y="444"/>
                </a:lnTo>
                <a:lnTo>
                  <a:pt x="794" y="440"/>
                </a:lnTo>
                <a:lnTo>
                  <a:pt x="798" y="440"/>
                </a:lnTo>
                <a:lnTo>
                  <a:pt x="798" y="444"/>
                </a:lnTo>
                <a:lnTo>
                  <a:pt x="794" y="444"/>
                </a:lnTo>
                <a:lnTo>
                  <a:pt x="798" y="444"/>
                </a:lnTo>
                <a:lnTo>
                  <a:pt x="802" y="448"/>
                </a:lnTo>
                <a:lnTo>
                  <a:pt x="806" y="448"/>
                </a:lnTo>
                <a:lnTo>
                  <a:pt x="806" y="452"/>
                </a:lnTo>
                <a:lnTo>
                  <a:pt x="806" y="456"/>
                </a:lnTo>
                <a:lnTo>
                  <a:pt x="808" y="456"/>
                </a:lnTo>
                <a:lnTo>
                  <a:pt x="808" y="460"/>
                </a:lnTo>
                <a:lnTo>
                  <a:pt x="808" y="464"/>
                </a:lnTo>
                <a:lnTo>
                  <a:pt x="806" y="460"/>
                </a:lnTo>
                <a:lnTo>
                  <a:pt x="802" y="460"/>
                </a:lnTo>
                <a:lnTo>
                  <a:pt x="802" y="456"/>
                </a:lnTo>
                <a:lnTo>
                  <a:pt x="798" y="456"/>
                </a:lnTo>
                <a:lnTo>
                  <a:pt x="798" y="460"/>
                </a:lnTo>
                <a:lnTo>
                  <a:pt x="802" y="460"/>
                </a:lnTo>
                <a:lnTo>
                  <a:pt x="802" y="464"/>
                </a:lnTo>
                <a:lnTo>
                  <a:pt x="798" y="464"/>
                </a:lnTo>
                <a:lnTo>
                  <a:pt x="798" y="460"/>
                </a:lnTo>
                <a:lnTo>
                  <a:pt x="794" y="460"/>
                </a:lnTo>
                <a:lnTo>
                  <a:pt x="790" y="460"/>
                </a:lnTo>
                <a:lnTo>
                  <a:pt x="786" y="460"/>
                </a:lnTo>
                <a:lnTo>
                  <a:pt x="786" y="456"/>
                </a:lnTo>
                <a:lnTo>
                  <a:pt x="786" y="452"/>
                </a:lnTo>
                <a:lnTo>
                  <a:pt x="782" y="452"/>
                </a:lnTo>
                <a:lnTo>
                  <a:pt x="778" y="452"/>
                </a:lnTo>
                <a:lnTo>
                  <a:pt x="776" y="452"/>
                </a:lnTo>
                <a:lnTo>
                  <a:pt x="768" y="452"/>
                </a:lnTo>
                <a:lnTo>
                  <a:pt x="768" y="456"/>
                </a:lnTo>
                <a:lnTo>
                  <a:pt x="768" y="460"/>
                </a:lnTo>
                <a:lnTo>
                  <a:pt x="772" y="460"/>
                </a:lnTo>
                <a:lnTo>
                  <a:pt x="776" y="460"/>
                </a:lnTo>
                <a:lnTo>
                  <a:pt x="778" y="460"/>
                </a:lnTo>
                <a:lnTo>
                  <a:pt x="778" y="464"/>
                </a:lnTo>
                <a:lnTo>
                  <a:pt x="776" y="466"/>
                </a:lnTo>
                <a:lnTo>
                  <a:pt x="772" y="466"/>
                </a:lnTo>
                <a:lnTo>
                  <a:pt x="772" y="470"/>
                </a:lnTo>
                <a:lnTo>
                  <a:pt x="772" y="474"/>
                </a:lnTo>
                <a:lnTo>
                  <a:pt x="768" y="474"/>
                </a:lnTo>
                <a:lnTo>
                  <a:pt x="764" y="474"/>
                </a:lnTo>
                <a:lnTo>
                  <a:pt x="764" y="478"/>
                </a:lnTo>
                <a:lnTo>
                  <a:pt x="764" y="478"/>
                </a:lnTo>
                <a:lnTo>
                  <a:pt x="764" y="478"/>
                </a:lnTo>
                <a:close/>
                <a:moveTo>
                  <a:pt x="408" y="354"/>
                </a:moveTo>
                <a:lnTo>
                  <a:pt x="410" y="358"/>
                </a:lnTo>
                <a:lnTo>
                  <a:pt x="414" y="358"/>
                </a:lnTo>
                <a:lnTo>
                  <a:pt x="410" y="358"/>
                </a:lnTo>
                <a:lnTo>
                  <a:pt x="408" y="358"/>
                </a:lnTo>
                <a:lnTo>
                  <a:pt x="408" y="354"/>
                </a:lnTo>
                <a:lnTo>
                  <a:pt x="408" y="354"/>
                </a:lnTo>
                <a:lnTo>
                  <a:pt x="408" y="354"/>
                </a:lnTo>
                <a:close/>
                <a:moveTo>
                  <a:pt x="560" y="384"/>
                </a:moveTo>
                <a:lnTo>
                  <a:pt x="560" y="388"/>
                </a:lnTo>
                <a:lnTo>
                  <a:pt x="556" y="388"/>
                </a:lnTo>
                <a:lnTo>
                  <a:pt x="556" y="384"/>
                </a:lnTo>
                <a:lnTo>
                  <a:pt x="560" y="384"/>
                </a:lnTo>
                <a:lnTo>
                  <a:pt x="560" y="384"/>
                </a:lnTo>
                <a:lnTo>
                  <a:pt x="560" y="384"/>
                </a:lnTo>
                <a:close/>
                <a:moveTo>
                  <a:pt x="1056" y="410"/>
                </a:moveTo>
                <a:lnTo>
                  <a:pt x="1052" y="410"/>
                </a:lnTo>
                <a:lnTo>
                  <a:pt x="1056" y="410"/>
                </a:lnTo>
                <a:lnTo>
                  <a:pt x="1060" y="410"/>
                </a:lnTo>
                <a:lnTo>
                  <a:pt x="1056" y="410"/>
                </a:lnTo>
                <a:lnTo>
                  <a:pt x="1056" y="410"/>
                </a:lnTo>
                <a:lnTo>
                  <a:pt x="1056" y="410"/>
                </a:lnTo>
                <a:close/>
                <a:moveTo>
                  <a:pt x="466" y="418"/>
                </a:moveTo>
                <a:lnTo>
                  <a:pt x="462" y="418"/>
                </a:lnTo>
                <a:lnTo>
                  <a:pt x="466" y="418"/>
                </a:lnTo>
                <a:lnTo>
                  <a:pt x="466" y="418"/>
                </a:lnTo>
                <a:lnTo>
                  <a:pt x="466" y="418"/>
                </a:lnTo>
                <a:close/>
                <a:moveTo>
                  <a:pt x="1088" y="426"/>
                </a:moveTo>
                <a:lnTo>
                  <a:pt x="1092" y="426"/>
                </a:lnTo>
                <a:lnTo>
                  <a:pt x="1092" y="430"/>
                </a:lnTo>
                <a:lnTo>
                  <a:pt x="1088" y="430"/>
                </a:lnTo>
                <a:lnTo>
                  <a:pt x="1088" y="426"/>
                </a:lnTo>
                <a:lnTo>
                  <a:pt x="1088" y="426"/>
                </a:lnTo>
                <a:lnTo>
                  <a:pt x="1088" y="426"/>
                </a:lnTo>
                <a:close/>
                <a:moveTo>
                  <a:pt x="996" y="542"/>
                </a:moveTo>
                <a:lnTo>
                  <a:pt x="1000" y="546"/>
                </a:lnTo>
                <a:lnTo>
                  <a:pt x="1004" y="546"/>
                </a:lnTo>
                <a:lnTo>
                  <a:pt x="1000" y="550"/>
                </a:lnTo>
                <a:lnTo>
                  <a:pt x="996" y="550"/>
                </a:lnTo>
                <a:lnTo>
                  <a:pt x="992" y="550"/>
                </a:lnTo>
                <a:lnTo>
                  <a:pt x="992" y="546"/>
                </a:lnTo>
                <a:lnTo>
                  <a:pt x="992" y="542"/>
                </a:lnTo>
                <a:lnTo>
                  <a:pt x="988" y="542"/>
                </a:lnTo>
                <a:lnTo>
                  <a:pt x="992" y="542"/>
                </a:lnTo>
                <a:lnTo>
                  <a:pt x="996" y="542"/>
                </a:lnTo>
                <a:lnTo>
                  <a:pt x="996" y="542"/>
                </a:lnTo>
                <a:lnTo>
                  <a:pt x="996" y="542"/>
                </a:lnTo>
                <a:close/>
                <a:moveTo>
                  <a:pt x="1084" y="596"/>
                </a:moveTo>
                <a:lnTo>
                  <a:pt x="1080" y="596"/>
                </a:lnTo>
                <a:lnTo>
                  <a:pt x="1080" y="600"/>
                </a:lnTo>
                <a:lnTo>
                  <a:pt x="1084" y="600"/>
                </a:lnTo>
                <a:lnTo>
                  <a:pt x="1080" y="600"/>
                </a:lnTo>
                <a:lnTo>
                  <a:pt x="1080" y="596"/>
                </a:lnTo>
                <a:lnTo>
                  <a:pt x="1076" y="596"/>
                </a:lnTo>
                <a:lnTo>
                  <a:pt x="1076" y="594"/>
                </a:lnTo>
                <a:lnTo>
                  <a:pt x="1080" y="594"/>
                </a:lnTo>
                <a:lnTo>
                  <a:pt x="1080" y="596"/>
                </a:lnTo>
                <a:lnTo>
                  <a:pt x="1084" y="596"/>
                </a:lnTo>
                <a:lnTo>
                  <a:pt x="1084" y="596"/>
                </a:lnTo>
                <a:lnTo>
                  <a:pt x="1084" y="596"/>
                </a:lnTo>
                <a:close/>
                <a:moveTo>
                  <a:pt x="862" y="612"/>
                </a:moveTo>
                <a:lnTo>
                  <a:pt x="862" y="616"/>
                </a:lnTo>
                <a:lnTo>
                  <a:pt x="858" y="616"/>
                </a:lnTo>
                <a:lnTo>
                  <a:pt x="858" y="612"/>
                </a:lnTo>
                <a:lnTo>
                  <a:pt x="862" y="612"/>
                </a:lnTo>
                <a:lnTo>
                  <a:pt x="862" y="612"/>
                </a:lnTo>
                <a:lnTo>
                  <a:pt x="862" y="612"/>
                </a:lnTo>
                <a:close/>
                <a:moveTo>
                  <a:pt x="1130" y="682"/>
                </a:moveTo>
                <a:lnTo>
                  <a:pt x="1130" y="680"/>
                </a:lnTo>
                <a:lnTo>
                  <a:pt x="1130" y="682"/>
                </a:lnTo>
                <a:lnTo>
                  <a:pt x="1130" y="682"/>
                </a:lnTo>
                <a:lnTo>
                  <a:pt x="1130" y="682"/>
                </a:lnTo>
                <a:close/>
                <a:moveTo>
                  <a:pt x="1122" y="682"/>
                </a:moveTo>
                <a:lnTo>
                  <a:pt x="1126" y="682"/>
                </a:lnTo>
                <a:lnTo>
                  <a:pt x="1130" y="686"/>
                </a:lnTo>
                <a:lnTo>
                  <a:pt x="1126" y="686"/>
                </a:lnTo>
                <a:lnTo>
                  <a:pt x="1122" y="686"/>
                </a:lnTo>
                <a:lnTo>
                  <a:pt x="1126" y="686"/>
                </a:lnTo>
                <a:lnTo>
                  <a:pt x="1126" y="682"/>
                </a:lnTo>
                <a:lnTo>
                  <a:pt x="1122" y="682"/>
                </a:lnTo>
                <a:lnTo>
                  <a:pt x="1122" y="682"/>
                </a:lnTo>
                <a:lnTo>
                  <a:pt x="1122" y="682"/>
                </a:lnTo>
                <a:close/>
                <a:moveTo>
                  <a:pt x="160" y="758"/>
                </a:moveTo>
                <a:lnTo>
                  <a:pt x="160" y="754"/>
                </a:lnTo>
                <a:lnTo>
                  <a:pt x="156" y="754"/>
                </a:lnTo>
                <a:lnTo>
                  <a:pt x="156" y="750"/>
                </a:lnTo>
                <a:lnTo>
                  <a:pt x="156" y="746"/>
                </a:lnTo>
                <a:lnTo>
                  <a:pt x="152" y="746"/>
                </a:lnTo>
                <a:lnTo>
                  <a:pt x="156" y="746"/>
                </a:lnTo>
                <a:lnTo>
                  <a:pt x="152" y="746"/>
                </a:lnTo>
                <a:lnTo>
                  <a:pt x="152" y="742"/>
                </a:lnTo>
                <a:lnTo>
                  <a:pt x="156" y="742"/>
                </a:lnTo>
                <a:lnTo>
                  <a:pt x="156" y="746"/>
                </a:lnTo>
                <a:lnTo>
                  <a:pt x="160" y="750"/>
                </a:lnTo>
                <a:lnTo>
                  <a:pt x="164" y="750"/>
                </a:lnTo>
                <a:lnTo>
                  <a:pt x="164" y="754"/>
                </a:lnTo>
                <a:lnTo>
                  <a:pt x="164" y="758"/>
                </a:lnTo>
                <a:lnTo>
                  <a:pt x="160" y="758"/>
                </a:lnTo>
                <a:lnTo>
                  <a:pt x="160" y="758"/>
                </a:lnTo>
                <a:lnTo>
                  <a:pt x="160" y="758"/>
                </a:lnTo>
                <a:close/>
                <a:moveTo>
                  <a:pt x="168" y="766"/>
                </a:moveTo>
                <a:lnTo>
                  <a:pt x="168" y="762"/>
                </a:lnTo>
                <a:lnTo>
                  <a:pt x="172" y="762"/>
                </a:lnTo>
                <a:lnTo>
                  <a:pt x="172" y="758"/>
                </a:lnTo>
                <a:lnTo>
                  <a:pt x="168" y="758"/>
                </a:lnTo>
                <a:lnTo>
                  <a:pt x="172" y="758"/>
                </a:lnTo>
                <a:lnTo>
                  <a:pt x="172" y="762"/>
                </a:lnTo>
                <a:lnTo>
                  <a:pt x="168" y="762"/>
                </a:lnTo>
                <a:lnTo>
                  <a:pt x="168" y="758"/>
                </a:lnTo>
                <a:lnTo>
                  <a:pt x="168" y="754"/>
                </a:lnTo>
                <a:lnTo>
                  <a:pt x="172" y="754"/>
                </a:lnTo>
                <a:lnTo>
                  <a:pt x="172" y="758"/>
                </a:lnTo>
                <a:lnTo>
                  <a:pt x="176" y="758"/>
                </a:lnTo>
                <a:lnTo>
                  <a:pt x="176" y="762"/>
                </a:lnTo>
                <a:lnTo>
                  <a:pt x="176" y="768"/>
                </a:lnTo>
                <a:lnTo>
                  <a:pt x="172" y="768"/>
                </a:lnTo>
                <a:lnTo>
                  <a:pt x="172" y="766"/>
                </a:lnTo>
                <a:lnTo>
                  <a:pt x="176" y="766"/>
                </a:lnTo>
                <a:lnTo>
                  <a:pt x="176" y="762"/>
                </a:lnTo>
                <a:lnTo>
                  <a:pt x="172" y="766"/>
                </a:lnTo>
                <a:lnTo>
                  <a:pt x="172" y="768"/>
                </a:lnTo>
                <a:lnTo>
                  <a:pt x="168" y="768"/>
                </a:lnTo>
                <a:lnTo>
                  <a:pt x="168" y="766"/>
                </a:lnTo>
                <a:lnTo>
                  <a:pt x="168" y="766"/>
                </a:lnTo>
                <a:lnTo>
                  <a:pt x="168" y="766"/>
                </a:lnTo>
                <a:close/>
                <a:moveTo>
                  <a:pt x="138" y="780"/>
                </a:moveTo>
                <a:lnTo>
                  <a:pt x="134" y="776"/>
                </a:lnTo>
                <a:lnTo>
                  <a:pt x="134" y="772"/>
                </a:lnTo>
                <a:lnTo>
                  <a:pt x="130" y="772"/>
                </a:lnTo>
                <a:lnTo>
                  <a:pt x="126" y="768"/>
                </a:lnTo>
                <a:lnTo>
                  <a:pt x="126" y="766"/>
                </a:lnTo>
                <a:lnTo>
                  <a:pt x="124" y="766"/>
                </a:lnTo>
                <a:lnTo>
                  <a:pt x="124" y="762"/>
                </a:lnTo>
                <a:lnTo>
                  <a:pt x="126" y="762"/>
                </a:lnTo>
                <a:lnTo>
                  <a:pt x="124" y="762"/>
                </a:lnTo>
                <a:lnTo>
                  <a:pt x="120" y="762"/>
                </a:lnTo>
                <a:lnTo>
                  <a:pt x="120" y="758"/>
                </a:lnTo>
                <a:lnTo>
                  <a:pt x="124" y="758"/>
                </a:lnTo>
                <a:lnTo>
                  <a:pt x="126" y="758"/>
                </a:lnTo>
                <a:lnTo>
                  <a:pt x="126" y="754"/>
                </a:lnTo>
                <a:lnTo>
                  <a:pt x="130" y="754"/>
                </a:lnTo>
                <a:lnTo>
                  <a:pt x="130" y="758"/>
                </a:lnTo>
                <a:lnTo>
                  <a:pt x="134" y="762"/>
                </a:lnTo>
                <a:lnTo>
                  <a:pt x="130" y="762"/>
                </a:lnTo>
                <a:lnTo>
                  <a:pt x="130" y="758"/>
                </a:lnTo>
                <a:lnTo>
                  <a:pt x="126" y="758"/>
                </a:lnTo>
                <a:lnTo>
                  <a:pt x="126" y="762"/>
                </a:lnTo>
                <a:lnTo>
                  <a:pt x="130" y="762"/>
                </a:lnTo>
                <a:lnTo>
                  <a:pt x="134" y="762"/>
                </a:lnTo>
                <a:lnTo>
                  <a:pt x="130" y="762"/>
                </a:lnTo>
                <a:lnTo>
                  <a:pt x="130" y="766"/>
                </a:lnTo>
                <a:lnTo>
                  <a:pt x="130" y="762"/>
                </a:lnTo>
                <a:lnTo>
                  <a:pt x="126" y="762"/>
                </a:lnTo>
                <a:lnTo>
                  <a:pt x="130" y="766"/>
                </a:lnTo>
                <a:lnTo>
                  <a:pt x="130" y="768"/>
                </a:lnTo>
                <a:lnTo>
                  <a:pt x="134" y="768"/>
                </a:lnTo>
                <a:lnTo>
                  <a:pt x="134" y="772"/>
                </a:lnTo>
                <a:lnTo>
                  <a:pt x="138" y="772"/>
                </a:lnTo>
                <a:lnTo>
                  <a:pt x="138" y="776"/>
                </a:lnTo>
                <a:lnTo>
                  <a:pt x="142" y="776"/>
                </a:lnTo>
                <a:lnTo>
                  <a:pt x="138" y="780"/>
                </a:lnTo>
                <a:lnTo>
                  <a:pt x="138" y="780"/>
                </a:lnTo>
                <a:lnTo>
                  <a:pt x="138" y="780"/>
                </a:lnTo>
                <a:close/>
                <a:moveTo>
                  <a:pt x="182" y="776"/>
                </a:moveTo>
                <a:lnTo>
                  <a:pt x="182" y="780"/>
                </a:lnTo>
                <a:lnTo>
                  <a:pt x="180" y="780"/>
                </a:lnTo>
                <a:lnTo>
                  <a:pt x="180" y="776"/>
                </a:lnTo>
                <a:lnTo>
                  <a:pt x="182" y="776"/>
                </a:lnTo>
                <a:lnTo>
                  <a:pt x="182" y="776"/>
                </a:lnTo>
                <a:lnTo>
                  <a:pt x="182" y="776"/>
                </a:lnTo>
                <a:close/>
                <a:moveTo>
                  <a:pt x="182" y="780"/>
                </a:moveTo>
                <a:lnTo>
                  <a:pt x="182" y="784"/>
                </a:lnTo>
                <a:lnTo>
                  <a:pt x="182" y="788"/>
                </a:lnTo>
                <a:lnTo>
                  <a:pt x="180" y="784"/>
                </a:lnTo>
                <a:lnTo>
                  <a:pt x="182" y="780"/>
                </a:lnTo>
                <a:lnTo>
                  <a:pt x="182" y="780"/>
                </a:lnTo>
                <a:lnTo>
                  <a:pt x="182" y="780"/>
                </a:lnTo>
                <a:close/>
                <a:moveTo>
                  <a:pt x="884" y="8"/>
                </a:moveTo>
                <a:lnTo>
                  <a:pt x="888" y="4"/>
                </a:lnTo>
                <a:lnTo>
                  <a:pt x="890" y="8"/>
                </a:lnTo>
                <a:lnTo>
                  <a:pt x="888" y="8"/>
                </a:lnTo>
                <a:lnTo>
                  <a:pt x="884" y="8"/>
                </a:lnTo>
                <a:lnTo>
                  <a:pt x="884" y="8"/>
                </a:lnTo>
                <a:lnTo>
                  <a:pt x="884" y="8"/>
                </a:lnTo>
                <a:close/>
                <a:moveTo>
                  <a:pt x="698" y="50"/>
                </a:moveTo>
                <a:lnTo>
                  <a:pt x="694" y="50"/>
                </a:lnTo>
                <a:lnTo>
                  <a:pt x="694" y="46"/>
                </a:lnTo>
                <a:lnTo>
                  <a:pt x="698" y="46"/>
                </a:lnTo>
                <a:lnTo>
                  <a:pt x="698" y="50"/>
                </a:lnTo>
                <a:lnTo>
                  <a:pt x="698" y="50"/>
                </a:lnTo>
                <a:lnTo>
                  <a:pt x="698" y="50"/>
                </a:lnTo>
                <a:close/>
                <a:moveTo>
                  <a:pt x="1052" y="50"/>
                </a:moveTo>
                <a:lnTo>
                  <a:pt x="1048" y="50"/>
                </a:lnTo>
                <a:lnTo>
                  <a:pt x="1048" y="46"/>
                </a:lnTo>
                <a:lnTo>
                  <a:pt x="1052" y="46"/>
                </a:lnTo>
                <a:lnTo>
                  <a:pt x="1056" y="46"/>
                </a:lnTo>
                <a:lnTo>
                  <a:pt x="1056" y="50"/>
                </a:lnTo>
                <a:lnTo>
                  <a:pt x="1052" y="50"/>
                </a:lnTo>
                <a:lnTo>
                  <a:pt x="1052" y="50"/>
                </a:lnTo>
                <a:lnTo>
                  <a:pt x="1052" y="50"/>
                </a:lnTo>
                <a:close/>
                <a:moveTo>
                  <a:pt x="650" y="76"/>
                </a:moveTo>
                <a:lnTo>
                  <a:pt x="652" y="76"/>
                </a:lnTo>
                <a:lnTo>
                  <a:pt x="650" y="76"/>
                </a:lnTo>
                <a:lnTo>
                  <a:pt x="646" y="76"/>
                </a:lnTo>
                <a:lnTo>
                  <a:pt x="642" y="76"/>
                </a:lnTo>
                <a:lnTo>
                  <a:pt x="638" y="76"/>
                </a:lnTo>
                <a:lnTo>
                  <a:pt x="634" y="76"/>
                </a:lnTo>
                <a:lnTo>
                  <a:pt x="638" y="76"/>
                </a:lnTo>
                <a:lnTo>
                  <a:pt x="646" y="76"/>
                </a:lnTo>
                <a:lnTo>
                  <a:pt x="650" y="76"/>
                </a:lnTo>
                <a:lnTo>
                  <a:pt x="650" y="76"/>
                </a:lnTo>
                <a:lnTo>
                  <a:pt x="650" y="76"/>
                </a:lnTo>
                <a:close/>
                <a:moveTo>
                  <a:pt x="778" y="120"/>
                </a:moveTo>
                <a:lnTo>
                  <a:pt x="782" y="120"/>
                </a:lnTo>
                <a:lnTo>
                  <a:pt x="786" y="120"/>
                </a:lnTo>
                <a:lnTo>
                  <a:pt x="790" y="120"/>
                </a:lnTo>
                <a:lnTo>
                  <a:pt x="790" y="124"/>
                </a:lnTo>
                <a:lnTo>
                  <a:pt x="786" y="124"/>
                </a:lnTo>
                <a:lnTo>
                  <a:pt x="782" y="124"/>
                </a:lnTo>
                <a:lnTo>
                  <a:pt x="778" y="124"/>
                </a:lnTo>
                <a:lnTo>
                  <a:pt x="776" y="128"/>
                </a:lnTo>
                <a:lnTo>
                  <a:pt x="772" y="128"/>
                </a:lnTo>
                <a:lnTo>
                  <a:pt x="772" y="124"/>
                </a:lnTo>
                <a:lnTo>
                  <a:pt x="776" y="124"/>
                </a:lnTo>
                <a:lnTo>
                  <a:pt x="776" y="120"/>
                </a:lnTo>
                <a:lnTo>
                  <a:pt x="778" y="120"/>
                </a:lnTo>
                <a:lnTo>
                  <a:pt x="778" y="120"/>
                </a:lnTo>
                <a:lnTo>
                  <a:pt x="778" y="120"/>
                </a:lnTo>
                <a:close/>
                <a:moveTo>
                  <a:pt x="944" y="132"/>
                </a:moveTo>
                <a:lnTo>
                  <a:pt x="940" y="132"/>
                </a:lnTo>
                <a:lnTo>
                  <a:pt x="936" y="132"/>
                </a:lnTo>
                <a:lnTo>
                  <a:pt x="940" y="132"/>
                </a:lnTo>
                <a:lnTo>
                  <a:pt x="940" y="128"/>
                </a:lnTo>
                <a:lnTo>
                  <a:pt x="940" y="132"/>
                </a:lnTo>
                <a:lnTo>
                  <a:pt x="944" y="132"/>
                </a:lnTo>
                <a:lnTo>
                  <a:pt x="948" y="132"/>
                </a:lnTo>
                <a:lnTo>
                  <a:pt x="944" y="132"/>
                </a:lnTo>
                <a:lnTo>
                  <a:pt x="944" y="132"/>
                </a:lnTo>
                <a:lnTo>
                  <a:pt x="944" y="132"/>
                </a:lnTo>
                <a:close/>
                <a:moveTo>
                  <a:pt x="748" y="138"/>
                </a:moveTo>
                <a:lnTo>
                  <a:pt x="746" y="142"/>
                </a:lnTo>
                <a:lnTo>
                  <a:pt x="746" y="146"/>
                </a:lnTo>
                <a:lnTo>
                  <a:pt x="746" y="142"/>
                </a:lnTo>
                <a:lnTo>
                  <a:pt x="742" y="142"/>
                </a:lnTo>
                <a:lnTo>
                  <a:pt x="746" y="142"/>
                </a:lnTo>
                <a:lnTo>
                  <a:pt x="746" y="138"/>
                </a:lnTo>
                <a:lnTo>
                  <a:pt x="748" y="138"/>
                </a:lnTo>
                <a:lnTo>
                  <a:pt x="748" y="138"/>
                </a:lnTo>
                <a:lnTo>
                  <a:pt x="748" y="138"/>
                </a:lnTo>
                <a:close/>
                <a:moveTo>
                  <a:pt x="556" y="146"/>
                </a:moveTo>
                <a:lnTo>
                  <a:pt x="552" y="146"/>
                </a:lnTo>
                <a:lnTo>
                  <a:pt x="556" y="146"/>
                </a:lnTo>
                <a:lnTo>
                  <a:pt x="556" y="146"/>
                </a:lnTo>
                <a:lnTo>
                  <a:pt x="556" y="146"/>
                </a:lnTo>
                <a:close/>
                <a:moveTo>
                  <a:pt x="894" y="154"/>
                </a:moveTo>
                <a:lnTo>
                  <a:pt x="898" y="154"/>
                </a:lnTo>
                <a:lnTo>
                  <a:pt x="898" y="158"/>
                </a:lnTo>
                <a:lnTo>
                  <a:pt x="894" y="158"/>
                </a:lnTo>
                <a:lnTo>
                  <a:pt x="890" y="158"/>
                </a:lnTo>
                <a:lnTo>
                  <a:pt x="894" y="158"/>
                </a:lnTo>
                <a:lnTo>
                  <a:pt x="894" y="154"/>
                </a:lnTo>
                <a:lnTo>
                  <a:pt x="894" y="154"/>
                </a:lnTo>
                <a:lnTo>
                  <a:pt x="894" y="154"/>
                </a:lnTo>
                <a:close/>
                <a:moveTo>
                  <a:pt x="786" y="164"/>
                </a:moveTo>
                <a:lnTo>
                  <a:pt x="790" y="164"/>
                </a:lnTo>
                <a:lnTo>
                  <a:pt x="794" y="164"/>
                </a:lnTo>
                <a:lnTo>
                  <a:pt x="790" y="168"/>
                </a:lnTo>
                <a:lnTo>
                  <a:pt x="790" y="164"/>
                </a:lnTo>
                <a:lnTo>
                  <a:pt x="786" y="164"/>
                </a:lnTo>
                <a:lnTo>
                  <a:pt x="782" y="164"/>
                </a:lnTo>
                <a:lnTo>
                  <a:pt x="786" y="164"/>
                </a:lnTo>
                <a:lnTo>
                  <a:pt x="786" y="164"/>
                </a:lnTo>
                <a:lnTo>
                  <a:pt x="786" y="164"/>
                </a:lnTo>
                <a:close/>
                <a:moveTo>
                  <a:pt x="806" y="194"/>
                </a:moveTo>
                <a:lnTo>
                  <a:pt x="808" y="194"/>
                </a:lnTo>
                <a:lnTo>
                  <a:pt x="806" y="194"/>
                </a:lnTo>
                <a:lnTo>
                  <a:pt x="806" y="194"/>
                </a:lnTo>
                <a:lnTo>
                  <a:pt x="806" y="194"/>
                </a:lnTo>
                <a:close/>
                <a:moveTo>
                  <a:pt x="540" y="198"/>
                </a:moveTo>
                <a:lnTo>
                  <a:pt x="544" y="202"/>
                </a:lnTo>
                <a:lnTo>
                  <a:pt x="540" y="206"/>
                </a:lnTo>
                <a:lnTo>
                  <a:pt x="536" y="206"/>
                </a:lnTo>
                <a:lnTo>
                  <a:pt x="534" y="206"/>
                </a:lnTo>
                <a:lnTo>
                  <a:pt x="530" y="206"/>
                </a:lnTo>
                <a:lnTo>
                  <a:pt x="526" y="206"/>
                </a:lnTo>
                <a:lnTo>
                  <a:pt x="522" y="206"/>
                </a:lnTo>
                <a:lnTo>
                  <a:pt x="526" y="206"/>
                </a:lnTo>
                <a:lnTo>
                  <a:pt x="522" y="206"/>
                </a:lnTo>
                <a:lnTo>
                  <a:pt x="518" y="206"/>
                </a:lnTo>
                <a:lnTo>
                  <a:pt x="518" y="202"/>
                </a:lnTo>
                <a:lnTo>
                  <a:pt x="522" y="202"/>
                </a:lnTo>
                <a:lnTo>
                  <a:pt x="526" y="202"/>
                </a:lnTo>
                <a:lnTo>
                  <a:pt x="530" y="198"/>
                </a:lnTo>
                <a:lnTo>
                  <a:pt x="534" y="198"/>
                </a:lnTo>
                <a:lnTo>
                  <a:pt x="536" y="198"/>
                </a:lnTo>
                <a:lnTo>
                  <a:pt x="540" y="198"/>
                </a:lnTo>
                <a:lnTo>
                  <a:pt x="540" y="198"/>
                </a:lnTo>
                <a:lnTo>
                  <a:pt x="540" y="198"/>
                </a:lnTo>
                <a:close/>
                <a:moveTo>
                  <a:pt x="880" y="206"/>
                </a:moveTo>
                <a:lnTo>
                  <a:pt x="876" y="206"/>
                </a:lnTo>
                <a:lnTo>
                  <a:pt x="876" y="208"/>
                </a:lnTo>
                <a:lnTo>
                  <a:pt x="880" y="208"/>
                </a:lnTo>
                <a:lnTo>
                  <a:pt x="880" y="212"/>
                </a:lnTo>
                <a:lnTo>
                  <a:pt x="876" y="212"/>
                </a:lnTo>
                <a:lnTo>
                  <a:pt x="876" y="208"/>
                </a:lnTo>
                <a:lnTo>
                  <a:pt x="872" y="208"/>
                </a:lnTo>
                <a:lnTo>
                  <a:pt x="872" y="212"/>
                </a:lnTo>
                <a:lnTo>
                  <a:pt x="868" y="212"/>
                </a:lnTo>
                <a:lnTo>
                  <a:pt x="868" y="208"/>
                </a:lnTo>
                <a:lnTo>
                  <a:pt x="864" y="208"/>
                </a:lnTo>
                <a:lnTo>
                  <a:pt x="868" y="208"/>
                </a:lnTo>
                <a:lnTo>
                  <a:pt x="872" y="206"/>
                </a:lnTo>
                <a:lnTo>
                  <a:pt x="876" y="206"/>
                </a:lnTo>
                <a:lnTo>
                  <a:pt x="876" y="202"/>
                </a:lnTo>
                <a:lnTo>
                  <a:pt x="880" y="206"/>
                </a:lnTo>
                <a:lnTo>
                  <a:pt x="880" y="206"/>
                </a:lnTo>
                <a:lnTo>
                  <a:pt x="880" y="206"/>
                </a:lnTo>
                <a:close/>
                <a:moveTo>
                  <a:pt x="284" y="208"/>
                </a:moveTo>
                <a:lnTo>
                  <a:pt x="284" y="212"/>
                </a:lnTo>
                <a:lnTo>
                  <a:pt x="280" y="212"/>
                </a:lnTo>
                <a:lnTo>
                  <a:pt x="284" y="212"/>
                </a:lnTo>
                <a:lnTo>
                  <a:pt x="284" y="208"/>
                </a:lnTo>
                <a:lnTo>
                  <a:pt x="284" y="208"/>
                </a:lnTo>
                <a:lnTo>
                  <a:pt x="284" y="208"/>
                </a:lnTo>
                <a:close/>
                <a:moveTo>
                  <a:pt x="262" y="208"/>
                </a:moveTo>
                <a:lnTo>
                  <a:pt x="266" y="208"/>
                </a:lnTo>
                <a:lnTo>
                  <a:pt x="262" y="208"/>
                </a:lnTo>
                <a:lnTo>
                  <a:pt x="258" y="208"/>
                </a:lnTo>
                <a:lnTo>
                  <a:pt x="262" y="208"/>
                </a:lnTo>
                <a:lnTo>
                  <a:pt x="262" y="208"/>
                </a:lnTo>
                <a:lnTo>
                  <a:pt x="262" y="208"/>
                </a:lnTo>
                <a:close/>
                <a:moveTo>
                  <a:pt x="534" y="208"/>
                </a:moveTo>
                <a:lnTo>
                  <a:pt x="530" y="212"/>
                </a:lnTo>
                <a:lnTo>
                  <a:pt x="526" y="212"/>
                </a:lnTo>
                <a:lnTo>
                  <a:pt x="526" y="208"/>
                </a:lnTo>
                <a:lnTo>
                  <a:pt x="530" y="208"/>
                </a:lnTo>
                <a:lnTo>
                  <a:pt x="534" y="208"/>
                </a:lnTo>
                <a:lnTo>
                  <a:pt x="534" y="208"/>
                </a:lnTo>
                <a:lnTo>
                  <a:pt x="534" y="208"/>
                </a:lnTo>
                <a:close/>
                <a:moveTo>
                  <a:pt x="574" y="220"/>
                </a:moveTo>
                <a:lnTo>
                  <a:pt x="574" y="216"/>
                </a:lnTo>
                <a:lnTo>
                  <a:pt x="570" y="220"/>
                </a:lnTo>
                <a:lnTo>
                  <a:pt x="566" y="220"/>
                </a:lnTo>
                <a:lnTo>
                  <a:pt x="566" y="216"/>
                </a:lnTo>
                <a:lnTo>
                  <a:pt x="570" y="216"/>
                </a:lnTo>
                <a:lnTo>
                  <a:pt x="574" y="216"/>
                </a:lnTo>
                <a:lnTo>
                  <a:pt x="578" y="216"/>
                </a:lnTo>
                <a:lnTo>
                  <a:pt x="578" y="220"/>
                </a:lnTo>
                <a:lnTo>
                  <a:pt x="574" y="220"/>
                </a:lnTo>
                <a:lnTo>
                  <a:pt x="574" y="220"/>
                </a:lnTo>
                <a:lnTo>
                  <a:pt x="574" y="220"/>
                </a:lnTo>
                <a:close/>
                <a:moveTo>
                  <a:pt x="862" y="298"/>
                </a:moveTo>
                <a:lnTo>
                  <a:pt x="864" y="302"/>
                </a:lnTo>
                <a:lnTo>
                  <a:pt x="862" y="302"/>
                </a:lnTo>
                <a:lnTo>
                  <a:pt x="862" y="298"/>
                </a:lnTo>
                <a:lnTo>
                  <a:pt x="862" y="298"/>
                </a:lnTo>
                <a:lnTo>
                  <a:pt x="862" y="298"/>
                </a:lnTo>
                <a:close/>
                <a:moveTo>
                  <a:pt x="868" y="302"/>
                </a:moveTo>
                <a:lnTo>
                  <a:pt x="872" y="302"/>
                </a:lnTo>
                <a:lnTo>
                  <a:pt x="872" y="306"/>
                </a:lnTo>
                <a:lnTo>
                  <a:pt x="868" y="306"/>
                </a:lnTo>
                <a:lnTo>
                  <a:pt x="868" y="302"/>
                </a:lnTo>
                <a:lnTo>
                  <a:pt x="868" y="302"/>
                </a:lnTo>
                <a:lnTo>
                  <a:pt x="868" y="302"/>
                </a:lnTo>
                <a:close/>
                <a:moveTo>
                  <a:pt x="876" y="302"/>
                </a:moveTo>
                <a:lnTo>
                  <a:pt x="880" y="302"/>
                </a:lnTo>
                <a:lnTo>
                  <a:pt x="880" y="306"/>
                </a:lnTo>
                <a:lnTo>
                  <a:pt x="876" y="306"/>
                </a:lnTo>
                <a:lnTo>
                  <a:pt x="876" y="302"/>
                </a:lnTo>
                <a:lnTo>
                  <a:pt x="876" y="302"/>
                </a:lnTo>
                <a:lnTo>
                  <a:pt x="876" y="302"/>
                </a:lnTo>
                <a:close/>
                <a:moveTo>
                  <a:pt x="776" y="306"/>
                </a:moveTo>
                <a:lnTo>
                  <a:pt x="778" y="306"/>
                </a:lnTo>
                <a:lnTo>
                  <a:pt x="778" y="310"/>
                </a:lnTo>
                <a:lnTo>
                  <a:pt x="778" y="306"/>
                </a:lnTo>
                <a:lnTo>
                  <a:pt x="776" y="306"/>
                </a:lnTo>
                <a:lnTo>
                  <a:pt x="776" y="306"/>
                </a:lnTo>
                <a:lnTo>
                  <a:pt x="776" y="306"/>
                </a:lnTo>
                <a:close/>
                <a:moveTo>
                  <a:pt x="646" y="318"/>
                </a:moveTo>
                <a:lnTo>
                  <a:pt x="646" y="322"/>
                </a:lnTo>
                <a:lnTo>
                  <a:pt x="646" y="318"/>
                </a:lnTo>
                <a:lnTo>
                  <a:pt x="646" y="318"/>
                </a:lnTo>
                <a:lnTo>
                  <a:pt x="646" y="318"/>
                </a:lnTo>
                <a:close/>
                <a:moveTo>
                  <a:pt x="626" y="332"/>
                </a:moveTo>
                <a:lnTo>
                  <a:pt x="630" y="332"/>
                </a:lnTo>
                <a:lnTo>
                  <a:pt x="630" y="336"/>
                </a:lnTo>
                <a:lnTo>
                  <a:pt x="626" y="336"/>
                </a:lnTo>
                <a:lnTo>
                  <a:pt x="626" y="332"/>
                </a:lnTo>
                <a:lnTo>
                  <a:pt x="626" y="332"/>
                </a:lnTo>
                <a:lnTo>
                  <a:pt x="626" y="332"/>
                </a:lnTo>
                <a:close/>
                <a:moveTo>
                  <a:pt x="336" y="350"/>
                </a:moveTo>
                <a:lnTo>
                  <a:pt x="340" y="350"/>
                </a:lnTo>
                <a:lnTo>
                  <a:pt x="336" y="350"/>
                </a:lnTo>
                <a:lnTo>
                  <a:pt x="336" y="350"/>
                </a:lnTo>
                <a:lnTo>
                  <a:pt x="336" y="350"/>
                </a:lnTo>
                <a:close/>
                <a:moveTo>
                  <a:pt x="352" y="350"/>
                </a:moveTo>
                <a:lnTo>
                  <a:pt x="348" y="350"/>
                </a:lnTo>
                <a:lnTo>
                  <a:pt x="352" y="350"/>
                </a:lnTo>
                <a:lnTo>
                  <a:pt x="352" y="350"/>
                </a:lnTo>
                <a:lnTo>
                  <a:pt x="352" y="350"/>
                </a:lnTo>
                <a:close/>
                <a:moveTo>
                  <a:pt x="620" y="366"/>
                </a:moveTo>
                <a:lnTo>
                  <a:pt x="620" y="370"/>
                </a:lnTo>
                <a:lnTo>
                  <a:pt x="616" y="370"/>
                </a:lnTo>
                <a:lnTo>
                  <a:pt x="616" y="366"/>
                </a:lnTo>
                <a:lnTo>
                  <a:pt x="620" y="366"/>
                </a:lnTo>
                <a:lnTo>
                  <a:pt x="620" y="366"/>
                </a:lnTo>
                <a:lnTo>
                  <a:pt x="620" y="366"/>
                </a:lnTo>
                <a:close/>
                <a:moveTo>
                  <a:pt x="702" y="374"/>
                </a:moveTo>
                <a:lnTo>
                  <a:pt x="698" y="370"/>
                </a:lnTo>
                <a:lnTo>
                  <a:pt x="702" y="370"/>
                </a:lnTo>
                <a:lnTo>
                  <a:pt x="702" y="374"/>
                </a:lnTo>
                <a:lnTo>
                  <a:pt x="702" y="374"/>
                </a:lnTo>
                <a:lnTo>
                  <a:pt x="702" y="374"/>
                </a:lnTo>
                <a:close/>
                <a:moveTo>
                  <a:pt x="634" y="378"/>
                </a:moveTo>
                <a:lnTo>
                  <a:pt x="634" y="380"/>
                </a:lnTo>
                <a:lnTo>
                  <a:pt x="630" y="380"/>
                </a:lnTo>
                <a:lnTo>
                  <a:pt x="626" y="378"/>
                </a:lnTo>
                <a:lnTo>
                  <a:pt x="630" y="378"/>
                </a:lnTo>
                <a:lnTo>
                  <a:pt x="634" y="378"/>
                </a:lnTo>
                <a:lnTo>
                  <a:pt x="634" y="378"/>
                </a:lnTo>
                <a:lnTo>
                  <a:pt x="634" y="378"/>
                </a:lnTo>
                <a:close/>
                <a:moveTo>
                  <a:pt x="720" y="380"/>
                </a:moveTo>
                <a:lnTo>
                  <a:pt x="716" y="384"/>
                </a:lnTo>
                <a:lnTo>
                  <a:pt x="716" y="380"/>
                </a:lnTo>
                <a:lnTo>
                  <a:pt x="720" y="380"/>
                </a:lnTo>
                <a:lnTo>
                  <a:pt x="720" y="380"/>
                </a:lnTo>
                <a:lnTo>
                  <a:pt x="720" y="380"/>
                </a:lnTo>
                <a:close/>
                <a:moveTo>
                  <a:pt x="82" y="384"/>
                </a:moveTo>
                <a:lnTo>
                  <a:pt x="80" y="384"/>
                </a:lnTo>
                <a:lnTo>
                  <a:pt x="80" y="380"/>
                </a:lnTo>
                <a:lnTo>
                  <a:pt x="82" y="380"/>
                </a:lnTo>
                <a:lnTo>
                  <a:pt x="82" y="384"/>
                </a:lnTo>
                <a:lnTo>
                  <a:pt x="82" y="384"/>
                </a:lnTo>
                <a:lnTo>
                  <a:pt x="82" y="384"/>
                </a:lnTo>
                <a:close/>
                <a:moveTo>
                  <a:pt x="712" y="384"/>
                </a:moveTo>
                <a:lnTo>
                  <a:pt x="712" y="380"/>
                </a:lnTo>
                <a:lnTo>
                  <a:pt x="716" y="384"/>
                </a:lnTo>
                <a:lnTo>
                  <a:pt x="712" y="384"/>
                </a:lnTo>
                <a:lnTo>
                  <a:pt x="712" y="384"/>
                </a:lnTo>
                <a:lnTo>
                  <a:pt x="712" y="384"/>
                </a:lnTo>
                <a:close/>
                <a:moveTo>
                  <a:pt x="578" y="388"/>
                </a:moveTo>
                <a:lnTo>
                  <a:pt x="582" y="392"/>
                </a:lnTo>
                <a:lnTo>
                  <a:pt x="578" y="392"/>
                </a:lnTo>
                <a:lnTo>
                  <a:pt x="578" y="388"/>
                </a:lnTo>
                <a:lnTo>
                  <a:pt x="578" y="388"/>
                </a:lnTo>
                <a:lnTo>
                  <a:pt x="578" y="388"/>
                </a:lnTo>
                <a:close/>
                <a:moveTo>
                  <a:pt x="574" y="392"/>
                </a:moveTo>
                <a:lnTo>
                  <a:pt x="578" y="392"/>
                </a:lnTo>
                <a:lnTo>
                  <a:pt x="578" y="396"/>
                </a:lnTo>
                <a:lnTo>
                  <a:pt x="574" y="396"/>
                </a:lnTo>
                <a:lnTo>
                  <a:pt x="574" y="400"/>
                </a:lnTo>
                <a:lnTo>
                  <a:pt x="570" y="396"/>
                </a:lnTo>
                <a:lnTo>
                  <a:pt x="570" y="392"/>
                </a:lnTo>
                <a:lnTo>
                  <a:pt x="570" y="388"/>
                </a:lnTo>
                <a:lnTo>
                  <a:pt x="574" y="388"/>
                </a:lnTo>
                <a:lnTo>
                  <a:pt x="574" y="392"/>
                </a:lnTo>
                <a:lnTo>
                  <a:pt x="574" y="392"/>
                </a:lnTo>
                <a:lnTo>
                  <a:pt x="574" y="392"/>
                </a:lnTo>
                <a:close/>
                <a:moveTo>
                  <a:pt x="724" y="392"/>
                </a:moveTo>
                <a:lnTo>
                  <a:pt x="720" y="392"/>
                </a:lnTo>
                <a:lnTo>
                  <a:pt x="724" y="392"/>
                </a:lnTo>
                <a:lnTo>
                  <a:pt x="724" y="392"/>
                </a:lnTo>
                <a:lnTo>
                  <a:pt x="724" y="392"/>
                </a:lnTo>
                <a:close/>
                <a:moveTo>
                  <a:pt x="724" y="400"/>
                </a:moveTo>
                <a:lnTo>
                  <a:pt x="720" y="400"/>
                </a:lnTo>
                <a:lnTo>
                  <a:pt x="720" y="396"/>
                </a:lnTo>
                <a:lnTo>
                  <a:pt x="724" y="396"/>
                </a:lnTo>
                <a:lnTo>
                  <a:pt x="724" y="400"/>
                </a:lnTo>
                <a:lnTo>
                  <a:pt x="724" y="400"/>
                </a:lnTo>
                <a:lnTo>
                  <a:pt x="724" y="400"/>
                </a:lnTo>
                <a:close/>
                <a:moveTo>
                  <a:pt x="1026" y="396"/>
                </a:moveTo>
                <a:lnTo>
                  <a:pt x="1030" y="396"/>
                </a:lnTo>
                <a:lnTo>
                  <a:pt x="1032" y="396"/>
                </a:lnTo>
                <a:lnTo>
                  <a:pt x="1036" y="400"/>
                </a:lnTo>
                <a:lnTo>
                  <a:pt x="1032" y="400"/>
                </a:lnTo>
                <a:lnTo>
                  <a:pt x="1032" y="396"/>
                </a:lnTo>
                <a:lnTo>
                  <a:pt x="1030" y="396"/>
                </a:lnTo>
                <a:lnTo>
                  <a:pt x="1026" y="396"/>
                </a:lnTo>
                <a:lnTo>
                  <a:pt x="1026" y="396"/>
                </a:lnTo>
                <a:lnTo>
                  <a:pt x="1026" y="396"/>
                </a:lnTo>
                <a:close/>
                <a:moveTo>
                  <a:pt x="428" y="404"/>
                </a:moveTo>
                <a:lnTo>
                  <a:pt x="424" y="404"/>
                </a:lnTo>
                <a:lnTo>
                  <a:pt x="422" y="404"/>
                </a:lnTo>
                <a:lnTo>
                  <a:pt x="424" y="404"/>
                </a:lnTo>
                <a:lnTo>
                  <a:pt x="428" y="404"/>
                </a:lnTo>
                <a:lnTo>
                  <a:pt x="428" y="404"/>
                </a:lnTo>
                <a:lnTo>
                  <a:pt x="428" y="404"/>
                </a:lnTo>
                <a:close/>
                <a:moveTo>
                  <a:pt x="834" y="408"/>
                </a:moveTo>
                <a:lnTo>
                  <a:pt x="832" y="408"/>
                </a:lnTo>
                <a:lnTo>
                  <a:pt x="834" y="408"/>
                </a:lnTo>
                <a:lnTo>
                  <a:pt x="834" y="408"/>
                </a:lnTo>
                <a:lnTo>
                  <a:pt x="834" y="408"/>
                </a:lnTo>
                <a:close/>
                <a:moveTo>
                  <a:pt x="418" y="408"/>
                </a:moveTo>
                <a:lnTo>
                  <a:pt x="418" y="410"/>
                </a:lnTo>
                <a:lnTo>
                  <a:pt x="414" y="410"/>
                </a:lnTo>
                <a:lnTo>
                  <a:pt x="414" y="408"/>
                </a:lnTo>
                <a:lnTo>
                  <a:pt x="418" y="408"/>
                </a:lnTo>
                <a:lnTo>
                  <a:pt x="418" y="408"/>
                </a:lnTo>
                <a:lnTo>
                  <a:pt x="418" y="408"/>
                </a:lnTo>
                <a:close/>
                <a:moveTo>
                  <a:pt x="444" y="410"/>
                </a:moveTo>
                <a:lnTo>
                  <a:pt x="440" y="410"/>
                </a:lnTo>
                <a:lnTo>
                  <a:pt x="440" y="414"/>
                </a:lnTo>
                <a:lnTo>
                  <a:pt x="440" y="410"/>
                </a:lnTo>
                <a:lnTo>
                  <a:pt x="444" y="410"/>
                </a:lnTo>
                <a:lnTo>
                  <a:pt x="444" y="410"/>
                </a:lnTo>
                <a:lnTo>
                  <a:pt x="444" y="410"/>
                </a:lnTo>
                <a:close/>
                <a:moveTo>
                  <a:pt x="518" y="410"/>
                </a:moveTo>
                <a:lnTo>
                  <a:pt x="518" y="414"/>
                </a:lnTo>
                <a:lnTo>
                  <a:pt x="514" y="414"/>
                </a:lnTo>
                <a:lnTo>
                  <a:pt x="514" y="410"/>
                </a:lnTo>
                <a:lnTo>
                  <a:pt x="518" y="410"/>
                </a:lnTo>
                <a:lnTo>
                  <a:pt x="518" y="410"/>
                </a:lnTo>
                <a:lnTo>
                  <a:pt x="518" y="410"/>
                </a:lnTo>
                <a:close/>
                <a:moveTo>
                  <a:pt x="440" y="414"/>
                </a:moveTo>
                <a:lnTo>
                  <a:pt x="436" y="414"/>
                </a:lnTo>
                <a:lnTo>
                  <a:pt x="440" y="414"/>
                </a:lnTo>
                <a:lnTo>
                  <a:pt x="440" y="414"/>
                </a:lnTo>
                <a:lnTo>
                  <a:pt x="440" y="414"/>
                </a:lnTo>
                <a:close/>
                <a:moveTo>
                  <a:pt x="448" y="414"/>
                </a:moveTo>
                <a:lnTo>
                  <a:pt x="448" y="418"/>
                </a:lnTo>
                <a:lnTo>
                  <a:pt x="448" y="414"/>
                </a:lnTo>
                <a:lnTo>
                  <a:pt x="444" y="414"/>
                </a:lnTo>
                <a:lnTo>
                  <a:pt x="448" y="414"/>
                </a:lnTo>
                <a:lnTo>
                  <a:pt x="448" y="414"/>
                </a:lnTo>
                <a:lnTo>
                  <a:pt x="448" y="414"/>
                </a:lnTo>
                <a:close/>
                <a:moveTo>
                  <a:pt x="462" y="418"/>
                </a:moveTo>
                <a:lnTo>
                  <a:pt x="458" y="418"/>
                </a:lnTo>
                <a:lnTo>
                  <a:pt x="462" y="418"/>
                </a:lnTo>
                <a:lnTo>
                  <a:pt x="462" y="418"/>
                </a:lnTo>
                <a:lnTo>
                  <a:pt x="462" y="418"/>
                </a:lnTo>
                <a:close/>
                <a:moveTo>
                  <a:pt x="620" y="422"/>
                </a:moveTo>
                <a:lnTo>
                  <a:pt x="620" y="426"/>
                </a:lnTo>
                <a:lnTo>
                  <a:pt x="616" y="426"/>
                </a:lnTo>
                <a:lnTo>
                  <a:pt x="616" y="422"/>
                </a:lnTo>
                <a:lnTo>
                  <a:pt x="620" y="422"/>
                </a:lnTo>
                <a:lnTo>
                  <a:pt x="620" y="422"/>
                </a:lnTo>
                <a:lnTo>
                  <a:pt x="620" y="422"/>
                </a:lnTo>
                <a:close/>
                <a:moveTo>
                  <a:pt x="466" y="430"/>
                </a:moveTo>
                <a:lnTo>
                  <a:pt x="466" y="426"/>
                </a:lnTo>
                <a:lnTo>
                  <a:pt x="466" y="430"/>
                </a:lnTo>
                <a:lnTo>
                  <a:pt x="466" y="430"/>
                </a:lnTo>
                <a:lnTo>
                  <a:pt x="466" y="430"/>
                </a:lnTo>
                <a:close/>
                <a:moveTo>
                  <a:pt x="466" y="430"/>
                </a:moveTo>
                <a:lnTo>
                  <a:pt x="462" y="430"/>
                </a:lnTo>
                <a:lnTo>
                  <a:pt x="462" y="426"/>
                </a:lnTo>
                <a:lnTo>
                  <a:pt x="466" y="426"/>
                </a:lnTo>
                <a:lnTo>
                  <a:pt x="466" y="430"/>
                </a:lnTo>
                <a:lnTo>
                  <a:pt x="466" y="430"/>
                </a:lnTo>
                <a:lnTo>
                  <a:pt x="466" y="430"/>
                </a:lnTo>
                <a:close/>
                <a:moveTo>
                  <a:pt x="1096" y="434"/>
                </a:moveTo>
                <a:lnTo>
                  <a:pt x="1092" y="434"/>
                </a:lnTo>
                <a:lnTo>
                  <a:pt x="1096" y="434"/>
                </a:lnTo>
                <a:lnTo>
                  <a:pt x="1100" y="434"/>
                </a:lnTo>
                <a:lnTo>
                  <a:pt x="1096" y="434"/>
                </a:lnTo>
                <a:lnTo>
                  <a:pt x="1096" y="434"/>
                </a:lnTo>
                <a:lnTo>
                  <a:pt x="1096" y="434"/>
                </a:lnTo>
                <a:close/>
                <a:moveTo>
                  <a:pt x="646" y="434"/>
                </a:moveTo>
                <a:lnTo>
                  <a:pt x="646" y="436"/>
                </a:lnTo>
                <a:lnTo>
                  <a:pt x="642" y="436"/>
                </a:lnTo>
                <a:lnTo>
                  <a:pt x="642" y="434"/>
                </a:lnTo>
                <a:lnTo>
                  <a:pt x="646" y="434"/>
                </a:lnTo>
                <a:lnTo>
                  <a:pt x="646" y="434"/>
                </a:lnTo>
                <a:lnTo>
                  <a:pt x="646" y="434"/>
                </a:lnTo>
                <a:close/>
                <a:moveTo>
                  <a:pt x="474" y="436"/>
                </a:moveTo>
                <a:lnTo>
                  <a:pt x="474" y="440"/>
                </a:lnTo>
                <a:lnTo>
                  <a:pt x="474" y="436"/>
                </a:lnTo>
                <a:lnTo>
                  <a:pt x="474" y="436"/>
                </a:lnTo>
                <a:lnTo>
                  <a:pt x="474" y="436"/>
                </a:lnTo>
                <a:close/>
                <a:moveTo>
                  <a:pt x="1104" y="440"/>
                </a:moveTo>
                <a:lnTo>
                  <a:pt x="1100" y="440"/>
                </a:lnTo>
                <a:lnTo>
                  <a:pt x="1104" y="440"/>
                </a:lnTo>
                <a:lnTo>
                  <a:pt x="1104" y="440"/>
                </a:lnTo>
                <a:lnTo>
                  <a:pt x="1104" y="440"/>
                </a:lnTo>
                <a:close/>
                <a:moveTo>
                  <a:pt x="470" y="440"/>
                </a:moveTo>
                <a:lnTo>
                  <a:pt x="470" y="444"/>
                </a:lnTo>
                <a:lnTo>
                  <a:pt x="466" y="444"/>
                </a:lnTo>
                <a:lnTo>
                  <a:pt x="470" y="440"/>
                </a:lnTo>
                <a:lnTo>
                  <a:pt x="470" y="440"/>
                </a:lnTo>
                <a:lnTo>
                  <a:pt x="470" y="440"/>
                </a:lnTo>
                <a:close/>
                <a:moveTo>
                  <a:pt x="1114" y="460"/>
                </a:moveTo>
                <a:lnTo>
                  <a:pt x="1110" y="460"/>
                </a:lnTo>
                <a:lnTo>
                  <a:pt x="1114" y="460"/>
                </a:lnTo>
                <a:lnTo>
                  <a:pt x="1114" y="460"/>
                </a:lnTo>
                <a:lnTo>
                  <a:pt x="1114" y="460"/>
                </a:lnTo>
                <a:close/>
                <a:moveTo>
                  <a:pt x="954" y="500"/>
                </a:moveTo>
                <a:lnTo>
                  <a:pt x="954" y="504"/>
                </a:lnTo>
                <a:lnTo>
                  <a:pt x="954" y="508"/>
                </a:lnTo>
                <a:lnTo>
                  <a:pt x="954" y="504"/>
                </a:lnTo>
                <a:lnTo>
                  <a:pt x="950" y="504"/>
                </a:lnTo>
                <a:lnTo>
                  <a:pt x="954" y="500"/>
                </a:lnTo>
                <a:lnTo>
                  <a:pt x="950" y="500"/>
                </a:lnTo>
                <a:lnTo>
                  <a:pt x="954" y="500"/>
                </a:lnTo>
                <a:lnTo>
                  <a:pt x="954" y="500"/>
                </a:lnTo>
                <a:lnTo>
                  <a:pt x="954" y="500"/>
                </a:lnTo>
                <a:close/>
                <a:moveTo>
                  <a:pt x="944" y="500"/>
                </a:moveTo>
                <a:lnTo>
                  <a:pt x="944" y="504"/>
                </a:lnTo>
                <a:lnTo>
                  <a:pt x="948" y="504"/>
                </a:lnTo>
                <a:lnTo>
                  <a:pt x="944" y="504"/>
                </a:lnTo>
                <a:lnTo>
                  <a:pt x="944" y="500"/>
                </a:lnTo>
                <a:lnTo>
                  <a:pt x="944" y="500"/>
                </a:lnTo>
                <a:lnTo>
                  <a:pt x="944" y="500"/>
                </a:lnTo>
                <a:close/>
                <a:moveTo>
                  <a:pt x="1076" y="504"/>
                </a:moveTo>
                <a:lnTo>
                  <a:pt x="1076" y="508"/>
                </a:lnTo>
                <a:lnTo>
                  <a:pt x="1076" y="504"/>
                </a:lnTo>
                <a:lnTo>
                  <a:pt x="1074" y="504"/>
                </a:lnTo>
                <a:lnTo>
                  <a:pt x="1076" y="504"/>
                </a:lnTo>
                <a:lnTo>
                  <a:pt x="1076" y="504"/>
                </a:lnTo>
                <a:lnTo>
                  <a:pt x="1076" y="504"/>
                </a:lnTo>
                <a:close/>
                <a:moveTo>
                  <a:pt x="950" y="504"/>
                </a:moveTo>
                <a:lnTo>
                  <a:pt x="950" y="508"/>
                </a:lnTo>
                <a:lnTo>
                  <a:pt x="950" y="504"/>
                </a:lnTo>
                <a:lnTo>
                  <a:pt x="950" y="504"/>
                </a:lnTo>
                <a:lnTo>
                  <a:pt x="950" y="504"/>
                </a:lnTo>
                <a:close/>
                <a:moveTo>
                  <a:pt x="1074" y="504"/>
                </a:moveTo>
                <a:lnTo>
                  <a:pt x="1076" y="508"/>
                </a:lnTo>
                <a:lnTo>
                  <a:pt x="1074" y="508"/>
                </a:lnTo>
                <a:lnTo>
                  <a:pt x="1074" y="504"/>
                </a:lnTo>
                <a:lnTo>
                  <a:pt x="1074" y="504"/>
                </a:lnTo>
                <a:lnTo>
                  <a:pt x="1074" y="504"/>
                </a:lnTo>
                <a:close/>
                <a:moveTo>
                  <a:pt x="1080" y="516"/>
                </a:moveTo>
                <a:lnTo>
                  <a:pt x="1080" y="520"/>
                </a:lnTo>
                <a:lnTo>
                  <a:pt x="1084" y="520"/>
                </a:lnTo>
                <a:lnTo>
                  <a:pt x="1084" y="522"/>
                </a:lnTo>
                <a:lnTo>
                  <a:pt x="1080" y="522"/>
                </a:lnTo>
                <a:lnTo>
                  <a:pt x="1080" y="520"/>
                </a:lnTo>
                <a:lnTo>
                  <a:pt x="1076" y="520"/>
                </a:lnTo>
                <a:lnTo>
                  <a:pt x="1076" y="516"/>
                </a:lnTo>
                <a:lnTo>
                  <a:pt x="1080" y="516"/>
                </a:lnTo>
                <a:lnTo>
                  <a:pt x="1080" y="516"/>
                </a:lnTo>
                <a:lnTo>
                  <a:pt x="1080" y="516"/>
                </a:lnTo>
                <a:close/>
                <a:moveTo>
                  <a:pt x="1084" y="516"/>
                </a:moveTo>
                <a:lnTo>
                  <a:pt x="1084" y="520"/>
                </a:lnTo>
                <a:lnTo>
                  <a:pt x="1084" y="516"/>
                </a:lnTo>
                <a:lnTo>
                  <a:pt x="1084" y="516"/>
                </a:lnTo>
                <a:lnTo>
                  <a:pt x="1084" y="516"/>
                </a:lnTo>
                <a:close/>
                <a:moveTo>
                  <a:pt x="1088" y="520"/>
                </a:moveTo>
                <a:lnTo>
                  <a:pt x="1088" y="522"/>
                </a:lnTo>
                <a:lnTo>
                  <a:pt x="1084" y="522"/>
                </a:lnTo>
                <a:lnTo>
                  <a:pt x="1084" y="520"/>
                </a:lnTo>
                <a:lnTo>
                  <a:pt x="1088" y="520"/>
                </a:lnTo>
                <a:lnTo>
                  <a:pt x="1088" y="520"/>
                </a:lnTo>
                <a:lnTo>
                  <a:pt x="1088" y="520"/>
                </a:lnTo>
                <a:close/>
                <a:moveTo>
                  <a:pt x="1084" y="522"/>
                </a:moveTo>
                <a:lnTo>
                  <a:pt x="1088" y="522"/>
                </a:lnTo>
                <a:lnTo>
                  <a:pt x="1088" y="526"/>
                </a:lnTo>
                <a:lnTo>
                  <a:pt x="1084" y="526"/>
                </a:lnTo>
                <a:lnTo>
                  <a:pt x="1084" y="522"/>
                </a:lnTo>
                <a:lnTo>
                  <a:pt x="1084" y="522"/>
                </a:lnTo>
                <a:lnTo>
                  <a:pt x="1084" y="522"/>
                </a:lnTo>
                <a:close/>
                <a:moveTo>
                  <a:pt x="712" y="522"/>
                </a:moveTo>
                <a:lnTo>
                  <a:pt x="712" y="526"/>
                </a:lnTo>
                <a:lnTo>
                  <a:pt x="708" y="526"/>
                </a:lnTo>
                <a:lnTo>
                  <a:pt x="708" y="522"/>
                </a:lnTo>
                <a:lnTo>
                  <a:pt x="712" y="522"/>
                </a:lnTo>
                <a:lnTo>
                  <a:pt x="712" y="522"/>
                </a:lnTo>
                <a:lnTo>
                  <a:pt x="712" y="522"/>
                </a:lnTo>
                <a:close/>
                <a:moveTo>
                  <a:pt x="890" y="546"/>
                </a:moveTo>
                <a:lnTo>
                  <a:pt x="894" y="546"/>
                </a:lnTo>
                <a:lnTo>
                  <a:pt x="894" y="550"/>
                </a:lnTo>
                <a:lnTo>
                  <a:pt x="890" y="550"/>
                </a:lnTo>
                <a:lnTo>
                  <a:pt x="890" y="546"/>
                </a:lnTo>
                <a:lnTo>
                  <a:pt x="890" y="546"/>
                </a:lnTo>
                <a:lnTo>
                  <a:pt x="890" y="546"/>
                </a:lnTo>
                <a:close/>
                <a:moveTo>
                  <a:pt x="690" y="552"/>
                </a:moveTo>
                <a:lnTo>
                  <a:pt x="686" y="552"/>
                </a:lnTo>
                <a:lnTo>
                  <a:pt x="690" y="552"/>
                </a:lnTo>
                <a:lnTo>
                  <a:pt x="690" y="552"/>
                </a:lnTo>
                <a:lnTo>
                  <a:pt x="690" y="552"/>
                </a:lnTo>
                <a:close/>
                <a:moveTo>
                  <a:pt x="1066" y="564"/>
                </a:moveTo>
                <a:lnTo>
                  <a:pt x="1066" y="566"/>
                </a:lnTo>
                <a:lnTo>
                  <a:pt x="1062" y="566"/>
                </a:lnTo>
                <a:lnTo>
                  <a:pt x="1062" y="564"/>
                </a:lnTo>
                <a:lnTo>
                  <a:pt x="1066" y="564"/>
                </a:lnTo>
                <a:lnTo>
                  <a:pt x="1066" y="564"/>
                </a:lnTo>
                <a:lnTo>
                  <a:pt x="1066" y="564"/>
                </a:lnTo>
                <a:close/>
                <a:moveTo>
                  <a:pt x="1088" y="608"/>
                </a:moveTo>
                <a:lnTo>
                  <a:pt x="1088" y="612"/>
                </a:lnTo>
                <a:lnTo>
                  <a:pt x="1084" y="612"/>
                </a:lnTo>
                <a:lnTo>
                  <a:pt x="1088" y="608"/>
                </a:lnTo>
                <a:lnTo>
                  <a:pt x="1088" y="608"/>
                </a:lnTo>
                <a:lnTo>
                  <a:pt x="1088" y="608"/>
                </a:lnTo>
                <a:close/>
                <a:moveTo>
                  <a:pt x="1118" y="664"/>
                </a:moveTo>
                <a:lnTo>
                  <a:pt x="1118" y="660"/>
                </a:lnTo>
                <a:lnTo>
                  <a:pt x="1122" y="660"/>
                </a:lnTo>
                <a:lnTo>
                  <a:pt x="1118" y="664"/>
                </a:lnTo>
                <a:lnTo>
                  <a:pt x="1118" y="664"/>
                </a:lnTo>
                <a:lnTo>
                  <a:pt x="1118" y="664"/>
                </a:lnTo>
                <a:close/>
                <a:moveTo>
                  <a:pt x="1122" y="660"/>
                </a:moveTo>
                <a:lnTo>
                  <a:pt x="1122" y="664"/>
                </a:lnTo>
                <a:lnTo>
                  <a:pt x="1118" y="664"/>
                </a:lnTo>
                <a:lnTo>
                  <a:pt x="1122" y="664"/>
                </a:lnTo>
                <a:lnTo>
                  <a:pt x="1122" y="660"/>
                </a:lnTo>
                <a:lnTo>
                  <a:pt x="1122" y="660"/>
                </a:lnTo>
                <a:lnTo>
                  <a:pt x="1122" y="660"/>
                </a:lnTo>
                <a:close/>
                <a:moveTo>
                  <a:pt x="864" y="676"/>
                </a:moveTo>
                <a:lnTo>
                  <a:pt x="864" y="680"/>
                </a:lnTo>
                <a:lnTo>
                  <a:pt x="864" y="676"/>
                </a:lnTo>
                <a:lnTo>
                  <a:pt x="864" y="676"/>
                </a:lnTo>
                <a:lnTo>
                  <a:pt x="864" y="676"/>
                </a:lnTo>
                <a:close/>
                <a:moveTo>
                  <a:pt x="1132" y="698"/>
                </a:moveTo>
                <a:lnTo>
                  <a:pt x="1136" y="698"/>
                </a:lnTo>
                <a:lnTo>
                  <a:pt x="1132" y="698"/>
                </a:lnTo>
                <a:lnTo>
                  <a:pt x="1132" y="698"/>
                </a:lnTo>
                <a:lnTo>
                  <a:pt x="1132" y="698"/>
                </a:lnTo>
                <a:close/>
                <a:moveTo>
                  <a:pt x="1174" y="720"/>
                </a:moveTo>
                <a:lnTo>
                  <a:pt x="1174" y="724"/>
                </a:lnTo>
                <a:lnTo>
                  <a:pt x="1170" y="724"/>
                </a:lnTo>
                <a:lnTo>
                  <a:pt x="1170" y="720"/>
                </a:lnTo>
                <a:lnTo>
                  <a:pt x="1174" y="720"/>
                </a:lnTo>
                <a:lnTo>
                  <a:pt x="1174" y="720"/>
                </a:lnTo>
                <a:lnTo>
                  <a:pt x="1174" y="720"/>
                </a:lnTo>
                <a:close/>
                <a:moveTo>
                  <a:pt x="150" y="720"/>
                </a:moveTo>
                <a:lnTo>
                  <a:pt x="150" y="724"/>
                </a:lnTo>
                <a:lnTo>
                  <a:pt x="146" y="724"/>
                </a:lnTo>
                <a:lnTo>
                  <a:pt x="150" y="720"/>
                </a:lnTo>
                <a:lnTo>
                  <a:pt x="150" y="720"/>
                </a:lnTo>
                <a:lnTo>
                  <a:pt x="150" y="720"/>
                </a:lnTo>
                <a:close/>
                <a:moveTo>
                  <a:pt x="1204" y="750"/>
                </a:moveTo>
                <a:lnTo>
                  <a:pt x="1208" y="750"/>
                </a:lnTo>
                <a:lnTo>
                  <a:pt x="1204" y="754"/>
                </a:lnTo>
                <a:lnTo>
                  <a:pt x="1204" y="750"/>
                </a:lnTo>
                <a:lnTo>
                  <a:pt x="1204" y="750"/>
                </a:lnTo>
                <a:lnTo>
                  <a:pt x="1204" y="750"/>
                </a:lnTo>
                <a:close/>
                <a:moveTo>
                  <a:pt x="176" y="766"/>
                </a:moveTo>
                <a:lnTo>
                  <a:pt x="180" y="766"/>
                </a:lnTo>
                <a:lnTo>
                  <a:pt x="176" y="768"/>
                </a:lnTo>
                <a:lnTo>
                  <a:pt x="176" y="766"/>
                </a:lnTo>
                <a:lnTo>
                  <a:pt x="176" y="766"/>
                </a:lnTo>
                <a:lnTo>
                  <a:pt x="176" y="766"/>
                </a:lnTo>
                <a:close/>
                <a:moveTo>
                  <a:pt x="182" y="776"/>
                </a:moveTo>
                <a:lnTo>
                  <a:pt x="186" y="776"/>
                </a:lnTo>
                <a:lnTo>
                  <a:pt x="182" y="776"/>
                </a:lnTo>
                <a:lnTo>
                  <a:pt x="182" y="776"/>
                </a:lnTo>
                <a:lnTo>
                  <a:pt x="182" y="776"/>
                </a:lnTo>
                <a:close/>
                <a:moveTo>
                  <a:pt x="180" y="780"/>
                </a:moveTo>
                <a:lnTo>
                  <a:pt x="180" y="776"/>
                </a:lnTo>
                <a:lnTo>
                  <a:pt x="180" y="780"/>
                </a:lnTo>
                <a:lnTo>
                  <a:pt x="180" y="780"/>
                </a:lnTo>
                <a:lnTo>
                  <a:pt x="180" y="780"/>
                </a:lnTo>
                <a:close/>
                <a:moveTo>
                  <a:pt x="182" y="780"/>
                </a:moveTo>
                <a:lnTo>
                  <a:pt x="186" y="780"/>
                </a:lnTo>
                <a:lnTo>
                  <a:pt x="182" y="780"/>
                </a:lnTo>
                <a:lnTo>
                  <a:pt x="182" y="780"/>
                </a:lnTo>
                <a:lnTo>
                  <a:pt x="182" y="780"/>
                </a:lnTo>
                <a:close/>
                <a:moveTo>
                  <a:pt x="202" y="806"/>
                </a:moveTo>
                <a:lnTo>
                  <a:pt x="198" y="806"/>
                </a:lnTo>
                <a:lnTo>
                  <a:pt x="202" y="806"/>
                </a:lnTo>
                <a:lnTo>
                  <a:pt x="206" y="806"/>
                </a:lnTo>
                <a:lnTo>
                  <a:pt x="202" y="806"/>
                </a:lnTo>
                <a:lnTo>
                  <a:pt x="202" y="806"/>
                </a:lnTo>
                <a:lnTo>
                  <a:pt x="202" y="806"/>
                </a:lnTo>
                <a:close/>
                <a:moveTo>
                  <a:pt x="1212" y="806"/>
                </a:moveTo>
                <a:lnTo>
                  <a:pt x="1208" y="810"/>
                </a:lnTo>
                <a:lnTo>
                  <a:pt x="1208" y="806"/>
                </a:lnTo>
                <a:lnTo>
                  <a:pt x="1212" y="806"/>
                </a:lnTo>
                <a:lnTo>
                  <a:pt x="1212" y="806"/>
                </a:lnTo>
                <a:lnTo>
                  <a:pt x="1212" y="806"/>
                </a:lnTo>
                <a:close/>
                <a:moveTo>
                  <a:pt x="198" y="810"/>
                </a:moveTo>
                <a:lnTo>
                  <a:pt x="202" y="810"/>
                </a:lnTo>
                <a:lnTo>
                  <a:pt x="198" y="810"/>
                </a:lnTo>
                <a:lnTo>
                  <a:pt x="198" y="810"/>
                </a:lnTo>
                <a:lnTo>
                  <a:pt x="198" y="810"/>
                </a:lnTo>
                <a:close/>
                <a:moveTo>
                  <a:pt x="210" y="810"/>
                </a:moveTo>
                <a:lnTo>
                  <a:pt x="210" y="814"/>
                </a:lnTo>
                <a:lnTo>
                  <a:pt x="206" y="814"/>
                </a:lnTo>
                <a:lnTo>
                  <a:pt x="202" y="814"/>
                </a:lnTo>
                <a:lnTo>
                  <a:pt x="206" y="814"/>
                </a:lnTo>
                <a:lnTo>
                  <a:pt x="210" y="810"/>
                </a:lnTo>
                <a:lnTo>
                  <a:pt x="210" y="810"/>
                </a:lnTo>
                <a:lnTo>
                  <a:pt x="210" y="810"/>
                </a:lnTo>
                <a:close/>
                <a:moveTo>
                  <a:pt x="220" y="814"/>
                </a:moveTo>
                <a:lnTo>
                  <a:pt x="220" y="818"/>
                </a:lnTo>
                <a:lnTo>
                  <a:pt x="220" y="814"/>
                </a:lnTo>
                <a:lnTo>
                  <a:pt x="220" y="814"/>
                </a:lnTo>
                <a:lnTo>
                  <a:pt x="220" y="814"/>
                </a:lnTo>
                <a:close/>
                <a:moveTo>
                  <a:pt x="224" y="814"/>
                </a:moveTo>
                <a:lnTo>
                  <a:pt x="224" y="818"/>
                </a:lnTo>
                <a:lnTo>
                  <a:pt x="224" y="822"/>
                </a:lnTo>
                <a:lnTo>
                  <a:pt x="224" y="818"/>
                </a:lnTo>
                <a:lnTo>
                  <a:pt x="220" y="818"/>
                </a:lnTo>
                <a:lnTo>
                  <a:pt x="224" y="814"/>
                </a:lnTo>
                <a:lnTo>
                  <a:pt x="224" y="814"/>
                </a:lnTo>
                <a:lnTo>
                  <a:pt x="224" y="814"/>
                </a:lnTo>
                <a:close/>
                <a:moveTo>
                  <a:pt x="232" y="818"/>
                </a:moveTo>
                <a:lnTo>
                  <a:pt x="232" y="822"/>
                </a:lnTo>
                <a:lnTo>
                  <a:pt x="228" y="818"/>
                </a:lnTo>
                <a:lnTo>
                  <a:pt x="232" y="818"/>
                </a:lnTo>
                <a:lnTo>
                  <a:pt x="232" y="818"/>
                </a:lnTo>
                <a:lnTo>
                  <a:pt x="232" y="818"/>
                </a:lnTo>
                <a:close/>
                <a:moveTo>
                  <a:pt x="228" y="818"/>
                </a:moveTo>
                <a:lnTo>
                  <a:pt x="232" y="822"/>
                </a:lnTo>
                <a:lnTo>
                  <a:pt x="228" y="822"/>
                </a:lnTo>
                <a:lnTo>
                  <a:pt x="228" y="818"/>
                </a:lnTo>
                <a:lnTo>
                  <a:pt x="228" y="818"/>
                </a:lnTo>
                <a:lnTo>
                  <a:pt x="228" y="818"/>
                </a:lnTo>
                <a:close/>
                <a:moveTo>
                  <a:pt x="228" y="818"/>
                </a:moveTo>
                <a:lnTo>
                  <a:pt x="228" y="822"/>
                </a:lnTo>
                <a:lnTo>
                  <a:pt x="228" y="824"/>
                </a:lnTo>
                <a:lnTo>
                  <a:pt x="228" y="822"/>
                </a:lnTo>
                <a:lnTo>
                  <a:pt x="224" y="822"/>
                </a:lnTo>
                <a:lnTo>
                  <a:pt x="228" y="822"/>
                </a:lnTo>
                <a:lnTo>
                  <a:pt x="228" y="818"/>
                </a:lnTo>
                <a:lnTo>
                  <a:pt x="228" y="818"/>
                </a:lnTo>
                <a:lnTo>
                  <a:pt x="228" y="818"/>
                </a:lnTo>
                <a:close/>
                <a:moveTo>
                  <a:pt x="238" y="828"/>
                </a:moveTo>
                <a:lnTo>
                  <a:pt x="238" y="832"/>
                </a:lnTo>
                <a:lnTo>
                  <a:pt x="238" y="828"/>
                </a:lnTo>
                <a:lnTo>
                  <a:pt x="238" y="828"/>
                </a:lnTo>
                <a:lnTo>
                  <a:pt x="238" y="828"/>
                </a:lnTo>
                <a:close/>
                <a:moveTo>
                  <a:pt x="1230" y="828"/>
                </a:moveTo>
                <a:lnTo>
                  <a:pt x="1230" y="832"/>
                </a:lnTo>
                <a:lnTo>
                  <a:pt x="1226" y="832"/>
                </a:lnTo>
                <a:lnTo>
                  <a:pt x="1226" y="828"/>
                </a:lnTo>
                <a:lnTo>
                  <a:pt x="1230" y="828"/>
                </a:lnTo>
                <a:lnTo>
                  <a:pt x="1230" y="828"/>
                </a:lnTo>
                <a:lnTo>
                  <a:pt x="1230" y="828"/>
                </a:lnTo>
                <a:close/>
                <a:moveTo>
                  <a:pt x="1222" y="832"/>
                </a:moveTo>
                <a:lnTo>
                  <a:pt x="1218" y="836"/>
                </a:lnTo>
                <a:lnTo>
                  <a:pt x="1218" y="832"/>
                </a:lnTo>
                <a:lnTo>
                  <a:pt x="1222" y="832"/>
                </a:lnTo>
                <a:lnTo>
                  <a:pt x="1222" y="832"/>
                </a:lnTo>
                <a:lnTo>
                  <a:pt x="1222" y="832"/>
                </a:lnTo>
                <a:close/>
                <a:moveTo>
                  <a:pt x="250" y="832"/>
                </a:moveTo>
                <a:lnTo>
                  <a:pt x="250" y="836"/>
                </a:lnTo>
                <a:lnTo>
                  <a:pt x="246" y="836"/>
                </a:lnTo>
                <a:lnTo>
                  <a:pt x="250" y="836"/>
                </a:lnTo>
                <a:lnTo>
                  <a:pt x="250" y="832"/>
                </a:lnTo>
                <a:lnTo>
                  <a:pt x="250" y="832"/>
                </a:lnTo>
                <a:lnTo>
                  <a:pt x="250" y="832"/>
                </a:lnTo>
                <a:close/>
                <a:moveTo>
                  <a:pt x="212" y="840"/>
                </a:moveTo>
                <a:lnTo>
                  <a:pt x="216" y="840"/>
                </a:lnTo>
                <a:lnTo>
                  <a:pt x="216" y="844"/>
                </a:lnTo>
                <a:lnTo>
                  <a:pt x="212" y="844"/>
                </a:lnTo>
                <a:lnTo>
                  <a:pt x="212" y="840"/>
                </a:lnTo>
                <a:lnTo>
                  <a:pt x="212" y="840"/>
                </a:lnTo>
                <a:lnTo>
                  <a:pt x="212" y="840"/>
                </a:lnTo>
                <a:close/>
                <a:moveTo>
                  <a:pt x="1238" y="862"/>
                </a:moveTo>
                <a:lnTo>
                  <a:pt x="1234" y="862"/>
                </a:lnTo>
                <a:lnTo>
                  <a:pt x="1230" y="862"/>
                </a:lnTo>
                <a:lnTo>
                  <a:pt x="1234" y="862"/>
                </a:lnTo>
                <a:lnTo>
                  <a:pt x="1238" y="862"/>
                </a:lnTo>
                <a:lnTo>
                  <a:pt x="1238" y="862"/>
                </a:lnTo>
                <a:lnTo>
                  <a:pt x="1238" y="862"/>
                </a:lnTo>
                <a:close/>
                <a:moveTo>
                  <a:pt x="1204" y="874"/>
                </a:moveTo>
                <a:lnTo>
                  <a:pt x="1200" y="874"/>
                </a:lnTo>
                <a:lnTo>
                  <a:pt x="1204" y="874"/>
                </a:lnTo>
                <a:lnTo>
                  <a:pt x="1204" y="874"/>
                </a:lnTo>
                <a:lnTo>
                  <a:pt x="1204" y="874"/>
                </a:lnTo>
                <a:close/>
                <a:moveTo>
                  <a:pt x="1230" y="874"/>
                </a:moveTo>
                <a:lnTo>
                  <a:pt x="1226" y="874"/>
                </a:lnTo>
                <a:lnTo>
                  <a:pt x="1226" y="878"/>
                </a:lnTo>
                <a:lnTo>
                  <a:pt x="1226" y="874"/>
                </a:lnTo>
                <a:lnTo>
                  <a:pt x="1230" y="874"/>
                </a:lnTo>
                <a:lnTo>
                  <a:pt x="1230" y="874"/>
                </a:lnTo>
                <a:lnTo>
                  <a:pt x="1230" y="874"/>
                </a:lnTo>
                <a:close/>
                <a:moveTo>
                  <a:pt x="738" y="146"/>
                </a:moveTo>
                <a:lnTo>
                  <a:pt x="734" y="146"/>
                </a:lnTo>
                <a:lnTo>
                  <a:pt x="732" y="146"/>
                </a:lnTo>
                <a:lnTo>
                  <a:pt x="732" y="142"/>
                </a:lnTo>
                <a:lnTo>
                  <a:pt x="728" y="138"/>
                </a:lnTo>
                <a:lnTo>
                  <a:pt x="724" y="138"/>
                </a:lnTo>
                <a:lnTo>
                  <a:pt x="724" y="136"/>
                </a:lnTo>
                <a:lnTo>
                  <a:pt x="720" y="136"/>
                </a:lnTo>
                <a:lnTo>
                  <a:pt x="720" y="138"/>
                </a:lnTo>
                <a:lnTo>
                  <a:pt x="724" y="138"/>
                </a:lnTo>
                <a:lnTo>
                  <a:pt x="724" y="142"/>
                </a:lnTo>
                <a:lnTo>
                  <a:pt x="728" y="142"/>
                </a:lnTo>
                <a:lnTo>
                  <a:pt x="732" y="146"/>
                </a:lnTo>
                <a:lnTo>
                  <a:pt x="728" y="146"/>
                </a:lnTo>
                <a:lnTo>
                  <a:pt x="724" y="146"/>
                </a:lnTo>
                <a:lnTo>
                  <a:pt x="724" y="142"/>
                </a:lnTo>
                <a:lnTo>
                  <a:pt x="720" y="142"/>
                </a:lnTo>
                <a:lnTo>
                  <a:pt x="716" y="142"/>
                </a:lnTo>
                <a:lnTo>
                  <a:pt x="712" y="142"/>
                </a:lnTo>
                <a:lnTo>
                  <a:pt x="716" y="142"/>
                </a:lnTo>
                <a:lnTo>
                  <a:pt x="716" y="146"/>
                </a:lnTo>
                <a:lnTo>
                  <a:pt x="712" y="146"/>
                </a:lnTo>
                <a:lnTo>
                  <a:pt x="708" y="146"/>
                </a:lnTo>
                <a:lnTo>
                  <a:pt x="706" y="146"/>
                </a:lnTo>
                <a:lnTo>
                  <a:pt x="702" y="146"/>
                </a:lnTo>
                <a:lnTo>
                  <a:pt x="698" y="146"/>
                </a:lnTo>
                <a:lnTo>
                  <a:pt x="694" y="146"/>
                </a:lnTo>
                <a:lnTo>
                  <a:pt x="690" y="146"/>
                </a:lnTo>
                <a:lnTo>
                  <a:pt x="690" y="142"/>
                </a:lnTo>
                <a:lnTo>
                  <a:pt x="686" y="142"/>
                </a:lnTo>
                <a:lnTo>
                  <a:pt x="678" y="138"/>
                </a:lnTo>
                <a:lnTo>
                  <a:pt x="682" y="138"/>
                </a:lnTo>
                <a:lnTo>
                  <a:pt x="686" y="138"/>
                </a:lnTo>
                <a:lnTo>
                  <a:pt x="686" y="136"/>
                </a:lnTo>
                <a:lnTo>
                  <a:pt x="690" y="136"/>
                </a:lnTo>
                <a:lnTo>
                  <a:pt x="694" y="136"/>
                </a:lnTo>
                <a:lnTo>
                  <a:pt x="698" y="136"/>
                </a:lnTo>
                <a:lnTo>
                  <a:pt x="694" y="136"/>
                </a:lnTo>
                <a:lnTo>
                  <a:pt x="690" y="136"/>
                </a:lnTo>
                <a:lnTo>
                  <a:pt x="686" y="136"/>
                </a:lnTo>
                <a:lnTo>
                  <a:pt x="682" y="136"/>
                </a:lnTo>
                <a:lnTo>
                  <a:pt x="678" y="136"/>
                </a:lnTo>
                <a:lnTo>
                  <a:pt x="676" y="136"/>
                </a:lnTo>
                <a:lnTo>
                  <a:pt x="672" y="136"/>
                </a:lnTo>
                <a:lnTo>
                  <a:pt x="668" y="132"/>
                </a:lnTo>
                <a:lnTo>
                  <a:pt x="668" y="128"/>
                </a:lnTo>
                <a:lnTo>
                  <a:pt x="672" y="128"/>
                </a:lnTo>
                <a:lnTo>
                  <a:pt x="672" y="132"/>
                </a:lnTo>
                <a:lnTo>
                  <a:pt x="676" y="132"/>
                </a:lnTo>
                <a:lnTo>
                  <a:pt x="678" y="132"/>
                </a:lnTo>
                <a:lnTo>
                  <a:pt x="676" y="128"/>
                </a:lnTo>
                <a:lnTo>
                  <a:pt x="672" y="128"/>
                </a:lnTo>
                <a:lnTo>
                  <a:pt x="668" y="128"/>
                </a:lnTo>
                <a:lnTo>
                  <a:pt x="664" y="128"/>
                </a:lnTo>
                <a:lnTo>
                  <a:pt x="664" y="124"/>
                </a:lnTo>
                <a:lnTo>
                  <a:pt x="660" y="124"/>
                </a:lnTo>
                <a:lnTo>
                  <a:pt x="664" y="124"/>
                </a:lnTo>
                <a:lnTo>
                  <a:pt x="668" y="120"/>
                </a:lnTo>
                <a:lnTo>
                  <a:pt x="668" y="124"/>
                </a:lnTo>
                <a:lnTo>
                  <a:pt x="668" y="120"/>
                </a:lnTo>
                <a:lnTo>
                  <a:pt x="672" y="120"/>
                </a:lnTo>
                <a:lnTo>
                  <a:pt x="676" y="120"/>
                </a:lnTo>
                <a:lnTo>
                  <a:pt x="676" y="116"/>
                </a:lnTo>
                <a:lnTo>
                  <a:pt x="676" y="120"/>
                </a:lnTo>
                <a:lnTo>
                  <a:pt x="678" y="120"/>
                </a:lnTo>
                <a:lnTo>
                  <a:pt x="682" y="120"/>
                </a:lnTo>
                <a:lnTo>
                  <a:pt x="686" y="120"/>
                </a:lnTo>
                <a:lnTo>
                  <a:pt x="690" y="120"/>
                </a:lnTo>
                <a:lnTo>
                  <a:pt x="694" y="120"/>
                </a:lnTo>
                <a:lnTo>
                  <a:pt x="698" y="116"/>
                </a:lnTo>
                <a:lnTo>
                  <a:pt x="702" y="116"/>
                </a:lnTo>
                <a:lnTo>
                  <a:pt x="706" y="116"/>
                </a:lnTo>
                <a:lnTo>
                  <a:pt x="708" y="116"/>
                </a:lnTo>
                <a:lnTo>
                  <a:pt x="712" y="116"/>
                </a:lnTo>
                <a:lnTo>
                  <a:pt x="716" y="116"/>
                </a:lnTo>
                <a:lnTo>
                  <a:pt x="712" y="116"/>
                </a:lnTo>
                <a:lnTo>
                  <a:pt x="708" y="116"/>
                </a:lnTo>
                <a:lnTo>
                  <a:pt x="706" y="116"/>
                </a:lnTo>
                <a:lnTo>
                  <a:pt x="702" y="116"/>
                </a:lnTo>
                <a:lnTo>
                  <a:pt x="694" y="116"/>
                </a:lnTo>
                <a:lnTo>
                  <a:pt x="690" y="116"/>
                </a:lnTo>
                <a:lnTo>
                  <a:pt x="686" y="116"/>
                </a:lnTo>
                <a:lnTo>
                  <a:pt x="682" y="116"/>
                </a:lnTo>
                <a:lnTo>
                  <a:pt x="686" y="116"/>
                </a:lnTo>
                <a:lnTo>
                  <a:pt x="686" y="112"/>
                </a:lnTo>
                <a:lnTo>
                  <a:pt x="690" y="112"/>
                </a:lnTo>
                <a:lnTo>
                  <a:pt x="694" y="116"/>
                </a:lnTo>
                <a:lnTo>
                  <a:pt x="694" y="112"/>
                </a:lnTo>
                <a:lnTo>
                  <a:pt x="698" y="112"/>
                </a:lnTo>
                <a:lnTo>
                  <a:pt x="702" y="112"/>
                </a:lnTo>
                <a:lnTo>
                  <a:pt x="706" y="112"/>
                </a:lnTo>
                <a:lnTo>
                  <a:pt x="702" y="112"/>
                </a:lnTo>
                <a:lnTo>
                  <a:pt x="698" y="112"/>
                </a:lnTo>
                <a:lnTo>
                  <a:pt x="694" y="112"/>
                </a:lnTo>
                <a:lnTo>
                  <a:pt x="690" y="112"/>
                </a:lnTo>
                <a:lnTo>
                  <a:pt x="686" y="112"/>
                </a:lnTo>
                <a:lnTo>
                  <a:pt x="690" y="112"/>
                </a:lnTo>
                <a:lnTo>
                  <a:pt x="690" y="108"/>
                </a:lnTo>
                <a:lnTo>
                  <a:pt x="686" y="108"/>
                </a:lnTo>
                <a:lnTo>
                  <a:pt x="682" y="108"/>
                </a:lnTo>
                <a:lnTo>
                  <a:pt x="682" y="112"/>
                </a:lnTo>
                <a:lnTo>
                  <a:pt x="678" y="112"/>
                </a:lnTo>
                <a:lnTo>
                  <a:pt x="678" y="108"/>
                </a:lnTo>
                <a:lnTo>
                  <a:pt x="678" y="112"/>
                </a:lnTo>
                <a:lnTo>
                  <a:pt x="676" y="112"/>
                </a:lnTo>
                <a:lnTo>
                  <a:pt x="676" y="108"/>
                </a:lnTo>
                <a:lnTo>
                  <a:pt x="672" y="112"/>
                </a:lnTo>
                <a:lnTo>
                  <a:pt x="668" y="116"/>
                </a:lnTo>
                <a:lnTo>
                  <a:pt x="664" y="116"/>
                </a:lnTo>
                <a:lnTo>
                  <a:pt x="660" y="116"/>
                </a:lnTo>
                <a:lnTo>
                  <a:pt x="664" y="112"/>
                </a:lnTo>
                <a:lnTo>
                  <a:pt x="660" y="112"/>
                </a:lnTo>
                <a:lnTo>
                  <a:pt x="656" y="112"/>
                </a:lnTo>
                <a:lnTo>
                  <a:pt x="660" y="112"/>
                </a:lnTo>
                <a:lnTo>
                  <a:pt x="656" y="112"/>
                </a:lnTo>
                <a:lnTo>
                  <a:pt x="652" y="112"/>
                </a:lnTo>
                <a:lnTo>
                  <a:pt x="652" y="116"/>
                </a:lnTo>
                <a:lnTo>
                  <a:pt x="650" y="116"/>
                </a:lnTo>
                <a:lnTo>
                  <a:pt x="646" y="112"/>
                </a:lnTo>
                <a:lnTo>
                  <a:pt x="642" y="112"/>
                </a:lnTo>
                <a:lnTo>
                  <a:pt x="642" y="108"/>
                </a:lnTo>
                <a:lnTo>
                  <a:pt x="642" y="106"/>
                </a:lnTo>
                <a:lnTo>
                  <a:pt x="646" y="106"/>
                </a:lnTo>
                <a:lnTo>
                  <a:pt x="650" y="106"/>
                </a:lnTo>
                <a:lnTo>
                  <a:pt x="652" y="106"/>
                </a:lnTo>
                <a:lnTo>
                  <a:pt x="656" y="106"/>
                </a:lnTo>
                <a:lnTo>
                  <a:pt x="660" y="106"/>
                </a:lnTo>
                <a:lnTo>
                  <a:pt x="660" y="102"/>
                </a:lnTo>
                <a:lnTo>
                  <a:pt x="656" y="102"/>
                </a:lnTo>
                <a:lnTo>
                  <a:pt x="652" y="106"/>
                </a:lnTo>
                <a:lnTo>
                  <a:pt x="650" y="106"/>
                </a:lnTo>
                <a:lnTo>
                  <a:pt x="646" y="106"/>
                </a:lnTo>
                <a:lnTo>
                  <a:pt x="642" y="106"/>
                </a:lnTo>
                <a:lnTo>
                  <a:pt x="638" y="106"/>
                </a:lnTo>
                <a:lnTo>
                  <a:pt x="638" y="102"/>
                </a:lnTo>
                <a:lnTo>
                  <a:pt x="634" y="102"/>
                </a:lnTo>
                <a:lnTo>
                  <a:pt x="630" y="98"/>
                </a:lnTo>
                <a:lnTo>
                  <a:pt x="626" y="98"/>
                </a:lnTo>
                <a:lnTo>
                  <a:pt x="630" y="98"/>
                </a:lnTo>
                <a:lnTo>
                  <a:pt x="634" y="98"/>
                </a:lnTo>
                <a:lnTo>
                  <a:pt x="630" y="94"/>
                </a:lnTo>
                <a:lnTo>
                  <a:pt x="626" y="94"/>
                </a:lnTo>
                <a:lnTo>
                  <a:pt x="630" y="94"/>
                </a:lnTo>
                <a:lnTo>
                  <a:pt x="626" y="94"/>
                </a:lnTo>
                <a:lnTo>
                  <a:pt x="626" y="90"/>
                </a:lnTo>
                <a:lnTo>
                  <a:pt x="630" y="90"/>
                </a:lnTo>
                <a:lnTo>
                  <a:pt x="634" y="90"/>
                </a:lnTo>
                <a:lnTo>
                  <a:pt x="638" y="90"/>
                </a:lnTo>
                <a:lnTo>
                  <a:pt x="638" y="94"/>
                </a:lnTo>
                <a:lnTo>
                  <a:pt x="642" y="94"/>
                </a:lnTo>
                <a:lnTo>
                  <a:pt x="646" y="94"/>
                </a:lnTo>
                <a:lnTo>
                  <a:pt x="650" y="94"/>
                </a:lnTo>
                <a:lnTo>
                  <a:pt x="652" y="94"/>
                </a:lnTo>
                <a:lnTo>
                  <a:pt x="656" y="94"/>
                </a:lnTo>
                <a:lnTo>
                  <a:pt x="660" y="94"/>
                </a:lnTo>
                <a:lnTo>
                  <a:pt x="656" y="94"/>
                </a:lnTo>
                <a:lnTo>
                  <a:pt x="652" y="90"/>
                </a:lnTo>
                <a:lnTo>
                  <a:pt x="656" y="90"/>
                </a:lnTo>
                <a:lnTo>
                  <a:pt x="660" y="90"/>
                </a:lnTo>
                <a:lnTo>
                  <a:pt x="664" y="90"/>
                </a:lnTo>
                <a:lnTo>
                  <a:pt x="660" y="90"/>
                </a:lnTo>
                <a:lnTo>
                  <a:pt x="656" y="86"/>
                </a:lnTo>
                <a:lnTo>
                  <a:pt x="656" y="90"/>
                </a:lnTo>
                <a:lnTo>
                  <a:pt x="652" y="90"/>
                </a:lnTo>
                <a:lnTo>
                  <a:pt x="650" y="90"/>
                </a:lnTo>
                <a:lnTo>
                  <a:pt x="646" y="90"/>
                </a:lnTo>
                <a:lnTo>
                  <a:pt x="642" y="90"/>
                </a:lnTo>
                <a:lnTo>
                  <a:pt x="642" y="86"/>
                </a:lnTo>
                <a:lnTo>
                  <a:pt x="646" y="86"/>
                </a:lnTo>
                <a:lnTo>
                  <a:pt x="650" y="86"/>
                </a:lnTo>
                <a:lnTo>
                  <a:pt x="646" y="86"/>
                </a:lnTo>
                <a:lnTo>
                  <a:pt x="642" y="86"/>
                </a:lnTo>
                <a:lnTo>
                  <a:pt x="638" y="86"/>
                </a:lnTo>
                <a:lnTo>
                  <a:pt x="638" y="90"/>
                </a:lnTo>
                <a:lnTo>
                  <a:pt x="638" y="86"/>
                </a:lnTo>
                <a:lnTo>
                  <a:pt x="634" y="86"/>
                </a:lnTo>
                <a:lnTo>
                  <a:pt x="630" y="86"/>
                </a:lnTo>
                <a:lnTo>
                  <a:pt x="626" y="82"/>
                </a:lnTo>
                <a:lnTo>
                  <a:pt x="630" y="82"/>
                </a:lnTo>
                <a:lnTo>
                  <a:pt x="634" y="82"/>
                </a:lnTo>
                <a:lnTo>
                  <a:pt x="638" y="82"/>
                </a:lnTo>
                <a:lnTo>
                  <a:pt x="642" y="82"/>
                </a:lnTo>
                <a:lnTo>
                  <a:pt x="646" y="82"/>
                </a:lnTo>
                <a:lnTo>
                  <a:pt x="642" y="82"/>
                </a:lnTo>
                <a:lnTo>
                  <a:pt x="638" y="78"/>
                </a:lnTo>
                <a:lnTo>
                  <a:pt x="638" y="76"/>
                </a:lnTo>
                <a:lnTo>
                  <a:pt x="642" y="76"/>
                </a:lnTo>
                <a:lnTo>
                  <a:pt x="646" y="76"/>
                </a:lnTo>
                <a:lnTo>
                  <a:pt x="650" y="76"/>
                </a:lnTo>
                <a:lnTo>
                  <a:pt x="652" y="76"/>
                </a:lnTo>
                <a:lnTo>
                  <a:pt x="652" y="78"/>
                </a:lnTo>
                <a:lnTo>
                  <a:pt x="656" y="78"/>
                </a:lnTo>
                <a:lnTo>
                  <a:pt x="660" y="78"/>
                </a:lnTo>
                <a:lnTo>
                  <a:pt x="664" y="78"/>
                </a:lnTo>
                <a:lnTo>
                  <a:pt x="668" y="78"/>
                </a:lnTo>
                <a:lnTo>
                  <a:pt x="664" y="78"/>
                </a:lnTo>
                <a:lnTo>
                  <a:pt x="664" y="76"/>
                </a:lnTo>
                <a:lnTo>
                  <a:pt x="660" y="76"/>
                </a:lnTo>
                <a:lnTo>
                  <a:pt x="656" y="76"/>
                </a:lnTo>
                <a:lnTo>
                  <a:pt x="660" y="76"/>
                </a:lnTo>
                <a:lnTo>
                  <a:pt x="664" y="76"/>
                </a:lnTo>
                <a:lnTo>
                  <a:pt x="664" y="72"/>
                </a:lnTo>
                <a:lnTo>
                  <a:pt x="660" y="72"/>
                </a:lnTo>
                <a:lnTo>
                  <a:pt x="656" y="72"/>
                </a:lnTo>
                <a:lnTo>
                  <a:pt x="652" y="72"/>
                </a:lnTo>
                <a:lnTo>
                  <a:pt x="650" y="72"/>
                </a:lnTo>
                <a:lnTo>
                  <a:pt x="646" y="72"/>
                </a:lnTo>
                <a:lnTo>
                  <a:pt x="642" y="72"/>
                </a:lnTo>
                <a:lnTo>
                  <a:pt x="646" y="68"/>
                </a:lnTo>
                <a:lnTo>
                  <a:pt x="650" y="68"/>
                </a:lnTo>
                <a:lnTo>
                  <a:pt x="646" y="68"/>
                </a:lnTo>
                <a:lnTo>
                  <a:pt x="650" y="64"/>
                </a:lnTo>
                <a:lnTo>
                  <a:pt x="652" y="64"/>
                </a:lnTo>
                <a:lnTo>
                  <a:pt x="656" y="64"/>
                </a:lnTo>
                <a:lnTo>
                  <a:pt x="660" y="64"/>
                </a:lnTo>
                <a:lnTo>
                  <a:pt x="664" y="64"/>
                </a:lnTo>
                <a:lnTo>
                  <a:pt x="668" y="64"/>
                </a:lnTo>
                <a:lnTo>
                  <a:pt x="664" y="64"/>
                </a:lnTo>
                <a:lnTo>
                  <a:pt x="660" y="60"/>
                </a:lnTo>
                <a:lnTo>
                  <a:pt x="664" y="60"/>
                </a:lnTo>
                <a:lnTo>
                  <a:pt x="668" y="60"/>
                </a:lnTo>
                <a:lnTo>
                  <a:pt x="672" y="64"/>
                </a:lnTo>
                <a:lnTo>
                  <a:pt x="676" y="64"/>
                </a:lnTo>
                <a:lnTo>
                  <a:pt x="676" y="60"/>
                </a:lnTo>
                <a:lnTo>
                  <a:pt x="678" y="60"/>
                </a:lnTo>
                <a:lnTo>
                  <a:pt x="676" y="56"/>
                </a:lnTo>
                <a:lnTo>
                  <a:pt x="672" y="56"/>
                </a:lnTo>
                <a:lnTo>
                  <a:pt x="668" y="60"/>
                </a:lnTo>
                <a:lnTo>
                  <a:pt x="664" y="60"/>
                </a:lnTo>
                <a:lnTo>
                  <a:pt x="664" y="56"/>
                </a:lnTo>
                <a:lnTo>
                  <a:pt x="660" y="56"/>
                </a:lnTo>
                <a:lnTo>
                  <a:pt x="660" y="52"/>
                </a:lnTo>
                <a:lnTo>
                  <a:pt x="664" y="52"/>
                </a:lnTo>
                <a:lnTo>
                  <a:pt x="668" y="52"/>
                </a:lnTo>
                <a:lnTo>
                  <a:pt x="672" y="56"/>
                </a:lnTo>
                <a:lnTo>
                  <a:pt x="672" y="52"/>
                </a:lnTo>
                <a:lnTo>
                  <a:pt x="676" y="52"/>
                </a:lnTo>
                <a:lnTo>
                  <a:pt x="678" y="52"/>
                </a:lnTo>
                <a:lnTo>
                  <a:pt x="678" y="56"/>
                </a:lnTo>
                <a:lnTo>
                  <a:pt x="682" y="56"/>
                </a:lnTo>
                <a:lnTo>
                  <a:pt x="686" y="56"/>
                </a:lnTo>
                <a:lnTo>
                  <a:pt x="690" y="56"/>
                </a:lnTo>
                <a:lnTo>
                  <a:pt x="694" y="56"/>
                </a:lnTo>
                <a:lnTo>
                  <a:pt x="694" y="60"/>
                </a:lnTo>
                <a:lnTo>
                  <a:pt x="698" y="60"/>
                </a:lnTo>
                <a:lnTo>
                  <a:pt x="698" y="64"/>
                </a:lnTo>
                <a:lnTo>
                  <a:pt x="694" y="64"/>
                </a:lnTo>
                <a:lnTo>
                  <a:pt x="698" y="64"/>
                </a:lnTo>
                <a:lnTo>
                  <a:pt x="702" y="64"/>
                </a:lnTo>
                <a:lnTo>
                  <a:pt x="702" y="68"/>
                </a:lnTo>
                <a:lnTo>
                  <a:pt x="706" y="72"/>
                </a:lnTo>
                <a:lnTo>
                  <a:pt x="708" y="72"/>
                </a:lnTo>
                <a:lnTo>
                  <a:pt x="712" y="72"/>
                </a:lnTo>
                <a:lnTo>
                  <a:pt x="712" y="76"/>
                </a:lnTo>
                <a:lnTo>
                  <a:pt x="712" y="78"/>
                </a:lnTo>
                <a:lnTo>
                  <a:pt x="716" y="78"/>
                </a:lnTo>
                <a:lnTo>
                  <a:pt x="720" y="78"/>
                </a:lnTo>
                <a:lnTo>
                  <a:pt x="724" y="78"/>
                </a:lnTo>
                <a:lnTo>
                  <a:pt x="728" y="78"/>
                </a:lnTo>
                <a:lnTo>
                  <a:pt x="732" y="78"/>
                </a:lnTo>
                <a:lnTo>
                  <a:pt x="734" y="78"/>
                </a:lnTo>
                <a:lnTo>
                  <a:pt x="734" y="82"/>
                </a:lnTo>
                <a:lnTo>
                  <a:pt x="732" y="82"/>
                </a:lnTo>
                <a:lnTo>
                  <a:pt x="734" y="82"/>
                </a:lnTo>
                <a:lnTo>
                  <a:pt x="734" y="86"/>
                </a:lnTo>
                <a:lnTo>
                  <a:pt x="732" y="86"/>
                </a:lnTo>
                <a:lnTo>
                  <a:pt x="734" y="86"/>
                </a:lnTo>
                <a:lnTo>
                  <a:pt x="734" y="90"/>
                </a:lnTo>
                <a:lnTo>
                  <a:pt x="738" y="90"/>
                </a:lnTo>
                <a:lnTo>
                  <a:pt x="742" y="90"/>
                </a:lnTo>
                <a:lnTo>
                  <a:pt x="746" y="90"/>
                </a:lnTo>
                <a:lnTo>
                  <a:pt x="746" y="86"/>
                </a:lnTo>
                <a:lnTo>
                  <a:pt x="742" y="86"/>
                </a:lnTo>
                <a:lnTo>
                  <a:pt x="738" y="82"/>
                </a:lnTo>
                <a:lnTo>
                  <a:pt x="742" y="82"/>
                </a:lnTo>
                <a:lnTo>
                  <a:pt x="746" y="82"/>
                </a:lnTo>
                <a:lnTo>
                  <a:pt x="748" y="82"/>
                </a:lnTo>
                <a:lnTo>
                  <a:pt x="752" y="82"/>
                </a:lnTo>
                <a:lnTo>
                  <a:pt x="756" y="86"/>
                </a:lnTo>
                <a:lnTo>
                  <a:pt x="756" y="90"/>
                </a:lnTo>
                <a:lnTo>
                  <a:pt x="752" y="90"/>
                </a:lnTo>
                <a:lnTo>
                  <a:pt x="748" y="90"/>
                </a:lnTo>
                <a:lnTo>
                  <a:pt x="748" y="94"/>
                </a:lnTo>
                <a:lnTo>
                  <a:pt x="752" y="94"/>
                </a:lnTo>
                <a:lnTo>
                  <a:pt x="752" y="90"/>
                </a:lnTo>
                <a:lnTo>
                  <a:pt x="756" y="90"/>
                </a:lnTo>
                <a:lnTo>
                  <a:pt x="760" y="90"/>
                </a:lnTo>
                <a:lnTo>
                  <a:pt x="760" y="94"/>
                </a:lnTo>
                <a:lnTo>
                  <a:pt x="764" y="94"/>
                </a:lnTo>
                <a:lnTo>
                  <a:pt x="760" y="98"/>
                </a:lnTo>
                <a:lnTo>
                  <a:pt x="756" y="98"/>
                </a:lnTo>
                <a:lnTo>
                  <a:pt x="760" y="98"/>
                </a:lnTo>
                <a:lnTo>
                  <a:pt x="764" y="98"/>
                </a:lnTo>
                <a:lnTo>
                  <a:pt x="764" y="102"/>
                </a:lnTo>
                <a:lnTo>
                  <a:pt x="760" y="106"/>
                </a:lnTo>
                <a:lnTo>
                  <a:pt x="756" y="106"/>
                </a:lnTo>
                <a:lnTo>
                  <a:pt x="756" y="108"/>
                </a:lnTo>
                <a:lnTo>
                  <a:pt x="760" y="108"/>
                </a:lnTo>
                <a:lnTo>
                  <a:pt x="760" y="106"/>
                </a:lnTo>
                <a:lnTo>
                  <a:pt x="764" y="106"/>
                </a:lnTo>
                <a:lnTo>
                  <a:pt x="768" y="106"/>
                </a:lnTo>
                <a:lnTo>
                  <a:pt x="764" y="108"/>
                </a:lnTo>
                <a:lnTo>
                  <a:pt x="768" y="108"/>
                </a:lnTo>
                <a:lnTo>
                  <a:pt x="768" y="106"/>
                </a:lnTo>
                <a:lnTo>
                  <a:pt x="772" y="106"/>
                </a:lnTo>
                <a:lnTo>
                  <a:pt x="776" y="106"/>
                </a:lnTo>
                <a:lnTo>
                  <a:pt x="778" y="108"/>
                </a:lnTo>
                <a:lnTo>
                  <a:pt x="776" y="108"/>
                </a:lnTo>
                <a:lnTo>
                  <a:pt x="778" y="108"/>
                </a:lnTo>
                <a:lnTo>
                  <a:pt x="778" y="106"/>
                </a:lnTo>
                <a:lnTo>
                  <a:pt x="782" y="106"/>
                </a:lnTo>
                <a:lnTo>
                  <a:pt x="786" y="108"/>
                </a:lnTo>
                <a:lnTo>
                  <a:pt x="786" y="112"/>
                </a:lnTo>
                <a:lnTo>
                  <a:pt x="790" y="112"/>
                </a:lnTo>
                <a:lnTo>
                  <a:pt x="794" y="112"/>
                </a:lnTo>
                <a:lnTo>
                  <a:pt x="794" y="116"/>
                </a:lnTo>
                <a:lnTo>
                  <a:pt x="790" y="116"/>
                </a:lnTo>
                <a:lnTo>
                  <a:pt x="786" y="116"/>
                </a:lnTo>
                <a:lnTo>
                  <a:pt x="782" y="120"/>
                </a:lnTo>
                <a:lnTo>
                  <a:pt x="778" y="120"/>
                </a:lnTo>
                <a:lnTo>
                  <a:pt x="776" y="120"/>
                </a:lnTo>
                <a:lnTo>
                  <a:pt x="772" y="120"/>
                </a:lnTo>
                <a:lnTo>
                  <a:pt x="768" y="124"/>
                </a:lnTo>
                <a:lnTo>
                  <a:pt x="764" y="124"/>
                </a:lnTo>
                <a:lnTo>
                  <a:pt x="764" y="120"/>
                </a:lnTo>
                <a:lnTo>
                  <a:pt x="764" y="124"/>
                </a:lnTo>
                <a:lnTo>
                  <a:pt x="764" y="128"/>
                </a:lnTo>
                <a:lnTo>
                  <a:pt x="760" y="128"/>
                </a:lnTo>
                <a:lnTo>
                  <a:pt x="756" y="132"/>
                </a:lnTo>
                <a:lnTo>
                  <a:pt x="756" y="136"/>
                </a:lnTo>
                <a:lnTo>
                  <a:pt x="752" y="136"/>
                </a:lnTo>
                <a:lnTo>
                  <a:pt x="752" y="132"/>
                </a:lnTo>
                <a:lnTo>
                  <a:pt x="748" y="132"/>
                </a:lnTo>
                <a:lnTo>
                  <a:pt x="748" y="128"/>
                </a:lnTo>
                <a:lnTo>
                  <a:pt x="748" y="124"/>
                </a:lnTo>
                <a:lnTo>
                  <a:pt x="752" y="124"/>
                </a:lnTo>
                <a:lnTo>
                  <a:pt x="752" y="120"/>
                </a:lnTo>
                <a:lnTo>
                  <a:pt x="748" y="124"/>
                </a:lnTo>
                <a:lnTo>
                  <a:pt x="746" y="124"/>
                </a:lnTo>
                <a:lnTo>
                  <a:pt x="746" y="128"/>
                </a:lnTo>
                <a:lnTo>
                  <a:pt x="746" y="132"/>
                </a:lnTo>
                <a:lnTo>
                  <a:pt x="748" y="132"/>
                </a:lnTo>
                <a:lnTo>
                  <a:pt x="748" y="136"/>
                </a:lnTo>
                <a:lnTo>
                  <a:pt x="748" y="138"/>
                </a:lnTo>
                <a:lnTo>
                  <a:pt x="746" y="138"/>
                </a:lnTo>
                <a:lnTo>
                  <a:pt x="746" y="136"/>
                </a:lnTo>
                <a:lnTo>
                  <a:pt x="742" y="136"/>
                </a:lnTo>
                <a:lnTo>
                  <a:pt x="738" y="136"/>
                </a:lnTo>
                <a:lnTo>
                  <a:pt x="742" y="138"/>
                </a:lnTo>
                <a:lnTo>
                  <a:pt x="742" y="142"/>
                </a:lnTo>
                <a:lnTo>
                  <a:pt x="738" y="142"/>
                </a:lnTo>
                <a:lnTo>
                  <a:pt x="738" y="146"/>
                </a:lnTo>
                <a:lnTo>
                  <a:pt x="738" y="146"/>
                </a:lnTo>
                <a:lnTo>
                  <a:pt x="738" y="146"/>
                </a:lnTo>
                <a:close/>
                <a:moveTo>
                  <a:pt x="596" y="106"/>
                </a:moveTo>
                <a:lnTo>
                  <a:pt x="596" y="102"/>
                </a:lnTo>
                <a:lnTo>
                  <a:pt x="592" y="102"/>
                </a:lnTo>
                <a:lnTo>
                  <a:pt x="590" y="102"/>
                </a:lnTo>
                <a:lnTo>
                  <a:pt x="590" y="98"/>
                </a:lnTo>
                <a:lnTo>
                  <a:pt x="586" y="98"/>
                </a:lnTo>
                <a:lnTo>
                  <a:pt x="582" y="98"/>
                </a:lnTo>
                <a:lnTo>
                  <a:pt x="578" y="98"/>
                </a:lnTo>
                <a:lnTo>
                  <a:pt x="578" y="94"/>
                </a:lnTo>
                <a:lnTo>
                  <a:pt x="578" y="90"/>
                </a:lnTo>
                <a:lnTo>
                  <a:pt x="582" y="90"/>
                </a:lnTo>
                <a:lnTo>
                  <a:pt x="586" y="90"/>
                </a:lnTo>
                <a:lnTo>
                  <a:pt x="590" y="90"/>
                </a:lnTo>
                <a:lnTo>
                  <a:pt x="592" y="90"/>
                </a:lnTo>
                <a:lnTo>
                  <a:pt x="596" y="90"/>
                </a:lnTo>
                <a:lnTo>
                  <a:pt x="596" y="94"/>
                </a:lnTo>
                <a:lnTo>
                  <a:pt x="600" y="102"/>
                </a:lnTo>
                <a:lnTo>
                  <a:pt x="596" y="102"/>
                </a:lnTo>
                <a:lnTo>
                  <a:pt x="596" y="106"/>
                </a:lnTo>
                <a:lnTo>
                  <a:pt x="596" y="106"/>
                </a:lnTo>
                <a:lnTo>
                  <a:pt x="596" y="106"/>
                </a:lnTo>
                <a:close/>
                <a:moveTo>
                  <a:pt x="526" y="132"/>
                </a:moveTo>
                <a:lnTo>
                  <a:pt x="526" y="128"/>
                </a:lnTo>
                <a:lnTo>
                  <a:pt x="526" y="132"/>
                </a:lnTo>
                <a:lnTo>
                  <a:pt x="522" y="132"/>
                </a:lnTo>
                <a:lnTo>
                  <a:pt x="522" y="128"/>
                </a:lnTo>
                <a:lnTo>
                  <a:pt x="526" y="128"/>
                </a:lnTo>
                <a:lnTo>
                  <a:pt x="526" y="124"/>
                </a:lnTo>
                <a:lnTo>
                  <a:pt x="522" y="124"/>
                </a:lnTo>
                <a:lnTo>
                  <a:pt x="518" y="124"/>
                </a:lnTo>
                <a:lnTo>
                  <a:pt x="514" y="124"/>
                </a:lnTo>
                <a:lnTo>
                  <a:pt x="514" y="128"/>
                </a:lnTo>
                <a:lnTo>
                  <a:pt x="510" y="128"/>
                </a:lnTo>
                <a:lnTo>
                  <a:pt x="508" y="128"/>
                </a:lnTo>
                <a:lnTo>
                  <a:pt x="510" y="124"/>
                </a:lnTo>
                <a:lnTo>
                  <a:pt x="514" y="124"/>
                </a:lnTo>
                <a:lnTo>
                  <a:pt x="510" y="120"/>
                </a:lnTo>
                <a:lnTo>
                  <a:pt x="508" y="120"/>
                </a:lnTo>
                <a:lnTo>
                  <a:pt x="508" y="124"/>
                </a:lnTo>
                <a:lnTo>
                  <a:pt x="504" y="124"/>
                </a:lnTo>
                <a:lnTo>
                  <a:pt x="500" y="124"/>
                </a:lnTo>
                <a:lnTo>
                  <a:pt x="500" y="120"/>
                </a:lnTo>
                <a:lnTo>
                  <a:pt x="504" y="112"/>
                </a:lnTo>
                <a:lnTo>
                  <a:pt x="508" y="112"/>
                </a:lnTo>
                <a:lnTo>
                  <a:pt x="510" y="112"/>
                </a:lnTo>
                <a:lnTo>
                  <a:pt x="514" y="112"/>
                </a:lnTo>
                <a:lnTo>
                  <a:pt x="518" y="112"/>
                </a:lnTo>
                <a:lnTo>
                  <a:pt x="522" y="112"/>
                </a:lnTo>
                <a:lnTo>
                  <a:pt x="526" y="112"/>
                </a:lnTo>
                <a:lnTo>
                  <a:pt x="530" y="112"/>
                </a:lnTo>
                <a:lnTo>
                  <a:pt x="534" y="112"/>
                </a:lnTo>
                <a:lnTo>
                  <a:pt x="536" y="116"/>
                </a:lnTo>
                <a:lnTo>
                  <a:pt x="540" y="116"/>
                </a:lnTo>
                <a:lnTo>
                  <a:pt x="540" y="120"/>
                </a:lnTo>
                <a:lnTo>
                  <a:pt x="544" y="120"/>
                </a:lnTo>
                <a:lnTo>
                  <a:pt x="540" y="124"/>
                </a:lnTo>
                <a:lnTo>
                  <a:pt x="544" y="128"/>
                </a:lnTo>
                <a:lnTo>
                  <a:pt x="544" y="124"/>
                </a:lnTo>
                <a:lnTo>
                  <a:pt x="548" y="124"/>
                </a:lnTo>
                <a:lnTo>
                  <a:pt x="552" y="120"/>
                </a:lnTo>
                <a:lnTo>
                  <a:pt x="556" y="120"/>
                </a:lnTo>
                <a:lnTo>
                  <a:pt x="560" y="120"/>
                </a:lnTo>
                <a:lnTo>
                  <a:pt x="564" y="124"/>
                </a:lnTo>
                <a:lnTo>
                  <a:pt x="566" y="124"/>
                </a:lnTo>
                <a:lnTo>
                  <a:pt x="564" y="128"/>
                </a:lnTo>
                <a:lnTo>
                  <a:pt x="566" y="128"/>
                </a:lnTo>
                <a:lnTo>
                  <a:pt x="570" y="128"/>
                </a:lnTo>
                <a:lnTo>
                  <a:pt x="574" y="128"/>
                </a:lnTo>
                <a:lnTo>
                  <a:pt x="574" y="132"/>
                </a:lnTo>
                <a:lnTo>
                  <a:pt x="578" y="132"/>
                </a:lnTo>
                <a:lnTo>
                  <a:pt x="582" y="132"/>
                </a:lnTo>
                <a:lnTo>
                  <a:pt x="578" y="136"/>
                </a:lnTo>
                <a:lnTo>
                  <a:pt x="582" y="136"/>
                </a:lnTo>
                <a:lnTo>
                  <a:pt x="586" y="136"/>
                </a:lnTo>
                <a:lnTo>
                  <a:pt x="586" y="138"/>
                </a:lnTo>
                <a:lnTo>
                  <a:pt x="582" y="138"/>
                </a:lnTo>
                <a:lnTo>
                  <a:pt x="582" y="142"/>
                </a:lnTo>
                <a:lnTo>
                  <a:pt x="586" y="142"/>
                </a:lnTo>
                <a:lnTo>
                  <a:pt x="586" y="146"/>
                </a:lnTo>
                <a:lnTo>
                  <a:pt x="590" y="146"/>
                </a:lnTo>
                <a:lnTo>
                  <a:pt x="592" y="146"/>
                </a:lnTo>
                <a:lnTo>
                  <a:pt x="592" y="150"/>
                </a:lnTo>
                <a:lnTo>
                  <a:pt x="596" y="150"/>
                </a:lnTo>
                <a:lnTo>
                  <a:pt x="592" y="150"/>
                </a:lnTo>
                <a:lnTo>
                  <a:pt x="592" y="154"/>
                </a:lnTo>
                <a:lnTo>
                  <a:pt x="590" y="158"/>
                </a:lnTo>
                <a:lnTo>
                  <a:pt x="586" y="158"/>
                </a:lnTo>
                <a:lnTo>
                  <a:pt x="582" y="158"/>
                </a:lnTo>
                <a:lnTo>
                  <a:pt x="578" y="158"/>
                </a:lnTo>
                <a:lnTo>
                  <a:pt x="574" y="158"/>
                </a:lnTo>
                <a:lnTo>
                  <a:pt x="570" y="154"/>
                </a:lnTo>
                <a:lnTo>
                  <a:pt x="566" y="150"/>
                </a:lnTo>
                <a:lnTo>
                  <a:pt x="566" y="146"/>
                </a:lnTo>
                <a:lnTo>
                  <a:pt x="564" y="146"/>
                </a:lnTo>
                <a:lnTo>
                  <a:pt x="560" y="146"/>
                </a:lnTo>
                <a:lnTo>
                  <a:pt x="556" y="142"/>
                </a:lnTo>
                <a:lnTo>
                  <a:pt x="548" y="142"/>
                </a:lnTo>
                <a:lnTo>
                  <a:pt x="544" y="142"/>
                </a:lnTo>
                <a:lnTo>
                  <a:pt x="544" y="146"/>
                </a:lnTo>
                <a:lnTo>
                  <a:pt x="540" y="146"/>
                </a:lnTo>
                <a:lnTo>
                  <a:pt x="540" y="142"/>
                </a:lnTo>
                <a:lnTo>
                  <a:pt x="536" y="142"/>
                </a:lnTo>
                <a:lnTo>
                  <a:pt x="534" y="142"/>
                </a:lnTo>
                <a:lnTo>
                  <a:pt x="530" y="142"/>
                </a:lnTo>
                <a:lnTo>
                  <a:pt x="526" y="142"/>
                </a:lnTo>
                <a:lnTo>
                  <a:pt x="526" y="146"/>
                </a:lnTo>
                <a:lnTo>
                  <a:pt x="522" y="146"/>
                </a:lnTo>
                <a:lnTo>
                  <a:pt x="518" y="146"/>
                </a:lnTo>
                <a:lnTo>
                  <a:pt x="518" y="142"/>
                </a:lnTo>
                <a:lnTo>
                  <a:pt x="514" y="142"/>
                </a:lnTo>
                <a:lnTo>
                  <a:pt x="510" y="142"/>
                </a:lnTo>
                <a:lnTo>
                  <a:pt x="510" y="138"/>
                </a:lnTo>
                <a:lnTo>
                  <a:pt x="508" y="138"/>
                </a:lnTo>
                <a:lnTo>
                  <a:pt x="508" y="136"/>
                </a:lnTo>
                <a:lnTo>
                  <a:pt x="510" y="136"/>
                </a:lnTo>
                <a:lnTo>
                  <a:pt x="514" y="136"/>
                </a:lnTo>
                <a:lnTo>
                  <a:pt x="518" y="136"/>
                </a:lnTo>
                <a:lnTo>
                  <a:pt x="522" y="136"/>
                </a:lnTo>
                <a:lnTo>
                  <a:pt x="526" y="136"/>
                </a:lnTo>
                <a:lnTo>
                  <a:pt x="530" y="138"/>
                </a:lnTo>
                <a:lnTo>
                  <a:pt x="530" y="136"/>
                </a:lnTo>
                <a:lnTo>
                  <a:pt x="534" y="136"/>
                </a:lnTo>
                <a:lnTo>
                  <a:pt x="530" y="136"/>
                </a:lnTo>
                <a:lnTo>
                  <a:pt x="526" y="136"/>
                </a:lnTo>
                <a:lnTo>
                  <a:pt x="522" y="136"/>
                </a:lnTo>
                <a:lnTo>
                  <a:pt x="526" y="132"/>
                </a:lnTo>
                <a:lnTo>
                  <a:pt x="530" y="132"/>
                </a:lnTo>
                <a:lnTo>
                  <a:pt x="534" y="132"/>
                </a:lnTo>
                <a:lnTo>
                  <a:pt x="534" y="128"/>
                </a:lnTo>
                <a:lnTo>
                  <a:pt x="530" y="128"/>
                </a:lnTo>
                <a:lnTo>
                  <a:pt x="530" y="132"/>
                </a:lnTo>
                <a:lnTo>
                  <a:pt x="526" y="132"/>
                </a:lnTo>
                <a:lnTo>
                  <a:pt x="526" y="132"/>
                </a:lnTo>
                <a:lnTo>
                  <a:pt x="526" y="132"/>
                </a:lnTo>
                <a:close/>
                <a:moveTo>
                  <a:pt x="622" y="158"/>
                </a:moveTo>
                <a:lnTo>
                  <a:pt x="620" y="154"/>
                </a:lnTo>
                <a:lnTo>
                  <a:pt x="622" y="154"/>
                </a:lnTo>
                <a:lnTo>
                  <a:pt x="620" y="154"/>
                </a:lnTo>
                <a:lnTo>
                  <a:pt x="616" y="154"/>
                </a:lnTo>
                <a:lnTo>
                  <a:pt x="616" y="150"/>
                </a:lnTo>
                <a:lnTo>
                  <a:pt x="612" y="150"/>
                </a:lnTo>
                <a:lnTo>
                  <a:pt x="616" y="150"/>
                </a:lnTo>
                <a:lnTo>
                  <a:pt x="620" y="150"/>
                </a:lnTo>
                <a:lnTo>
                  <a:pt x="622" y="150"/>
                </a:lnTo>
                <a:lnTo>
                  <a:pt x="622" y="146"/>
                </a:lnTo>
                <a:lnTo>
                  <a:pt x="620" y="146"/>
                </a:lnTo>
                <a:lnTo>
                  <a:pt x="616" y="146"/>
                </a:lnTo>
                <a:lnTo>
                  <a:pt x="612" y="146"/>
                </a:lnTo>
                <a:lnTo>
                  <a:pt x="612" y="142"/>
                </a:lnTo>
                <a:lnTo>
                  <a:pt x="608" y="142"/>
                </a:lnTo>
                <a:lnTo>
                  <a:pt x="608" y="138"/>
                </a:lnTo>
                <a:lnTo>
                  <a:pt x="604" y="138"/>
                </a:lnTo>
                <a:lnTo>
                  <a:pt x="604" y="136"/>
                </a:lnTo>
                <a:lnTo>
                  <a:pt x="608" y="136"/>
                </a:lnTo>
                <a:lnTo>
                  <a:pt x="604" y="136"/>
                </a:lnTo>
                <a:lnTo>
                  <a:pt x="604" y="132"/>
                </a:lnTo>
                <a:lnTo>
                  <a:pt x="604" y="128"/>
                </a:lnTo>
                <a:lnTo>
                  <a:pt x="608" y="128"/>
                </a:lnTo>
                <a:lnTo>
                  <a:pt x="612" y="128"/>
                </a:lnTo>
                <a:lnTo>
                  <a:pt x="616" y="128"/>
                </a:lnTo>
                <a:lnTo>
                  <a:pt x="616" y="132"/>
                </a:lnTo>
                <a:lnTo>
                  <a:pt x="620" y="132"/>
                </a:lnTo>
                <a:lnTo>
                  <a:pt x="622" y="132"/>
                </a:lnTo>
                <a:lnTo>
                  <a:pt x="626" y="132"/>
                </a:lnTo>
                <a:lnTo>
                  <a:pt x="630" y="132"/>
                </a:lnTo>
                <a:lnTo>
                  <a:pt x="630" y="136"/>
                </a:lnTo>
                <a:lnTo>
                  <a:pt x="634" y="136"/>
                </a:lnTo>
                <a:lnTo>
                  <a:pt x="638" y="138"/>
                </a:lnTo>
                <a:lnTo>
                  <a:pt x="642" y="138"/>
                </a:lnTo>
                <a:lnTo>
                  <a:pt x="642" y="136"/>
                </a:lnTo>
                <a:lnTo>
                  <a:pt x="642" y="138"/>
                </a:lnTo>
                <a:lnTo>
                  <a:pt x="646" y="138"/>
                </a:lnTo>
                <a:lnTo>
                  <a:pt x="650" y="138"/>
                </a:lnTo>
                <a:lnTo>
                  <a:pt x="652" y="138"/>
                </a:lnTo>
                <a:lnTo>
                  <a:pt x="652" y="142"/>
                </a:lnTo>
                <a:lnTo>
                  <a:pt x="650" y="142"/>
                </a:lnTo>
                <a:lnTo>
                  <a:pt x="646" y="146"/>
                </a:lnTo>
                <a:lnTo>
                  <a:pt x="650" y="146"/>
                </a:lnTo>
                <a:lnTo>
                  <a:pt x="652" y="146"/>
                </a:lnTo>
                <a:lnTo>
                  <a:pt x="652" y="150"/>
                </a:lnTo>
                <a:lnTo>
                  <a:pt x="650" y="150"/>
                </a:lnTo>
                <a:lnTo>
                  <a:pt x="650" y="154"/>
                </a:lnTo>
                <a:lnTo>
                  <a:pt x="646" y="154"/>
                </a:lnTo>
                <a:lnTo>
                  <a:pt x="642" y="154"/>
                </a:lnTo>
                <a:lnTo>
                  <a:pt x="638" y="154"/>
                </a:lnTo>
                <a:lnTo>
                  <a:pt x="634" y="154"/>
                </a:lnTo>
                <a:lnTo>
                  <a:pt x="630" y="158"/>
                </a:lnTo>
                <a:lnTo>
                  <a:pt x="630" y="154"/>
                </a:lnTo>
                <a:lnTo>
                  <a:pt x="626" y="154"/>
                </a:lnTo>
                <a:lnTo>
                  <a:pt x="626" y="158"/>
                </a:lnTo>
                <a:lnTo>
                  <a:pt x="630" y="154"/>
                </a:lnTo>
                <a:lnTo>
                  <a:pt x="630" y="158"/>
                </a:lnTo>
                <a:lnTo>
                  <a:pt x="626" y="158"/>
                </a:lnTo>
                <a:lnTo>
                  <a:pt x="622" y="158"/>
                </a:lnTo>
                <a:lnTo>
                  <a:pt x="622" y="158"/>
                </a:lnTo>
                <a:lnTo>
                  <a:pt x="622" y="158"/>
                </a:lnTo>
                <a:close/>
                <a:moveTo>
                  <a:pt x="440" y="142"/>
                </a:moveTo>
                <a:lnTo>
                  <a:pt x="436" y="142"/>
                </a:lnTo>
                <a:lnTo>
                  <a:pt x="432" y="142"/>
                </a:lnTo>
                <a:lnTo>
                  <a:pt x="428" y="142"/>
                </a:lnTo>
                <a:lnTo>
                  <a:pt x="424" y="142"/>
                </a:lnTo>
                <a:lnTo>
                  <a:pt x="422" y="138"/>
                </a:lnTo>
                <a:lnTo>
                  <a:pt x="422" y="142"/>
                </a:lnTo>
                <a:lnTo>
                  <a:pt x="418" y="142"/>
                </a:lnTo>
                <a:lnTo>
                  <a:pt x="414" y="142"/>
                </a:lnTo>
                <a:lnTo>
                  <a:pt x="410" y="142"/>
                </a:lnTo>
                <a:lnTo>
                  <a:pt x="408" y="142"/>
                </a:lnTo>
                <a:lnTo>
                  <a:pt x="404" y="142"/>
                </a:lnTo>
                <a:lnTo>
                  <a:pt x="400" y="142"/>
                </a:lnTo>
                <a:lnTo>
                  <a:pt x="396" y="142"/>
                </a:lnTo>
                <a:lnTo>
                  <a:pt x="392" y="142"/>
                </a:lnTo>
                <a:lnTo>
                  <a:pt x="392" y="138"/>
                </a:lnTo>
                <a:lnTo>
                  <a:pt x="396" y="138"/>
                </a:lnTo>
                <a:lnTo>
                  <a:pt x="400" y="138"/>
                </a:lnTo>
                <a:lnTo>
                  <a:pt x="404" y="138"/>
                </a:lnTo>
                <a:lnTo>
                  <a:pt x="408" y="136"/>
                </a:lnTo>
                <a:lnTo>
                  <a:pt x="410" y="136"/>
                </a:lnTo>
                <a:lnTo>
                  <a:pt x="414" y="136"/>
                </a:lnTo>
                <a:lnTo>
                  <a:pt x="418" y="136"/>
                </a:lnTo>
                <a:lnTo>
                  <a:pt x="422" y="132"/>
                </a:lnTo>
                <a:lnTo>
                  <a:pt x="424" y="132"/>
                </a:lnTo>
                <a:lnTo>
                  <a:pt x="428" y="132"/>
                </a:lnTo>
                <a:lnTo>
                  <a:pt x="432" y="132"/>
                </a:lnTo>
                <a:lnTo>
                  <a:pt x="436" y="132"/>
                </a:lnTo>
                <a:lnTo>
                  <a:pt x="440" y="132"/>
                </a:lnTo>
                <a:lnTo>
                  <a:pt x="444" y="136"/>
                </a:lnTo>
                <a:lnTo>
                  <a:pt x="448" y="136"/>
                </a:lnTo>
                <a:lnTo>
                  <a:pt x="448" y="138"/>
                </a:lnTo>
                <a:lnTo>
                  <a:pt x="448" y="142"/>
                </a:lnTo>
                <a:lnTo>
                  <a:pt x="444" y="142"/>
                </a:lnTo>
                <a:lnTo>
                  <a:pt x="440" y="142"/>
                </a:lnTo>
                <a:lnTo>
                  <a:pt x="440" y="142"/>
                </a:lnTo>
                <a:lnTo>
                  <a:pt x="440" y="142"/>
                </a:lnTo>
                <a:close/>
                <a:moveTo>
                  <a:pt x="656" y="142"/>
                </a:moveTo>
                <a:lnTo>
                  <a:pt x="660" y="146"/>
                </a:lnTo>
                <a:lnTo>
                  <a:pt x="656" y="146"/>
                </a:lnTo>
                <a:lnTo>
                  <a:pt x="656" y="142"/>
                </a:lnTo>
                <a:lnTo>
                  <a:pt x="656" y="142"/>
                </a:lnTo>
                <a:lnTo>
                  <a:pt x="656" y="142"/>
                </a:lnTo>
                <a:close/>
                <a:moveTo>
                  <a:pt x="540" y="142"/>
                </a:moveTo>
                <a:lnTo>
                  <a:pt x="540" y="146"/>
                </a:lnTo>
                <a:lnTo>
                  <a:pt x="536" y="146"/>
                </a:lnTo>
                <a:lnTo>
                  <a:pt x="536" y="150"/>
                </a:lnTo>
                <a:lnTo>
                  <a:pt x="534" y="150"/>
                </a:lnTo>
                <a:lnTo>
                  <a:pt x="534" y="146"/>
                </a:lnTo>
                <a:lnTo>
                  <a:pt x="536" y="146"/>
                </a:lnTo>
                <a:lnTo>
                  <a:pt x="536" y="142"/>
                </a:lnTo>
                <a:lnTo>
                  <a:pt x="540" y="142"/>
                </a:lnTo>
                <a:lnTo>
                  <a:pt x="540" y="142"/>
                </a:lnTo>
                <a:lnTo>
                  <a:pt x="540" y="142"/>
                </a:lnTo>
                <a:close/>
                <a:moveTo>
                  <a:pt x="440" y="150"/>
                </a:moveTo>
                <a:lnTo>
                  <a:pt x="444" y="150"/>
                </a:lnTo>
                <a:lnTo>
                  <a:pt x="444" y="154"/>
                </a:lnTo>
                <a:lnTo>
                  <a:pt x="440" y="154"/>
                </a:lnTo>
                <a:lnTo>
                  <a:pt x="436" y="154"/>
                </a:lnTo>
                <a:lnTo>
                  <a:pt x="432" y="154"/>
                </a:lnTo>
                <a:lnTo>
                  <a:pt x="428" y="154"/>
                </a:lnTo>
                <a:lnTo>
                  <a:pt x="424" y="154"/>
                </a:lnTo>
                <a:lnTo>
                  <a:pt x="424" y="158"/>
                </a:lnTo>
                <a:lnTo>
                  <a:pt x="428" y="158"/>
                </a:lnTo>
                <a:lnTo>
                  <a:pt x="432" y="158"/>
                </a:lnTo>
                <a:lnTo>
                  <a:pt x="436" y="158"/>
                </a:lnTo>
                <a:lnTo>
                  <a:pt x="436" y="160"/>
                </a:lnTo>
                <a:lnTo>
                  <a:pt x="436" y="164"/>
                </a:lnTo>
                <a:lnTo>
                  <a:pt x="432" y="164"/>
                </a:lnTo>
                <a:lnTo>
                  <a:pt x="432" y="168"/>
                </a:lnTo>
                <a:lnTo>
                  <a:pt x="424" y="168"/>
                </a:lnTo>
                <a:lnTo>
                  <a:pt x="422" y="168"/>
                </a:lnTo>
                <a:lnTo>
                  <a:pt x="418" y="168"/>
                </a:lnTo>
                <a:lnTo>
                  <a:pt x="414" y="168"/>
                </a:lnTo>
                <a:lnTo>
                  <a:pt x="410" y="172"/>
                </a:lnTo>
                <a:lnTo>
                  <a:pt x="408" y="172"/>
                </a:lnTo>
                <a:lnTo>
                  <a:pt x="404" y="168"/>
                </a:lnTo>
                <a:lnTo>
                  <a:pt x="400" y="168"/>
                </a:lnTo>
                <a:lnTo>
                  <a:pt x="396" y="164"/>
                </a:lnTo>
                <a:lnTo>
                  <a:pt x="392" y="164"/>
                </a:lnTo>
                <a:lnTo>
                  <a:pt x="396" y="160"/>
                </a:lnTo>
                <a:lnTo>
                  <a:pt x="392" y="158"/>
                </a:lnTo>
                <a:lnTo>
                  <a:pt x="392" y="154"/>
                </a:lnTo>
                <a:lnTo>
                  <a:pt x="396" y="154"/>
                </a:lnTo>
                <a:lnTo>
                  <a:pt x="400" y="154"/>
                </a:lnTo>
                <a:lnTo>
                  <a:pt x="404" y="154"/>
                </a:lnTo>
                <a:lnTo>
                  <a:pt x="404" y="150"/>
                </a:lnTo>
                <a:lnTo>
                  <a:pt x="408" y="150"/>
                </a:lnTo>
                <a:lnTo>
                  <a:pt x="410" y="150"/>
                </a:lnTo>
                <a:lnTo>
                  <a:pt x="414" y="150"/>
                </a:lnTo>
                <a:lnTo>
                  <a:pt x="418" y="150"/>
                </a:lnTo>
                <a:lnTo>
                  <a:pt x="422" y="150"/>
                </a:lnTo>
                <a:lnTo>
                  <a:pt x="424" y="150"/>
                </a:lnTo>
                <a:lnTo>
                  <a:pt x="428" y="150"/>
                </a:lnTo>
                <a:lnTo>
                  <a:pt x="432" y="150"/>
                </a:lnTo>
                <a:lnTo>
                  <a:pt x="436" y="150"/>
                </a:lnTo>
                <a:lnTo>
                  <a:pt x="440" y="150"/>
                </a:lnTo>
                <a:lnTo>
                  <a:pt x="440" y="150"/>
                </a:lnTo>
                <a:lnTo>
                  <a:pt x="440" y="150"/>
                </a:lnTo>
                <a:close/>
                <a:moveTo>
                  <a:pt x="380" y="160"/>
                </a:moveTo>
                <a:lnTo>
                  <a:pt x="378" y="160"/>
                </a:lnTo>
                <a:lnTo>
                  <a:pt x="378" y="158"/>
                </a:lnTo>
                <a:lnTo>
                  <a:pt x="374" y="158"/>
                </a:lnTo>
                <a:lnTo>
                  <a:pt x="370" y="158"/>
                </a:lnTo>
                <a:lnTo>
                  <a:pt x="366" y="154"/>
                </a:lnTo>
                <a:lnTo>
                  <a:pt x="370" y="154"/>
                </a:lnTo>
                <a:lnTo>
                  <a:pt x="374" y="150"/>
                </a:lnTo>
                <a:lnTo>
                  <a:pt x="378" y="150"/>
                </a:lnTo>
                <a:lnTo>
                  <a:pt x="380" y="154"/>
                </a:lnTo>
                <a:lnTo>
                  <a:pt x="384" y="154"/>
                </a:lnTo>
                <a:lnTo>
                  <a:pt x="388" y="154"/>
                </a:lnTo>
                <a:lnTo>
                  <a:pt x="388" y="158"/>
                </a:lnTo>
                <a:lnTo>
                  <a:pt x="384" y="158"/>
                </a:lnTo>
                <a:lnTo>
                  <a:pt x="384" y="160"/>
                </a:lnTo>
                <a:lnTo>
                  <a:pt x="380" y="160"/>
                </a:lnTo>
                <a:lnTo>
                  <a:pt x="380" y="160"/>
                </a:lnTo>
                <a:lnTo>
                  <a:pt x="380" y="160"/>
                </a:lnTo>
                <a:close/>
                <a:moveTo>
                  <a:pt x="556" y="154"/>
                </a:moveTo>
                <a:lnTo>
                  <a:pt x="560" y="154"/>
                </a:lnTo>
                <a:lnTo>
                  <a:pt x="560" y="158"/>
                </a:lnTo>
                <a:lnTo>
                  <a:pt x="564" y="158"/>
                </a:lnTo>
                <a:lnTo>
                  <a:pt x="566" y="158"/>
                </a:lnTo>
                <a:lnTo>
                  <a:pt x="566" y="160"/>
                </a:lnTo>
                <a:lnTo>
                  <a:pt x="564" y="160"/>
                </a:lnTo>
                <a:lnTo>
                  <a:pt x="560" y="160"/>
                </a:lnTo>
                <a:lnTo>
                  <a:pt x="556" y="160"/>
                </a:lnTo>
                <a:lnTo>
                  <a:pt x="552" y="160"/>
                </a:lnTo>
                <a:lnTo>
                  <a:pt x="548" y="160"/>
                </a:lnTo>
                <a:lnTo>
                  <a:pt x="544" y="158"/>
                </a:lnTo>
                <a:lnTo>
                  <a:pt x="544" y="154"/>
                </a:lnTo>
                <a:lnTo>
                  <a:pt x="548" y="154"/>
                </a:lnTo>
                <a:lnTo>
                  <a:pt x="552" y="154"/>
                </a:lnTo>
                <a:lnTo>
                  <a:pt x="556" y="154"/>
                </a:lnTo>
                <a:lnTo>
                  <a:pt x="556" y="154"/>
                </a:lnTo>
                <a:lnTo>
                  <a:pt x="556" y="154"/>
                </a:lnTo>
                <a:close/>
                <a:moveTo>
                  <a:pt x="676" y="160"/>
                </a:moveTo>
                <a:lnTo>
                  <a:pt x="678" y="160"/>
                </a:lnTo>
                <a:lnTo>
                  <a:pt x="676" y="160"/>
                </a:lnTo>
                <a:lnTo>
                  <a:pt x="672" y="164"/>
                </a:lnTo>
                <a:lnTo>
                  <a:pt x="672" y="168"/>
                </a:lnTo>
                <a:lnTo>
                  <a:pt x="668" y="168"/>
                </a:lnTo>
                <a:lnTo>
                  <a:pt x="660" y="168"/>
                </a:lnTo>
                <a:lnTo>
                  <a:pt x="660" y="164"/>
                </a:lnTo>
                <a:lnTo>
                  <a:pt x="652" y="164"/>
                </a:lnTo>
                <a:lnTo>
                  <a:pt x="650" y="164"/>
                </a:lnTo>
                <a:lnTo>
                  <a:pt x="650" y="168"/>
                </a:lnTo>
                <a:lnTo>
                  <a:pt x="646" y="164"/>
                </a:lnTo>
                <a:lnTo>
                  <a:pt x="642" y="164"/>
                </a:lnTo>
                <a:lnTo>
                  <a:pt x="638" y="164"/>
                </a:lnTo>
                <a:lnTo>
                  <a:pt x="634" y="164"/>
                </a:lnTo>
                <a:lnTo>
                  <a:pt x="630" y="160"/>
                </a:lnTo>
                <a:lnTo>
                  <a:pt x="634" y="160"/>
                </a:lnTo>
                <a:lnTo>
                  <a:pt x="634" y="158"/>
                </a:lnTo>
                <a:lnTo>
                  <a:pt x="638" y="158"/>
                </a:lnTo>
                <a:lnTo>
                  <a:pt x="642" y="158"/>
                </a:lnTo>
                <a:lnTo>
                  <a:pt x="646" y="158"/>
                </a:lnTo>
                <a:lnTo>
                  <a:pt x="650" y="158"/>
                </a:lnTo>
                <a:lnTo>
                  <a:pt x="652" y="158"/>
                </a:lnTo>
                <a:lnTo>
                  <a:pt x="656" y="158"/>
                </a:lnTo>
                <a:lnTo>
                  <a:pt x="660" y="158"/>
                </a:lnTo>
                <a:lnTo>
                  <a:pt x="664" y="158"/>
                </a:lnTo>
                <a:lnTo>
                  <a:pt x="668" y="158"/>
                </a:lnTo>
                <a:lnTo>
                  <a:pt x="672" y="158"/>
                </a:lnTo>
                <a:lnTo>
                  <a:pt x="676" y="158"/>
                </a:lnTo>
                <a:lnTo>
                  <a:pt x="676" y="160"/>
                </a:lnTo>
                <a:lnTo>
                  <a:pt x="676" y="160"/>
                </a:lnTo>
                <a:lnTo>
                  <a:pt x="676" y="160"/>
                </a:lnTo>
                <a:close/>
                <a:moveTo>
                  <a:pt x="500" y="158"/>
                </a:moveTo>
                <a:lnTo>
                  <a:pt x="504" y="160"/>
                </a:lnTo>
                <a:lnTo>
                  <a:pt x="508" y="160"/>
                </a:lnTo>
                <a:lnTo>
                  <a:pt x="508" y="164"/>
                </a:lnTo>
                <a:lnTo>
                  <a:pt x="510" y="164"/>
                </a:lnTo>
                <a:lnTo>
                  <a:pt x="510" y="168"/>
                </a:lnTo>
                <a:lnTo>
                  <a:pt x="508" y="168"/>
                </a:lnTo>
                <a:lnTo>
                  <a:pt x="510" y="168"/>
                </a:lnTo>
                <a:lnTo>
                  <a:pt x="514" y="168"/>
                </a:lnTo>
                <a:lnTo>
                  <a:pt x="514" y="172"/>
                </a:lnTo>
                <a:lnTo>
                  <a:pt x="518" y="172"/>
                </a:lnTo>
                <a:lnTo>
                  <a:pt x="518" y="176"/>
                </a:lnTo>
                <a:lnTo>
                  <a:pt x="514" y="176"/>
                </a:lnTo>
                <a:lnTo>
                  <a:pt x="510" y="176"/>
                </a:lnTo>
                <a:lnTo>
                  <a:pt x="508" y="176"/>
                </a:lnTo>
                <a:lnTo>
                  <a:pt x="504" y="172"/>
                </a:lnTo>
                <a:lnTo>
                  <a:pt x="500" y="172"/>
                </a:lnTo>
                <a:lnTo>
                  <a:pt x="500" y="168"/>
                </a:lnTo>
                <a:lnTo>
                  <a:pt x="500" y="164"/>
                </a:lnTo>
                <a:lnTo>
                  <a:pt x="496" y="160"/>
                </a:lnTo>
                <a:lnTo>
                  <a:pt x="492" y="160"/>
                </a:lnTo>
                <a:lnTo>
                  <a:pt x="492" y="158"/>
                </a:lnTo>
                <a:lnTo>
                  <a:pt x="496" y="158"/>
                </a:lnTo>
                <a:lnTo>
                  <a:pt x="500" y="158"/>
                </a:lnTo>
                <a:lnTo>
                  <a:pt x="500" y="158"/>
                </a:lnTo>
                <a:lnTo>
                  <a:pt x="500" y="158"/>
                </a:lnTo>
                <a:close/>
                <a:moveTo>
                  <a:pt x="716" y="172"/>
                </a:moveTo>
                <a:lnTo>
                  <a:pt x="712" y="172"/>
                </a:lnTo>
                <a:lnTo>
                  <a:pt x="708" y="172"/>
                </a:lnTo>
                <a:lnTo>
                  <a:pt x="706" y="168"/>
                </a:lnTo>
                <a:lnTo>
                  <a:pt x="706" y="164"/>
                </a:lnTo>
                <a:lnTo>
                  <a:pt x="706" y="160"/>
                </a:lnTo>
                <a:lnTo>
                  <a:pt x="708" y="160"/>
                </a:lnTo>
                <a:lnTo>
                  <a:pt x="712" y="160"/>
                </a:lnTo>
                <a:lnTo>
                  <a:pt x="716" y="160"/>
                </a:lnTo>
                <a:lnTo>
                  <a:pt x="720" y="160"/>
                </a:lnTo>
                <a:lnTo>
                  <a:pt x="720" y="164"/>
                </a:lnTo>
                <a:lnTo>
                  <a:pt x="724" y="164"/>
                </a:lnTo>
                <a:lnTo>
                  <a:pt x="728" y="168"/>
                </a:lnTo>
                <a:lnTo>
                  <a:pt x="728" y="172"/>
                </a:lnTo>
                <a:lnTo>
                  <a:pt x="724" y="172"/>
                </a:lnTo>
                <a:lnTo>
                  <a:pt x="720" y="172"/>
                </a:lnTo>
                <a:lnTo>
                  <a:pt x="716" y="172"/>
                </a:lnTo>
                <a:lnTo>
                  <a:pt x="716" y="172"/>
                </a:lnTo>
                <a:lnTo>
                  <a:pt x="716" y="172"/>
                </a:lnTo>
                <a:close/>
                <a:moveTo>
                  <a:pt x="294" y="212"/>
                </a:moveTo>
                <a:lnTo>
                  <a:pt x="294" y="208"/>
                </a:lnTo>
                <a:lnTo>
                  <a:pt x="294" y="212"/>
                </a:lnTo>
                <a:lnTo>
                  <a:pt x="292" y="212"/>
                </a:lnTo>
                <a:lnTo>
                  <a:pt x="292" y="208"/>
                </a:lnTo>
                <a:lnTo>
                  <a:pt x="292" y="206"/>
                </a:lnTo>
                <a:lnTo>
                  <a:pt x="288" y="206"/>
                </a:lnTo>
                <a:lnTo>
                  <a:pt x="288" y="208"/>
                </a:lnTo>
                <a:lnTo>
                  <a:pt x="288" y="206"/>
                </a:lnTo>
                <a:lnTo>
                  <a:pt x="288" y="202"/>
                </a:lnTo>
                <a:lnTo>
                  <a:pt x="284" y="202"/>
                </a:lnTo>
                <a:lnTo>
                  <a:pt x="284" y="206"/>
                </a:lnTo>
                <a:lnTo>
                  <a:pt x="284" y="208"/>
                </a:lnTo>
                <a:lnTo>
                  <a:pt x="284" y="206"/>
                </a:lnTo>
                <a:lnTo>
                  <a:pt x="280" y="206"/>
                </a:lnTo>
                <a:lnTo>
                  <a:pt x="280" y="208"/>
                </a:lnTo>
                <a:lnTo>
                  <a:pt x="276" y="208"/>
                </a:lnTo>
                <a:lnTo>
                  <a:pt x="276" y="206"/>
                </a:lnTo>
                <a:lnTo>
                  <a:pt x="272" y="206"/>
                </a:lnTo>
                <a:lnTo>
                  <a:pt x="266" y="206"/>
                </a:lnTo>
                <a:lnTo>
                  <a:pt x="266" y="208"/>
                </a:lnTo>
                <a:lnTo>
                  <a:pt x="262" y="208"/>
                </a:lnTo>
                <a:lnTo>
                  <a:pt x="258" y="208"/>
                </a:lnTo>
                <a:lnTo>
                  <a:pt x="262" y="208"/>
                </a:lnTo>
                <a:lnTo>
                  <a:pt x="262" y="206"/>
                </a:lnTo>
                <a:lnTo>
                  <a:pt x="262" y="202"/>
                </a:lnTo>
                <a:lnTo>
                  <a:pt x="262" y="206"/>
                </a:lnTo>
                <a:lnTo>
                  <a:pt x="258" y="206"/>
                </a:lnTo>
                <a:lnTo>
                  <a:pt x="262" y="202"/>
                </a:lnTo>
                <a:lnTo>
                  <a:pt x="258" y="202"/>
                </a:lnTo>
                <a:lnTo>
                  <a:pt x="258" y="206"/>
                </a:lnTo>
                <a:lnTo>
                  <a:pt x="254" y="206"/>
                </a:lnTo>
                <a:lnTo>
                  <a:pt x="254" y="202"/>
                </a:lnTo>
                <a:lnTo>
                  <a:pt x="258" y="202"/>
                </a:lnTo>
                <a:lnTo>
                  <a:pt x="262" y="198"/>
                </a:lnTo>
                <a:lnTo>
                  <a:pt x="266" y="194"/>
                </a:lnTo>
                <a:lnTo>
                  <a:pt x="268" y="194"/>
                </a:lnTo>
                <a:lnTo>
                  <a:pt x="272" y="194"/>
                </a:lnTo>
                <a:lnTo>
                  <a:pt x="276" y="194"/>
                </a:lnTo>
                <a:lnTo>
                  <a:pt x="280" y="190"/>
                </a:lnTo>
                <a:lnTo>
                  <a:pt x="280" y="186"/>
                </a:lnTo>
                <a:lnTo>
                  <a:pt x="284" y="186"/>
                </a:lnTo>
                <a:lnTo>
                  <a:pt x="288" y="186"/>
                </a:lnTo>
                <a:lnTo>
                  <a:pt x="292" y="182"/>
                </a:lnTo>
                <a:lnTo>
                  <a:pt x="294" y="180"/>
                </a:lnTo>
                <a:lnTo>
                  <a:pt x="298" y="180"/>
                </a:lnTo>
                <a:lnTo>
                  <a:pt x="298" y="176"/>
                </a:lnTo>
                <a:lnTo>
                  <a:pt x="302" y="176"/>
                </a:lnTo>
                <a:lnTo>
                  <a:pt x="306" y="176"/>
                </a:lnTo>
                <a:lnTo>
                  <a:pt x="306" y="172"/>
                </a:lnTo>
                <a:lnTo>
                  <a:pt x="310" y="172"/>
                </a:lnTo>
                <a:lnTo>
                  <a:pt x="314" y="172"/>
                </a:lnTo>
                <a:lnTo>
                  <a:pt x="314" y="168"/>
                </a:lnTo>
                <a:lnTo>
                  <a:pt x="318" y="168"/>
                </a:lnTo>
                <a:lnTo>
                  <a:pt x="322" y="168"/>
                </a:lnTo>
                <a:lnTo>
                  <a:pt x="324" y="168"/>
                </a:lnTo>
                <a:lnTo>
                  <a:pt x="328" y="168"/>
                </a:lnTo>
                <a:lnTo>
                  <a:pt x="332" y="172"/>
                </a:lnTo>
                <a:lnTo>
                  <a:pt x="336" y="172"/>
                </a:lnTo>
                <a:lnTo>
                  <a:pt x="340" y="172"/>
                </a:lnTo>
                <a:lnTo>
                  <a:pt x="340" y="168"/>
                </a:lnTo>
                <a:lnTo>
                  <a:pt x="336" y="168"/>
                </a:lnTo>
                <a:lnTo>
                  <a:pt x="340" y="168"/>
                </a:lnTo>
                <a:lnTo>
                  <a:pt x="340" y="172"/>
                </a:lnTo>
                <a:lnTo>
                  <a:pt x="344" y="172"/>
                </a:lnTo>
                <a:lnTo>
                  <a:pt x="344" y="168"/>
                </a:lnTo>
                <a:lnTo>
                  <a:pt x="340" y="168"/>
                </a:lnTo>
                <a:lnTo>
                  <a:pt x="336" y="168"/>
                </a:lnTo>
                <a:lnTo>
                  <a:pt x="340" y="164"/>
                </a:lnTo>
                <a:lnTo>
                  <a:pt x="344" y="164"/>
                </a:lnTo>
                <a:lnTo>
                  <a:pt x="340" y="164"/>
                </a:lnTo>
                <a:lnTo>
                  <a:pt x="344" y="164"/>
                </a:lnTo>
                <a:lnTo>
                  <a:pt x="348" y="164"/>
                </a:lnTo>
                <a:lnTo>
                  <a:pt x="352" y="164"/>
                </a:lnTo>
                <a:lnTo>
                  <a:pt x="354" y="168"/>
                </a:lnTo>
                <a:lnTo>
                  <a:pt x="362" y="168"/>
                </a:lnTo>
                <a:lnTo>
                  <a:pt x="362" y="172"/>
                </a:lnTo>
                <a:lnTo>
                  <a:pt x="358" y="172"/>
                </a:lnTo>
                <a:lnTo>
                  <a:pt x="354" y="172"/>
                </a:lnTo>
                <a:lnTo>
                  <a:pt x="352" y="176"/>
                </a:lnTo>
                <a:lnTo>
                  <a:pt x="352" y="180"/>
                </a:lnTo>
                <a:lnTo>
                  <a:pt x="354" y="180"/>
                </a:lnTo>
                <a:lnTo>
                  <a:pt x="358" y="180"/>
                </a:lnTo>
                <a:lnTo>
                  <a:pt x="358" y="182"/>
                </a:lnTo>
                <a:lnTo>
                  <a:pt x="354" y="182"/>
                </a:lnTo>
                <a:lnTo>
                  <a:pt x="352" y="182"/>
                </a:lnTo>
                <a:lnTo>
                  <a:pt x="352" y="180"/>
                </a:lnTo>
                <a:lnTo>
                  <a:pt x="348" y="180"/>
                </a:lnTo>
                <a:lnTo>
                  <a:pt x="348" y="182"/>
                </a:lnTo>
                <a:lnTo>
                  <a:pt x="352" y="182"/>
                </a:lnTo>
                <a:lnTo>
                  <a:pt x="354" y="182"/>
                </a:lnTo>
                <a:lnTo>
                  <a:pt x="354" y="186"/>
                </a:lnTo>
                <a:lnTo>
                  <a:pt x="354" y="190"/>
                </a:lnTo>
                <a:lnTo>
                  <a:pt x="352" y="190"/>
                </a:lnTo>
                <a:lnTo>
                  <a:pt x="348" y="190"/>
                </a:lnTo>
                <a:lnTo>
                  <a:pt x="344" y="190"/>
                </a:lnTo>
                <a:lnTo>
                  <a:pt x="340" y="190"/>
                </a:lnTo>
                <a:lnTo>
                  <a:pt x="340" y="194"/>
                </a:lnTo>
                <a:lnTo>
                  <a:pt x="340" y="198"/>
                </a:lnTo>
                <a:lnTo>
                  <a:pt x="336" y="198"/>
                </a:lnTo>
                <a:lnTo>
                  <a:pt x="332" y="198"/>
                </a:lnTo>
                <a:lnTo>
                  <a:pt x="328" y="198"/>
                </a:lnTo>
                <a:lnTo>
                  <a:pt x="324" y="194"/>
                </a:lnTo>
                <a:lnTo>
                  <a:pt x="324" y="190"/>
                </a:lnTo>
                <a:lnTo>
                  <a:pt x="324" y="186"/>
                </a:lnTo>
                <a:lnTo>
                  <a:pt x="328" y="186"/>
                </a:lnTo>
                <a:lnTo>
                  <a:pt x="328" y="182"/>
                </a:lnTo>
                <a:lnTo>
                  <a:pt x="324" y="186"/>
                </a:lnTo>
                <a:lnTo>
                  <a:pt x="322" y="186"/>
                </a:lnTo>
                <a:lnTo>
                  <a:pt x="318" y="186"/>
                </a:lnTo>
                <a:lnTo>
                  <a:pt x="322" y="186"/>
                </a:lnTo>
                <a:lnTo>
                  <a:pt x="322" y="190"/>
                </a:lnTo>
                <a:lnTo>
                  <a:pt x="318" y="194"/>
                </a:lnTo>
                <a:lnTo>
                  <a:pt x="314" y="190"/>
                </a:lnTo>
                <a:lnTo>
                  <a:pt x="314" y="194"/>
                </a:lnTo>
                <a:lnTo>
                  <a:pt x="318" y="194"/>
                </a:lnTo>
                <a:lnTo>
                  <a:pt x="318" y="198"/>
                </a:lnTo>
                <a:lnTo>
                  <a:pt x="314" y="198"/>
                </a:lnTo>
                <a:lnTo>
                  <a:pt x="314" y="202"/>
                </a:lnTo>
                <a:lnTo>
                  <a:pt x="310" y="206"/>
                </a:lnTo>
                <a:lnTo>
                  <a:pt x="306" y="206"/>
                </a:lnTo>
                <a:lnTo>
                  <a:pt x="306" y="202"/>
                </a:lnTo>
                <a:lnTo>
                  <a:pt x="302" y="198"/>
                </a:lnTo>
                <a:lnTo>
                  <a:pt x="302" y="202"/>
                </a:lnTo>
                <a:lnTo>
                  <a:pt x="302" y="206"/>
                </a:lnTo>
                <a:lnTo>
                  <a:pt x="298" y="206"/>
                </a:lnTo>
                <a:lnTo>
                  <a:pt x="302" y="206"/>
                </a:lnTo>
                <a:lnTo>
                  <a:pt x="306" y="206"/>
                </a:lnTo>
                <a:lnTo>
                  <a:pt x="306" y="208"/>
                </a:lnTo>
                <a:lnTo>
                  <a:pt x="302" y="208"/>
                </a:lnTo>
                <a:lnTo>
                  <a:pt x="302" y="206"/>
                </a:lnTo>
                <a:lnTo>
                  <a:pt x="302" y="208"/>
                </a:lnTo>
                <a:lnTo>
                  <a:pt x="298" y="208"/>
                </a:lnTo>
                <a:lnTo>
                  <a:pt x="298" y="212"/>
                </a:lnTo>
                <a:lnTo>
                  <a:pt x="294" y="212"/>
                </a:lnTo>
                <a:lnTo>
                  <a:pt x="294" y="212"/>
                </a:lnTo>
                <a:lnTo>
                  <a:pt x="294" y="212"/>
                </a:lnTo>
                <a:close/>
                <a:moveTo>
                  <a:pt x="706" y="172"/>
                </a:moveTo>
                <a:lnTo>
                  <a:pt x="708" y="172"/>
                </a:lnTo>
                <a:lnTo>
                  <a:pt x="712" y="172"/>
                </a:lnTo>
                <a:lnTo>
                  <a:pt x="712" y="176"/>
                </a:lnTo>
                <a:lnTo>
                  <a:pt x="708" y="176"/>
                </a:lnTo>
                <a:lnTo>
                  <a:pt x="706" y="176"/>
                </a:lnTo>
                <a:lnTo>
                  <a:pt x="706" y="172"/>
                </a:lnTo>
                <a:lnTo>
                  <a:pt x="706" y="172"/>
                </a:lnTo>
                <a:lnTo>
                  <a:pt x="706" y="172"/>
                </a:lnTo>
                <a:close/>
                <a:moveTo>
                  <a:pt x="646" y="172"/>
                </a:moveTo>
                <a:lnTo>
                  <a:pt x="650" y="172"/>
                </a:lnTo>
                <a:lnTo>
                  <a:pt x="650" y="176"/>
                </a:lnTo>
                <a:lnTo>
                  <a:pt x="646" y="176"/>
                </a:lnTo>
                <a:lnTo>
                  <a:pt x="642" y="172"/>
                </a:lnTo>
                <a:lnTo>
                  <a:pt x="646" y="172"/>
                </a:lnTo>
                <a:lnTo>
                  <a:pt x="646" y="172"/>
                </a:lnTo>
                <a:lnTo>
                  <a:pt x="646" y="172"/>
                </a:lnTo>
                <a:close/>
                <a:moveTo>
                  <a:pt x="522" y="176"/>
                </a:moveTo>
                <a:lnTo>
                  <a:pt x="518" y="176"/>
                </a:lnTo>
                <a:lnTo>
                  <a:pt x="522" y="176"/>
                </a:lnTo>
                <a:lnTo>
                  <a:pt x="522" y="176"/>
                </a:lnTo>
                <a:lnTo>
                  <a:pt x="522" y="176"/>
                </a:lnTo>
                <a:close/>
                <a:moveTo>
                  <a:pt x="384" y="176"/>
                </a:moveTo>
                <a:lnTo>
                  <a:pt x="388" y="176"/>
                </a:lnTo>
                <a:lnTo>
                  <a:pt x="384" y="176"/>
                </a:lnTo>
                <a:lnTo>
                  <a:pt x="384" y="176"/>
                </a:lnTo>
                <a:lnTo>
                  <a:pt x="384" y="176"/>
                </a:lnTo>
                <a:close/>
                <a:moveTo>
                  <a:pt x="858" y="236"/>
                </a:moveTo>
                <a:lnTo>
                  <a:pt x="862" y="236"/>
                </a:lnTo>
                <a:lnTo>
                  <a:pt x="858" y="236"/>
                </a:lnTo>
                <a:lnTo>
                  <a:pt x="862" y="236"/>
                </a:lnTo>
                <a:lnTo>
                  <a:pt x="864" y="236"/>
                </a:lnTo>
                <a:lnTo>
                  <a:pt x="868" y="236"/>
                </a:lnTo>
                <a:lnTo>
                  <a:pt x="872" y="236"/>
                </a:lnTo>
                <a:lnTo>
                  <a:pt x="872" y="238"/>
                </a:lnTo>
                <a:lnTo>
                  <a:pt x="868" y="238"/>
                </a:lnTo>
                <a:lnTo>
                  <a:pt x="864" y="238"/>
                </a:lnTo>
                <a:lnTo>
                  <a:pt x="862" y="238"/>
                </a:lnTo>
                <a:lnTo>
                  <a:pt x="858" y="238"/>
                </a:lnTo>
                <a:lnTo>
                  <a:pt x="858" y="236"/>
                </a:lnTo>
                <a:lnTo>
                  <a:pt x="858" y="238"/>
                </a:lnTo>
                <a:lnTo>
                  <a:pt x="862" y="238"/>
                </a:lnTo>
                <a:lnTo>
                  <a:pt x="862" y="242"/>
                </a:lnTo>
                <a:lnTo>
                  <a:pt x="862" y="246"/>
                </a:lnTo>
                <a:lnTo>
                  <a:pt x="858" y="246"/>
                </a:lnTo>
                <a:lnTo>
                  <a:pt x="854" y="246"/>
                </a:lnTo>
                <a:lnTo>
                  <a:pt x="850" y="246"/>
                </a:lnTo>
                <a:lnTo>
                  <a:pt x="846" y="246"/>
                </a:lnTo>
                <a:lnTo>
                  <a:pt x="842" y="246"/>
                </a:lnTo>
                <a:lnTo>
                  <a:pt x="838" y="246"/>
                </a:lnTo>
                <a:lnTo>
                  <a:pt x="838" y="250"/>
                </a:lnTo>
                <a:lnTo>
                  <a:pt x="834" y="250"/>
                </a:lnTo>
                <a:lnTo>
                  <a:pt x="832" y="246"/>
                </a:lnTo>
                <a:lnTo>
                  <a:pt x="828" y="246"/>
                </a:lnTo>
                <a:lnTo>
                  <a:pt x="824" y="246"/>
                </a:lnTo>
                <a:lnTo>
                  <a:pt x="820" y="246"/>
                </a:lnTo>
                <a:lnTo>
                  <a:pt x="820" y="242"/>
                </a:lnTo>
                <a:lnTo>
                  <a:pt x="820" y="238"/>
                </a:lnTo>
                <a:lnTo>
                  <a:pt x="816" y="238"/>
                </a:lnTo>
                <a:lnTo>
                  <a:pt x="812" y="236"/>
                </a:lnTo>
                <a:lnTo>
                  <a:pt x="812" y="238"/>
                </a:lnTo>
                <a:lnTo>
                  <a:pt x="816" y="238"/>
                </a:lnTo>
                <a:lnTo>
                  <a:pt x="816" y="242"/>
                </a:lnTo>
                <a:lnTo>
                  <a:pt x="812" y="246"/>
                </a:lnTo>
                <a:lnTo>
                  <a:pt x="808" y="246"/>
                </a:lnTo>
                <a:lnTo>
                  <a:pt x="806" y="246"/>
                </a:lnTo>
                <a:lnTo>
                  <a:pt x="802" y="246"/>
                </a:lnTo>
                <a:lnTo>
                  <a:pt x="798" y="246"/>
                </a:lnTo>
                <a:lnTo>
                  <a:pt x="794" y="246"/>
                </a:lnTo>
                <a:lnTo>
                  <a:pt x="790" y="246"/>
                </a:lnTo>
                <a:lnTo>
                  <a:pt x="794" y="242"/>
                </a:lnTo>
                <a:lnTo>
                  <a:pt x="790" y="242"/>
                </a:lnTo>
                <a:lnTo>
                  <a:pt x="790" y="246"/>
                </a:lnTo>
                <a:lnTo>
                  <a:pt x="786" y="246"/>
                </a:lnTo>
                <a:lnTo>
                  <a:pt x="786" y="242"/>
                </a:lnTo>
                <a:lnTo>
                  <a:pt x="782" y="242"/>
                </a:lnTo>
                <a:lnTo>
                  <a:pt x="782" y="246"/>
                </a:lnTo>
                <a:lnTo>
                  <a:pt x="786" y="246"/>
                </a:lnTo>
                <a:lnTo>
                  <a:pt x="782" y="246"/>
                </a:lnTo>
                <a:lnTo>
                  <a:pt x="778" y="246"/>
                </a:lnTo>
                <a:lnTo>
                  <a:pt x="776" y="246"/>
                </a:lnTo>
                <a:lnTo>
                  <a:pt x="772" y="246"/>
                </a:lnTo>
                <a:lnTo>
                  <a:pt x="768" y="246"/>
                </a:lnTo>
                <a:lnTo>
                  <a:pt x="768" y="242"/>
                </a:lnTo>
                <a:lnTo>
                  <a:pt x="768" y="246"/>
                </a:lnTo>
                <a:lnTo>
                  <a:pt x="768" y="250"/>
                </a:lnTo>
                <a:lnTo>
                  <a:pt x="764" y="250"/>
                </a:lnTo>
                <a:lnTo>
                  <a:pt x="760" y="250"/>
                </a:lnTo>
                <a:lnTo>
                  <a:pt x="760" y="246"/>
                </a:lnTo>
                <a:lnTo>
                  <a:pt x="756" y="250"/>
                </a:lnTo>
                <a:lnTo>
                  <a:pt x="752" y="250"/>
                </a:lnTo>
                <a:lnTo>
                  <a:pt x="752" y="246"/>
                </a:lnTo>
                <a:lnTo>
                  <a:pt x="752" y="250"/>
                </a:lnTo>
                <a:lnTo>
                  <a:pt x="748" y="250"/>
                </a:lnTo>
                <a:lnTo>
                  <a:pt x="746" y="246"/>
                </a:lnTo>
                <a:lnTo>
                  <a:pt x="742" y="246"/>
                </a:lnTo>
                <a:lnTo>
                  <a:pt x="746" y="242"/>
                </a:lnTo>
                <a:lnTo>
                  <a:pt x="746" y="238"/>
                </a:lnTo>
                <a:lnTo>
                  <a:pt x="742" y="238"/>
                </a:lnTo>
                <a:lnTo>
                  <a:pt x="742" y="236"/>
                </a:lnTo>
                <a:lnTo>
                  <a:pt x="742" y="238"/>
                </a:lnTo>
                <a:lnTo>
                  <a:pt x="738" y="238"/>
                </a:lnTo>
                <a:lnTo>
                  <a:pt x="738" y="242"/>
                </a:lnTo>
                <a:lnTo>
                  <a:pt x="738" y="238"/>
                </a:lnTo>
                <a:lnTo>
                  <a:pt x="734" y="238"/>
                </a:lnTo>
                <a:lnTo>
                  <a:pt x="734" y="242"/>
                </a:lnTo>
                <a:lnTo>
                  <a:pt x="732" y="242"/>
                </a:lnTo>
                <a:lnTo>
                  <a:pt x="732" y="238"/>
                </a:lnTo>
                <a:lnTo>
                  <a:pt x="732" y="242"/>
                </a:lnTo>
                <a:lnTo>
                  <a:pt x="734" y="242"/>
                </a:lnTo>
                <a:lnTo>
                  <a:pt x="734" y="246"/>
                </a:lnTo>
                <a:lnTo>
                  <a:pt x="732" y="246"/>
                </a:lnTo>
                <a:lnTo>
                  <a:pt x="728" y="246"/>
                </a:lnTo>
                <a:lnTo>
                  <a:pt x="724" y="246"/>
                </a:lnTo>
                <a:lnTo>
                  <a:pt x="720" y="246"/>
                </a:lnTo>
                <a:lnTo>
                  <a:pt x="716" y="246"/>
                </a:lnTo>
                <a:lnTo>
                  <a:pt x="712" y="246"/>
                </a:lnTo>
                <a:lnTo>
                  <a:pt x="712" y="242"/>
                </a:lnTo>
                <a:lnTo>
                  <a:pt x="708" y="242"/>
                </a:lnTo>
                <a:lnTo>
                  <a:pt x="708" y="238"/>
                </a:lnTo>
                <a:lnTo>
                  <a:pt x="712" y="238"/>
                </a:lnTo>
                <a:lnTo>
                  <a:pt x="708" y="238"/>
                </a:lnTo>
                <a:lnTo>
                  <a:pt x="706" y="238"/>
                </a:lnTo>
                <a:lnTo>
                  <a:pt x="706" y="242"/>
                </a:lnTo>
                <a:lnTo>
                  <a:pt x="706" y="238"/>
                </a:lnTo>
                <a:lnTo>
                  <a:pt x="706" y="242"/>
                </a:lnTo>
                <a:lnTo>
                  <a:pt x="702" y="242"/>
                </a:lnTo>
                <a:lnTo>
                  <a:pt x="698" y="242"/>
                </a:lnTo>
                <a:lnTo>
                  <a:pt x="694" y="242"/>
                </a:lnTo>
                <a:lnTo>
                  <a:pt x="694" y="238"/>
                </a:lnTo>
                <a:lnTo>
                  <a:pt x="694" y="236"/>
                </a:lnTo>
                <a:lnTo>
                  <a:pt x="690" y="236"/>
                </a:lnTo>
                <a:lnTo>
                  <a:pt x="690" y="232"/>
                </a:lnTo>
                <a:lnTo>
                  <a:pt x="694" y="232"/>
                </a:lnTo>
                <a:lnTo>
                  <a:pt x="690" y="232"/>
                </a:lnTo>
                <a:lnTo>
                  <a:pt x="686" y="228"/>
                </a:lnTo>
                <a:lnTo>
                  <a:pt x="686" y="224"/>
                </a:lnTo>
                <a:lnTo>
                  <a:pt x="686" y="220"/>
                </a:lnTo>
                <a:lnTo>
                  <a:pt x="690" y="220"/>
                </a:lnTo>
                <a:lnTo>
                  <a:pt x="694" y="220"/>
                </a:lnTo>
                <a:lnTo>
                  <a:pt x="694" y="216"/>
                </a:lnTo>
                <a:lnTo>
                  <a:pt x="690" y="212"/>
                </a:lnTo>
                <a:lnTo>
                  <a:pt x="690" y="208"/>
                </a:lnTo>
                <a:lnTo>
                  <a:pt x="686" y="208"/>
                </a:lnTo>
                <a:lnTo>
                  <a:pt x="686" y="206"/>
                </a:lnTo>
                <a:lnTo>
                  <a:pt x="682" y="206"/>
                </a:lnTo>
                <a:lnTo>
                  <a:pt x="682" y="202"/>
                </a:lnTo>
                <a:lnTo>
                  <a:pt x="678" y="202"/>
                </a:lnTo>
                <a:lnTo>
                  <a:pt x="678" y="198"/>
                </a:lnTo>
                <a:lnTo>
                  <a:pt x="676" y="198"/>
                </a:lnTo>
                <a:lnTo>
                  <a:pt x="672" y="198"/>
                </a:lnTo>
                <a:lnTo>
                  <a:pt x="668" y="198"/>
                </a:lnTo>
                <a:lnTo>
                  <a:pt x="668" y="202"/>
                </a:lnTo>
                <a:lnTo>
                  <a:pt x="664" y="198"/>
                </a:lnTo>
                <a:lnTo>
                  <a:pt x="660" y="198"/>
                </a:lnTo>
                <a:lnTo>
                  <a:pt x="656" y="198"/>
                </a:lnTo>
                <a:lnTo>
                  <a:pt x="652" y="198"/>
                </a:lnTo>
                <a:lnTo>
                  <a:pt x="650" y="202"/>
                </a:lnTo>
                <a:lnTo>
                  <a:pt x="646" y="202"/>
                </a:lnTo>
                <a:lnTo>
                  <a:pt x="646" y="198"/>
                </a:lnTo>
                <a:lnTo>
                  <a:pt x="650" y="198"/>
                </a:lnTo>
                <a:lnTo>
                  <a:pt x="652" y="198"/>
                </a:lnTo>
                <a:lnTo>
                  <a:pt x="650" y="198"/>
                </a:lnTo>
                <a:lnTo>
                  <a:pt x="646" y="198"/>
                </a:lnTo>
                <a:lnTo>
                  <a:pt x="642" y="198"/>
                </a:lnTo>
                <a:lnTo>
                  <a:pt x="642" y="194"/>
                </a:lnTo>
                <a:lnTo>
                  <a:pt x="638" y="194"/>
                </a:lnTo>
                <a:lnTo>
                  <a:pt x="634" y="194"/>
                </a:lnTo>
                <a:lnTo>
                  <a:pt x="638" y="194"/>
                </a:lnTo>
                <a:lnTo>
                  <a:pt x="642" y="194"/>
                </a:lnTo>
                <a:lnTo>
                  <a:pt x="642" y="190"/>
                </a:lnTo>
                <a:lnTo>
                  <a:pt x="638" y="190"/>
                </a:lnTo>
                <a:lnTo>
                  <a:pt x="634" y="190"/>
                </a:lnTo>
                <a:lnTo>
                  <a:pt x="630" y="190"/>
                </a:lnTo>
                <a:lnTo>
                  <a:pt x="630" y="186"/>
                </a:lnTo>
                <a:lnTo>
                  <a:pt x="626" y="186"/>
                </a:lnTo>
                <a:lnTo>
                  <a:pt x="622" y="186"/>
                </a:lnTo>
                <a:lnTo>
                  <a:pt x="622" y="182"/>
                </a:lnTo>
                <a:lnTo>
                  <a:pt x="626" y="186"/>
                </a:lnTo>
                <a:lnTo>
                  <a:pt x="630" y="186"/>
                </a:lnTo>
                <a:lnTo>
                  <a:pt x="634" y="186"/>
                </a:lnTo>
                <a:lnTo>
                  <a:pt x="630" y="182"/>
                </a:lnTo>
                <a:lnTo>
                  <a:pt x="626" y="182"/>
                </a:lnTo>
                <a:lnTo>
                  <a:pt x="622" y="182"/>
                </a:lnTo>
                <a:lnTo>
                  <a:pt x="626" y="180"/>
                </a:lnTo>
                <a:lnTo>
                  <a:pt x="630" y="180"/>
                </a:lnTo>
                <a:lnTo>
                  <a:pt x="634" y="180"/>
                </a:lnTo>
                <a:lnTo>
                  <a:pt x="638" y="180"/>
                </a:lnTo>
                <a:lnTo>
                  <a:pt x="642" y="176"/>
                </a:lnTo>
                <a:lnTo>
                  <a:pt x="642" y="180"/>
                </a:lnTo>
                <a:lnTo>
                  <a:pt x="646" y="180"/>
                </a:lnTo>
                <a:lnTo>
                  <a:pt x="650" y="180"/>
                </a:lnTo>
                <a:lnTo>
                  <a:pt x="652" y="180"/>
                </a:lnTo>
                <a:lnTo>
                  <a:pt x="656" y="180"/>
                </a:lnTo>
                <a:lnTo>
                  <a:pt x="660" y="182"/>
                </a:lnTo>
                <a:lnTo>
                  <a:pt x="664" y="182"/>
                </a:lnTo>
                <a:lnTo>
                  <a:pt x="664" y="180"/>
                </a:lnTo>
                <a:lnTo>
                  <a:pt x="668" y="180"/>
                </a:lnTo>
                <a:lnTo>
                  <a:pt x="668" y="182"/>
                </a:lnTo>
                <a:lnTo>
                  <a:pt x="672" y="182"/>
                </a:lnTo>
                <a:lnTo>
                  <a:pt x="676" y="186"/>
                </a:lnTo>
                <a:lnTo>
                  <a:pt x="676" y="190"/>
                </a:lnTo>
                <a:lnTo>
                  <a:pt x="672" y="194"/>
                </a:lnTo>
                <a:lnTo>
                  <a:pt x="672" y="198"/>
                </a:lnTo>
                <a:lnTo>
                  <a:pt x="672" y="194"/>
                </a:lnTo>
                <a:lnTo>
                  <a:pt x="676" y="194"/>
                </a:lnTo>
                <a:lnTo>
                  <a:pt x="678" y="190"/>
                </a:lnTo>
                <a:lnTo>
                  <a:pt x="682" y="190"/>
                </a:lnTo>
                <a:lnTo>
                  <a:pt x="686" y="190"/>
                </a:lnTo>
                <a:lnTo>
                  <a:pt x="690" y="190"/>
                </a:lnTo>
                <a:lnTo>
                  <a:pt x="694" y="190"/>
                </a:lnTo>
                <a:lnTo>
                  <a:pt x="694" y="186"/>
                </a:lnTo>
                <a:lnTo>
                  <a:pt x="698" y="186"/>
                </a:lnTo>
                <a:lnTo>
                  <a:pt x="702" y="186"/>
                </a:lnTo>
                <a:lnTo>
                  <a:pt x="706" y="186"/>
                </a:lnTo>
                <a:lnTo>
                  <a:pt x="708" y="190"/>
                </a:lnTo>
                <a:lnTo>
                  <a:pt x="712" y="190"/>
                </a:lnTo>
                <a:lnTo>
                  <a:pt x="716" y="190"/>
                </a:lnTo>
                <a:lnTo>
                  <a:pt x="716" y="194"/>
                </a:lnTo>
                <a:lnTo>
                  <a:pt x="712" y="194"/>
                </a:lnTo>
                <a:lnTo>
                  <a:pt x="708" y="194"/>
                </a:lnTo>
                <a:lnTo>
                  <a:pt x="706" y="194"/>
                </a:lnTo>
                <a:lnTo>
                  <a:pt x="702" y="194"/>
                </a:lnTo>
                <a:lnTo>
                  <a:pt x="706" y="194"/>
                </a:lnTo>
                <a:lnTo>
                  <a:pt x="708" y="194"/>
                </a:lnTo>
                <a:lnTo>
                  <a:pt x="712" y="194"/>
                </a:lnTo>
                <a:lnTo>
                  <a:pt x="716" y="194"/>
                </a:lnTo>
                <a:lnTo>
                  <a:pt x="716" y="198"/>
                </a:lnTo>
                <a:lnTo>
                  <a:pt x="720" y="198"/>
                </a:lnTo>
                <a:lnTo>
                  <a:pt x="724" y="198"/>
                </a:lnTo>
                <a:lnTo>
                  <a:pt x="728" y="198"/>
                </a:lnTo>
                <a:lnTo>
                  <a:pt x="732" y="198"/>
                </a:lnTo>
                <a:lnTo>
                  <a:pt x="734" y="202"/>
                </a:lnTo>
                <a:lnTo>
                  <a:pt x="732" y="202"/>
                </a:lnTo>
                <a:lnTo>
                  <a:pt x="728" y="202"/>
                </a:lnTo>
                <a:lnTo>
                  <a:pt x="724" y="202"/>
                </a:lnTo>
                <a:lnTo>
                  <a:pt x="716" y="202"/>
                </a:lnTo>
                <a:lnTo>
                  <a:pt x="720" y="202"/>
                </a:lnTo>
                <a:lnTo>
                  <a:pt x="716" y="202"/>
                </a:lnTo>
                <a:lnTo>
                  <a:pt x="712" y="202"/>
                </a:lnTo>
                <a:lnTo>
                  <a:pt x="708" y="202"/>
                </a:lnTo>
                <a:lnTo>
                  <a:pt x="706" y="202"/>
                </a:lnTo>
                <a:lnTo>
                  <a:pt x="702" y="202"/>
                </a:lnTo>
                <a:lnTo>
                  <a:pt x="702" y="198"/>
                </a:lnTo>
                <a:lnTo>
                  <a:pt x="698" y="198"/>
                </a:lnTo>
                <a:lnTo>
                  <a:pt x="698" y="202"/>
                </a:lnTo>
                <a:lnTo>
                  <a:pt x="702" y="202"/>
                </a:lnTo>
                <a:lnTo>
                  <a:pt x="706" y="202"/>
                </a:lnTo>
                <a:lnTo>
                  <a:pt x="708" y="202"/>
                </a:lnTo>
                <a:lnTo>
                  <a:pt x="712" y="206"/>
                </a:lnTo>
                <a:lnTo>
                  <a:pt x="708" y="206"/>
                </a:lnTo>
                <a:lnTo>
                  <a:pt x="712" y="206"/>
                </a:lnTo>
                <a:lnTo>
                  <a:pt x="716" y="206"/>
                </a:lnTo>
                <a:lnTo>
                  <a:pt x="720" y="206"/>
                </a:lnTo>
                <a:lnTo>
                  <a:pt x="716" y="206"/>
                </a:lnTo>
                <a:lnTo>
                  <a:pt x="712" y="206"/>
                </a:lnTo>
                <a:lnTo>
                  <a:pt x="708" y="206"/>
                </a:lnTo>
                <a:lnTo>
                  <a:pt x="706" y="206"/>
                </a:lnTo>
                <a:lnTo>
                  <a:pt x="708" y="208"/>
                </a:lnTo>
                <a:lnTo>
                  <a:pt x="706" y="208"/>
                </a:lnTo>
                <a:lnTo>
                  <a:pt x="706" y="212"/>
                </a:lnTo>
                <a:lnTo>
                  <a:pt x="706" y="208"/>
                </a:lnTo>
                <a:lnTo>
                  <a:pt x="708" y="208"/>
                </a:lnTo>
                <a:lnTo>
                  <a:pt x="708" y="206"/>
                </a:lnTo>
                <a:lnTo>
                  <a:pt x="712" y="206"/>
                </a:lnTo>
                <a:lnTo>
                  <a:pt x="712" y="208"/>
                </a:lnTo>
                <a:lnTo>
                  <a:pt x="716" y="208"/>
                </a:lnTo>
                <a:lnTo>
                  <a:pt x="712" y="208"/>
                </a:lnTo>
                <a:lnTo>
                  <a:pt x="716" y="208"/>
                </a:lnTo>
                <a:lnTo>
                  <a:pt x="720" y="208"/>
                </a:lnTo>
                <a:lnTo>
                  <a:pt x="720" y="206"/>
                </a:lnTo>
                <a:lnTo>
                  <a:pt x="724" y="206"/>
                </a:lnTo>
                <a:lnTo>
                  <a:pt x="724" y="208"/>
                </a:lnTo>
                <a:lnTo>
                  <a:pt x="728" y="208"/>
                </a:lnTo>
                <a:lnTo>
                  <a:pt x="724" y="212"/>
                </a:lnTo>
                <a:lnTo>
                  <a:pt x="728" y="212"/>
                </a:lnTo>
                <a:lnTo>
                  <a:pt x="728" y="208"/>
                </a:lnTo>
                <a:lnTo>
                  <a:pt x="732" y="212"/>
                </a:lnTo>
                <a:lnTo>
                  <a:pt x="734" y="212"/>
                </a:lnTo>
                <a:lnTo>
                  <a:pt x="732" y="216"/>
                </a:lnTo>
                <a:lnTo>
                  <a:pt x="728" y="216"/>
                </a:lnTo>
                <a:lnTo>
                  <a:pt x="724" y="220"/>
                </a:lnTo>
                <a:lnTo>
                  <a:pt x="728" y="216"/>
                </a:lnTo>
                <a:lnTo>
                  <a:pt x="728" y="220"/>
                </a:lnTo>
                <a:lnTo>
                  <a:pt x="728" y="216"/>
                </a:lnTo>
                <a:lnTo>
                  <a:pt x="732" y="216"/>
                </a:lnTo>
                <a:lnTo>
                  <a:pt x="734" y="220"/>
                </a:lnTo>
                <a:lnTo>
                  <a:pt x="734" y="224"/>
                </a:lnTo>
                <a:lnTo>
                  <a:pt x="738" y="224"/>
                </a:lnTo>
                <a:lnTo>
                  <a:pt x="738" y="220"/>
                </a:lnTo>
                <a:lnTo>
                  <a:pt x="738" y="216"/>
                </a:lnTo>
                <a:lnTo>
                  <a:pt x="742" y="216"/>
                </a:lnTo>
                <a:lnTo>
                  <a:pt x="746" y="216"/>
                </a:lnTo>
                <a:lnTo>
                  <a:pt x="746" y="220"/>
                </a:lnTo>
                <a:lnTo>
                  <a:pt x="748" y="220"/>
                </a:lnTo>
                <a:lnTo>
                  <a:pt x="752" y="220"/>
                </a:lnTo>
                <a:lnTo>
                  <a:pt x="756" y="220"/>
                </a:lnTo>
                <a:lnTo>
                  <a:pt x="756" y="216"/>
                </a:lnTo>
                <a:lnTo>
                  <a:pt x="760" y="216"/>
                </a:lnTo>
                <a:lnTo>
                  <a:pt x="764" y="216"/>
                </a:lnTo>
                <a:lnTo>
                  <a:pt x="764" y="220"/>
                </a:lnTo>
                <a:lnTo>
                  <a:pt x="768" y="220"/>
                </a:lnTo>
                <a:lnTo>
                  <a:pt x="772" y="220"/>
                </a:lnTo>
                <a:lnTo>
                  <a:pt x="772" y="224"/>
                </a:lnTo>
                <a:lnTo>
                  <a:pt x="768" y="224"/>
                </a:lnTo>
                <a:lnTo>
                  <a:pt x="772" y="224"/>
                </a:lnTo>
                <a:lnTo>
                  <a:pt x="776" y="224"/>
                </a:lnTo>
                <a:lnTo>
                  <a:pt x="778" y="224"/>
                </a:lnTo>
                <a:lnTo>
                  <a:pt x="782" y="224"/>
                </a:lnTo>
                <a:lnTo>
                  <a:pt x="778" y="220"/>
                </a:lnTo>
                <a:lnTo>
                  <a:pt x="776" y="220"/>
                </a:lnTo>
                <a:lnTo>
                  <a:pt x="778" y="220"/>
                </a:lnTo>
                <a:lnTo>
                  <a:pt x="782" y="220"/>
                </a:lnTo>
                <a:lnTo>
                  <a:pt x="786" y="220"/>
                </a:lnTo>
                <a:lnTo>
                  <a:pt x="790" y="216"/>
                </a:lnTo>
                <a:lnTo>
                  <a:pt x="794" y="216"/>
                </a:lnTo>
                <a:lnTo>
                  <a:pt x="798" y="216"/>
                </a:lnTo>
                <a:lnTo>
                  <a:pt x="802" y="216"/>
                </a:lnTo>
                <a:lnTo>
                  <a:pt x="806" y="212"/>
                </a:lnTo>
                <a:lnTo>
                  <a:pt x="808" y="212"/>
                </a:lnTo>
                <a:lnTo>
                  <a:pt x="812" y="212"/>
                </a:lnTo>
                <a:lnTo>
                  <a:pt x="816" y="212"/>
                </a:lnTo>
                <a:lnTo>
                  <a:pt x="820" y="212"/>
                </a:lnTo>
                <a:lnTo>
                  <a:pt x="824" y="212"/>
                </a:lnTo>
                <a:lnTo>
                  <a:pt x="828" y="212"/>
                </a:lnTo>
                <a:lnTo>
                  <a:pt x="832" y="212"/>
                </a:lnTo>
                <a:lnTo>
                  <a:pt x="834" y="212"/>
                </a:lnTo>
                <a:lnTo>
                  <a:pt x="838" y="212"/>
                </a:lnTo>
                <a:lnTo>
                  <a:pt x="842" y="212"/>
                </a:lnTo>
                <a:lnTo>
                  <a:pt x="846" y="212"/>
                </a:lnTo>
                <a:lnTo>
                  <a:pt x="846" y="216"/>
                </a:lnTo>
                <a:lnTo>
                  <a:pt x="850" y="216"/>
                </a:lnTo>
                <a:lnTo>
                  <a:pt x="854" y="216"/>
                </a:lnTo>
                <a:lnTo>
                  <a:pt x="858" y="216"/>
                </a:lnTo>
                <a:lnTo>
                  <a:pt x="862" y="216"/>
                </a:lnTo>
                <a:lnTo>
                  <a:pt x="864" y="220"/>
                </a:lnTo>
                <a:lnTo>
                  <a:pt x="862" y="220"/>
                </a:lnTo>
                <a:lnTo>
                  <a:pt x="858" y="220"/>
                </a:lnTo>
                <a:lnTo>
                  <a:pt x="862" y="220"/>
                </a:lnTo>
                <a:lnTo>
                  <a:pt x="864" y="220"/>
                </a:lnTo>
                <a:lnTo>
                  <a:pt x="868" y="220"/>
                </a:lnTo>
                <a:lnTo>
                  <a:pt x="868" y="224"/>
                </a:lnTo>
                <a:lnTo>
                  <a:pt x="868" y="228"/>
                </a:lnTo>
                <a:lnTo>
                  <a:pt x="872" y="228"/>
                </a:lnTo>
                <a:lnTo>
                  <a:pt x="868" y="228"/>
                </a:lnTo>
                <a:lnTo>
                  <a:pt x="864" y="232"/>
                </a:lnTo>
                <a:lnTo>
                  <a:pt x="864" y="228"/>
                </a:lnTo>
                <a:lnTo>
                  <a:pt x="864" y="232"/>
                </a:lnTo>
                <a:lnTo>
                  <a:pt x="862" y="232"/>
                </a:lnTo>
                <a:lnTo>
                  <a:pt x="858" y="232"/>
                </a:lnTo>
                <a:lnTo>
                  <a:pt x="858" y="236"/>
                </a:lnTo>
                <a:lnTo>
                  <a:pt x="858" y="236"/>
                </a:lnTo>
                <a:lnTo>
                  <a:pt x="858" y="236"/>
                </a:lnTo>
                <a:close/>
                <a:moveTo>
                  <a:pt x="620" y="180"/>
                </a:moveTo>
                <a:lnTo>
                  <a:pt x="622" y="180"/>
                </a:lnTo>
                <a:lnTo>
                  <a:pt x="620" y="180"/>
                </a:lnTo>
                <a:lnTo>
                  <a:pt x="616" y="180"/>
                </a:lnTo>
                <a:lnTo>
                  <a:pt x="620" y="180"/>
                </a:lnTo>
                <a:lnTo>
                  <a:pt x="620" y="180"/>
                </a:lnTo>
                <a:lnTo>
                  <a:pt x="620" y="180"/>
                </a:lnTo>
                <a:close/>
                <a:moveTo>
                  <a:pt x="380" y="186"/>
                </a:moveTo>
                <a:lnTo>
                  <a:pt x="374" y="186"/>
                </a:lnTo>
                <a:lnTo>
                  <a:pt x="370" y="186"/>
                </a:lnTo>
                <a:lnTo>
                  <a:pt x="370" y="182"/>
                </a:lnTo>
                <a:lnTo>
                  <a:pt x="374" y="182"/>
                </a:lnTo>
                <a:lnTo>
                  <a:pt x="378" y="182"/>
                </a:lnTo>
                <a:lnTo>
                  <a:pt x="380" y="182"/>
                </a:lnTo>
                <a:lnTo>
                  <a:pt x="384" y="182"/>
                </a:lnTo>
                <a:lnTo>
                  <a:pt x="388" y="182"/>
                </a:lnTo>
                <a:lnTo>
                  <a:pt x="388" y="186"/>
                </a:lnTo>
                <a:lnTo>
                  <a:pt x="384" y="186"/>
                </a:lnTo>
                <a:lnTo>
                  <a:pt x="380" y="186"/>
                </a:lnTo>
                <a:lnTo>
                  <a:pt x="380" y="186"/>
                </a:lnTo>
                <a:lnTo>
                  <a:pt x="380" y="186"/>
                </a:lnTo>
                <a:close/>
                <a:moveTo>
                  <a:pt x="370" y="236"/>
                </a:moveTo>
                <a:lnTo>
                  <a:pt x="366" y="236"/>
                </a:lnTo>
                <a:lnTo>
                  <a:pt x="366" y="232"/>
                </a:lnTo>
                <a:lnTo>
                  <a:pt x="366" y="228"/>
                </a:lnTo>
                <a:lnTo>
                  <a:pt x="366" y="232"/>
                </a:lnTo>
                <a:lnTo>
                  <a:pt x="362" y="232"/>
                </a:lnTo>
                <a:lnTo>
                  <a:pt x="358" y="232"/>
                </a:lnTo>
                <a:lnTo>
                  <a:pt x="362" y="232"/>
                </a:lnTo>
                <a:lnTo>
                  <a:pt x="362" y="236"/>
                </a:lnTo>
                <a:lnTo>
                  <a:pt x="358" y="236"/>
                </a:lnTo>
                <a:lnTo>
                  <a:pt x="354" y="236"/>
                </a:lnTo>
                <a:lnTo>
                  <a:pt x="352" y="232"/>
                </a:lnTo>
                <a:lnTo>
                  <a:pt x="352" y="228"/>
                </a:lnTo>
                <a:lnTo>
                  <a:pt x="348" y="228"/>
                </a:lnTo>
                <a:lnTo>
                  <a:pt x="344" y="232"/>
                </a:lnTo>
                <a:lnTo>
                  <a:pt x="336" y="232"/>
                </a:lnTo>
                <a:lnTo>
                  <a:pt x="336" y="228"/>
                </a:lnTo>
                <a:lnTo>
                  <a:pt x="332" y="228"/>
                </a:lnTo>
                <a:lnTo>
                  <a:pt x="328" y="228"/>
                </a:lnTo>
                <a:lnTo>
                  <a:pt x="332" y="224"/>
                </a:lnTo>
                <a:lnTo>
                  <a:pt x="336" y="224"/>
                </a:lnTo>
                <a:lnTo>
                  <a:pt x="336" y="220"/>
                </a:lnTo>
                <a:lnTo>
                  <a:pt x="340" y="220"/>
                </a:lnTo>
                <a:lnTo>
                  <a:pt x="344" y="220"/>
                </a:lnTo>
                <a:lnTo>
                  <a:pt x="352" y="220"/>
                </a:lnTo>
                <a:lnTo>
                  <a:pt x="354" y="220"/>
                </a:lnTo>
                <a:lnTo>
                  <a:pt x="358" y="220"/>
                </a:lnTo>
                <a:lnTo>
                  <a:pt x="358" y="216"/>
                </a:lnTo>
                <a:lnTo>
                  <a:pt x="362" y="216"/>
                </a:lnTo>
                <a:lnTo>
                  <a:pt x="366" y="216"/>
                </a:lnTo>
                <a:lnTo>
                  <a:pt x="370" y="216"/>
                </a:lnTo>
                <a:lnTo>
                  <a:pt x="366" y="216"/>
                </a:lnTo>
                <a:lnTo>
                  <a:pt x="362" y="216"/>
                </a:lnTo>
                <a:lnTo>
                  <a:pt x="358" y="216"/>
                </a:lnTo>
                <a:lnTo>
                  <a:pt x="354" y="216"/>
                </a:lnTo>
                <a:lnTo>
                  <a:pt x="352" y="216"/>
                </a:lnTo>
                <a:lnTo>
                  <a:pt x="352" y="220"/>
                </a:lnTo>
                <a:lnTo>
                  <a:pt x="348" y="220"/>
                </a:lnTo>
                <a:lnTo>
                  <a:pt x="344" y="220"/>
                </a:lnTo>
                <a:lnTo>
                  <a:pt x="336" y="220"/>
                </a:lnTo>
                <a:lnTo>
                  <a:pt x="336" y="216"/>
                </a:lnTo>
                <a:lnTo>
                  <a:pt x="340" y="216"/>
                </a:lnTo>
                <a:lnTo>
                  <a:pt x="340" y="212"/>
                </a:lnTo>
                <a:lnTo>
                  <a:pt x="344" y="212"/>
                </a:lnTo>
                <a:lnTo>
                  <a:pt x="348" y="212"/>
                </a:lnTo>
                <a:lnTo>
                  <a:pt x="352" y="212"/>
                </a:lnTo>
                <a:lnTo>
                  <a:pt x="354" y="212"/>
                </a:lnTo>
                <a:lnTo>
                  <a:pt x="358" y="212"/>
                </a:lnTo>
                <a:lnTo>
                  <a:pt x="358" y="208"/>
                </a:lnTo>
                <a:lnTo>
                  <a:pt x="358" y="212"/>
                </a:lnTo>
                <a:lnTo>
                  <a:pt x="362" y="212"/>
                </a:lnTo>
                <a:lnTo>
                  <a:pt x="362" y="208"/>
                </a:lnTo>
                <a:lnTo>
                  <a:pt x="366" y="208"/>
                </a:lnTo>
                <a:lnTo>
                  <a:pt x="370" y="208"/>
                </a:lnTo>
                <a:lnTo>
                  <a:pt x="366" y="208"/>
                </a:lnTo>
                <a:lnTo>
                  <a:pt x="362" y="208"/>
                </a:lnTo>
                <a:lnTo>
                  <a:pt x="358" y="208"/>
                </a:lnTo>
                <a:lnTo>
                  <a:pt x="354" y="208"/>
                </a:lnTo>
                <a:lnTo>
                  <a:pt x="352" y="208"/>
                </a:lnTo>
                <a:lnTo>
                  <a:pt x="348" y="208"/>
                </a:lnTo>
                <a:lnTo>
                  <a:pt x="344" y="208"/>
                </a:lnTo>
                <a:lnTo>
                  <a:pt x="348" y="208"/>
                </a:lnTo>
                <a:lnTo>
                  <a:pt x="348" y="206"/>
                </a:lnTo>
                <a:lnTo>
                  <a:pt x="344" y="206"/>
                </a:lnTo>
                <a:lnTo>
                  <a:pt x="348" y="202"/>
                </a:lnTo>
                <a:lnTo>
                  <a:pt x="352" y="202"/>
                </a:lnTo>
                <a:lnTo>
                  <a:pt x="354" y="202"/>
                </a:lnTo>
                <a:lnTo>
                  <a:pt x="358" y="202"/>
                </a:lnTo>
                <a:lnTo>
                  <a:pt x="362" y="202"/>
                </a:lnTo>
                <a:lnTo>
                  <a:pt x="366" y="202"/>
                </a:lnTo>
                <a:lnTo>
                  <a:pt x="370" y="202"/>
                </a:lnTo>
                <a:lnTo>
                  <a:pt x="374" y="202"/>
                </a:lnTo>
                <a:lnTo>
                  <a:pt x="370" y="202"/>
                </a:lnTo>
                <a:lnTo>
                  <a:pt x="366" y="202"/>
                </a:lnTo>
                <a:lnTo>
                  <a:pt x="362" y="202"/>
                </a:lnTo>
                <a:lnTo>
                  <a:pt x="358" y="202"/>
                </a:lnTo>
                <a:lnTo>
                  <a:pt x="354" y="202"/>
                </a:lnTo>
                <a:lnTo>
                  <a:pt x="354" y="198"/>
                </a:lnTo>
                <a:lnTo>
                  <a:pt x="358" y="194"/>
                </a:lnTo>
                <a:lnTo>
                  <a:pt x="362" y="194"/>
                </a:lnTo>
                <a:lnTo>
                  <a:pt x="366" y="194"/>
                </a:lnTo>
                <a:lnTo>
                  <a:pt x="370" y="194"/>
                </a:lnTo>
                <a:lnTo>
                  <a:pt x="374" y="194"/>
                </a:lnTo>
                <a:lnTo>
                  <a:pt x="378" y="194"/>
                </a:lnTo>
                <a:lnTo>
                  <a:pt x="380" y="194"/>
                </a:lnTo>
                <a:lnTo>
                  <a:pt x="380" y="198"/>
                </a:lnTo>
                <a:lnTo>
                  <a:pt x="380" y="202"/>
                </a:lnTo>
                <a:lnTo>
                  <a:pt x="384" y="202"/>
                </a:lnTo>
                <a:lnTo>
                  <a:pt x="388" y="202"/>
                </a:lnTo>
                <a:lnTo>
                  <a:pt x="392" y="198"/>
                </a:lnTo>
                <a:lnTo>
                  <a:pt x="396" y="198"/>
                </a:lnTo>
                <a:lnTo>
                  <a:pt x="400" y="198"/>
                </a:lnTo>
                <a:lnTo>
                  <a:pt x="400" y="202"/>
                </a:lnTo>
                <a:lnTo>
                  <a:pt x="404" y="202"/>
                </a:lnTo>
                <a:lnTo>
                  <a:pt x="404" y="206"/>
                </a:lnTo>
                <a:lnTo>
                  <a:pt x="408" y="206"/>
                </a:lnTo>
                <a:lnTo>
                  <a:pt x="410" y="206"/>
                </a:lnTo>
                <a:lnTo>
                  <a:pt x="410" y="208"/>
                </a:lnTo>
                <a:lnTo>
                  <a:pt x="414" y="208"/>
                </a:lnTo>
                <a:lnTo>
                  <a:pt x="410" y="208"/>
                </a:lnTo>
                <a:lnTo>
                  <a:pt x="408" y="208"/>
                </a:lnTo>
                <a:lnTo>
                  <a:pt x="408" y="212"/>
                </a:lnTo>
                <a:lnTo>
                  <a:pt x="410" y="212"/>
                </a:lnTo>
                <a:lnTo>
                  <a:pt x="414" y="212"/>
                </a:lnTo>
                <a:lnTo>
                  <a:pt x="418" y="212"/>
                </a:lnTo>
                <a:lnTo>
                  <a:pt x="418" y="216"/>
                </a:lnTo>
                <a:lnTo>
                  <a:pt x="418" y="220"/>
                </a:lnTo>
                <a:lnTo>
                  <a:pt x="422" y="220"/>
                </a:lnTo>
                <a:lnTo>
                  <a:pt x="424" y="220"/>
                </a:lnTo>
                <a:lnTo>
                  <a:pt x="428" y="220"/>
                </a:lnTo>
                <a:lnTo>
                  <a:pt x="432" y="220"/>
                </a:lnTo>
                <a:lnTo>
                  <a:pt x="436" y="220"/>
                </a:lnTo>
                <a:lnTo>
                  <a:pt x="440" y="220"/>
                </a:lnTo>
                <a:lnTo>
                  <a:pt x="444" y="220"/>
                </a:lnTo>
                <a:lnTo>
                  <a:pt x="448" y="220"/>
                </a:lnTo>
                <a:lnTo>
                  <a:pt x="450" y="220"/>
                </a:lnTo>
                <a:lnTo>
                  <a:pt x="454" y="220"/>
                </a:lnTo>
                <a:lnTo>
                  <a:pt x="454" y="216"/>
                </a:lnTo>
                <a:lnTo>
                  <a:pt x="450" y="212"/>
                </a:lnTo>
                <a:lnTo>
                  <a:pt x="448" y="212"/>
                </a:lnTo>
                <a:lnTo>
                  <a:pt x="444" y="212"/>
                </a:lnTo>
                <a:lnTo>
                  <a:pt x="444" y="208"/>
                </a:lnTo>
                <a:lnTo>
                  <a:pt x="440" y="208"/>
                </a:lnTo>
                <a:lnTo>
                  <a:pt x="436" y="208"/>
                </a:lnTo>
                <a:lnTo>
                  <a:pt x="440" y="208"/>
                </a:lnTo>
                <a:lnTo>
                  <a:pt x="444" y="208"/>
                </a:lnTo>
                <a:lnTo>
                  <a:pt x="448" y="206"/>
                </a:lnTo>
                <a:lnTo>
                  <a:pt x="448" y="202"/>
                </a:lnTo>
                <a:lnTo>
                  <a:pt x="444" y="202"/>
                </a:lnTo>
                <a:lnTo>
                  <a:pt x="440" y="202"/>
                </a:lnTo>
                <a:lnTo>
                  <a:pt x="436" y="202"/>
                </a:lnTo>
                <a:lnTo>
                  <a:pt x="436" y="198"/>
                </a:lnTo>
                <a:lnTo>
                  <a:pt x="432" y="198"/>
                </a:lnTo>
                <a:lnTo>
                  <a:pt x="432" y="194"/>
                </a:lnTo>
                <a:lnTo>
                  <a:pt x="436" y="194"/>
                </a:lnTo>
                <a:lnTo>
                  <a:pt x="440" y="194"/>
                </a:lnTo>
                <a:lnTo>
                  <a:pt x="444" y="194"/>
                </a:lnTo>
                <a:lnTo>
                  <a:pt x="444" y="190"/>
                </a:lnTo>
                <a:lnTo>
                  <a:pt x="440" y="190"/>
                </a:lnTo>
                <a:lnTo>
                  <a:pt x="444" y="190"/>
                </a:lnTo>
                <a:lnTo>
                  <a:pt x="444" y="186"/>
                </a:lnTo>
                <a:lnTo>
                  <a:pt x="448" y="182"/>
                </a:lnTo>
                <a:lnTo>
                  <a:pt x="450" y="182"/>
                </a:lnTo>
                <a:lnTo>
                  <a:pt x="454" y="182"/>
                </a:lnTo>
                <a:lnTo>
                  <a:pt x="458" y="182"/>
                </a:lnTo>
                <a:lnTo>
                  <a:pt x="458" y="186"/>
                </a:lnTo>
                <a:lnTo>
                  <a:pt x="458" y="190"/>
                </a:lnTo>
                <a:lnTo>
                  <a:pt x="454" y="190"/>
                </a:lnTo>
                <a:lnTo>
                  <a:pt x="458" y="190"/>
                </a:lnTo>
                <a:lnTo>
                  <a:pt x="458" y="194"/>
                </a:lnTo>
                <a:lnTo>
                  <a:pt x="462" y="194"/>
                </a:lnTo>
                <a:lnTo>
                  <a:pt x="462" y="198"/>
                </a:lnTo>
                <a:lnTo>
                  <a:pt x="466" y="198"/>
                </a:lnTo>
                <a:lnTo>
                  <a:pt x="462" y="202"/>
                </a:lnTo>
                <a:lnTo>
                  <a:pt x="462" y="206"/>
                </a:lnTo>
                <a:lnTo>
                  <a:pt x="466" y="206"/>
                </a:lnTo>
                <a:lnTo>
                  <a:pt x="470" y="206"/>
                </a:lnTo>
                <a:lnTo>
                  <a:pt x="474" y="206"/>
                </a:lnTo>
                <a:lnTo>
                  <a:pt x="470" y="208"/>
                </a:lnTo>
                <a:lnTo>
                  <a:pt x="466" y="208"/>
                </a:lnTo>
                <a:lnTo>
                  <a:pt x="466" y="212"/>
                </a:lnTo>
                <a:lnTo>
                  <a:pt x="470" y="212"/>
                </a:lnTo>
                <a:lnTo>
                  <a:pt x="470" y="208"/>
                </a:lnTo>
                <a:lnTo>
                  <a:pt x="474" y="208"/>
                </a:lnTo>
                <a:lnTo>
                  <a:pt x="478" y="208"/>
                </a:lnTo>
                <a:lnTo>
                  <a:pt x="480" y="208"/>
                </a:lnTo>
                <a:lnTo>
                  <a:pt x="480" y="212"/>
                </a:lnTo>
                <a:lnTo>
                  <a:pt x="484" y="212"/>
                </a:lnTo>
                <a:lnTo>
                  <a:pt x="480" y="212"/>
                </a:lnTo>
                <a:lnTo>
                  <a:pt x="480" y="208"/>
                </a:lnTo>
                <a:lnTo>
                  <a:pt x="484" y="206"/>
                </a:lnTo>
                <a:lnTo>
                  <a:pt x="488" y="206"/>
                </a:lnTo>
                <a:lnTo>
                  <a:pt x="492" y="206"/>
                </a:lnTo>
                <a:lnTo>
                  <a:pt x="496" y="206"/>
                </a:lnTo>
                <a:lnTo>
                  <a:pt x="500" y="208"/>
                </a:lnTo>
                <a:lnTo>
                  <a:pt x="504" y="208"/>
                </a:lnTo>
                <a:lnTo>
                  <a:pt x="504" y="212"/>
                </a:lnTo>
                <a:lnTo>
                  <a:pt x="504" y="216"/>
                </a:lnTo>
                <a:lnTo>
                  <a:pt x="504" y="220"/>
                </a:lnTo>
                <a:lnTo>
                  <a:pt x="500" y="220"/>
                </a:lnTo>
                <a:lnTo>
                  <a:pt x="500" y="224"/>
                </a:lnTo>
                <a:lnTo>
                  <a:pt x="500" y="228"/>
                </a:lnTo>
                <a:lnTo>
                  <a:pt x="496" y="228"/>
                </a:lnTo>
                <a:lnTo>
                  <a:pt x="496" y="232"/>
                </a:lnTo>
                <a:lnTo>
                  <a:pt x="492" y="232"/>
                </a:lnTo>
                <a:lnTo>
                  <a:pt x="496" y="232"/>
                </a:lnTo>
                <a:lnTo>
                  <a:pt x="492" y="236"/>
                </a:lnTo>
                <a:lnTo>
                  <a:pt x="488" y="236"/>
                </a:lnTo>
                <a:lnTo>
                  <a:pt x="484" y="236"/>
                </a:lnTo>
                <a:lnTo>
                  <a:pt x="480" y="236"/>
                </a:lnTo>
                <a:lnTo>
                  <a:pt x="478" y="236"/>
                </a:lnTo>
                <a:lnTo>
                  <a:pt x="474" y="236"/>
                </a:lnTo>
                <a:lnTo>
                  <a:pt x="470" y="236"/>
                </a:lnTo>
                <a:lnTo>
                  <a:pt x="470" y="232"/>
                </a:lnTo>
                <a:lnTo>
                  <a:pt x="470" y="236"/>
                </a:lnTo>
                <a:lnTo>
                  <a:pt x="466" y="236"/>
                </a:lnTo>
                <a:lnTo>
                  <a:pt x="462" y="236"/>
                </a:lnTo>
                <a:lnTo>
                  <a:pt x="458" y="236"/>
                </a:lnTo>
                <a:lnTo>
                  <a:pt x="454" y="236"/>
                </a:lnTo>
                <a:lnTo>
                  <a:pt x="458" y="236"/>
                </a:lnTo>
                <a:lnTo>
                  <a:pt x="458" y="232"/>
                </a:lnTo>
                <a:lnTo>
                  <a:pt x="454" y="232"/>
                </a:lnTo>
                <a:lnTo>
                  <a:pt x="450" y="236"/>
                </a:lnTo>
                <a:lnTo>
                  <a:pt x="448" y="236"/>
                </a:lnTo>
                <a:lnTo>
                  <a:pt x="444" y="238"/>
                </a:lnTo>
                <a:lnTo>
                  <a:pt x="440" y="238"/>
                </a:lnTo>
                <a:lnTo>
                  <a:pt x="436" y="238"/>
                </a:lnTo>
                <a:lnTo>
                  <a:pt x="432" y="238"/>
                </a:lnTo>
                <a:lnTo>
                  <a:pt x="428" y="238"/>
                </a:lnTo>
                <a:lnTo>
                  <a:pt x="428" y="242"/>
                </a:lnTo>
                <a:lnTo>
                  <a:pt x="424" y="242"/>
                </a:lnTo>
                <a:lnTo>
                  <a:pt x="422" y="246"/>
                </a:lnTo>
                <a:lnTo>
                  <a:pt x="418" y="246"/>
                </a:lnTo>
                <a:lnTo>
                  <a:pt x="414" y="246"/>
                </a:lnTo>
                <a:lnTo>
                  <a:pt x="410" y="250"/>
                </a:lnTo>
                <a:lnTo>
                  <a:pt x="408" y="250"/>
                </a:lnTo>
                <a:lnTo>
                  <a:pt x="404" y="250"/>
                </a:lnTo>
                <a:lnTo>
                  <a:pt x="400" y="250"/>
                </a:lnTo>
                <a:lnTo>
                  <a:pt x="396" y="250"/>
                </a:lnTo>
                <a:lnTo>
                  <a:pt x="392" y="250"/>
                </a:lnTo>
                <a:lnTo>
                  <a:pt x="388" y="250"/>
                </a:lnTo>
                <a:lnTo>
                  <a:pt x="384" y="246"/>
                </a:lnTo>
                <a:lnTo>
                  <a:pt x="380" y="246"/>
                </a:lnTo>
                <a:lnTo>
                  <a:pt x="378" y="246"/>
                </a:lnTo>
                <a:lnTo>
                  <a:pt x="378" y="242"/>
                </a:lnTo>
                <a:lnTo>
                  <a:pt x="380" y="238"/>
                </a:lnTo>
                <a:lnTo>
                  <a:pt x="384" y="238"/>
                </a:lnTo>
                <a:lnTo>
                  <a:pt x="388" y="238"/>
                </a:lnTo>
                <a:lnTo>
                  <a:pt x="392" y="238"/>
                </a:lnTo>
                <a:lnTo>
                  <a:pt x="392" y="236"/>
                </a:lnTo>
                <a:lnTo>
                  <a:pt x="396" y="236"/>
                </a:lnTo>
                <a:lnTo>
                  <a:pt x="400" y="236"/>
                </a:lnTo>
                <a:lnTo>
                  <a:pt x="404" y="236"/>
                </a:lnTo>
                <a:lnTo>
                  <a:pt x="408" y="236"/>
                </a:lnTo>
                <a:lnTo>
                  <a:pt x="410" y="236"/>
                </a:lnTo>
                <a:lnTo>
                  <a:pt x="414" y="236"/>
                </a:lnTo>
                <a:lnTo>
                  <a:pt x="418" y="236"/>
                </a:lnTo>
                <a:lnTo>
                  <a:pt x="422" y="232"/>
                </a:lnTo>
                <a:lnTo>
                  <a:pt x="424" y="228"/>
                </a:lnTo>
                <a:lnTo>
                  <a:pt x="422" y="228"/>
                </a:lnTo>
                <a:lnTo>
                  <a:pt x="418" y="228"/>
                </a:lnTo>
                <a:lnTo>
                  <a:pt x="418" y="232"/>
                </a:lnTo>
                <a:lnTo>
                  <a:pt x="414" y="232"/>
                </a:lnTo>
                <a:lnTo>
                  <a:pt x="414" y="228"/>
                </a:lnTo>
                <a:lnTo>
                  <a:pt x="410" y="232"/>
                </a:lnTo>
                <a:lnTo>
                  <a:pt x="408" y="232"/>
                </a:lnTo>
                <a:lnTo>
                  <a:pt x="404" y="232"/>
                </a:lnTo>
                <a:lnTo>
                  <a:pt x="408" y="228"/>
                </a:lnTo>
                <a:lnTo>
                  <a:pt x="404" y="228"/>
                </a:lnTo>
                <a:lnTo>
                  <a:pt x="400" y="228"/>
                </a:lnTo>
                <a:lnTo>
                  <a:pt x="400" y="232"/>
                </a:lnTo>
                <a:lnTo>
                  <a:pt x="396" y="232"/>
                </a:lnTo>
                <a:lnTo>
                  <a:pt x="392" y="232"/>
                </a:lnTo>
                <a:lnTo>
                  <a:pt x="388" y="232"/>
                </a:lnTo>
                <a:lnTo>
                  <a:pt x="384" y="232"/>
                </a:lnTo>
                <a:lnTo>
                  <a:pt x="380" y="232"/>
                </a:lnTo>
                <a:lnTo>
                  <a:pt x="384" y="228"/>
                </a:lnTo>
                <a:lnTo>
                  <a:pt x="384" y="224"/>
                </a:lnTo>
                <a:lnTo>
                  <a:pt x="388" y="224"/>
                </a:lnTo>
                <a:lnTo>
                  <a:pt x="392" y="224"/>
                </a:lnTo>
                <a:lnTo>
                  <a:pt x="388" y="224"/>
                </a:lnTo>
                <a:lnTo>
                  <a:pt x="384" y="224"/>
                </a:lnTo>
                <a:lnTo>
                  <a:pt x="380" y="224"/>
                </a:lnTo>
                <a:lnTo>
                  <a:pt x="380" y="220"/>
                </a:lnTo>
                <a:lnTo>
                  <a:pt x="380" y="224"/>
                </a:lnTo>
                <a:lnTo>
                  <a:pt x="380" y="228"/>
                </a:lnTo>
                <a:lnTo>
                  <a:pt x="378" y="228"/>
                </a:lnTo>
                <a:lnTo>
                  <a:pt x="374" y="224"/>
                </a:lnTo>
                <a:lnTo>
                  <a:pt x="374" y="228"/>
                </a:lnTo>
                <a:lnTo>
                  <a:pt x="378" y="228"/>
                </a:lnTo>
                <a:lnTo>
                  <a:pt x="378" y="232"/>
                </a:lnTo>
                <a:lnTo>
                  <a:pt x="374" y="232"/>
                </a:lnTo>
                <a:lnTo>
                  <a:pt x="374" y="236"/>
                </a:lnTo>
                <a:lnTo>
                  <a:pt x="370" y="236"/>
                </a:lnTo>
                <a:lnTo>
                  <a:pt x="370" y="236"/>
                </a:lnTo>
                <a:lnTo>
                  <a:pt x="370" y="236"/>
                </a:lnTo>
                <a:close/>
                <a:moveTo>
                  <a:pt x="724" y="194"/>
                </a:moveTo>
                <a:lnTo>
                  <a:pt x="720" y="194"/>
                </a:lnTo>
                <a:lnTo>
                  <a:pt x="720" y="190"/>
                </a:lnTo>
                <a:lnTo>
                  <a:pt x="716" y="190"/>
                </a:lnTo>
                <a:lnTo>
                  <a:pt x="716" y="186"/>
                </a:lnTo>
                <a:lnTo>
                  <a:pt x="712" y="186"/>
                </a:lnTo>
                <a:lnTo>
                  <a:pt x="716" y="186"/>
                </a:lnTo>
                <a:lnTo>
                  <a:pt x="716" y="182"/>
                </a:lnTo>
                <a:lnTo>
                  <a:pt x="720" y="182"/>
                </a:lnTo>
                <a:lnTo>
                  <a:pt x="724" y="182"/>
                </a:lnTo>
                <a:lnTo>
                  <a:pt x="724" y="186"/>
                </a:lnTo>
                <a:lnTo>
                  <a:pt x="728" y="186"/>
                </a:lnTo>
                <a:lnTo>
                  <a:pt x="724" y="186"/>
                </a:lnTo>
                <a:lnTo>
                  <a:pt x="724" y="190"/>
                </a:lnTo>
                <a:lnTo>
                  <a:pt x="724" y="194"/>
                </a:lnTo>
                <a:lnTo>
                  <a:pt x="728" y="194"/>
                </a:lnTo>
                <a:lnTo>
                  <a:pt x="724" y="194"/>
                </a:lnTo>
                <a:lnTo>
                  <a:pt x="724" y="194"/>
                </a:lnTo>
                <a:lnTo>
                  <a:pt x="724" y="194"/>
                </a:lnTo>
                <a:close/>
                <a:moveTo>
                  <a:pt x="574" y="186"/>
                </a:moveTo>
                <a:lnTo>
                  <a:pt x="570" y="190"/>
                </a:lnTo>
                <a:lnTo>
                  <a:pt x="566" y="190"/>
                </a:lnTo>
                <a:lnTo>
                  <a:pt x="564" y="190"/>
                </a:lnTo>
                <a:lnTo>
                  <a:pt x="560" y="190"/>
                </a:lnTo>
                <a:lnTo>
                  <a:pt x="556" y="190"/>
                </a:lnTo>
                <a:lnTo>
                  <a:pt x="560" y="190"/>
                </a:lnTo>
                <a:lnTo>
                  <a:pt x="564" y="190"/>
                </a:lnTo>
                <a:lnTo>
                  <a:pt x="564" y="186"/>
                </a:lnTo>
                <a:lnTo>
                  <a:pt x="566" y="186"/>
                </a:lnTo>
                <a:lnTo>
                  <a:pt x="570" y="186"/>
                </a:lnTo>
                <a:lnTo>
                  <a:pt x="574" y="186"/>
                </a:lnTo>
                <a:lnTo>
                  <a:pt x="578" y="186"/>
                </a:lnTo>
                <a:lnTo>
                  <a:pt x="574" y="186"/>
                </a:lnTo>
                <a:lnTo>
                  <a:pt x="574" y="186"/>
                </a:lnTo>
                <a:lnTo>
                  <a:pt x="574" y="186"/>
                </a:lnTo>
                <a:close/>
                <a:moveTo>
                  <a:pt x="586" y="186"/>
                </a:moveTo>
                <a:lnTo>
                  <a:pt x="590" y="186"/>
                </a:lnTo>
                <a:lnTo>
                  <a:pt x="586" y="186"/>
                </a:lnTo>
                <a:lnTo>
                  <a:pt x="582" y="186"/>
                </a:lnTo>
                <a:lnTo>
                  <a:pt x="578" y="186"/>
                </a:lnTo>
                <a:lnTo>
                  <a:pt x="582" y="186"/>
                </a:lnTo>
                <a:lnTo>
                  <a:pt x="586" y="186"/>
                </a:lnTo>
                <a:lnTo>
                  <a:pt x="586" y="186"/>
                </a:lnTo>
                <a:lnTo>
                  <a:pt x="586" y="186"/>
                </a:lnTo>
                <a:close/>
                <a:moveTo>
                  <a:pt x="586" y="236"/>
                </a:moveTo>
                <a:lnTo>
                  <a:pt x="582" y="236"/>
                </a:lnTo>
                <a:lnTo>
                  <a:pt x="578" y="236"/>
                </a:lnTo>
                <a:lnTo>
                  <a:pt x="574" y="236"/>
                </a:lnTo>
                <a:lnTo>
                  <a:pt x="574" y="232"/>
                </a:lnTo>
                <a:lnTo>
                  <a:pt x="574" y="228"/>
                </a:lnTo>
                <a:lnTo>
                  <a:pt x="570" y="228"/>
                </a:lnTo>
                <a:lnTo>
                  <a:pt x="574" y="228"/>
                </a:lnTo>
                <a:lnTo>
                  <a:pt x="578" y="228"/>
                </a:lnTo>
                <a:lnTo>
                  <a:pt x="582" y="228"/>
                </a:lnTo>
                <a:lnTo>
                  <a:pt x="578" y="228"/>
                </a:lnTo>
                <a:lnTo>
                  <a:pt x="574" y="228"/>
                </a:lnTo>
                <a:lnTo>
                  <a:pt x="578" y="224"/>
                </a:lnTo>
                <a:lnTo>
                  <a:pt x="574" y="224"/>
                </a:lnTo>
                <a:lnTo>
                  <a:pt x="574" y="228"/>
                </a:lnTo>
                <a:lnTo>
                  <a:pt x="570" y="224"/>
                </a:lnTo>
                <a:lnTo>
                  <a:pt x="574" y="224"/>
                </a:lnTo>
                <a:lnTo>
                  <a:pt x="570" y="224"/>
                </a:lnTo>
                <a:lnTo>
                  <a:pt x="574" y="220"/>
                </a:lnTo>
                <a:lnTo>
                  <a:pt x="578" y="220"/>
                </a:lnTo>
                <a:lnTo>
                  <a:pt x="574" y="220"/>
                </a:lnTo>
                <a:lnTo>
                  <a:pt x="578" y="220"/>
                </a:lnTo>
                <a:lnTo>
                  <a:pt x="582" y="220"/>
                </a:lnTo>
                <a:lnTo>
                  <a:pt x="578" y="220"/>
                </a:lnTo>
                <a:lnTo>
                  <a:pt x="582" y="216"/>
                </a:lnTo>
                <a:lnTo>
                  <a:pt x="586" y="216"/>
                </a:lnTo>
                <a:lnTo>
                  <a:pt x="582" y="216"/>
                </a:lnTo>
                <a:lnTo>
                  <a:pt x="590" y="216"/>
                </a:lnTo>
                <a:lnTo>
                  <a:pt x="592" y="216"/>
                </a:lnTo>
                <a:lnTo>
                  <a:pt x="596" y="216"/>
                </a:lnTo>
                <a:lnTo>
                  <a:pt x="592" y="216"/>
                </a:lnTo>
                <a:lnTo>
                  <a:pt x="590" y="216"/>
                </a:lnTo>
                <a:lnTo>
                  <a:pt x="586" y="216"/>
                </a:lnTo>
                <a:lnTo>
                  <a:pt x="582" y="216"/>
                </a:lnTo>
                <a:lnTo>
                  <a:pt x="578" y="216"/>
                </a:lnTo>
                <a:lnTo>
                  <a:pt x="574" y="216"/>
                </a:lnTo>
                <a:lnTo>
                  <a:pt x="570" y="216"/>
                </a:lnTo>
                <a:lnTo>
                  <a:pt x="566" y="216"/>
                </a:lnTo>
                <a:lnTo>
                  <a:pt x="564" y="216"/>
                </a:lnTo>
                <a:lnTo>
                  <a:pt x="560" y="216"/>
                </a:lnTo>
                <a:lnTo>
                  <a:pt x="556" y="220"/>
                </a:lnTo>
                <a:lnTo>
                  <a:pt x="552" y="220"/>
                </a:lnTo>
                <a:lnTo>
                  <a:pt x="548" y="220"/>
                </a:lnTo>
                <a:lnTo>
                  <a:pt x="544" y="220"/>
                </a:lnTo>
                <a:lnTo>
                  <a:pt x="540" y="220"/>
                </a:lnTo>
                <a:lnTo>
                  <a:pt x="540" y="216"/>
                </a:lnTo>
                <a:lnTo>
                  <a:pt x="544" y="212"/>
                </a:lnTo>
                <a:lnTo>
                  <a:pt x="548" y="212"/>
                </a:lnTo>
                <a:lnTo>
                  <a:pt x="548" y="216"/>
                </a:lnTo>
                <a:lnTo>
                  <a:pt x="552" y="216"/>
                </a:lnTo>
                <a:lnTo>
                  <a:pt x="552" y="212"/>
                </a:lnTo>
                <a:lnTo>
                  <a:pt x="548" y="212"/>
                </a:lnTo>
                <a:lnTo>
                  <a:pt x="548" y="208"/>
                </a:lnTo>
                <a:lnTo>
                  <a:pt x="552" y="208"/>
                </a:lnTo>
                <a:lnTo>
                  <a:pt x="556" y="208"/>
                </a:lnTo>
                <a:lnTo>
                  <a:pt x="560" y="212"/>
                </a:lnTo>
                <a:lnTo>
                  <a:pt x="564" y="212"/>
                </a:lnTo>
                <a:lnTo>
                  <a:pt x="560" y="212"/>
                </a:lnTo>
                <a:lnTo>
                  <a:pt x="560" y="208"/>
                </a:lnTo>
                <a:lnTo>
                  <a:pt x="564" y="206"/>
                </a:lnTo>
                <a:lnTo>
                  <a:pt x="560" y="206"/>
                </a:lnTo>
                <a:lnTo>
                  <a:pt x="556" y="208"/>
                </a:lnTo>
                <a:lnTo>
                  <a:pt x="556" y="206"/>
                </a:lnTo>
                <a:lnTo>
                  <a:pt x="552" y="206"/>
                </a:lnTo>
                <a:lnTo>
                  <a:pt x="556" y="202"/>
                </a:lnTo>
                <a:lnTo>
                  <a:pt x="560" y="202"/>
                </a:lnTo>
                <a:lnTo>
                  <a:pt x="556" y="202"/>
                </a:lnTo>
                <a:lnTo>
                  <a:pt x="552" y="202"/>
                </a:lnTo>
                <a:lnTo>
                  <a:pt x="548" y="202"/>
                </a:lnTo>
                <a:lnTo>
                  <a:pt x="552" y="202"/>
                </a:lnTo>
                <a:lnTo>
                  <a:pt x="552" y="198"/>
                </a:lnTo>
                <a:lnTo>
                  <a:pt x="552" y="194"/>
                </a:lnTo>
                <a:lnTo>
                  <a:pt x="556" y="194"/>
                </a:lnTo>
                <a:lnTo>
                  <a:pt x="560" y="194"/>
                </a:lnTo>
                <a:lnTo>
                  <a:pt x="564" y="194"/>
                </a:lnTo>
                <a:lnTo>
                  <a:pt x="564" y="198"/>
                </a:lnTo>
                <a:lnTo>
                  <a:pt x="566" y="202"/>
                </a:lnTo>
                <a:lnTo>
                  <a:pt x="570" y="202"/>
                </a:lnTo>
                <a:lnTo>
                  <a:pt x="574" y="206"/>
                </a:lnTo>
                <a:lnTo>
                  <a:pt x="578" y="208"/>
                </a:lnTo>
                <a:lnTo>
                  <a:pt x="582" y="208"/>
                </a:lnTo>
                <a:lnTo>
                  <a:pt x="586" y="208"/>
                </a:lnTo>
                <a:lnTo>
                  <a:pt x="590" y="208"/>
                </a:lnTo>
                <a:lnTo>
                  <a:pt x="586" y="208"/>
                </a:lnTo>
                <a:lnTo>
                  <a:pt x="582" y="208"/>
                </a:lnTo>
                <a:lnTo>
                  <a:pt x="578" y="206"/>
                </a:lnTo>
                <a:lnTo>
                  <a:pt x="578" y="202"/>
                </a:lnTo>
                <a:lnTo>
                  <a:pt x="582" y="202"/>
                </a:lnTo>
                <a:lnTo>
                  <a:pt x="586" y="206"/>
                </a:lnTo>
                <a:lnTo>
                  <a:pt x="586" y="202"/>
                </a:lnTo>
                <a:lnTo>
                  <a:pt x="590" y="202"/>
                </a:lnTo>
                <a:lnTo>
                  <a:pt x="586" y="202"/>
                </a:lnTo>
                <a:lnTo>
                  <a:pt x="582" y="202"/>
                </a:lnTo>
                <a:lnTo>
                  <a:pt x="578" y="202"/>
                </a:lnTo>
                <a:lnTo>
                  <a:pt x="574" y="202"/>
                </a:lnTo>
                <a:lnTo>
                  <a:pt x="574" y="198"/>
                </a:lnTo>
                <a:lnTo>
                  <a:pt x="578" y="198"/>
                </a:lnTo>
                <a:lnTo>
                  <a:pt x="582" y="198"/>
                </a:lnTo>
                <a:lnTo>
                  <a:pt x="578" y="198"/>
                </a:lnTo>
                <a:lnTo>
                  <a:pt x="574" y="198"/>
                </a:lnTo>
                <a:lnTo>
                  <a:pt x="570" y="198"/>
                </a:lnTo>
                <a:lnTo>
                  <a:pt x="566" y="194"/>
                </a:lnTo>
                <a:lnTo>
                  <a:pt x="570" y="190"/>
                </a:lnTo>
                <a:lnTo>
                  <a:pt x="574" y="190"/>
                </a:lnTo>
                <a:lnTo>
                  <a:pt x="578" y="190"/>
                </a:lnTo>
                <a:lnTo>
                  <a:pt x="582" y="190"/>
                </a:lnTo>
                <a:lnTo>
                  <a:pt x="586" y="190"/>
                </a:lnTo>
                <a:lnTo>
                  <a:pt x="590" y="190"/>
                </a:lnTo>
                <a:lnTo>
                  <a:pt x="590" y="194"/>
                </a:lnTo>
                <a:lnTo>
                  <a:pt x="592" y="194"/>
                </a:lnTo>
                <a:lnTo>
                  <a:pt x="596" y="194"/>
                </a:lnTo>
                <a:lnTo>
                  <a:pt x="592" y="194"/>
                </a:lnTo>
                <a:lnTo>
                  <a:pt x="592" y="190"/>
                </a:lnTo>
                <a:lnTo>
                  <a:pt x="596" y="190"/>
                </a:lnTo>
                <a:lnTo>
                  <a:pt x="600" y="190"/>
                </a:lnTo>
                <a:lnTo>
                  <a:pt x="596" y="190"/>
                </a:lnTo>
                <a:lnTo>
                  <a:pt x="596" y="186"/>
                </a:lnTo>
                <a:lnTo>
                  <a:pt x="600" y="186"/>
                </a:lnTo>
                <a:lnTo>
                  <a:pt x="604" y="186"/>
                </a:lnTo>
                <a:lnTo>
                  <a:pt x="604" y="190"/>
                </a:lnTo>
                <a:lnTo>
                  <a:pt x="608" y="190"/>
                </a:lnTo>
                <a:lnTo>
                  <a:pt x="608" y="194"/>
                </a:lnTo>
                <a:lnTo>
                  <a:pt x="612" y="194"/>
                </a:lnTo>
                <a:lnTo>
                  <a:pt x="612" y="198"/>
                </a:lnTo>
                <a:lnTo>
                  <a:pt x="612" y="202"/>
                </a:lnTo>
                <a:lnTo>
                  <a:pt x="616" y="202"/>
                </a:lnTo>
                <a:lnTo>
                  <a:pt x="616" y="206"/>
                </a:lnTo>
                <a:lnTo>
                  <a:pt x="612" y="208"/>
                </a:lnTo>
                <a:lnTo>
                  <a:pt x="616" y="208"/>
                </a:lnTo>
                <a:lnTo>
                  <a:pt x="616" y="212"/>
                </a:lnTo>
                <a:lnTo>
                  <a:pt x="612" y="212"/>
                </a:lnTo>
                <a:lnTo>
                  <a:pt x="608" y="212"/>
                </a:lnTo>
                <a:lnTo>
                  <a:pt x="612" y="212"/>
                </a:lnTo>
                <a:lnTo>
                  <a:pt x="616" y="216"/>
                </a:lnTo>
                <a:lnTo>
                  <a:pt x="616" y="220"/>
                </a:lnTo>
                <a:lnTo>
                  <a:pt x="616" y="224"/>
                </a:lnTo>
                <a:lnTo>
                  <a:pt x="620" y="224"/>
                </a:lnTo>
                <a:lnTo>
                  <a:pt x="616" y="224"/>
                </a:lnTo>
                <a:lnTo>
                  <a:pt x="616" y="220"/>
                </a:lnTo>
                <a:lnTo>
                  <a:pt x="612" y="220"/>
                </a:lnTo>
                <a:lnTo>
                  <a:pt x="608" y="220"/>
                </a:lnTo>
                <a:lnTo>
                  <a:pt x="612" y="224"/>
                </a:lnTo>
                <a:lnTo>
                  <a:pt x="608" y="224"/>
                </a:lnTo>
                <a:lnTo>
                  <a:pt x="612" y="224"/>
                </a:lnTo>
                <a:lnTo>
                  <a:pt x="608" y="224"/>
                </a:lnTo>
                <a:lnTo>
                  <a:pt x="604" y="224"/>
                </a:lnTo>
                <a:lnTo>
                  <a:pt x="608" y="228"/>
                </a:lnTo>
                <a:lnTo>
                  <a:pt x="612" y="228"/>
                </a:lnTo>
                <a:lnTo>
                  <a:pt x="612" y="232"/>
                </a:lnTo>
                <a:lnTo>
                  <a:pt x="616" y="232"/>
                </a:lnTo>
                <a:lnTo>
                  <a:pt x="612" y="232"/>
                </a:lnTo>
                <a:lnTo>
                  <a:pt x="608" y="228"/>
                </a:lnTo>
                <a:lnTo>
                  <a:pt x="608" y="232"/>
                </a:lnTo>
                <a:lnTo>
                  <a:pt x="608" y="236"/>
                </a:lnTo>
                <a:lnTo>
                  <a:pt x="604" y="236"/>
                </a:lnTo>
                <a:lnTo>
                  <a:pt x="600" y="236"/>
                </a:lnTo>
                <a:lnTo>
                  <a:pt x="596" y="236"/>
                </a:lnTo>
                <a:lnTo>
                  <a:pt x="592" y="236"/>
                </a:lnTo>
                <a:lnTo>
                  <a:pt x="590" y="236"/>
                </a:lnTo>
                <a:lnTo>
                  <a:pt x="590" y="232"/>
                </a:lnTo>
                <a:lnTo>
                  <a:pt x="586" y="232"/>
                </a:lnTo>
                <a:lnTo>
                  <a:pt x="586" y="236"/>
                </a:lnTo>
                <a:lnTo>
                  <a:pt x="590" y="236"/>
                </a:lnTo>
                <a:lnTo>
                  <a:pt x="586" y="236"/>
                </a:lnTo>
                <a:lnTo>
                  <a:pt x="586" y="236"/>
                </a:lnTo>
                <a:lnTo>
                  <a:pt x="586" y="236"/>
                </a:lnTo>
                <a:close/>
                <a:moveTo>
                  <a:pt x="522" y="186"/>
                </a:moveTo>
                <a:lnTo>
                  <a:pt x="522" y="190"/>
                </a:lnTo>
                <a:lnTo>
                  <a:pt x="526" y="190"/>
                </a:lnTo>
                <a:lnTo>
                  <a:pt x="522" y="190"/>
                </a:lnTo>
                <a:lnTo>
                  <a:pt x="526" y="190"/>
                </a:lnTo>
                <a:lnTo>
                  <a:pt x="530" y="190"/>
                </a:lnTo>
                <a:lnTo>
                  <a:pt x="530" y="194"/>
                </a:lnTo>
                <a:lnTo>
                  <a:pt x="534" y="194"/>
                </a:lnTo>
                <a:lnTo>
                  <a:pt x="536" y="194"/>
                </a:lnTo>
                <a:lnTo>
                  <a:pt x="536" y="198"/>
                </a:lnTo>
                <a:lnTo>
                  <a:pt x="534" y="198"/>
                </a:lnTo>
                <a:lnTo>
                  <a:pt x="530" y="198"/>
                </a:lnTo>
                <a:lnTo>
                  <a:pt x="526" y="198"/>
                </a:lnTo>
                <a:lnTo>
                  <a:pt x="522" y="198"/>
                </a:lnTo>
                <a:lnTo>
                  <a:pt x="518" y="198"/>
                </a:lnTo>
                <a:lnTo>
                  <a:pt x="518" y="194"/>
                </a:lnTo>
                <a:lnTo>
                  <a:pt x="514" y="194"/>
                </a:lnTo>
                <a:lnTo>
                  <a:pt x="514" y="190"/>
                </a:lnTo>
                <a:lnTo>
                  <a:pt x="518" y="190"/>
                </a:lnTo>
                <a:lnTo>
                  <a:pt x="518" y="186"/>
                </a:lnTo>
                <a:lnTo>
                  <a:pt x="522" y="186"/>
                </a:lnTo>
                <a:lnTo>
                  <a:pt x="522" y="186"/>
                </a:lnTo>
                <a:lnTo>
                  <a:pt x="522" y="186"/>
                </a:lnTo>
                <a:close/>
                <a:moveTo>
                  <a:pt x="652" y="202"/>
                </a:moveTo>
                <a:lnTo>
                  <a:pt x="652" y="206"/>
                </a:lnTo>
                <a:lnTo>
                  <a:pt x="650" y="206"/>
                </a:lnTo>
                <a:lnTo>
                  <a:pt x="652" y="206"/>
                </a:lnTo>
                <a:lnTo>
                  <a:pt x="652" y="202"/>
                </a:lnTo>
                <a:lnTo>
                  <a:pt x="652" y="202"/>
                </a:lnTo>
                <a:lnTo>
                  <a:pt x="652" y="202"/>
                </a:lnTo>
                <a:close/>
                <a:moveTo>
                  <a:pt x="332" y="206"/>
                </a:moveTo>
                <a:lnTo>
                  <a:pt x="332" y="208"/>
                </a:lnTo>
                <a:lnTo>
                  <a:pt x="328" y="208"/>
                </a:lnTo>
                <a:lnTo>
                  <a:pt x="324" y="212"/>
                </a:lnTo>
                <a:lnTo>
                  <a:pt x="324" y="216"/>
                </a:lnTo>
                <a:lnTo>
                  <a:pt x="322" y="216"/>
                </a:lnTo>
                <a:lnTo>
                  <a:pt x="322" y="220"/>
                </a:lnTo>
                <a:lnTo>
                  <a:pt x="318" y="220"/>
                </a:lnTo>
                <a:lnTo>
                  <a:pt x="314" y="220"/>
                </a:lnTo>
                <a:lnTo>
                  <a:pt x="310" y="220"/>
                </a:lnTo>
                <a:lnTo>
                  <a:pt x="306" y="216"/>
                </a:lnTo>
                <a:lnTo>
                  <a:pt x="310" y="216"/>
                </a:lnTo>
                <a:lnTo>
                  <a:pt x="310" y="212"/>
                </a:lnTo>
                <a:lnTo>
                  <a:pt x="314" y="212"/>
                </a:lnTo>
                <a:lnTo>
                  <a:pt x="314" y="208"/>
                </a:lnTo>
                <a:lnTo>
                  <a:pt x="318" y="208"/>
                </a:lnTo>
                <a:lnTo>
                  <a:pt x="322" y="208"/>
                </a:lnTo>
                <a:lnTo>
                  <a:pt x="324" y="208"/>
                </a:lnTo>
                <a:lnTo>
                  <a:pt x="324" y="206"/>
                </a:lnTo>
                <a:lnTo>
                  <a:pt x="328" y="206"/>
                </a:lnTo>
                <a:lnTo>
                  <a:pt x="332" y="206"/>
                </a:lnTo>
                <a:lnTo>
                  <a:pt x="332" y="206"/>
                </a:lnTo>
                <a:lnTo>
                  <a:pt x="332" y="206"/>
                </a:lnTo>
                <a:close/>
                <a:moveTo>
                  <a:pt x="548" y="206"/>
                </a:moveTo>
                <a:lnTo>
                  <a:pt x="544" y="206"/>
                </a:lnTo>
                <a:lnTo>
                  <a:pt x="540" y="208"/>
                </a:lnTo>
                <a:lnTo>
                  <a:pt x="536" y="208"/>
                </a:lnTo>
                <a:lnTo>
                  <a:pt x="534" y="208"/>
                </a:lnTo>
                <a:lnTo>
                  <a:pt x="530" y="208"/>
                </a:lnTo>
                <a:lnTo>
                  <a:pt x="526" y="208"/>
                </a:lnTo>
                <a:lnTo>
                  <a:pt x="522" y="208"/>
                </a:lnTo>
                <a:lnTo>
                  <a:pt x="526" y="208"/>
                </a:lnTo>
                <a:lnTo>
                  <a:pt x="530" y="208"/>
                </a:lnTo>
                <a:lnTo>
                  <a:pt x="530" y="206"/>
                </a:lnTo>
                <a:lnTo>
                  <a:pt x="534" y="206"/>
                </a:lnTo>
                <a:lnTo>
                  <a:pt x="536" y="206"/>
                </a:lnTo>
                <a:lnTo>
                  <a:pt x="540" y="206"/>
                </a:lnTo>
                <a:lnTo>
                  <a:pt x="544" y="206"/>
                </a:lnTo>
                <a:lnTo>
                  <a:pt x="548" y="206"/>
                </a:lnTo>
                <a:lnTo>
                  <a:pt x="548" y="206"/>
                </a:lnTo>
                <a:lnTo>
                  <a:pt x="548" y="206"/>
                </a:lnTo>
                <a:close/>
                <a:moveTo>
                  <a:pt x="552" y="208"/>
                </a:moveTo>
                <a:lnTo>
                  <a:pt x="548" y="208"/>
                </a:lnTo>
                <a:lnTo>
                  <a:pt x="544" y="208"/>
                </a:lnTo>
                <a:lnTo>
                  <a:pt x="544" y="212"/>
                </a:lnTo>
                <a:lnTo>
                  <a:pt x="540" y="212"/>
                </a:lnTo>
                <a:lnTo>
                  <a:pt x="536" y="212"/>
                </a:lnTo>
                <a:lnTo>
                  <a:pt x="534" y="212"/>
                </a:lnTo>
                <a:lnTo>
                  <a:pt x="536" y="208"/>
                </a:lnTo>
                <a:lnTo>
                  <a:pt x="540" y="208"/>
                </a:lnTo>
                <a:lnTo>
                  <a:pt x="544" y="208"/>
                </a:lnTo>
                <a:lnTo>
                  <a:pt x="548" y="208"/>
                </a:lnTo>
                <a:lnTo>
                  <a:pt x="548" y="206"/>
                </a:lnTo>
                <a:lnTo>
                  <a:pt x="552" y="208"/>
                </a:lnTo>
                <a:lnTo>
                  <a:pt x="552" y="208"/>
                </a:lnTo>
                <a:lnTo>
                  <a:pt x="552" y="208"/>
                </a:lnTo>
                <a:close/>
                <a:moveTo>
                  <a:pt x="656" y="208"/>
                </a:moveTo>
                <a:lnTo>
                  <a:pt x="660" y="208"/>
                </a:lnTo>
                <a:lnTo>
                  <a:pt x="660" y="212"/>
                </a:lnTo>
                <a:lnTo>
                  <a:pt x="656" y="212"/>
                </a:lnTo>
                <a:lnTo>
                  <a:pt x="652" y="212"/>
                </a:lnTo>
                <a:lnTo>
                  <a:pt x="652" y="208"/>
                </a:lnTo>
                <a:lnTo>
                  <a:pt x="656" y="208"/>
                </a:lnTo>
                <a:lnTo>
                  <a:pt x="656" y="206"/>
                </a:lnTo>
                <a:lnTo>
                  <a:pt x="656" y="208"/>
                </a:lnTo>
                <a:lnTo>
                  <a:pt x="656" y="208"/>
                </a:lnTo>
                <a:lnTo>
                  <a:pt x="656" y="208"/>
                </a:lnTo>
                <a:close/>
                <a:moveTo>
                  <a:pt x="630" y="212"/>
                </a:moveTo>
                <a:lnTo>
                  <a:pt x="626" y="212"/>
                </a:lnTo>
                <a:lnTo>
                  <a:pt x="630" y="212"/>
                </a:lnTo>
                <a:lnTo>
                  <a:pt x="630" y="212"/>
                </a:lnTo>
                <a:lnTo>
                  <a:pt x="630" y="212"/>
                </a:lnTo>
                <a:close/>
                <a:moveTo>
                  <a:pt x="638" y="216"/>
                </a:moveTo>
                <a:lnTo>
                  <a:pt x="638" y="220"/>
                </a:lnTo>
                <a:lnTo>
                  <a:pt x="634" y="220"/>
                </a:lnTo>
                <a:lnTo>
                  <a:pt x="630" y="220"/>
                </a:lnTo>
                <a:lnTo>
                  <a:pt x="626" y="224"/>
                </a:lnTo>
                <a:lnTo>
                  <a:pt x="622" y="224"/>
                </a:lnTo>
                <a:lnTo>
                  <a:pt x="622" y="220"/>
                </a:lnTo>
                <a:lnTo>
                  <a:pt x="626" y="220"/>
                </a:lnTo>
                <a:lnTo>
                  <a:pt x="630" y="216"/>
                </a:lnTo>
                <a:lnTo>
                  <a:pt x="634" y="216"/>
                </a:lnTo>
                <a:lnTo>
                  <a:pt x="638" y="216"/>
                </a:lnTo>
                <a:lnTo>
                  <a:pt x="638" y="216"/>
                </a:lnTo>
                <a:lnTo>
                  <a:pt x="638" y="216"/>
                </a:lnTo>
                <a:close/>
                <a:moveTo>
                  <a:pt x="638" y="238"/>
                </a:moveTo>
                <a:lnTo>
                  <a:pt x="634" y="236"/>
                </a:lnTo>
                <a:lnTo>
                  <a:pt x="630" y="236"/>
                </a:lnTo>
                <a:lnTo>
                  <a:pt x="626" y="236"/>
                </a:lnTo>
                <a:lnTo>
                  <a:pt x="626" y="232"/>
                </a:lnTo>
                <a:lnTo>
                  <a:pt x="630" y="232"/>
                </a:lnTo>
                <a:lnTo>
                  <a:pt x="630" y="228"/>
                </a:lnTo>
                <a:lnTo>
                  <a:pt x="634" y="228"/>
                </a:lnTo>
                <a:lnTo>
                  <a:pt x="638" y="228"/>
                </a:lnTo>
                <a:lnTo>
                  <a:pt x="634" y="224"/>
                </a:lnTo>
                <a:lnTo>
                  <a:pt x="638" y="224"/>
                </a:lnTo>
                <a:lnTo>
                  <a:pt x="634" y="224"/>
                </a:lnTo>
                <a:lnTo>
                  <a:pt x="638" y="224"/>
                </a:lnTo>
                <a:lnTo>
                  <a:pt x="642" y="224"/>
                </a:lnTo>
                <a:lnTo>
                  <a:pt x="638" y="224"/>
                </a:lnTo>
                <a:lnTo>
                  <a:pt x="638" y="220"/>
                </a:lnTo>
                <a:lnTo>
                  <a:pt x="642" y="220"/>
                </a:lnTo>
                <a:lnTo>
                  <a:pt x="646" y="220"/>
                </a:lnTo>
                <a:lnTo>
                  <a:pt x="646" y="216"/>
                </a:lnTo>
                <a:lnTo>
                  <a:pt x="650" y="216"/>
                </a:lnTo>
                <a:lnTo>
                  <a:pt x="652" y="216"/>
                </a:lnTo>
                <a:lnTo>
                  <a:pt x="656" y="216"/>
                </a:lnTo>
                <a:lnTo>
                  <a:pt x="660" y="216"/>
                </a:lnTo>
                <a:lnTo>
                  <a:pt x="660" y="220"/>
                </a:lnTo>
                <a:lnTo>
                  <a:pt x="664" y="220"/>
                </a:lnTo>
                <a:lnTo>
                  <a:pt x="664" y="224"/>
                </a:lnTo>
                <a:lnTo>
                  <a:pt x="668" y="224"/>
                </a:lnTo>
                <a:lnTo>
                  <a:pt x="672" y="228"/>
                </a:lnTo>
                <a:lnTo>
                  <a:pt x="672" y="232"/>
                </a:lnTo>
                <a:lnTo>
                  <a:pt x="672" y="236"/>
                </a:lnTo>
                <a:lnTo>
                  <a:pt x="676" y="238"/>
                </a:lnTo>
                <a:lnTo>
                  <a:pt x="672" y="242"/>
                </a:lnTo>
                <a:lnTo>
                  <a:pt x="668" y="242"/>
                </a:lnTo>
                <a:lnTo>
                  <a:pt x="664" y="242"/>
                </a:lnTo>
                <a:lnTo>
                  <a:pt x="660" y="242"/>
                </a:lnTo>
                <a:lnTo>
                  <a:pt x="656" y="242"/>
                </a:lnTo>
                <a:lnTo>
                  <a:pt x="650" y="242"/>
                </a:lnTo>
                <a:lnTo>
                  <a:pt x="646" y="238"/>
                </a:lnTo>
                <a:lnTo>
                  <a:pt x="642" y="238"/>
                </a:lnTo>
                <a:lnTo>
                  <a:pt x="638" y="238"/>
                </a:lnTo>
                <a:lnTo>
                  <a:pt x="638" y="238"/>
                </a:lnTo>
                <a:lnTo>
                  <a:pt x="638" y="238"/>
                </a:lnTo>
                <a:close/>
                <a:moveTo>
                  <a:pt x="522" y="224"/>
                </a:moveTo>
                <a:lnTo>
                  <a:pt x="526" y="224"/>
                </a:lnTo>
                <a:lnTo>
                  <a:pt x="526" y="228"/>
                </a:lnTo>
                <a:lnTo>
                  <a:pt x="530" y="232"/>
                </a:lnTo>
                <a:lnTo>
                  <a:pt x="526" y="232"/>
                </a:lnTo>
                <a:lnTo>
                  <a:pt x="518" y="236"/>
                </a:lnTo>
                <a:lnTo>
                  <a:pt x="514" y="232"/>
                </a:lnTo>
                <a:lnTo>
                  <a:pt x="510" y="232"/>
                </a:lnTo>
                <a:lnTo>
                  <a:pt x="510" y="228"/>
                </a:lnTo>
                <a:lnTo>
                  <a:pt x="514" y="228"/>
                </a:lnTo>
                <a:lnTo>
                  <a:pt x="510" y="228"/>
                </a:lnTo>
                <a:lnTo>
                  <a:pt x="514" y="224"/>
                </a:lnTo>
                <a:lnTo>
                  <a:pt x="518" y="224"/>
                </a:lnTo>
                <a:lnTo>
                  <a:pt x="522" y="224"/>
                </a:lnTo>
                <a:lnTo>
                  <a:pt x="522" y="224"/>
                </a:lnTo>
                <a:lnTo>
                  <a:pt x="522" y="224"/>
                </a:lnTo>
                <a:close/>
                <a:moveTo>
                  <a:pt x="642" y="242"/>
                </a:moveTo>
                <a:lnTo>
                  <a:pt x="646" y="242"/>
                </a:lnTo>
                <a:lnTo>
                  <a:pt x="646" y="246"/>
                </a:lnTo>
                <a:lnTo>
                  <a:pt x="650" y="246"/>
                </a:lnTo>
                <a:lnTo>
                  <a:pt x="646" y="246"/>
                </a:lnTo>
                <a:lnTo>
                  <a:pt x="642" y="246"/>
                </a:lnTo>
                <a:lnTo>
                  <a:pt x="638" y="246"/>
                </a:lnTo>
                <a:lnTo>
                  <a:pt x="642" y="242"/>
                </a:lnTo>
                <a:lnTo>
                  <a:pt x="642" y="242"/>
                </a:lnTo>
                <a:lnTo>
                  <a:pt x="642" y="242"/>
                </a:lnTo>
                <a:close/>
                <a:moveTo>
                  <a:pt x="620" y="242"/>
                </a:moveTo>
                <a:lnTo>
                  <a:pt x="620" y="246"/>
                </a:lnTo>
                <a:lnTo>
                  <a:pt x="616" y="246"/>
                </a:lnTo>
                <a:lnTo>
                  <a:pt x="616" y="250"/>
                </a:lnTo>
                <a:lnTo>
                  <a:pt x="612" y="250"/>
                </a:lnTo>
                <a:lnTo>
                  <a:pt x="612" y="246"/>
                </a:lnTo>
                <a:lnTo>
                  <a:pt x="616" y="246"/>
                </a:lnTo>
                <a:lnTo>
                  <a:pt x="616" y="242"/>
                </a:lnTo>
                <a:lnTo>
                  <a:pt x="620" y="242"/>
                </a:lnTo>
                <a:lnTo>
                  <a:pt x="620" y="242"/>
                </a:lnTo>
                <a:lnTo>
                  <a:pt x="620" y="242"/>
                </a:lnTo>
                <a:close/>
                <a:moveTo>
                  <a:pt x="250" y="332"/>
                </a:moveTo>
                <a:lnTo>
                  <a:pt x="246" y="332"/>
                </a:lnTo>
                <a:lnTo>
                  <a:pt x="246" y="328"/>
                </a:lnTo>
                <a:lnTo>
                  <a:pt x="242" y="324"/>
                </a:lnTo>
                <a:lnTo>
                  <a:pt x="242" y="322"/>
                </a:lnTo>
                <a:lnTo>
                  <a:pt x="238" y="322"/>
                </a:lnTo>
                <a:lnTo>
                  <a:pt x="236" y="322"/>
                </a:lnTo>
                <a:lnTo>
                  <a:pt x="232" y="322"/>
                </a:lnTo>
                <a:lnTo>
                  <a:pt x="232" y="318"/>
                </a:lnTo>
                <a:lnTo>
                  <a:pt x="228" y="318"/>
                </a:lnTo>
                <a:lnTo>
                  <a:pt x="224" y="318"/>
                </a:lnTo>
                <a:lnTo>
                  <a:pt x="224" y="314"/>
                </a:lnTo>
                <a:lnTo>
                  <a:pt x="228" y="318"/>
                </a:lnTo>
                <a:lnTo>
                  <a:pt x="228" y="314"/>
                </a:lnTo>
                <a:lnTo>
                  <a:pt x="224" y="314"/>
                </a:lnTo>
                <a:lnTo>
                  <a:pt x="220" y="314"/>
                </a:lnTo>
                <a:lnTo>
                  <a:pt x="216" y="314"/>
                </a:lnTo>
                <a:lnTo>
                  <a:pt x="212" y="314"/>
                </a:lnTo>
                <a:lnTo>
                  <a:pt x="216" y="314"/>
                </a:lnTo>
                <a:lnTo>
                  <a:pt x="216" y="310"/>
                </a:lnTo>
                <a:lnTo>
                  <a:pt x="216" y="306"/>
                </a:lnTo>
                <a:lnTo>
                  <a:pt x="220" y="306"/>
                </a:lnTo>
                <a:lnTo>
                  <a:pt x="220" y="302"/>
                </a:lnTo>
                <a:lnTo>
                  <a:pt x="224" y="302"/>
                </a:lnTo>
                <a:lnTo>
                  <a:pt x="224" y="298"/>
                </a:lnTo>
                <a:lnTo>
                  <a:pt x="228" y="298"/>
                </a:lnTo>
                <a:lnTo>
                  <a:pt x="228" y="294"/>
                </a:lnTo>
                <a:lnTo>
                  <a:pt x="228" y="292"/>
                </a:lnTo>
                <a:lnTo>
                  <a:pt x="232" y="292"/>
                </a:lnTo>
                <a:lnTo>
                  <a:pt x="236" y="292"/>
                </a:lnTo>
                <a:lnTo>
                  <a:pt x="236" y="288"/>
                </a:lnTo>
                <a:lnTo>
                  <a:pt x="232" y="288"/>
                </a:lnTo>
                <a:lnTo>
                  <a:pt x="228" y="288"/>
                </a:lnTo>
                <a:lnTo>
                  <a:pt x="228" y="284"/>
                </a:lnTo>
                <a:lnTo>
                  <a:pt x="232" y="284"/>
                </a:lnTo>
                <a:lnTo>
                  <a:pt x="232" y="280"/>
                </a:lnTo>
                <a:lnTo>
                  <a:pt x="236" y="280"/>
                </a:lnTo>
                <a:lnTo>
                  <a:pt x="236" y="276"/>
                </a:lnTo>
                <a:lnTo>
                  <a:pt x="238" y="276"/>
                </a:lnTo>
                <a:lnTo>
                  <a:pt x="238" y="272"/>
                </a:lnTo>
                <a:lnTo>
                  <a:pt x="238" y="268"/>
                </a:lnTo>
                <a:lnTo>
                  <a:pt x="242" y="268"/>
                </a:lnTo>
                <a:lnTo>
                  <a:pt x="242" y="264"/>
                </a:lnTo>
                <a:lnTo>
                  <a:pt x="238" y="264"/>
                </a:lnTo>
                <a:lnTo>
                  <a:pt x="236" y="262"/>
                </a:lnTo>
                <a:lnTo>
                  <a:pt x="236" y="258"/>
                </a:lnTo>
                <a:lnTo>
                  <a:pt x="232" y="254"/>
                </a:lnTo>
                <a:lnTo>
                  <a:pt x="228" y="254"/>
                </a:lnTo>
                <a:lnTo>
                  <a:pt x="232" y="250"/>
                </a:lnTo>
                <a:lnTo>
                  <a:pt x="236" y="250"/>
                </a:lnTo>
                <a:lnTo>
                  <a:pt x="238" y="250"/>
                </a:lnTo>
                <a:lnTo>
                  <a:pt x="242" y="250"/>
                </a:lnTo>
                <a:lnTo>
                  <a:pt x="246" y="250"/>
                </a:lnTo>
                <a:lnTo>
                  <a:pt x="250" y="250"/>
                </a:lnTo>
                <a:lnTo>
                  <a:pt x="254" y="250"/>
                </a:lnTo>
                <a:lnTo>
                  <a:pt x="258" y="250"/>
                </a:lnTo>
                <a:lnTo>
                  <a:pt x="262" y="250"/>
                </a:lnTo>
                <a:lnTo>
                  <a:pt x="266" y="250"/>
                </a:lnTo>
                <a:lnTo>
                  <a:pt x="268" y="246"/>
                </a:lnTo>
                <a:lnTo>
                  <a:pt x="272" y="246"/>
                </a:lnTo>
                <a:lnTo>
                  <a:pt x="276" y="246"/>
                </a:lnTo>
                <a:lnTo>
                  <a:pt x="280" y="246"/>
                </a:lnTo>
                <a:lnTo>
                  <a:pt x="284" y="246"/>
                </a:lnTo>
                <a:lnTo>
                  <a:pt x="284" y="250"/>
                </a:lnTo>
                <a:lnTo>
                  <a:pt x="288" y="250"/>
                </a:lnTo>
                <a:lnTo>
                  <a:pt x="292" y="254"/>
                </a:lnTo>
                <a:lnTo>
                  <a:pt x="294" y="254"/>
                </a:lnTo>
                <a:lnTo>
                  <a:pt x="298" y="254"/>
                </a:lnTo>
                <a:lnTo>
                  <a:pt x="302" y="254"/>
                </a:lnTo>
                <a:lnTo>
                  <a:pt x="302" y="258"/>
                </a:lnTo>
                <a:lnTo>
                  <a:pt x="298" y="258"/>
                </a:lnTo>
                <a:lnTo>
                  <a:pt x="298" y="262"/>
                </a:lnTo>
                <a:lnTo>
                  <a:pt x="302" y="262"/>
                </a:lnTo>
                <a:lnTo>
                  <a:pt x="302" y="258"/>
                </a:lnTo>
                <a:lnTo>
                  <a:pt x="306" y="254"/>
                </a:lnTo>
                <a:lnTo>
                  <a:pt x="310" y="254"/>
                </a:lnTo>
                <a:lnTo>
                  <a:pt x="310" y="258"/>
                </a:lnTo>
                <a:lnTo>
                  <a:pt x="310" y="262"/>
                </a:lnTo>
                <a:lnTo>
                  <a:pt x="314" y="262"/>
                </a:lnTo>
                <a:lnTo>
                  <a:pt x="314" y="258"/>
                </a:lnTo>
                <a:lnTo>
                  <a:pt x="314" y="254"/>
                </a:lnTo>
                <a:lnTo>
                  <a:pt x="318" y="254"/>
                </a:lnTo>
                <a:lnTo>
                  <a:pt x="324" y="254"/>
                </a:lnTo>
                <a:lnTo>
                  <a:pt x="328" y="254"/>
                </a:lnTo>
                <a:lnTo>
                  <a:pt x="332" y="254"/>
                </a:lnTo>
                <a:lnTo>
                  <a:pt x="336" y="254"/>
                </a:lnTo>
                <a:lnTo>
                  <a:pt x="336" y="258"/>
                </a:lnTo>
                <a:lnTo>
                  <a:pt x="344" y="258"/>
                </a:lnTo>
                <a:lnTo>
                  <a:pt x="344" y="262"/>
                </a:lnTo>
                <a:lnTo>
                  <a:pt x="348" y="262"/>
                </a:lnTo>
                <a:lnTo>
                  <a:pt x="348" y="264"/>
                </a:lnTo>
                <a:lnTo>
                  <a:pt x="352" y="264"/>
                </a:lnTo>
                <a:lnTo>
                  <a:pt x="354" y="264"/>
                </a:lnTo>
                <a:lnTo>
                  <a:pt x="354" y="268"/>
                </a:lnTo>
                <a:lnTo>
                  <a:pt x="358" y="268"/>
                </a:lnTo>
                <a:lnTo>
                  <a:pt x="362" y="272"/>
                </a:lnTo>
                <a:lnTo>
                  <a:pt x="362" y="276"/>
                </a:lnTo>
                <a:lnTo>
                  <a:pt x="358" y="276"/>
                </a:lnTo>
                <a:lnTo>
                  <a:pt x="354" y="280"/>
                </a:lnTo>
                <a:lnTo>
                  <a:pt x="352" y="280"/>
                </a:lnTo>
                <a:lnTo>
                  <a:pt x="348" y="280"/>
                </a:lnTo>
                <a:lnTo>
                  <a:pt x="344" y="284"/>
                </a:lnTo>
                <a:lnTo>
                  <a:pt x="340" y="284"/>
                </a:lnTo>
                <a:lnTo>
                  <a:pt x="336" y="284"/>
                </a:lnTo>
                <a:lnTo>
                  <a:pt x="336" y="288"/>
                </a:lnTo>
                <a:lnTo>
                  <a:pt x="332" y="288"/>
                </a:lnTo>
                <a:lnTo>
                  <a:pt x="328" y="288"/>
                </a:lnTo>
                <a:lnTo>
                  <a:pt x="328" y="292"/>
                </a:lnTo>
                <a:lnTo>
                  <a:pt x="324" y="292"/>
                </a:lnTo>
                <a:lnTo>
                  <a:pt x="322" y="292"/>
                </a:lnTo>
                <a:lnTo>
                  <a:pt x="318" y="294"/>
                </a:lnTo>
                <a:lnTo>
                  <a:pt x="314" y="294"/>
                </a:lnTo>
                <a:lnTo>
                  <a:pt x="310" y="298"/>
                </a:lnTo>
                <a:lnTo>
                  <a:pt x="306" y="302"/>
                </a:lnTo>
                <a:lnTo>
                  <a:pt x="306" y="306"/>
                </a:lnTo>
                <a:lnTo>
                  <a:pt x="302" y="306"/>
                </a:lnTo>
                <a:lnTo>
                  <a:pt x="302" y="310"/>
                </a:lnTo>
                <a:lnTo>
                  <a:pt x="298" y="310"/>
                </a:lnTo>
                <a:lnTo>
                  <a:pt x="294" y="306"/>
                </a:lnTo>
                <a:lnTo>
                  <a:pt x="294" y="310"/>
                </a:lnTo>
                <a:lnTo>
                  <a:pt x="294" y="314"/>
                </a:lnTo>
                <a:lnTo>
                  <a:pt x="292" y="314"/>
                </a:lnTo>
                <a:lnTo>
                  <a:pt x="292" y="318"/>
                </a:lnTo>
                <a:lnTo>
                  <a:pt x="292" y="322"/>
                </a:lnTo>
                <a:lnTo>
                  <a:pt x="292" y="324"/>
                </a:lnTo>
                <a:lnTo>
                  <a:pt x="288" y="328"/>
                </a:lnTo>
                <a:lnTo>
                  <a:pt x="284" y="328"/>
                </a:lnTo>
                <a:lnTo>
                  <a:pt x="280" y="328"/>
                </a:lnTo>
                <a:lnTo>
                  <a:pt x="276" y="328"/>
                </a:lnTo>
                <a:lnTo>
                  <a:pt x="272" y="328"/>
                </a:lnTo>
                <a:lnTo>
                  <a:pt x="268" y="328"/>
                </a:lnTo>
                <a:lnTo>
                  <a:pt x="268" y="332"/>
                </a:lnTo>
                <a:lnTo>
                  <a:pt x="266" y="332"/>
                </a:lnTo>
                <a:lnTo>
                  <a:pt x="266" y="336"/>
                </a:lnTo>
                <a:lnTo>
                  <a:pt x="262" y="336"/>
                </a:lnTo>
                <a:lnTo>
                  <a:pt x="258" y="336"/>
                </a:lnTo>
                <a:lnTo>
                  <a:pt x="258" y="340"/>
                </a:lnTo>
                <a:lnTo>
                  <a:pt x="254" y="340"/>
                </a:lnTo>
                <a:lnTo>
                  <a:pt x="254" y="336"/>
                </a:lnTo>
                <a:lnTo>
                  <a:pt x="250" y="336"/>
                </a:lnTo>
                <a:lnTo>
                  <a:pt x="250" y="332"/>
                </a:lnTo>
                <a:lnTo>
                  <a:pt x="250" y="332"/>
                </a:lnTo>
                <a:lnTo>
                  <a:pt x="250" y="332"/>
                </a:lnTo>
                <a:close/>
                <a:moveTo>
                  <a:pt x="706" y="280"/>
                </a:moveTo>
                <a:lnTo>
                  <a:pt x="702" y="284"/>
                </a:lnTo>
                <a:lnTo>
                  <a:pt x="702" y="288"/>
                </a:lnTo>
                <a:lnTo>
                  <a:pt x="698" y="288"/>
                </a:lnTo>
                <a:lnTo>
                  <a:pt x="698" y="292"/>
                </a:lnTo>
                <a:lnTo>
                  <a:pt x="694" y="292"/>
                </a:lnTo>
                <a:lnTo>
                  <a:pt x="694" y="294"/>
                </a:lnTo>
                <a:lnTo>
                  <a:pt x="690" y="294"/>
                </a:lnTo>
                <a:lnTo>
                  <a:pt x="686" y="294"/>
                </a:lnTo>
                <a:lnTo>
                  <a:pt x="682" y="294"/>
                </a:lnTo>
                <a:lnTo>
                  <a:pt x="678" y="294"/>
                </a:lnTo>
                <a:lnTo>
                  <a:pt x="676" y="294"/>
                </a:lnTo>
                <a:lnTo>
                  <a:pt x="676" y="292"/>
                </a:lnTo>
                <a:lnTo>
                  <a:pt x="676" y="294"/>
                </a:lnTo>
                <a:lnTo>
                  <a:pt x="672" y="294"/>
                </a:lnTo>
                <a:lnTo>
                  <a:pt x="668" y="294"/>
                </a:lnTo>
                <a:lnTo>
                  <a:pt x="664" y="294"/>
                </a:lnTo>
                <a:lnTo>
                  <a:pt x="660" y="294"/>
                </a:lnTo>
                <a:lnTo>
                  <a:pt x="664" y="294"/>
                </a:lnTo>
                <a:lnTo>
                  <a:pt x="668" y="294"/>
                </a:lnTo>
                <a:lnTo>
                  <a:pt x="668" y="298"/>
                </a:lnTo>
                <a:lnTo>
                  <a:pt x="672" y="298"/>
                </a:lnTo>
                <a:lnTo>
                  <a:pt x="672" y="302"/>
                </a:lnTo>
                <a:lnTo>
                  <a:pt x="672" y="306"/>
                </a:lnTo>
                <a:lnTo>
                  <a:pt x="668" y="306"/>
                </a:lnTo>
                <a:lnTo>
                  <a:pt x="664" y="310"/>
                </a:lnTo>
                <a:lnTo>
                  <a:pt x="664" y="314"/>
                </a:lnTo>
                <a:lnTo>
                  <a:pt x="660" y="314"/>
                </a:lnTo>
                <a:lnTo>
                  <a:pt x="652" y="314"/>
                </a:lnTo>
                <a:lnTo>
                  <a:pt x="650" y="314"/>
                </a:lnTo>
                <a:lnTo>
                  <a:pt x="650" y="310"/>
                </a:lnTo>
                <a:lnTo>
                  <a:pt x="652" y="310"/>
                </a:lnTo>
                <a:lnTo>
                  <a:pt x="650" y="310"/>
                </a:lnTo>
                <a:lnTo>
                  <a:pt x="650" y="306"/>
                </a:lnTo>
                <a:lnTo>
                  <a:pt x="650" y="302"/>
                </a:lnTo>
                <a:lnTo>
                  <a:pt x="650" y="298"/>
                </a:lnTo>
                <a:lnTo>
                  <a:pt x="646" y="298"/>
                </a:lnTo>
                <a:lnTo>
                  <a:pt x="646" y="294"/>
                </a:lnTo>
                <a:lnTo>
                  <a:pt x="642" y="294"/>
                </a:lnTo>
                <a:lnTo>
                  <a:pt x="642" y="292"/>
                </a:lnTo>
                <a:lnTo>
                  <a:pt x="642" y="288"/>
                </a:lnTo>
                <a:lnTo>
                  <a:pt x="642" y="284"/>
                </a:lnTo>
                <a:lnTo>
                  <a:pt x="642" y="280"/>
                </a:lnTo>
                <a:lnTo>
                  <a:pt x="642" y="276"/>
                </a:lnTo>
                <a:lnTo>
                  <a:pt x="642" y="272"/>
                </a:lnTo>
                <a:lnTo>
                  <a:pt x="642" y="268"/>
                </a:lnTo>
                <a:lnTo>
                  <a:pt x="646" y="268"/>
                </a:lnTo>
                <a:lnTo>
                  <a:pt x="650" y="268"/>
                </a:lnTo>
                <a:lnTo>
                  <a:pt x="652" y="268"/>
                </a:lnTo>
                <a:lnTo>
                  <a:pt x="656" y="268"/>
                </a:lnTo>
                <a:lnTo>
                  <a:pt x="652" y="268"/>
                </a:lnTo>
                <a:lnTo>
                  <a:pt x="650" y="268"/>
                </a:lnTo>
                <a:lnTo>
                  <a:pt x="650" y="264"/>
                </a:lnTo>
                <a:lnTo>
                  <a:pt x="652" y="264"/>
                </a:lnTo>
                <a:lnTo>
                  <a:pt x="650" y="264"/>
                </a:lnTo>
                <a:lnTo>
                  <a:pt x="646" y="264"/>
                </a:lnTo>
                <a:lnTo>
                  <a:pt x="646" y="262"/>
                </a:lnTo>
                <a:lnTo>
                  <a:pt x="650" y="262"/>
                </a:lnTo>
                <a:lnTo>
                  <a:pt x="652" y="262"/>
                </a:lnTo>
                <a:lnTo>
                  <a:pt x="652" y="258"/>
                </a:lnTo>
                <a:lnTo>
                  <a:pt x="656" y="258"/>
                </a:lnTo>
                <a:lnTo>
                  <a:pt x="660" y="258"/>
                </a:lnTo>
                <a:lnTo>
                  <a:pt x="664" y="258"/>
                </a:lnTo>
                <a:lnTo>
                  <a:pt x="668" y="258"/>
                </a:lnTo>
                <a:lnTo>
                  <a:pt x="672" y="258"/>
                </a:lnTo>
                <a:lnTo>
                  <a:pt x="676" y="258"/>
                </a:lnTo>
                <a:lnTo>
                  <a:pt x="678" y="258"/>
                </a:lnTo>
                <a:lnTo>
                  <a:pt x="682" y="258"/>
                </a:lnTo>
                <a:lnTo>
                  <a:pt x="686" y="262"/>
                </a:lnTo>
                <a:lnTo>
                  <a:pt x="690" y="262"/>
                </a:lnTo>
                <a:lnTo>
                  <a:pt x="694" y="262"/>
                </a:lnTo>
                <a:lnTo>
                  <a:pt x="702" y="262"/>
                </a:lnTo>
                <a:lnTo>
                  <a:pt x="706" y="262"/>
                </a:lnTo>
                <a:lnTo>
                  <a:pt x="712" y="262"/>
                </a:lnTo>
                <a:lnTo>
                  <a:pt x="716" y="264"/>
                </a:lnTo>
                <a:lnTo>
                  <a:pt x="716" y="262"/>
                </a:lnTo>
                <a:lnTo>
                  <a:pt x="720" y="264"/>
                </a:lnTo>
                <a:lnTo>
                  <a:pt x="716" y="264"/>
                </a:lnTo>
                <a:lnTo>
                  <a:pt x="716" y="268"/>
                </a:lnTo>
                <a:lnTo>
                  <a:pt x="712" y="268"/>
                </a:lnTo>
                <a:lnTo>
                  <a:pt x="712" y="272"/>
                </a:lnTo>
                <a:lnTo>
                  <a:pt x="708" y="272"/>
                </a:lnTo>
                <a:lnTo>
                  <a:pt x="708" y="276"/>
                </a:lnTo>
                <a:lnTo>
                  <a:pt x="706" y="276"/>
                </a:lnTo>
                <a:lnTo>
                  <a:pt x="706" y="280"/>
                </a:lnTo>
                <a:lnTo>
                  <a:pt x="706" y="280"/>
                </a:lnTo>
                <a:lnTo>
                  <a:pt x="706" y="280"/>
                </a:lnTo>
                <a:close/>
                <a:moveTo>
                  <a:pt x="720" y="262"/>
                </a:moveTo>
                <a:lnTo>
                  <a:pt x="716" y="262"/>
                </a:lnTo>
                <a:lnTo>
                  <a:pt x="720" y="262"/>
                </a:lnTo>
                <a:lnTo>
                  <a:pt x="720" y="258"/>
                </a:lnTo>
                <a:lnTo>
                  <a:pt x="724" y="258"/>
                </a:lnTo>
                <a:lnTo>
                  <a:pt x="724" y="262"/>
                </a:lnTo>
                <a:lnTo>
                  <a:pt x="720" y="262"/>
                </a:lnTo>
                <a:lnTo>
                  <a:pt x="720" y="262"/>
                </a:lnTo>
                <a:lnTo>
                  <a:pt x="720" y="262"/>
                </a:lnTo>
                <a:close/>
                <a:moveTo>
                  <a:pt x="620" y="276"/>
                </a:moveTo>
                <a:lnTo>
                  <a:pt x="620" y="280"/>
                </a:lnTo>
                <a:lnTo>
                  <a:pt x="616" y="280"/>
                </a:lnTo>
                <a:lnTo>
                  <a:pt x="612" y="280"/>
                </a:lnTo>
                <a:lnTo>
                  <a:pt x="608" y="284"/>
                </a:lnTo>
                <a:lnTo>
                  <a:pt x="604" y="284"/>
                </a:lnTo>
                <a:lnTo>
                  <a:pt x="604" y="288"/>
                </a:lnTo>
                <a:lnTo>
                  <a:pt x="600" y="288"/>
                </a:lnTo>
                <a:lnTo>
                  <a:pt x="600" y="292"/>
                </a:lnTo>
                <a:lnTo>
                  <a:pt x="604" y="292"/>
                </a:lnTo>
                <a:lnTo>
                  <a:pt x="604" y="288"/>
                </a:lnTo>
                <a:lnTo>
                  <a:pt x="608" y="288"/>
                </a:lnTo>
                <a:lnTo>
                  <a:pt x="612" y="288"/>
                </a:lnTo>
                <a:lnTo>
                  <a:pt x="616" y="288"/>
                </a:lnTo>
                <a:lnTo>
                  <a:pt x="620" y="288"/>
                </a:lnTo>
                <a:lnTo>
                  <a:pt x="620" y="292"/>
                </a:lnTo>
                <a:lnTo>
                  <a:pt x="622" y="294"/>
                </a:lnTo>
                <a:lnTo>
                  <a:pt x="620" y="294"/>
                </a:lnTo>
                <a:lnTo>
                  <a:pt x="620" y="298"/>
                </a:lnTo>
                <a:lnTo>
                  <a:pt x="622" y="298"/>
                </a:lnTo>
                <a:lnTo>
                  <a:pt x="622" y="294"/>
                </a:lnTo>
                <a:lnTo>
                  <a:pt x="626" y="294"/>
                </a:lnTo>
                <a:lnTo>
                  <a:pt x="630" y="294"/>
                </a:lnTo>
                <a:lnTo>
                  <a:pt x="630" y="298"/>
                </a:lnTo>
                <a:lnTo>
                  <a:pt x="630" y="302"/>
                </a:lnTo>
                <a:lnTo>
                  <a:pt x="634" y="302"/>
                </a:lnTo>
                <a:lnTo>
                  <a:pt x="630" y="306"/>
                </a:lnTo>
                <a:lnTo>
                  <a:pt x="626" y="306"/>
                </a:lnTo>
                <a:lnTo>
                  <a:pt x="622" y="306"/>
                </a:lnTo>
                <a:lnTo>
                  <a:pt x="626" y="306"/>
                </a:lnTo>
                <a:lnTo>
                  <a:pt x="630" y="306"/>
                </a:lnTo>
                <a:lnTo>
                  <a:pt x="630" y="310"/>
                </a:lnTo>
                <a:lnTo>
                  <a:pt x="630" y="314"/>
                </a:lnTo>
                <a:lnTo>
                  <a:pt x="626" y="314"/>
                </a:lnTo>
                <a:lnTo>
                  <a:pt x="622" y="314"/>
                </a:lnTo>
                <a:lnTo>
                  <a:pt x="626" y="314"/>
                </a:lnTo>
                <a:lnTo>
                  <a:pt x="630" y="314"/>
                </a:lnTo>
                <a:lnTo>
                  <a:pt x="626" y="314"/>
                </a:lnTo>
                <a:lnTo>
                  <a:pt x="626" y="318"/>
                </a:lnTo>
                <a:lnTo>
                  <a:pt x="630" y="318"/>
                </a:lnTo>
                <a:lnTo>
                  <a:pt x="626" y="318"/>
                </a:lnTo>
                <a:lnTo>
                  <a:pt x="626" y="322"/>
                </a:lnTo>
                <a:lnTo>
                  <a:pt x="626" y="318"/>
                </a:lnTo>
                <a:lnTo>
                  <a:pt x="622" y="322"/>
                </a:lnTo>
                <a:lnTo>
                  <a:pt x="620" y="322"/>
                </a:lnTo>
                <a:lnTo>
                  <a:pt x="616" y="324"/>
                </a:lnTo>
                <a:lnTo>
                  <a:pt x="612" y="324"/>
                </a:lnTo>
                <a:lnTo>
                  <a:pt x="608" y="322"/>
                </a:lnTo>
                <a:lnTo>
                  <a:pt x="608" y="324"/>
                </a:lnTo>
                <a:lnTo>
                  <a:pt x="604" y="324"/>
                </a:lnTo>
                <a:lnTo>
                  <a:pt x="604" y="322"/>
                </a:lnTo>
                <a:lnTo>
                  <a:pt x="604" y="318"/>
                </a:lnTo>
                <a:lnTo>
                  <a:pt x="600" y="322"/>
                </a:lnTo>
                <a:lnTo>
                  <a:pt x="604" y="324"/>
                </a:lnTo>
                <a:lnTo>
                  <a:pt x="608" y="324"/>
                </a:lnTo>
                <a:lnTo>
                  <a:pt x="608" y="328"/>
                </a:lnTo>
                <a:lnTo>
                  <a:pt x="604" y="328"/>
                </a:lnTo>
                <a:lnTo>
                  <a:pt x="600" y="332"/>
                </a:lnTo>
                <a:lnTo>
                  <a:pt x="596" y="332"/>
                </a:lnTo>
                <a:lnTo>
                  <a:pt x="592" y="328"/>
                </a:lnTo>
                <a:lnTo>
                  <a:pt x="592" y="332"/>
                </a:lnTo>
                <a:lnTo>
                  <a:pt x="590" y="332"/>
                </a:lnTo>
                <a:lnTo>
                  <a:pt x="590" y="328"/>
                </a:lnTo>
                <a:lnTo>
                  <a:pt x="590" y="324"/>
                </a:lnTo>
                <a:lnTo>
                  <a:pt x="586" y="324"/>
                </a:lnTo>
                <a:lnTo>
                  <a:pt x="586" y="322"/>
                </a:lnTo>
                <a:lnTo>
                  <a:pt x="582" y="318"/>
                </a:lnTo>
                <a:lnTo>
                  <a:pt x="578" y="318"/>
                </a:lnTo>
                <a:lnTo>
                  <a:pt x="574" y="314"/>
                </a:lnTo>
                <a:lnTo>
                  <a:pt x="570" y="310"/>
                </a:lnTo>
                <a:lnTo>
                  <a:pt x="566" y="310"/>
                </a:lnTo>
                <a:lnTo>
                  <a:pt x="566" y="306"/>
                </a:lnTo>
                <a:lnTo>
                  <a:pt x="564" y="306"/>
                </a:lnTo>
                <a:lnTo>
                  <a:pt x="560" y="306"/>
                </a:lnTo>
                <a:lnTo>
                  <a:pt x="556" y="306"/>
                </a:lnTo>
                <a:lnTo>
                  <a:pt x="552" y="306"/>
                </a:lnTo>
                <a:lnTo>
                  <a:pt x="552" y="302"/>
                </a:lnTo>
                <a:lnTo>
                  <a:pt x="552" y="298"/>
                </a:lnTo>
                <a:lnTo>
                  <a:pt x="548" y="298"/>
                </a:lnTo>
                <a:lnTo>
                  <a:pt x="544" y="298"/>
                </a:lnTo>
                <a:lnTo>
                  <a:pt x="544" y="294"/>
                </a:lnTo>
                <a:lnTo>
                  <a:pt x="540" y="294"/>
                </a:lnTo>
                <a:lnTo>
                  <a:pt x="540" y="292"/>
                </a:lnTo>
                <a:lnTo>
                  <a:pt x="544" y="292"/>
                </a:lnTo>
                <a:lnTo>
                  <a:pt x="544" y="288"/>
                </a:lnTo>
                <a:lnTo>
                  <a:pt x="548" y="288"/>
                </a:lnTo>
                <a:lnTo>
                  <a:pt x="548" y="284"/>
                </a:lnTo>
                <a:lnTo>
                  <a:pt x="552" y="284"/>
                </a:lnTo>
                <a:lnTo>
                  <a:pt x="552" y="288"/>
                </a:lnTo>
                <a:lnTo>
                  <a:pt x="556" y="288"/>
                </a:lnTo>
                <a:lnTo>
                  <a:pt x="556" y="292"/>
                </a:lnTo>
                <a:lnTo>
                  <a:pt x="560" y="292"/>
                </a:lnTo>
                <a:lnTo>
                  <a:pt x="560" y="294"/>
                </a:lnTo>
                <a:lnTo>
                  <a:pt x="564" y="294"/>
                </a:lnTo>
                <a:lnTo>
                  <a:pt x="566" y="294"/>
                </a:lnTo>
                <a:lnTo>
                  <a:pt x="570" y="294"/>
                </a:lnTo>
                <a:lnTo>
                  <a:pt x="574" y="294"/>
                </a:lnTo>
                <a:lnTo>
                  <a:pt x="574" y="292"/>
                </a:lnTo>
                <a:lnTo>
                  <a:pt x="574" y="288"/>
                </a:lnTo>
                <a:lnTo>
                  <a:pt x="574" y="292"/>
                </a:lnTo>
                <a:lnTo>
                  <a:pt x="578" y="292"/>
                </a:lnTo>
                <a:lnTo>
                  <a:pt x="578" y="288"/>
                </a:lnTo>
                <a:lnTo>
                  <a:pt x="578" y="284"/>
                </a:lnTo>
                <a:lnTo>
                  <a:pt x="574" y="284"/>
                </a:lnTo>
                <a:lnTo>
                  <a:pt x="570" y="284"/>
                </a:lnTo>
                <a:lnTo>
                  <a:pt x="574" y="280"/>
                </a:lnTo>
                <a:lnTo>
                  <a:pt x="578" y="284"/>
                </a:lnTo>
                <a:lnTo>
                  <a:pt x="582" y="284"/>
                </a:lnTo>
                <a:lnTo>
                  <a:pt x="578" y="280"/>
                </a:lnTo>
                <a:lnTo>
                  <a:pt x="574" y="280"/>
                </a:lnTo>
                <a:lnTo>
                  <a:pt x="574" y="276"/>
                </a:lnTo>
                <a:lnTo>
                  <a:pt x="574" y="280"/>
                </a:lnTo>
                <a:lnTo>
                  <a:pt x="570" y="280"/>
                </a:lnTo>
                <a:lnTo>
                  <a:pt x="566" y="280"/>
                </a:lnTo>
                <a:lnTo>
                  <a:pt x="564" y="276"/>
                </a:lnTo>
                <a:lnTo>
                  <a:pt x="560" y="276"/>
                </a:lnTo>
                <a:lnTo>
                  <a:pt x="556" y="276"/>
                </a:lnTo>
                <a:lnTo>
                  <a:pt x="560" y="272"/>
                </a:lnTo>
                <a:lnTo>
                  <a:pt x="564" y="272"/>
                </a:lnTo>
                <a:lnTo>
                  <a:pt x="566" y="272"/>
                </a:lnTo>
                <a:lnTo>
                  <a:pt x="570" y="272"/>
                </a:lnTo>
                <a:lnTo>
                  <a:pt x="570" y="276"/>
                </a:lnTo>
                <a:lnTo>
                  <a:pt x="574" y="276"/>
                </a:lnTo>
                <a:lnTo>
                  <a:pt x="570" y="276"/>
                </a:lnTo>
                <a:lnTo>
                  <a:pt x="570" y="272"/>
                </a:lnTo>
                <a:lnTo>
                  <a:pt x="566" y="272"/>
                </a:lnTo>
                <a:lnTo>
                  <a:pt x="566" y="268"/>
                </a:lnTo>
                <a:lnTo>
                  <a:pt x="564" y="268"/>
                </a:lnTo>
                <a:lnTo>
                  <a:pt x="566" y="264"/>
                </a:lnTo>
                <a:lnTo>
                  <a:pt x="570" y="264"/>
                </a:lnTo>
                <a:lnTo>
                  <a:pt x="574" y="264"/>
                </a:lnTo>
                <a:lnTo>
                  <a:pt x="578" y="268"/>
                </a:lnTo>
                <a:lnTo>
                  <a:pt x="582" y="264"/>
                </a:lnTo>
                <a:lnTo>
                  <a:pt x="578" y="264"/>
                </a:lnTo>
                <a:lnTo>
                  <a:pt x="574" y="264"/>
                </a:lnTo>
                <a:lnTo>
                  <a:pt x="578" y="264"/>
                </a:lnTo>
                <a:lnTo>
                  <a:pt x="578" y="262"/>
                </a:lnTo>
                <a:lnTo>
                  <a:pt x="582" y="262"/>
                </a:lnTo>
                <a:lnTo>
                  <a:pt x="582" y="264"/>
                </a:lnTo>
                <a:lnTo>
                  <a:pt x="586" y="264"/>
                </a:lnTo>
                <a:lnTo>
                  <a:pt x="590" y="268"/>
                </a:lnTo>
                <a:lnTo>
                  <a:pt x="592" y="268"/>
                </a:lnTo>
                <a:lnTo>
                  <a:pt x="596" y="268"/>
                </a:lnTo>
                <a:lnTo>
                  <a:pt x="600" y="268"/>
                </a:lnTo>
                <a:lnTo>
                  <a:pt x="600" y="264"/>
                </a:lnTo>
                <a:lnTo>
                  <a:pt x="604" y="264"/>
                </a:lnTo>
                <a:lnTo>
                  <a:pt x="608" y="264"/>
                </a:lnTo>
                <a:lnTo>
                  <a:pt x="612" y="264"/>
                </a:lnTo>
                <a:lnTo>
                  <a:pt x="616" y="264"/>
                </a:lnTo>
                <a:lnTo>
                  <a:pt x="620" y="264"/>
                </a:lnTo>
                <a:lnTo>
                  <a:pt x="622" y="268"/>
                </a:lnTo>
                <a:lnTo>
                  <a:pt x="622" y="272"/>
                </a:lnTo>
                <a:lnTo>
                  <a:pt x="620" y="272"/>
                </a:lnTo>
                <a:lnTo>
                  <a:pt x="616" y="272"/>
                </a:lnTo>
                <a:lnTo>
                  <a:pt x="612" y="276"/>
                </a:lnTo>
                <a:lnTo>
                  <a:pt x="616" y="276"/>
                </a:lnTo>
                <a:lnTo>
                  <a:pt x="620" y="276"/>
                </a:lnTo>
                <a:lnTo>
                  <a:pt x="620" y="276"/>
                </a:lnTo>
                <a:lnTo>
                  <a:pt x="620" y="276"/>
                </a:lnTo>
                <a:close/>
                <a:moveTo>
                  <a:pt x="1004" y="542"/>
                </a:moveTo>
                <a:lnTo>
                  <a:pt x="1000" y="542"/>
                </a:lnTo>
                <a:lnTo>
                  <a:pt x="996" y="542"/>
                </a:lnTo>
                <a:lnTo>
                  <a:pt x="992" y="538"/>
                </a:lnTo>
                <a:lnTo>
                  <a:pt x="988" y="538"/>
                </a:lnTo>
                <a:lnTo>
                  <a:pt x="992" y="538"/>
                </a:lnTo>
                <a:lnTo>
                  <a:pt x="992" y="534"/>
                </a:lnTo>
                <a:lnTo>
                  <a:pt x="988" y="534"/>
                </a:lnTo>
                <a:lnTo>
                  <a:pt x="988" y="538"/>
                </a:lnTo>
                <a:lnTo>
                  <a:pt x="984" y="534"/>
                </a:lnTo>
                <a:lnTo>
                  <a:pt x="980" y="534"/>
                </a:lnTo>
                <a:lnTo>
                  <a:pt x="980" y="530"/>
                </a:lnTo>
                <a:lnTo>
                  <a:pt x="980" y="526"/>
                </a:lnTo>
                <a:lnTo>
                  <a:pt x="976" y="526"/>
                </a:lnTo>
                <a:lnTo>
                  <a:pt x="974" y="526"/>
                </a:lnTo>
                <a:lnTo>
                  <a:pt x="976" y="526"/>
                </a:lnTo>
                <a:lnTo>
                  <a:pt x="980" y="526"/>
                </a:lnTo>
                <a:lnTo>
                  <a:pt x="984" y="526"/>
                </a:lnTo>
                <a:lnTo>
                  <a:pt x="984" y="522"/>
                </a:lnTo>
                <a:lnTo>
                  <a:pt x="988" y="522"/>
                </a:lnTo>
                <a:lnTo>
                  <a:pt x="984" y="522"/>
                </a:lnTo>
                <a:lnTo>
                  <a:pt x="980" y="522"/>
                </a:lnTo>
                <a:lnTo>
                  <a:pt x="980" y="520"/>
                </a:lnTo>
                <a:lnTo>
                  <a:pt x="976" y="520"/>
                </a:lnTo>
                <a:lnTo>
                  <a:pt x="976" y="522"/>
                </a:lnTo>
                <a:lnTo>
                  <a:pt x="974" y="520"/>
                </a:lnTo>
                <a:lnTo>
                  <a:pt x="974" y="522"/>
                </a:lnTo>
                <a:lnTo>
                  <a:pt x="970" y="520"/>
                </a:lnTo>
                <a:lnTo>
                  <a:pt x="974" y="520"/>
                </a:lnTo>
                <a:lnTo>
                  <a:pt x="974" y="516"/>
                </a:lnTo>
                <a:lnTo>
                  <a:pt x="970" y="516"/>
                </a:lnTo>
                <a:lnTo>
                  <a:pt x="970" y="520"/>
                </a:lnTo>
                <a:lnTo>
                  <a:pt x="970" y="516"/>
                </a:lnTo>
                <a:lnTo>
                  <a:pt x="966" y="516"/>
                </a:lnTo>
                <a:lnTo>
                  <a:pt x="970" y="512"/>
                </a:lnTo>
                <a:lnTo>
                  <a:pt x="966" y="512"/>
                </a:lnTo>
                <a:lnTo>
                  <a:pt x="966" y="516"/>
                </a:lnTo>
                <a:lnTo>
                  <a:pt x="966" y="512"/>
                </a:lnTo>
                <a:lnTo>
                  <a:pt x="962" y="512"/>
                </a:lnTo>
                <a:lnTo>
                  <a:pt x="962" y="508"/>
                </a:lnTo>
                <a:lnTo>
                  <a:pt x="958" y="508"/>
                </a:lnTo>
                <a:lnTo>
                  <a:pt x="954" y="504"/>
                </a:lnTo>
                <a:lnTo>
                  <a:pt x="958" y="500"/>
                </a:lnTo>
                <a:lnTo>
                  <a:pt x="958" y="496"/>
                </a:lnTo>
                <a:lnTo>
                  <a:pt x="958" y="500"/>
                </a:lnTo>
                <a:lnTo>
                  <a:pt x="954" y="500"/>
                </a:lnTo>
                <a:lnTo>
                  <a:pt x="954" y="496"/>
                </a:lnTo>
                <a:lnTo>
                  <a:pt x="950" y="496"/>
                </a:lnTo>
                <a:lnTo>
                  <a:pt x="950" y="500"/>
                </a:lnTo>
                <a:lnTo>
                  <a:pt x="948" y="500"/>
                </a:lnTo>
                <a:lnTo>
                  <a:pt x="950" y="500"/>
                </a:lnTo>
                <a:lnTo>
                  <a:pt x="948" y="504"/>
                </a:lnTo>
                <a:lnTo>
                  <a:pt x="948" y="500"/>
                </a:lnTo>
                <a:lnTo>
                  <a:pt x="948" y="496"/>
                </a:lnTo>
                <a:lnTo>
                  <a:pt x="944" y="496"/>
                </a:lnTo>
                <a:lnTo>
                  <a:pt x="944" y="500"/>
                </a:lnTo>
                <a:lnTo>
                  <a:pt x="940" y="500"/>
                </a:lnTo>
                <a:lnTo>
                  <a:pt x="940" y="496"/>
                </a:lnTo>
                <a:lnTo>
                  <a:pt x="940" y="494"/>
                </a:lnTo>
                <a:lnTo>
                  <a:pt x="936" y="494"/>
                </a:lnTo>
                <a:lnTo>
                  <a:pt x="936" y="496"/>
                </a:lnTo>
                <a:lnTo>
                  <a:pt x="936" y="494"/>
                </a:lnTo>
                <a:lnTo>
                  <a:pt x="932" y="494"/>
                </a:lnTo>
                <a:lnTo>
                  <a:pt x="936" y="496"/>
                </a:lnTo>
                <a:lnTo>
                  <a:pt x="940" y="496"/>
                </a:lnTo>
                <a:lnTo>
                  <a:pt x="940" y="500"/>
                </a:lnTo>
                <a:lnTo>
                  <a:pt x="940" y="504"/>
                </a:lnTo>
                <a:lnTo>
                  <a:pt x="936" y="504"/>
                </a:lnTo>
                <a:lnTo>
                  <a:pt x="932" y="504"/>
                </a:lnTo>
                <a:lnTo>
                  <a:pt x="932" y="500"/>
                </a:lnTo>
                <a:lnTo>
                  <a:pt x="932" y="504"/>
                </a:lnTo>
                <a:lnTo>
                  <a:pt x="928" y="504"/>
                </a:lnTo>
                <a:lnTo>
                  <a:pt x="928" y="500"/>
                </a:lnTo>
                <a:lnTo>
                  <a:pt x="924" y="500"/>
                </a:lnTo>
                <a:lnTo>
                  <a:pt x="920" y="500"/>
                </a:lnTo>
                <a:lnTo>
                  <a:pt x="924" y="500"/>
                </a:lnTo>
                <a:lnTo>
                  <a:pt x="924" y="504"/>
                </a:lnTo>
                <a:lnTo>
                  <a:pt x="920" y="504"/>
                </a:lnTo>
                <a:lnTo>
                  <a:pt x="920" y="500"/>
                </a:lnTo>
                <a:lnTo>
                  <a:pt x="924" y="504"/>
                </a:lnTo>
                <a:lnTo>
                  <a:pt x="920" y="504"/>
                </a:lnTo>
                <a:lnTo>
                  <a:pt x="918" y="504"/>
                </a:lnTo>
                <a:lnTo>
                  <a:pt x="918" y="508"/>
                </a:lnTo>
                <a:lnTo>
                  <a:pt x="914" y="508"/>
                </a:lnTo>
                <a:lnTo>
                  <a:pt x="910" y="508"/>
                </a:lnTo>
                <a:lnTo>
                  <a:pt x="906" y="508"/>
                </a:lnTo>
                <a:lnTo>
                  <a:pt x="902" y="508"/>
                </a:lnTo>
                <a:lnTo>
                  <a:pt x="898" y="508"/>
                </a:lnTo>
                <a:lnTo>
                  <a:pt x="898" y="504"/>
                </a:lnTo>
                <a:lnTo>
                  <a:pt x="894" y="504"/>
                </a:lnTo>
                <a:lnTo>
                  <a:pt x="890" y="504"/>
                </a:lnTo>
                <a:lnTo>
                  <a:pt x="888" y="500"/>
                </a:lnTo>
                <a:lnTo>
                  <a:pt x="888" y="496"/>
                </a:lnTo>
                <a:lnTo>
                  <a:pt x="890" y="494"/>
                </a:lnTo>
                <a:lnTo>
                  <a:pt x="888" y="490"/>
                </a:lnTo>
                <a:lnTo>
                  <a:pt x="890" y="490"/>
                </a:lnTo>
                <a:lnTo>
                  <a:pt x="894" y="486"/>
                </a:lnTo>
                <a:lnTo>
                  <a:pt x="898" y="486"/>
                </a:lnTo>
                <a:lnTo>
                  <a:pt x="902" y="486"/>
                </a:lnTo>
                <a:lnTo>
                  <a:pt x="898" y="482"/>
                </a:lnTo>
                <a:lnTo>
                  <a:pt x="902" y="482"/>
                </a:lnTo>
                <a:lnTo>
                  <a:pt x="898" y="478"/>
                </a:lnTo>
                <a:lnTo>
                  <a:pt x="902" y="478"/>
                </a:lnTo>
                <a:lnTo>
                  <a:pt x="906" y="478"/>
                </a:lnTo>
                <a:lnTo>
                  <a:pt x="910" y="482"/>
                </a:lnTo>
                <a:lnTo>
                  <a:pt x="914" y="482"/>
                </a:lnTo>
                <a:lnTo>
                  <a:pt x="918" y="482"/>
                </a:lnTo>
                <a:lnTo>
                  <a:pt x="920" y="482"/>
                </a:lnTo>
                <a:lnTo>
                  <a:pt x="920" y="486"/>
                </a:lnTo>
                <a:lnTo>
                  <a:pt x="924" y="486"/>
                </a:lnTo>
                <a:lnTo>
                  <a:pt x="928" y="490"/>
                </a:lnTo>
                <a:lnTo>
                  <a:pt x="924" y="490"/>
                </a:lnTo>
                <a:lnTo>
                  <a:pt x="924" y="494"/>
                </a:lnTo>
                <a:lnTo>
                  <a:pt x="928" y="494"/>
                </a:lnTo>
                <a:lnTo>
                  <a:pt x="928" y="496"/>
                </a:lnTo>
                <a:lnTo>
                  <a:pt x="928" y="494"/>
                </a:lnTo>
                <a:lnTo>
                  <a:pt x="924" y="494"/>
                </a:lnTo>
                <a:lnTo>
                  <a:pt x="928" y="494"/>
                </a:lnTo>
                <a:lnTo>
                  <a:pt x="928" y="490"/>
                </a:lnTo>
                <a:lnTo>
                  <a:pt x="932" y="490"/>
                </a:lnTo>
                <a:lnTo>
                  <a:pt x="932" y="486"/>
                </a:lnTo>
                <a:lnTo>
                  <a:pt x="928" y="486"/>
                </a:lnTo>
                <a:lnTo>
                  <a:pt x="928" y="490"/>
                </a:lnTo>
                <a:lnTo>
                  <a:pt x="928" y="486"/>
                </a:lnTo>
                <a:lnTo>
                  <a:pt x="924" y="486"/>
                </a:lnTo>
                <a:lnTo>
                  <a:pt x="920" y="486"/>
                </a:lnTo>
                <a:lnTo>
                  <a:pt x="920" y="482"/>
                </a:lnTo>
                <a:lnTo>
                  <a:pt x="924" y="482"/>
                </a:lnTo>
                <a:lnTo>
                  <a:pt x="928" y="482"/>
                </a:lnTo>
                <a:lnTo>
                  <a:pt x="932" y="482"/>
                </a:lnTo>
                <a:lnTo>
                  <a:pt x="936" y="482"/>
                </a:lnTo>
                <a:lnTo>
                  <a:pt x="940" y="482"/>
                </a:lnTo>
                <a:lnTo>
                  <a:pt x="944" y="478"/>
                </a:lnTo>
                <a:lnTo>
                  <a:pt x="948" y="478"/>
                </a:lnTo>
                <a:lnTo>
                  <a:pt x="950" y="478"/>
                </a:lnTo>
                <a:lnTo>
                  <a:pt x="954" y="478"/>
                </a:lnTo>
                <a:lnTo>
                  <a:pt x="954" y="474"/>
                </a:lnTo>
                <a:lnTo>
                  <a:pt x="950" y="474"/>
                </a:lnTo>
                <a:lnTo>
                  <a:pt x="950" y="470"/>
                </a:lnTo>
                <a:lnTo>
                  <a:pt x="948" y="470"/>
                </a:lnTo>
                <a:lnTo>
                  <a:pt x="948" y="466"/>
                </a:lnTo>
                <a:lnTo>
                  <a:pt x="944" y="466"/>
                </a:lnTo>
                <a:lnTo>
                  <a:pt x="944" y="464"/>
                </a:lnTo>
                <a:lnTo>
                  <a:pt x="940" y="464"/>
                </a:lnTo>
                <a:lnTo>
                  <a:pt x="944" y="460"/>
                </a:lnTo>
                <a:lnTo>
                  <a:pt x="948" y="460"/>
                </a:lnTo>
                <a:lnTo>
                  <a:pt x="950" y="456"/>
                </a:lnTo>
                <a:lnTo>
                  <a:pt x="954" y="452"/>
                </a:lnTo>
                <a:lnTo>
                  <a:pt x="958" y="448"/>
                </a:lnTo>
                <a:lnTo>
                  <a:pt x="962" y="448"/>
                </a:lnTo>
                <a:lnTo>
                  <a:pt x="962" y="444"/>
                </a:lnTo>
                <a:lnTo>
                  <a:pt x="966" y="440"/>
                </a:lnTo>
                <a:lnTo>
                  <a:pt x="970" y="440"/>
                </a:lnTo>
                <a:lnTo>
                  <a:pt x="970" y="436"/>
                </a:lnTo>
                <a:lnTo>
                  <a:pt x="974" y="436"/>
                </a:lnTo>
                <a:lnTo>
                  <a:pt x="974" y="434"/>
                </a:lnTo>
                <a:lnTo>
                  <a:pt x="970" y="434"/>
                </a:lnTo>
                <a:lnTo>
                  <a:pt x="970" y="430"/>
                </a:lnTo>
                <a:lnTo>
                  <a:pt x="970" y="426"/>
                </a:lnTo>
                <a:lnTo>
                  <a:pt x="966" y="426"/>
                </a:lnTo>
                <a:lnTo>
                  <a:pt x="966" y="422"/>
                </a:lnTo>
                <a:lnTo>
                  <a:pt x="970" y="422"/>
                </a:lnTo>
                <a:lnTo>
                  <a:pt x="966" y="422"/>
                </a:lnTo>
                <a:lnTo>
                  <a:pt x="966" y="418"/>
                </a:lnTo>
                <a:lnTo>
                  <a:pt x="962" y="418"/>
                </a:lnTo>
                <a:lnTo>
                  <a:pt x="962" y="414"/>
                </a:lnTo>
                <a:lnTo>
                  <a:pt x="962" y="410"/>
                </a:lnTo>
                <a:lnTo>
                  <a:pt x="958" y="410"/>
                </a:lnTo>
                <a:lnTo>
                  <a:pt x="954" y="410"/>
                </a:lnTo>
                <a:lnTo>
                  <a:pt x="954" y="408"/>
                </a:lnTo>
                <a:lnTo>
                  <a:pt x="958" y="408"/>
                </a:lnTo>
                <a:lnTo>
                  <a:pt x="954" y="408"/>
                </a:lnTo>
                <a:lnTo>
                  <a:pt x="954" y="410"/>
                </a:lnTo>
                <a:lnTo>
                  <a:pt x="950" y="408"/>
                </a:lnTo>
                <a:lnTo>
                  <a:pt x="950" y="404"/>
                </a:lnTo>
                <a:lnTo>
                  <a:pt x="950" y="400"/>
                </a:lnTo>
                <a:lnTo>
                  <a:pt x="948" y="400"/>
                </a:lnTo>
                <a:lnTo>
                  <a:pt x="950" y="404"/>
                </a:lnTo>
                <a:lnTo>
                  <a:pt x="948" y="404"/>
                </a:lnTo>
                <a:lnTo>
                  <a:pt x="944" y="404"/>
                </a:lnTo>
                <a:lnTo>
                  <a:pt x="940" y="400"/>
                </a:lnTo>
                <a:lnTo>
                  <a:pt x="936" y="400"/>
                </a:lnTo>
                <a:lnTo>
                  <a:pt x="936" y="396"/>
                </a:lnTo>
                <a:lnTo>
                  <a:pt x="940" y="396"/>
                </a:lnTo>
                <a:lnTo>
                  <a:pt x="936" y="396"/>
                </a:lnTo>
                <a:lnTo>
                  <a:pt x="940" y="396"/>
                </a:lnTo>
                <a:lnTo>
                  <a:pt x="936" y="396"/>
                </a:lnTo>
                <a:lnTo>
                  <a:pt x="936" y="392"/>
                </a:lnTo>
                <a:lnTo>
                  <a:pt x="932" y="392"/>
                </a:lnTo>
                <a:lnTo>
                  <a:pt x="936" y="392"/>
                </a:lnTo>
                <a:lnTo>
                  <a:pt x="940" y="392"/>
                </a:lnTo>
                <a:lnTo>
                  <a:pt x="940" y="388"/>
                </a:lnTo>
                <a:lnTo>
                  <a:pt x="936" y="388"/>
                </a:lnTo>
                <a:lnTo>
                  <a:pt x="932" y="392"/>
                </a:lnTo>
                <a:lnTo>
                  <a:pt x="928" y="392"/>
                </a:lnTo>
                <a:lnTo>
                  <a:pt x="924" y="392"/>
                </a:lnTo>
                <a:lnTo>
                  <a:pt x="924" y="396"/>
                </a:lnTo>
                <a:lnTo>
                  <a:pt x="920" y="396"/>
                </a:lnTo>
                <a:lnTo>
                  <a:pt x="918" y="396"/>
                </a:lnTo>
                <a:lnTo>
                  <a:pt x="918" y="400"/>
                </a:lnTo>
                <a:lnTo>
                  <a:pt x="914" y="400"/>
                </a:lnTo>
                <a:lnTo>
                  <a:pt x="910" y="400"/>
                </a:lnTo>
                <a:lnTo>
                  <a:pt x="910" y="396"/>
                </a:lnTo>
                <a:lnTo>
                  <a:pt x="914" y="396"/>
                </a:lnTo>
                <a:lnTo>
                  <a:pt x="910" y="396"/>
                </a:lnTo>
                <a:lnTo>
                  <a:pt x="910" y="392"/>
                </a:lnTo>
                <a:lnTo>
                  <a:pt x="914" y="388"/>
                </a:lnTo>
                <a:lnTo>
                  <a:pt x="918" y="388"/>
                </a:lnTo>
                <a:lnTo>
                  <a:pt x="918" y="392"/>
                </a:lnTo>
                <a:lnTo>
                  <a:pt x="920" y="392"/>
                </a:lnTo>
                <a:lnTo>
                  <a:pt x="920" y="388"/>
                </a:lnTo>
                <a:lnTo>
                  <a:pt x="924" y="388"/>
                </a:lnTo>
                <a:lnTo>
                  <a:pt x="924" y="384"/>
                </a:lnTo>
                <a:lnTo>
                  <a:pt x="920" y="384"/>
                </a:lnTo>
                <a:lnTo>
                  <a:pt x="920" y="380"/>
                </a:lnTo>
                <a:lnTo>
                  <a:pt x="918" y="380"/>
                </a:lnTo>
                <a:lnTo>
                  <a:pt x="914" y="380"/>
                </a:lnTo>
                <a:lnTo>
                  <a:pt x="910" y="378"/>
                </a:lnTo>
                <a:lnTo>
                  <a:pt x="914" y="374"/>
                </a:lnTo>
                <a:lnTo>
                  <a:pt x="918" y="374"/>
                </a:lnTo>
                <a:lnTo>
                  <a:pt x="914" y="374"/>
                </a:lnTo>
                <a:lnTo>
                  <a:pt x="910" y="374"/>
                </a:lnTo>
                <a:lnTo>
                  <a:pt x="914" y="374"/>
                </a:lnTo>
                <a:lnTo>
                  <a:pt x="910" y="378"/>
                </a:lnTo>
                <a:lnTo>
                  <a:pt x="906" y="378"/>
                </a:lnTo>
                <a:lnTo>
                  <a:pt x="902" y="374"/>
                </a:lnTo>
                <a:lnTo>
                  <a:pt x="906" y="374"/>
                </a:lnTo>
                <a:lnTo>
                  <a:pt x="910" y="374"/>
                </a:lnTo>
                <a:lnTo>
                  <a:pt x="906" y="370"/>
                </a:lnTo>
                <a:lnTo>
                  <a:pt x="902" y="370"/>
                </a:lnTo>
                <a:lnTo>
                  <a:pt x="906" y="366"/>
                </a:lnTo>
                <a:lnTo>
                  <a:pt x="902" y="366"/>
                </a:lnTo>
                <a:lnTo>
                  <a:pt x="902" y="370"/>
                </a:lnTo>
                <a:lnTo>
                  <a:pt x="898" y="370"/>
                </a:lnTo>
                <a:lnTo>
                  <a:pt x="898" y="374"/>
                </a:lnTo>
                <a:lnTo>
                  <a:pt x="894" y="374"/>
                </a:lnTo>
                <a:lnTo>
                  <a:pt x="894" y="370"/>
                </a:lnTo>
                <a:lnTo>
                  <a:pt x="894" y="366"/>
                </a:lnTo>
                <a:lnTo>
                  <a:pt x="894" y="362"/>
                </a:lnTo>
                <a:lnTo>
                  <a:pt x="894" y="358"/>
                </a:lnTo>
                <a:lnTo>
                  <a:pt x="890" y="358"/>
                </a:lnTo>
                <a:lnTo>
                  <a:pt x="888" y="358"/>
                </a:lnTo>
                <a:lnTo>
                  <a:pt x="888" y="362"/>
                </a:lnTo>
                <a:lnTo>
                  <a:pt x="884" y="358"/>
                </a:lnTo>
                <a:lnTo>
                  <a:pt x="884" y="354"/>
                </a:lnTo>
                <a:lnTo>
                  <a:pt x="884" y="358"/>
                </a:lnTo>
                <a:lnTo>
                  <a:pt x="880" y="354"/>
                </a:lnTo>
                <a:lnTo>
                  <a:pt x="876" y="354"/>
                </a:lnTo>
                <a:lnTo>
                  <a:pt x="876" y="350"/>
                </a:lnTo>
                <a:lnTo>
                  <a:pt x="880" y="350"/>
                </a:lnTo>
                <a:lnTo>
                  <a:pt x="876" y="350"/>
                </a:lnTo>
                <a:lnTo>
                  <a:pt x="876" y="348"/>
                </a:lnTo>
                <a:lnTo>
                  <a:pt x="876" y="350"/>
                </a:lnTo>
                <a:lnTo>
                  <a:pt x="876" y="354"/>
                </a:lnTo>
                <a:lnTo>
                  <a:pt x="872" y="354"/>
                </a:lnTo>
                <a:lnTo>
                  <a:pt x="868" y="354"/>
                </a:lnTo>
                <a:lnTo>
                  <a:pt x="872" y="354"/>
                </a:lnTo>
                <a:lnTo>
                  <a:pt x="872" y="358"/>
                </a:lnTo>
                <a:lnTo>
                  <a:pt x="876" y="358"/>
                </a:lnTo>
                <a:lnTo>
                  <a:pt x="880" y="358"/>
                </a:lnTo>
                <a:lnTo>
                  <a:pt x="880" y="362"/>
                </a:lnTo>
                <a:lnTo>
                  <a:pt x="880" y="366"/>
                </a:lnTo>
                <a:lnTo>
                  <a:pt x="880" y="370"/>
                </a:lnTo>
                <a:lnTo>
                  <a:pt x="876" y="370"/>
                </a:lnTo>
                <a:lnTo>
                  <a:pt x="872" y="370"/>
                </a:lnTo>
                <a:lnTo>
                  <a:pt x="868" y="370"/>
                </a:lnTo>
                <a:lnTo>
                  <a:pt x="864" y="370"/>
                </a:lnTo>
                <a:lnTo>
                  <a:pt x="864" y="366"/>
                </a:lnTo>
                <a:lnTo>
                  <a:pt x="862" y="366"/>
                </a:lnTo>
                <a:lnTo>
                  <a:pt x="858" y="366"/>
                </a:lnTo>
                <a:lnTo>
                  <a:pt x="854" y="366"/>
                </a:lnTo>
                <a:lnTo>
                  <a:pt x="850" y="366"/>
                </a:lnTo>
                <a:lnTo>
                  <a:pt x="850" y="362"/>
                </a:lnTo>
                <a:lnTo>
                  <a:pt x="846" y="362"/>
                </a:lnTo>
                <a:lnTo>
                  <a:pt x="842" y="362"/>
                </a:lnTo>
                <a:lnTo>
                  <a:pt x="838" y="362"/>
                </a:lnTo>
                <a:lnTo>
                  <a:pt x="838" y="366"/>
                </a:lnTo>
                <a:lnTo>
                  <a:pt x="842" y="366"/>
                </a:lnTo>
                <a:lnTo>
                  <a:pt x="846" y="366"/>
                </a:lnTo>
                <a:lnTo>
                  <a:pt x="846" y="370"/>
                </a:lnTo>
                <a:lnTo>
                  <a:pt x="850" y="370"/>
                </a:lnTo>
                <a:lnTo>
                  <a:pt x="854" y="374"/>
                </a:lnTo>
                <a:lnTo>
                  <a:pt x="850" y="374"/>
                </a:lnTo>
                <a:lnTo>
                  <a:pt x="846" y="374"/>
                </a:lnTo>
                <a:lnTo>
                  <a:pt x="846" y="370"/>
                </a:lnTo>
                <a:lnTo>
                  <a:pt x="842" y="370"/>
                </a:lnTo>
                <a:lnTo>
                  <a:pt x="842" y="366"/>
                </a:lnTo>
                <a:lnTo>
                  <a:pt x="838" y="366"/>
                </a:lnTo>
                <a:lnTo>
                  <a:pt x="834" y="366"/>
                </a:lnTo>
                <a:lnTo>
                  <a:pt x="834" y="362"/>
                </a:lnTo>
                <a:lnTo>
                  <a:pt x="832" y="362"/>
                </a:lnTo>
                <a:lnTo>
                  <a:pt x="828" y="362"/>
                </a:lnTo>
                <a:lnTo>
                  <a:pt x="824" y="358"/>
                </a:lnTo>
                <a:lnTo>
                  <a:pt x="820" y="358"/>
                </a:lnTo>
                <a:lnTo>
                  <a:pt x="824" y="358"/>
                </a:lnTo>
                <a:lnTo>
                  <a:pt x="824" y="362"/>
                </a:lnTo>
                <a:lnTo>
                  <a:pt x="828" y="362"/>
                </a:lnTo>
                <a:lnTo>
                  <a:pt x="832" y="362"/>
                </a:lnTo>
                <a:lnTo>
                  <a:pt x="834" y="366"/>
                </a:lnTo>
                <a:lnTo>
                  <a:pt x="838" y="366"/>
                </a:lnTo>
                <a:lnTo>
                  <a:pt x="838" y="370"/>
                </a:lnTo>
                <a:lnTo>
                  <a:pt x="834" y="370"/>
                </a:lnTo>
                <a:lnTo>
                  <a:pt x="832" y="370"/>
                </a:lnTo>
                <a:lnTo>
                  <a:pt x="828" y="370"/>
                </a:lnTo>
                <a:lnTo>
                  <a:pt x="824" y="370"/>
                </a:lnTo>
                <a:lnTo>
                  <a:pt x="820" y="366"/>
                </a:lnTo>
                <a:lnTo>
                  <a:pt x="816" y="366"/>
                </a:lnTo>
                <a:lnTo>
                  <a:pt x="812" y="366"/>
                </a:lnTo>
                <a:lnTo>
                  <a:pt x="808" y="366"/>
                </a:lnTo>
                <a:lnTo>
                  <a:pt x="806" y="366"/>
                </a:lnTo>
                <a:lnTo>
                  <a:pt x="802" y="366"/>
                </a:lnTo>
                <a:lnTo>
                  <a:pt x="798" y="366"/>
                </a:lnTo>
                <a:lnTo>
                  <a:pt x="794" y="366"/>
                </a:lnTo>
                <a:lnTo>
                  <a:pt x="790" y="362"/>
                </a:lnTo>
                <a:lnTo>
                  <a:pt x="786" y="362"/>
                </a:lnTo>
                <a:lnTo>
                  <a:pt x="782" y="362"/>
                </a:lnTo>
                <a:lnTo>
                  <a:pt x="778" y="362"/>
                </a:lnTo>
                <a:lnTo>
                  <a:pt x="778" y="366"/>
                </a:lnTo>
                <a:lnTo>
                  <a:pt x="782" y="362"/>
                </a:lnTo>
                <a:lnTo>
                  <a:pt x="786" y="366"/>
                </a:lnTo>
                <a:lnTo>
                  <a:pt x="790" y="366"/>
                </a:lnTo>
                <a:lnTo>
                  <a:pt x="786" y="366"/>
                </a:lnTo>
                <a:lnTo>
                  <a:pt x="782" y="366"/>
                </a:lnTo>
                <a:lnTo>
                  <a:pt x="778" y="366"/>
                </a:lnTo>
                <a:lnTo>
                  <a:pt x="776" y="366"/>
                </a:lnTo>
                <a:lnTo>
                  <a:pt x="776" y="362"/>
                </a:lnTo>
                <a:lnTo>
                  <a:pt x="772" y="362"/>
                </a:lnTo>
                <a:lnTo>
                  <a:pt x="772" y="358"/>
                </a:lnTo>
                <a:lnTo>
                  <a:pt x="768" y="354"/>
                </a:lnTo>
                <a:lnTo>
                  <a:pt x="772" y="354"/>
                </a:lnTo>
                <a:lnTo>
                  <a:pt x="776" y="354"/>
                </a:lnTo>
                <a:lnTo>
                  <a:pt x="772" y="354"/>
                </a:lnTo>
                <a:lnTo>
                  <a:pt x="772" y="350"/>
                </a:lnTo>
                <a:lnTo>
                  <a:pt x="772" y="354"/>
                </a:lnTo>
                <a:lnTo>
                  <a:pt x="768" y="354"/>
                </a:lnTo>
                <a:lnTo>
                  <a:pt x="768" y="358"/>
                </a:lnTo>
                <a:lnTo>
                  <a:pt x="764" y="358"/>
                </a:lnTo>
                <a:lnTo>
                  <a:pt x="764" y="354"/>
                </a:lnTo>
                <a:lnTo>
                  <a:pt x="760" y="354"/>
                </a:lnTo>
                <a:lnTo>
                  <a:pt x="764" y="354"/>
                </a:lnTo>
                <a:lnTo>
                  <a:pt x="764" y="358"/>
                </a:lnTo>
                <a:lnTo>
                  <a:pt x="760" y="358"/>
                </a:lnTo>
                <a:lnTo>
                  <a:pt x="756" y="358"/>
                </a:lnTo>
                <a:lnTo>
                  <a:pt x="752" y="358"/>
                </a:lnTo>
                <a:lnTo>
                  <a:pt x="756" y="358"/>
                </a:lnTo>
                <a:lnTo>
                  <a:pt x="752" y="358"/>
                </a:lnTo>
                <a:lnTo>
                  <a:pt x="748" y="358"/>
                </a:lnTo>
                <a:lnTo>
                  <a:pt x="746" y="358"/>
                </a:lnTo>
                <a:lnTo>
                  <a:pt x="748" y="358"/>
                </a:lnTo>
                <a:lnTo>
                  <a:pt x="748" y="354"/>
                </a:lnTo>
                <a:lnTo>
                  <a:pt x="746" y="354"/>
                </a:lnTo>
                <a:lnTo>
                  <a:pt x="742" y="354"/>
                </a:lnTo>
                <a:lnTo>
                  <a:pt x="738" y="354"/>
                </a:lnTo>
                <a:lnTo>
                  <a:pt x="738" y="350"/>
                </a:lnTo>
                <a:lnTo>
                  <a:pt x="734" y="350"/>
                </a:lnTo>
                <a:lnTo>
                  <a:pt x="734" y="348"/>
                </a:lnTo>
                <a:lnTo>
                  <a:pt x="732" y="348"/>
                </a:lnTo>
                <a:lnTo>
                  <a:pt x="732" y="344"/>
                </a:lnTo>
                <a:lnTo>
                  <a:pt x="734" y="340"/>
                </a:lnTo>
                <a:lnTo>
                  <a:pt x="732" y="340"/>
                </a:lnTo>
                <a:lnTo>
                  <a:pt x="728" y="340"/>
                </a:lnTo>
                <a:lnTo>
                  <a:pt x="728" y="336"/>
                </a:lnTo>
                <a:lnTo>
                  <a:pt x="732" y="340"/>
                </a:lnTo>
                <a:lnTo>
                  <a:pt x="734" y="340"/>
                </a:lnTo>
                <a:lnTo>
                  <a:pt x="738" y="340"/>
                </a:lnTo>
                <a:lnTo>
                  <a:pt x="742" y="340"/>
                </a:lnTo>
                <a:lnTo>
                  <a:pt x="746" y="340"/>
                </a:lnTo>
                <a:lnTo>
                  <a:pt x="748" y="344"/>
                </a:lnTo>
                <a:lnTo>
                  <a:pt x="752" y="340"/>
                </a:lnTo>
                <a:lnTo>
                  <a:pt x="756" y="340"/>
                </a:lnTo>
                <a:lnTo>
                  <a:pt x="760" y="340"/>
                </a:lnTo>
                <a:lnTo>
                  <a:pt x="764" y="340"/>
                </a:lnTo>
                <a:lnTo>
                  <a:pt x="760" y="340"/>
                </a:lnTo>
                <a:lnTo>
                  <a:pt x="756" y="340"/>
                </a:lnTo>
                <a:lnTo>
                  <a:pt x="756" y="336"/>
                </a:lnTo>
                <a:lnTo>
                  <a:pt x="752" y="336"/>
                </a:lnTo>
                <a:lnTo>
                  <a:pt x="752" y="332"/>
                </a:lnTo>
                <a:lnTo>
                  <a:pt x="748" y="332"/>
                </a:lnTo>
                <a:lnTo>
                  <a:pt x="748" y="336"/>
                </a:lnTo>
                <a:lnTo>
                  <a:pt x="746" y="332"/>
                </a:lnTo>
                <a:lnTo>
                  <a:pt x="742" y="332"/>
                </a:lnTo>
                <a:lnTo>
                  <a:pt x="738" y="332"/>
                </a:lnTo>
                <a:lnTo>
                  <a:pt x="734" y="332"/>
                </a:lnTo>
                <a:lnTo>
                  <a:pt x="732" y="332"/>
                </a:lnTo>
                <a:lnTo>
                  <a:pt x="728" y="332"/>
                </a:lnTo>
                <a:lnTo>
                  <a:pt x="724" y="332"/>
                </a:lnTo>
                <a:lnTo>
                  <a:pt x="724" y="328"/>
                </a:lnTo>
                <a:lnTo>
                  <a:pt x="720" y="324"/>
                </a:lnTo>
                <a:lnTo>
                  <a:pt x="724" y="324"/>
                </a:lnTo>
                <a:lnTo>
                  <a:pt x="724" y="322"/>
                </a:lnTo>
                <a:lnTo>
                  <a:pt x="724" y="318"/>
                </a:lnTo>
                <a:lnTo>
                  <a:pt x="720" y="318"/>
                </a:lnTo>
                <a:lnTo>
                  <a:pt x="720" y="314"/>
                </a:lnTo>
                <a:lnTo>
                  <a:pt x="724" y="314"/>
                </a:lnTo>
                <a:lnTo>
                  <a:pt x="724" y="310"/>
                </a:lnTo>
                <a:lnTo>
                  <a:pt x="728" y="310"/>
                </a:lnTo>
                <a:lnTo>
                  <a:pt x="724" y="310"/>
                </a:lnTo>
                <a:lnTo>
                  <a:pt x="724" y="306"/>
                </a:lnTo>
                <a:lnTo>
                  <a:pt x="724" y="302"/>
                </a:lnTo>
                <a:lnTo>
                  <a:pt x="724" y="298"/>
                </a:lnTo>
                <a:lnTo>
                  <a:pt x="728" y="298"/>
                </a:lnTo>
                <a:lnTo>
                  <a:pt x="728" y="294"/>
                </a:lnTo>
                <a:lnTo>
                  <a:pt x="732" y="294"/>
                </a:lnTo>
                <a:lnTo>
                  <a:pt x="732" y="288"/>
                </a:lnTo>
                <a:lnTo>
                  <a:pt x="732" y="284"/>
                </a:lnTo>
                <a:lnTo>
                  <a:pt x="734" y="280"/>
                </a:lnTo>
                <a:lnTo>
                  <a:pt x="738" y="280"/>
                </a:lnTo>
                <a:lnTo>
                  <a:pt x="738" y="276"/>
                </a:lnTo>
                <a:lnTo>
                  <a:pt x="742" y="276"/>
                </a:lnTo>
                <a:lnTo>
                  <a:pt x="742" y="272"/>
                </a:lnTo>
                <a:lnTo>
                  <a:pt x="746" y="272"/>
                </a:lnTo>
                <a:lnTo>
                  <a:pt x="748" y="272"/>
                </a:lnTo>
                <a:lnTo>
                  <a:pt x="748" y="268"/>
                </a:lnTo>
                <a:lnTo>
                  <a:pt x="752" y="268"/>
                </a:lnTo>
                <a:lnTo>
                  <a:pt x="756" y="268"/>
                </a:lnTo>
                <a:lnTo>
                  <a:pt x="760" y="264"/>
                </a:lnTo>
                <a:lnTo>
                  <a:pt x="764" y="264"/>
                </a:lnTo>
                <a:lnTo>
                  <a:pt x="768" y="264"/>
                </a:lnTo>
                <a:lnTo>
                  <a:pt x="772" y="264"/>
                </a:lnTo>
                <a:lnTo>
                  <a:pt x="776" y="264"/>
                </a:lnTo>
                <a:lnTo>
                  <a:pt x="782" y="264"/>
                </a:lnTo>
                <a:lnTo>
                  <a:pt x="786" y="264"/>
                </a:lnTo>
                <a:lnTo>
                  <a:pt x="790" y="264"/>
                </a:lnTo>
                <a:lnTo>
                  <a:pt x="794" y="268"/>
                </a:lnTo>
                <a:lnTo>
                  <a:pt x="790" y="268"/>
                </a:lnTo>
                <a:lnTo>
                  <a:pt x="786" y="272"/>
                </a:lnTo>
                <a:lnTo>
                  <a:pt x="782" y="276"/>
                </a:lnTo>
                <a:lnTo>
                  <a:pt x="778" y="276"/>
                </a:lnTo>
                <a:lnTo>
                  <a:pt x="778" y="280"/>
                </a:lnTo>
                <a:lnTo>
                  <a:pt x="776" y="280"/>
                </a:lnTo>
                <a:lnTo>
                  <a:pt x="776" y="284"/>
                </a:lnTo>
                <a:lnTo>
                  <a:pt x="776" y="288"/>
                </a:lnTo>
                <a:lnTo>
                  <a:pt x="772" y="288"/>
                </a:lnTo>
                <a:lnTo>
                  <a:pt x="768" y="292"/>
                </a:lnTo>
                <a:lnTo>
                  <a:pt x="768" y="294"/>
                </a:lnTo>
                <a:lnTo>
                  <a:pt x="768" y="298"/>
                </a:lnTo>
                <a:lnTo>
                  <a:pt x="772" y="298"/>
                </a:lnTo>
                <a:lnTo>
                  <a:pt x="772" y="302"/>
                </a:lnTo>
                <a:lnTo>
                  <a:pt x="776" y="302"/>
                </a:lnTo>
                <a:lnTo>
                  <a:pt x="772" y="306"/>
                </a:lnTo>
                <a:lnTo>
                  <a:pt x="772" y="310"/>
                </a:lnTo>
                <a:lnTo>
                  <a:pt x="772" y="314"/>
                </a:lnTo>
                <a:lnTo>
                  <a:pt x="776" y="318"/>
                </a:lnTo>
                <a:lnTo>
                  <a:pt x="776" y="322"/>
                </a:lnTo>
                <a:lnTo>
                  <a:pt x="778" y="322"/>
                </a:lnTo>
                <a:lnTo>
                  <a:pt x="786" y="328"/>
                </a:lnTo>
                <a:lnTo>
                  <a:pt x="790" y="328"/>
                </a:lnTo>
                <a:lnTo>
                  <a:pt x="794" y="328"/>
                </a:lnTo>
                <a:lnTo>
                  <a:pt x="794" y="332"/>
                </a:lnTo>
                <a:lnTo>
                  <a:pt x="790" y="332"/>
                </a:lnTo>
                <a:lnTo>
                  <a:pt x="786" y="336"/>
                </a:lnTo>
                <a:lnTo>
                  <a:pt x="782" y="336"/>
                </a:lnTo>
                <a:lnTo>
                  <a:pt x="778" y="336"/>
                </a:lnTo>
                <a:lnTo>
                  <a:pt x="776" y="336"/>
                </a:lnTo>
                <a:lnTo>
                  <a:pt x="776" y="340"/>
                </a:lnTo>
                <a:lnTo>
                  <a:pt x="772" y="340"/>
                </a:lnTo>
                <a:lnTo>
                  <a:pt x="768" y="340"/>
                </a:lnTo>
                <a:lnTo>
                  <a:pt x="772" y="340"/>
                </a:lnTo>
                <a:lnTo>
                  <a:pt x="776" y="340"/>
                </a:lnTo>
                <a:lnTo>
                  <a:pt x="778" y="340"/>
                </a:lnTo>
                <a:lnTo>
                  <a:pt x="778" y="336"/>
                </a:lnTo>
                <a:lnTo>
                  <a:pt x="782" y="336"/>
                </a:lnTo>
                <a:lnTo>
                  <a:pt x="786" y="336"/>
                </a:lnTo>
                <a:lnTo>
                  <a:pt x="790" y="336"/>
                </a:lnTo>
                <a:lnTo>
                  <a:pt x="794" y="336"/>
                </a:lnTo>
                <a:lnTo>
                  <a:pt x="794" y="340"/>
                </a:lnTo>
                <a:lnTo>
                  <a:pt x="794" y="336"/>
                </a:lnTo>
                <a:lnTo>
                  <a:pt x="790" y="336"/>
                </a:lnTo>
                <a:lnTo>
                  <a:pt x="790" y="340"/>
                </a:lnTo>
                <a:lnTo>
                  <a:pt x="794" y="340"/>
                </a:lnTo>
                <a:lnTo>
                  <a:pt x="794" y="344"/>
                </a:lnTo>
                <a:lnTo>
                  <a:pt x="794" y="340"/>
                </a:lnTo>
                <a:lnTo>
                  <a:pt x="794" y="336"/>
                </a:lnTo>
                <a:lnTo>
                  <a:pt x="794" y="332"/>
                </a:lnTo>
                <a:lnTo>
                  <a:pt x="794" y="328"/>
                </a:lnTo>
                <a:lnTo>
                  <a:pt x="798" y="328"/>
                </a:lnTo>
                <a:lnTo>
                  <a:pt x="798" y="324"/>
                </a:lnTo>
                <a:lnTo>
                  <a:pt x="798" y="322"/>
                </a:lnTo>
                <a:lnTo>
                  <a:pt x="794" y="322"/>
                </a:lnTo>
                <a:lnTo>
                  <a:pt x="794" y="324"/>
                </a:lnTo>
                <a:lnTo>
                  <a:pt x="790" y="324"/>
                </a:lnTo>
                <a:lnTo>
                  <a:pt x="790" y="322"/>
                </a:lnTo>
                <a:lnTo>
                  <a:pt x="786" y="322"/>
                </a:lnTo>
                <a:lnTo>
                  <a:pt x="782" y="322"/>
                </a:lnTo>
                <a:lnTo>
                  <a:pt x="786" y="322"/>
                </a:lnTo>
                <a:lnTo>
                  <a:pt x="786" y="318"/>
                </a:lnTo>
                <a:lnTo>
                  <a:pt x="782" y="318"/>
                </a:lnTo>
                <a:lnTo>
                  <a:pt x="778" y="314"/>
                </a:lnTo>
                <a:lnTo>
                  <a:pt x="776" y="314"/>
                </a:lnTo>
                <a:lnTo>
                  <a:pt x="778" y="314"/>
                </a:lnTo>
                <a:lnTo>
                  <a:pt x="782" y="314"/>
                </a:lnTo>
                <a:lnTo>
                  <a:pt x="786" y="314"/>
                </a:lnTo>
                <a:lnTo>
                  <a:pt x="786" y="310"/>
                </a:lnTo>
                <a:lnTo>
                  <a:pt x="786" y="306"/>
                </a:lnTo>
                <a:lnTo>
                  <a:pt x="790" y="306"/>
                </a:lnTo>
                <a:lnTo>
                  <a:pt x="794" y="306"/>
                </a:lnTo>
                <a:lnTo>
                  <a:pt x="794" y="310"/>
                </a:lnTo>
                <a:lnTo>
                  <a:pt x="798" y="310"/>
                </a:lnTo>
                <a:lnTo>
                  <a:pt x="802" y="314"/>
                </a:lnTo>
                <a:lnTo>
                  <a:pt x="802" y="318"/>
                </a:lnTo>
                <a:lnTo>
                  <a:pt x="806" y="318"/>
                </a:lnTo>
                <a:lnTo>
                  <a:pt x="806" y="314"/>
                </a:lnTo>
                <a:lnTo>
                  <a:pt x="802" y="314"/>
                </a:lnTo>
                <a:lnTo>
                  <a:pt x="802" y="310"/>
                </a:lnTo>
                <a:lnTo>
                  <a:pt x="798" y="310"/>
                </a:lnTo>
                <a:lnTo>
                  <a:pt x="794" y="310"/>
                </a:lnTo>
                <a:lnTo>
                  <a:pt x="794" y="306"/>
                </a:lnTo>
                <a:lnTo>
                  <a:pt x="798" y="306"/>
                </a:lnTo>
                <a:lnTo>
                  <a:pt x="802" y="302"/>
                </a:lnTo>
                <a:lnTo>
                  <a:pt x="798" y="302"/>
                </a:lnTo>
                <a:lnTo>
                  <a:pt x="798" y="306"/>
                </a:lnTo>
                <a:lnTo>
                  <a:pt x="794" y="306"/>
                </a:lnTo>
                <a:lnTo>
                  <a:pt x="794" y="302"/>
                </a:lnTo>
                <a:lnTo>
                  <a:pt x="790" y="302"/>
                </a:lnTo>
                <a:lnTo>
                  <a:pt x="790" y="306"/>
                </a:lnTo>
                <a:lnTo>
                  <a:pt x="786" y="302"/>
                </a:lnTo>
                <a:lnTo>
                  <a:pt x="782" y="302"/>
                </a:lnTo>
                <a:lnTo>
                  <a:pt x="782" y="298"/>
                </a:lnTo>
                <a:lnTo>
                  <a:pt x="786" y="298"/>
                </a:lnTo>
                <a:lnTo>
                  <a:pt x="782" y="298"/>
                </a:lnTo>
                <a:lnTo>
                  <a:pt x="782" y="294"/>
                </a:lnTo>
                <a:lnTo>
                  <a:pt x="782" y="292"/>
                </a:lnTo>
                <a:lnTo>
                  <a:pt x="782" y="288"/>
                </a:lnTo>
                <a:lnTo>
                  <a:pt x="786" y="288"/>
                </a:lnTo>
                <a:lnTo>
                  <a:pt x="790" y="292"/>
                </a:lnTo>
                <a:lnTo>
                  <a:pt x="794" y="292"/>
                </a:lnTo>
                <a:lnTo>
                  <a:pt x="798" y="292"/>
                </a:lnTo>
                <a:lnTo>
                  <a:pt x="802" y="292"/>
                </a:lnTo>
                <a:lnTo>
                  <a:pt x="802" y="294"/>
                </a:lnTo>
                <a:lnTo>
                  <a:pt x="806" y="294"/>
                </a:lnTo>
                <a:lnTo>
                  <a:pt x="802" y="294"/>
                </a:lnTo>
                <a:lnTo>
                  <a:pt x="802" y="292"/>
                </a:lnTo>
                <a:lnTo>
                  <a:pt x="798" y="292"/>
                </a:lnTo>
                <a:lnTo>
                  <a:pt x="794" y="292"/>
                </a:lnTo>
                <a:lnTo>
                  <a:pt x="794" y="288"/>
                </a:lnTo>
                <a:lnTo>
                  <a:pt x="790" y="288"/>
                </a:lnTo>
                <a:lnTo>
                  <a:pt x="782" y="288"/>
                </a:lnTo>
                <a:lnTo>
                  <a:pt x="786" y="284"/>
                </a:lnTo>
                <a:lnTo>
                  <a:pt x="786" y="288"/>
                </a:lnTo>
                <a:lnTo>
                  <a:pt x="790" y="288"/>
                </a:lnTo>
                <a:lnTo>
                  <a:pt x="790" y="284"/>
                </a:lnTo>
                <a:lnTo>
                  <a:pt x="794" y="284"/>
                </a:lnTo>
                <a:lnTo>
                  <a:pt x="794" y="288"/>
                </a:lnTo>
                <a:lnTo>
                  <a:pt x="798" y="288"/>
                </a:lnTo>
                <a:lnTo>
                  <a:pt x="802" y="288"/>
                </a:lnTo>
                <a:lnTo>
                  <a:pt x="806" y="288"/>
                </a:lnTo>
                <a:lnTo>
                  <a:pt x="808" y="288"/>
                </a:lnTo>
                <a:lnTo>
                  <a:pt x="812" y="288"/>
                </a:lnTo>
                <a:lnTo>
                  <a:pt x="808" y="288"/>
                </a:lnTo>
                <a:lnTo>
                  <a:pt x="806" y="288"/>
                </a:lnTo>
                <a:lnTo>
                  <a:pt x="802" y="288"/>
                </a:lnTo>
                <a:lnTo>
                  <a:pt x="802" y="284"/>
                </a:lnTo>
                <a:lnTo>
                  <a:pt x="798" y="284"/>
                </a:lnTo>
                <a:lnTo>
                  <a:pt x="794" y="284"/>
                </a:lnTo>
                <a:lnTo>
                  <a:pt x="790" y="284"/>
                </a:lnTo>
                <a:lnTo>
                  <a:pt x="790" y="280"/>
                </a:lnTo>
                <a:lnTo>
                  <a:pt x="794" y="280"/>
                </a:lnTo>
                <a:lnTo>
                  <a:pt x="794" y="276"/>
                </a:lnTo>
                <a:lnTo>
                  <a:pt x="798" y="280"/>
                </a:lnTo>
                <a:lnTo>
                  <a:pt x="802" y="280"/>
                </a:lnTo>
                <a:lnTo>
                  <a:pt x="798" y="280"/>
                </a:lnTo>
                <a:lnTo>
                  <a:pt x="798" y="276"/>
                </a:lnTo>
                <a:lnTo>
                  <a:pt x="802" y="276"/>
                </a:lnTo>
                <a:lnTo>
                  <a:pt x="806" y="276"/>
                </a:lnTo>
                <a:lnTo>
                  <a:pt x="808" y="276"/>
                </a:lnTo>
                <a:lnTo>
                  <a:pt x="808" y="280"/>
                </a:lnTo>
                <a:lnTo>
                  <a:pt x="812" y="280"/>
                </a:lnTo>
                <a:lnTo>
                  <a:pt x="812" y="276"/>
                </a:lnTo>
                <a:lnTo>
                  <a:pt x="808" y="276"/>
                </a:lnTo>
                <a:lnTo>
                  <a:pt x="806" y="276"/>
                </a:lnTo>
                <a:lnTo>
                  <a:pt x="806" y="272"/>
                </a:lnTo>
                <a:lnTo>
                  <a:pt x="808" y="272"/>
                </a:lnTo>
                <a:lnTo>
                  <a:pt x="812" y="272"/>
                </a:lnTo>
                <a:lnTo>
                  <a:pt x="816" y="268"/>
                </a:lnTo>
                <a:lnTo>
                  <a:pt x="820" y="268"/>
                </a:lnTo>
                <a:lnTo>
                  <a:pt x="824" y="268"/>
                </a:lnTo>
                <a:lnTo>
                  <a:pt x="828" y="268"/>
                </a:lnTo>
                <a:lnTo>
                  <a:pt x="832" y="268"/>
                </a:lnTo>
                <a:lnTo>
                  <a:pt x="834" y="268"/>
                </a:lnTo>
                <a:lnTo>
                  <a:pt x="838" y="268"/>
                </a:lnTo>
                <a:lnTo>
                  <a:pt x="842" y="268"/>
                </a:lnTo>
                <a:lnTo>
                  <a:pt x="846" y="272"/>
                </a:lnTo>
                <a:lnTo>
                  <a:pt x="846" y="276"/>
                </a:lnTo>
                <a:lnTo>
                  <a:pt x="846" y="280"/>
                </a:lnTo>
                <a:lnTo>
                  <a:pt x="850" y="284"/>
                </a:lnTo>
                <a:lnTo>
                  <a:pt x="854" y="284"/>
                </a:lnTo>
                <a:lnTo>
                  <a:pt x="854" y="288"/>
                </a:lnTo>
                <a:lnTo>
                  <a:pt x="854" y="292"/>
                </a:lnTo>
                <a:lnTo>
                  <a:pt x="858" y="292"/>
                </a:lnTo>
                <a:lnTo>
                  <a:pt x="858" y="294"/>
                </a:lnTo>
                <a:lnTo>
                  <a:pt x="854" y="298"/>
                </a:lnTo>
                <a:lnTo>
                  <a:pt x="850" y="302"/>
                </a:lnTo>
                <a:lnTo>
                  <a:pt x="846" y="306"/>
                </a:lnTo>
                <a:lnTo>
                  <a:pt x="842" y="306"/>
                </a:lnTo>
                <a:lnTo>
                  <a:pt x="846" y="306"/>
                </a:lnTo>
                <a:lnTo>
                  <a:pt x="850" y="302"/>
                </a:lnTo>
                <a:lnTo>
                  <a:pt x="854" y="302"/>
                </a:lnTo>
                <a:lnTo>
                  <a:pt x="858" y="302"/>
                </a:lnTo>
                <a:lnTo>
                  <a:pt x="854" y="302"/>
                </a:lnTo>
                <a:lnTo>
                  <a:pt x="854" y="306"/>
                </a:lnTo>
                <a:lnTo>
                  <a:pt x="850" y="306"/>
                </a:lnTo>
                <a:lnTo>
                  <a:pt x="850" y="310"/>
                </a:lnTo>
                <a:lnTo>
                  <a:pt x="854" y="310"/>
                </a:lnTo>
                <a:lnTo>
                  <a:pt x="854" y="314"/>
                </a:lnTo>
                <a:lnTo>
                  <a:pt x="854" y="310"/>
                </a:lnTo>
                <a:lnTo>
                  <a:pt x="850" y="314"/>
                </a:lnTo>
                <a:lnTo>
                  <a:pt x="846" y="314"/>
                </a:lnTo>
                <a:lnTo>
                  <a:pt x="850" y="314"/>
                </a:lnTo>
                <a:lnTo>
                  <a:pt x="850" y="318"/>
                </a:lnTo>
                <a:lnTo>
                  <a:pt x="854" y="318"/>
                </a:lnTo>
                <a:lnTo>
                  <a:pt x="854" y="314"/>
                </a:lnTo>
                <a:lnTo>
                  <a:pt x="858" y="314"/>
                </a:lnTo>
                <a:lnTo>
                  <a:pt x="858" y="310"/>
                </a:lnTo>
                <a:lnTo>
                  <a:pt x="862" y="310"/>
                </a:lnTo>
                <a:lnTo>
                  <a:pt x="858" y="310"/>
                </a:lnTo>
                <a:lnTo>
                  <a:pt x="858" y="306"/>
                </a:lnTo>
                <a:lnTo>
                  <a:pt x="862" y="306"/>
                </a:lnTo>
                <a:lnTo>
                  <a:pt x="862" y="310"/>
                </a:lnTo>
                <a:lnTo>
                  <a:pt x="864" y="310"/>
                </a:lnTo>
                <a:lnTo>
                  <a:pt x="868" y="310"/>
                </a:lnTo>
                <a:lnTo>
                  <a:pt x="864" y="310"/>
                </a:lnTo>
                <a:lnTo>
                  <a:pt x="862" y="306"/>
                </a:lnTo>
                <a:lnTo>
                  <a:pt x="862" y="302"/>
                </a:lnTo>
                <a:lnTo>
                  <a:pt x="864" y="302"/>
                </a:lnTo>
                <a:lnTo>
                  <a:pt x="868" y="302"/>
                </a:lnTo>
                <a:lnTo>
                  <a:pt x="864" y="302"/>
                </a:lnTo>
                <a:lnTo>
                  <a:pt x="868" y="302"/>
                </a:lnTo>
                <a:lnTo>
                  <a:pt x="868" y="306"/>
                </a:lnTo>
                <a:lnTo>
                  <a:pt x="864" y="306"/>
                </a:lnTo>
                <a:lnTo>
                  <a:pt x="864" y="310"/>
                </a:lnTo>
                <a:lnTo>
                  <a:pt x="868" y="310"/>
                </a:lnTo>
                <a:lnTo>
                  <a:pt x="868" y="306"/>
                </a:lnTo>
                <a:lnTo>
                  <a:pt x="872" y="302"/>
                </a:lnTo>
                <a:lnTo>
                  <a:pt x="876" y="306"/>
                </a:lnTo>
                <a:lnTo>
                  <a:pt x="876" y="310"/>
                </a:lnTo>
                <a:lnTo>
                  <a:pt x="876" y="314"/>
                </a:lnTo>
                <a:lnTo>
                  <a:pt x="872" y="314"/>
                </a:lnTo>
                <a:lnTo>
                  <a:pt x="876" y="314"/>
                </a:lnTo>
                <a:lnTo>
                  <a:pt x="880" y="318"/>
                </a:lnTo>
                <a:lnTo>
                  <a:pt x="884" y="318"/>
                </a:lnTo>
                <a:lnTo>
                  <a:pt x="880" y="314"/>
                </a:lnTo>
                <a:lnTo>
                  <a:pt x="880" y="310"/>
                </a:lnTo>
                <a:lnTo>
                  <a:pt x="884" y="310"/>
                </a:lnTo>
                <a:lnTo>
                  <a:pt x="884" y="314"/>
                </a:lnTo>
                <a:lnTo>
                  <a:pt x="888" y="314"/>
                </a:lnTo>
                <a:lnTo>
                  <a:pt x="888" y="318"/>
                </a:lnTo>
                <a:lnTo>
                  <a:pt x="890" y="318"/>
                </a:lnTo>
                <a:lnTo>
                  <a:pt x="890" y="322"/>
                </a:lnTo>
                <a:lnTo>
                  <a:pt x="890" y="318"/>
                </a:lnTo>
                <a:lnTo>
                  <a:pt x="888" y="318"/>
                </a:lnTo>
                <a:lnTo>
                  <a:pt x="888" y="314"/>
                </a:lnTo>
                <a:lnTo>
                  <a:pt x="890" y="318"/>
                </a:lnTo>
                <a:lnTo>
                  <a:pt x="894" y="322"/>
                </a:lnTo>
                <a:lnTo>
                  <a:pt x="894" y="318"/>
                </a:lnTo>
                <a:lnTo>
                  <a:pt x="890" y="318"/>
                </a:lnTo>
                <a:lnTo>
                  <a:pt x="890" y="314"/>
                </a:lnTo>
                <a:lnTo>
                  <a:pt x="888" y="314"/>
                </a:lnTo>
                <a:lnTo>
                  <a:pt x="888" y="310"/>
                </a:lnTo>
                <a:lnTo>
                  <a:pt x="884" y="310"/>
                </a:lnTo>
                <a:lnTo>
                  <a:pt x="880" y="310"/>
                </a:lnTo>
                <a:lnTo>
                  <a:pt x="880" y="306"/>
                </a:lnTo>
                <a:lnTo>
                  <a:pt x="884" y="306"/>
                </a:lnTo>
                <a:lnTo>
                  <a:pt x="884" y="310"/>
                </a:lnTo>
                <a:lnTo>
                  <a:pt x="888" y="310"/>
                </a:lnTo>
                <a:lnTo>
                  <a:pt x="884" y="310"/>
                </a:lnTo>
                <a:lnTo>
                  <a:pt x="884" y="306"/>
                </a:lnTo>
                <a:lnTo>
                  <a:pt x="888" y="306"/>
                </a:lnTo>
                <a:lnTo>
                  <a:pt x="890" y="306"/>
                </a:lnTo>
                <a:lnTo>
                  <a:pt x="894" y="306"/>
                </a:lnTo>
                <a:lnTo>
                  <a:pt x="894" y="310"/>
                </a:lnTo>
                <a:lnTo>
                  <a:pt x="898" y="310"/>
                </a:lnTo>
                <a:lnTo>
                  <a:pt x="902" y="310"/>
                </a:lnTo>
                <a:lnTo>
                  <a:pt x="906" y="310"/>
                </a:lnTo>
                <a:lnTo>
                  <a:pt x="902" y="310"/>
                </a:lnTo>
                <a:lnTo>
                  <a:pt x="898" y="310"/>
                </a:lnTo>
                <a:lnTo>
                  <a:pt x="894" y="310"/>
                </a:lnTo>
                <a:lnTo>
                  <a:pt x="894" y="306"/>
                </a:lnTo>
                <a:lnTo>
                  <a:pt x="890" y="306"/>
                </a:lnTo>
                <a:lnTo>
                  <a:pt x="888" y="306"/>
                </a:lnTo>
                <a:lnTo>
                  <a:pt x="884" y="302"/>
                </a:lnTo>
                <a:lnTo>
                  <a:pt x="884" y="298"/>
                </a:lnTo>
                <a:lnTo>
                  <a:pt x="888" y="298"/>
                </a:lnTo>
                <a:lnTo>
                  <a:pt x="890" y="294"/>
                </a:lnTo>
                <a:lnTo>
                  <a:pt x="894" y="294"/>
                </a:lnTo>
                <a:lnTo>
                  <a:pt x="898" y="294"/>
                </a:lnTo>
                <a:lnTo>
                  <a:pt x="902" y="294"/>
                </a:lnTo>
                <a:lnTo>
                  <a:pt x="906" y="294"/>
                </a:lnTo>
                <a:lnTo>
                  <a:pt x="910" y="294"/>
                </a:lnTo>
                <a:lnTo>
                  <a:pt x="910" y="298"/>
                </a:lnTo>
                <a:lnTo>
                  <a:pt x="914" y="298"/>
                </a:lnTo>
                <a:lnTo>
                  <a:pt x="918" y="298"/>
                </a:lnTo>
                <a:lnTo>
                  <a:pt x="918" y="302"/>
                </a:lnTo>
                <a:lnTo>
                  <a:pt x="918" y="298"/>
                </a:lnTo>
                <a:lnTo>
                  <a:pt x="920" y="298"/>
                </a:lnTo>
                <a:lnTo>
                  <a:pt x="924" y="298"/>
                </a:lnTo>
                <a:lnTo>
                  <a:pt x="928" y="298"/>
                </a:lnTo>
                <a:lnTo>
                  <a:pt x="928" y="302"/>
                </a:lnTo>
                <a:lnTo>
                  <a:pt x="932" y="302"/>
                </a:lnTo>
                <a:lnTo>
                  <a:pt x="932" y="306"/>
                </a:lnTo>
                <a:lnTo>
                  <a:pt x="936" y="306"/>
                </a:lnTo>
                <a:lnTo>
                  <a:pt x="932" y="310"/>
                </a:lnTo>
                <a:lnTo>
                  <a:pt x="928" y="310"/>
                </a:lnTo>
                <a:lnTo>
                  <a:pt x="924" y="310"/>
                </a:lnTo>
                <a:lnTo>
                  <a:pt x="920" y="310"/>
                </a:lnTo>
                <a:lnTo>
                  <a:pt x="920" y="314"/>
                </a:lnTo>
                <a:lnTo>
                  <a:pt x="918" y="314"/>
                </a:lnTo>
                <a:lnTo>
                  <a:pt x="914" y="318"/>
                </a:lnTo>
                <a:lnTo>
                  <a:pt x="918" y="314"/>
                </a:lnTo>
                <a:lnTo>
                  <a:pt x="920" y="314"/>
                </a:lnTo>
                <a:lnTo>
                  <a:pt x="920" y="310"/>
                </a:lnTo>
                <a:lnTo>
                  <a:pt x="924" y="310"/>
                </a:lnTo>
                <a:lnTo>
                  <a:pt x="928" y="310"/>
                </a:lnTo>
                <a:lnTo>
                  <a:pt x="932" y="314"/>
                </a:lnTo>
                <a:lnTo>
                  <a:pt x="928" y="314"/>
                </a:lnTo>
                <a:lnTo>
                  <a:pt x="924" y="314"/>
                </a:lnTo>
                <a:lnTo>
                  <a:pt x="924" y="318"/>
                </a:lnTo>
                <a:lnTo>
                  <a:pt x="920" y="322"/>
                </a:lnTo>
                <a:lnTo>
                  <a:pt x="918" y="322"/>
                </a:lnTo>
                <a:lnTo>
                  <a:pt x="920" y="322"/>
                </a:lnTo>
                <a:lnTo>
                  <a:pt x="924" y="318"/>
                </a:lnTo>
                <a:lnTo>
                  <a:pt x="924" y="314"/>
                </a:lnTo>
                <a:lnTo>
                  <a:pt x="928" y="314"/>
                </a:lnTo>
                <a:lnTo>
                  <a:pt x="932" y="314"/>
                </a:lnTo>
                <a:lnTo>
                  <a:pt x="932" y="310"/>
                </a:lnTo>
                <a:lnTo>
                  <a:pt x="936" y="310"/>
                </a:lnTo>
                <a:lnTo>
                  <a:pt x="940" y="310"/>
                </a:lnTo>
                <a:lnTo>
                  <a:pt x="944" y="314"/>
                </a:lnTo>
                <a:lnTo>
                  <a:pt x="948" y="314"/>
                </a:lnTo>
                <a:lnTo>
                  <a:pt x="948" y="318"/>
                </a:lnTo>
                <a:lnTo>
                  <a:pt x="944" y="318"/>
                </a:lnTo>
                <a:lnTo>
                  <a:pt x="944" y="322"/>
                </a:lnTo>
                <a:lnTo>
                  <a:pt x="940" y="318"/>
                </a:lnTo>
                <a:lnTo>
                  <a:pt x="940" y="322"/>
                </a:lnTo>
                <a:lnTo>
                  <a:pt x="936" y="322"/>
                </a:lnTo>
                <a:lnTo>
                  <a:pt x="932" y="322"/>
                </a:lnTo>
                <a:lnTo>
                  <a:pt x="928" y="322"/>
                </a:lnTo>
                <a:lnTo>
                  <a:pt x="932" y="322"/>
                </a:lnTo>
                <a:lnTo>
                  <a:pt x="936" y="322"/>
                </a:lnTo>
                <a:lnTo>
                  <a:pt x="932" y="324"/>
                </a:lnTo>
                <a:lnTo>
                  <a:pt x="928" y="324"/>
                </a:lnTo>
                <a:lnTo>
                  <a:pt x="932" y="324"/>
                </a:lnTo>
                <a:lnTo>
                  <a:pt x="936" y="324"/>
                </a:lnTo>
                <a:lnTo>
                  <a:pt x="936" y="322"/>
                </a:lnTo>
                <a:lnTo>
                  <a:pt x="940" y="322"/>
                </a:lnTo>
                <a:lnTo>
                  <a:pt x="940" y="324"/>
                </a:lnTo>
                <a:lnTo>
                  <a:pt x="936" y="324"/>
                </a:lnTo>
                <a:lnTo>
                  <a:pt x="932" y="324"/>
                </a:lnTo>
                <a:lnTo>
                  <a:pt x="932" y="328"/>
                </a:lnTo>
                <a:lnTo>
                  <a:pt x="932" y="324"/>
                </a:lnTo>
                <a:lnTo>
                  <a:pt x="936" y="324"/>
                </a:lnTo>
                <a:lnTo>
                  <a:pt x="936" y="328"/>
                </a:lnTo>
                <a:lnTo>
                  <a:pt x="940" y="328"/>
                </a:lnTo>
                <a:lnTo>
                  <a:pt x="936" y="332"/>
                </a:lnTo>
                <a:lnTo>
                  <a:pt x="932" y="336"/>
                </a:lnTo>
                <a:lnTo>
                  <a:pt x="936" y="332"/>
                </a:lnTo>
                <a:lnTo>
                  <a:pt x="940" y="332"/>
                </a:lnTo>
                <a:lnTo>
                  <a:pt x="940" y="328"/>
                </a:lnTo>
                <a:lnTo>
                  <a:pt x="936" y="328"/>
                </a:lnTo>
                <a:lnTo>
                  <a:pt x="936" y="324"/>
                </a:lnTo>
                <a:lnTo>
                  <a:pt x="940" y="324"/>
                </a:lnTo>
                <a:lnTo>
                  <a:pt x="944" y="322"/>
                </a:lnTo>
                <a:lnTo>
                  <a:pt x="948" y="322"/>
                </a:lnTo>
                <a:lnTo>
                  <a:pt x="948" y="324"/>
                </a:lnTo>
                <a:lnTo>
                  <a:pt x="944" y="324"/>
                </a:lnTo>
                <a:lnTo>
                  <a:pt x="948" y="324"/>
                </a:lnTo>
                <a:lnTo>
                  <a:pt x="948" y="322"/>
                </a:lnTo>
                <a:lnTo>
                  <a:pt x="950" y="322"/>
                </a:lnTo>
                <a:lnTo>
                  <a:pt x="954" y="322"/>
                </a:lnTo>
                <a:lnTo>
                  <a:pt x="950" y="322"/>
                </a:lnTo>
                <a:lnTo>
                  <a:pt x="950" y="324"/>
                </a:lnTo>
                <a:lnTo>
                  <a:pt x="948" y="324"/>
                </a:lnTo>
                <a:lnTo>
                  <a:pt x="948" y="328"/>
                </a:lnTo>
                <a:lnTo>
                  <a:pt x="944" y="328"/>
                </a:lnTo>
                <a:lnTo>
                  <a:pt x="948" y="328"/>
                </a:lnTo>
                <a:lnTo>
                  <a:pt x="948" y="332"/>
                </a:lnTo>
                <a:lnTo>
                  <a:pt x="944" y="332"/>
                </a:lnTo>
                <a:lnTo>
                  <a:pt x="944" y="336"/>
                </a:lnTo>
                <a:lnTo>
                  <a:pt x="948" y="336"/>
                </a:lnTo>
                <a:lnTo>
                  <a:pt x="948" y="332"/>
                </a:lnTo>
                <a:lnTo>
                  <a:pt x="948" y="328"/>
                </a:lnTo>
                <a:lnTo>
                  <a:pt x="950" y="324"/>
                </a:lnTo>
                <a:lnTo>
                  <a:pt x="954" y="324"/>
                </a:lnTo>
                <a:lnTo>
                  <a:pt x="954" y="328"/>
                </a:lnTo>
                <a:lnTo>
                  <a:pt x="954" y="332"/>
                </a:lnTo>
                <a:lnTo>
                  <a:pt x="954" y="328"/>
                </a:lnTo>
                <a:lnTo>
                  <a:pt x="958" y="328"/>
                </a:lnTo>
                <a:lnTo>
                  <a:pt x="954" y="332"/>
                </a:lnTo>
                <a:lnTo>
                  <a:pt x="950" y="332"/>
                </a:lnTo>
                <a:lnTo>
                  <a:pt x="950" y="336"/>
                </a:lnTo>
                <a:lnTo>
                  <a:pt x="950" y="340"/>
                </a:lnTo>
                <a:lnTo>
                  <a:pt x="950" y="336"/>
                </a:lnTo>
                <a:lnTo>
                  <a:pt x="954" y="332"/>
                </a:lnTo>
                <a:lnTo>
                  <a:pt x="958" y="332"/>
                </a:lnTo>
                <a:lnTo>
                  <a:pt x="962" y="332"/>
                </a:lnTo>
                <a:lnTo>
                  <a:pt x="958" y="332"/>
                </a:lnTo>
                <a:lnTo>
                  <a:pt x="958" y="336"/>
                </a:lnTo>
                <a:lnTo>
                  <a:pt x="958" y="340"/>
                </a:lnTo>
                <a:lnTo>
                  <a:pt x="954" y="340"/>
                </a:lnTo>
                <a:lnTo>
                  <a:pt x="958" y="340"/>
                </a:lnTo>
                <a:lnTo>
                  <a:pt x="958" y="336"/>
                </a:lnTo>
                <a:lnTo>
                  <a:pt x="962" y="332"/>
                </a:lnTo>
                <a:lnTo>
                  <a:pt x="962" y="336"/>
                </a:lnTo>
                <a:lnTo>
                  <a:pt x="962" y="332"/>
                </a:lnTo>
                <a:lnTo>
                  <a:pt x="962" y="328"/>
                </a:lnTo>
                <a:lnTo>
                  <a:pt x="966" y="328"/>
                </a:lnTo>
                <a:lnTo>
                  <a:pt x="966" y="324"/>
                </a:lnTo>
                <a:lnTo>
                  <a:pt x="970" y="324"/>
                </a:lnTo>
                <a:lnTo>
                  <a:pt x="970" y="322"/>
                </a:lnTo>
                <a:lnTo>
                  <a:pt x="970" y="324"/>
                </a:lnTo>
                <a:lnTo>
                  <a:pt x="974" y="324"/>
                </a:lnTo>
                <a:lnTo>
                  <a:pt x="976" y="324"/>
                </a:lnTo>
                <a:lnTo>
                  <a:pt x="980" y="324"/>
                </a:lnTo>
                <a:lnTo>
                  <a:pt x="980" y="328"/>
                </a:lnTo>
                <a:lnTo>
                  <a:pt x="984" y="328"/>
                </a:lnTo>
                <a:lnTo>
                  <a:pt x="988" y="332"/>
                </a:lnTo>
                <a:lnTo>
                  <a:pt x="988" y="336"/>
                </a:lnTo>
                <a:lnTo>
                  <a:pt x="984" y="336"/>
                </a:lnTo>
                <a:lnTo>
                  <a:pt x="984" y="340"/>
                </a:lnTo>
                <a:lnTo>
                  <a:pt x="980" y="340"/>
                </a:lnTo>
                <a:lnTo>
                  <a:pt x="980" y="336"/>
                </a:lnTo>
                <a:lnTo>
                  <a:pt x="976" y="336"/>
                </a:lnTo>
                <a:lnTo>
                  <a:pt x="974" y="340"/>
                </a:lnTo>
                <a:lnTo>
                  <a:pt x="974" y="344"/>
                </a:lnTo>
                <a:lnTo>
                  <a:pt x="970" y="344"/>
                </a:lnTo>
                <a:lnTo>
                  <a:pt x="966" y="344"/>
                </a:lnTo>
                <a:lnTo>
                  <a:pt x="970" y="344"/>
                </a:lnTo>
                <a:lnTo>
                  <a:pt x="974" y="344"/>
                </a:lnTo>
                <a:lnTo>
                  <a:pt x="970" y="348"/>
                </a:lnTo>
                <a:lnTo>
                  <a:pt x="970" y="350"/>
                </a:lnTo>
                <a:lnTo>
                  <a:pt x="966" y="350"/>
                </a:lnTo>
                <a:lnTo>
                  <a:pt x="970" y="350"/>
                </a:lnTo>
                <a:lnTo>
                  <a:pt x="970" y="348"/>
                </a:lnTo>
                <a:lnTo>
                  <a:pt x="974" y="348"/>
                </a:lnTo>
                <a:lnTo>
                  <a:pt x="976" y="348"/>
                </a:lnTo>
                <a:lnTo>
                  <a:pt x="976" y="344"/>
                </a:lnTo>
                <a:lnTo>
                  <a:pt x="980" y="344"/>
                </a:lnTo>
                <a:lnTo>
                  <a:pt x="984" y="344"/>
                </a:lnTo>
                <a:lnTo>
                  <a:pt x="988" y="340"/>
                </a:lnTo>
                <a:lnTo>
                  <a:pt x="992" y="336"/>
                </a:lnTo>
                <a:lnTo>
                  <a:pt x="996" y="336"/>
                </a:lnTo>
                <a:lnTo>
                  <a:pt x="996" y="340"/>
                </a:lnTo>
                <a:lnTo>
                  <a:pt x="996" y="344"/>
                </a:lnTo>
                <a:lnTo>
                  <a:pt x="996" y="348"/>
                </a:lnTo>
                <a:lnTo>
                  <a:pt x="992" y="348"/>
                </a:lnTo>
                <a:lnTo>
                  <a:pt x="988" y="348"/>
                </a:lnTo>
                <a:lnTo>
                  <a:pt x="988" y="350"/>
                </a:lnTo>
                <a:lnTo>
                  <a:pt x="984" y="350"/>
                </a:lnTo>
                <a:lnTo>
                  <a:pt x="980" y="350"/>
                </a:lnTo>
                <a:lnTo>
                  <a:pt x="980" y="354"/>
                </a:lnTo>
                <a:lnTo>
                  <a:pt x="980" y="358"/>
                </a:lnTo>
                <a:lnTo>
                  <a:pt x="976" y="358"/>
                </a:lnTo>
                <a:lnTo>
                  <a:pt x="980" y="358"/>
                </a:lnTo>
                <a:lnTo>
                  <a:pt x="980" y="354"/>
                </a:lnTo>
                <a:lnTo>
                  <a:pt x="984" y="350"/>
                </a:lnTo>
                <a:lnTo>
                  <a:pt x="988" y="350"/>
                </a:lnTo>
                <a:lnTo>
                  <a:pt x="988" y="354"/>
                </a:lnTo>
                <a:lnTo>
                  <a:pt x="984" y="358"/>
                </a:lnTo>
                <a:lnTo>
                  <a:pt x="984" y="362"/>
                </a:lnTo>
                <a:lnTo>
                  <a:pt x="984" y="366"/>
                </a:lnTo>
                <a:lnTo>
                  <a:pt x="984" y="362"/>
                </a:lnTo>
                <a:lnTo>
                  <a:pt x="988" y="358"/>
                </a:lnTo>
                <a:lnTo>
                  <a:pt x="988" y="354"/>
                </a:lnTo>
                <a:lnTo>
                  <a:pt x="988" y="350"/>
                </a:lnTo>
                <a:lnTo>
                  <a:pt x="992" y="350"/>
                </a:lnTo>
                <a:lnTo>
                  <a:pt x="992" y="348"/>
                </a:lnTo>
                <a:lnTo>
                  <a:pt x="996" y="348"/>
                </a:lnTo>
                <a:lnTo>
                  <a:pt x="1000" y="348"/>
                </a:lnTo>
                <a:lnTo>
                  <a:pt x="1000" y="344"/>
                </a:lnTo>
                <a:lnTo>
                  <a:pt x="1004" y="344"/>
                </a:lnTo>
                <a:lnTo>
                  <a:pt x="1006" y="344"/>
                </a:lnTo>
                <a:lnTo>
                  <a:pt x="1006" y="348"/>
                </a:lnTo>
                <a:lnTo>
                  <a:pt x="1004" y="348"/>
                </a:lnTo>
                <a:lnTo>
                  <a:pt x="1004" y="350"/>
                </a:lnTo>
                <a:lnTo>
                  <a:pt x="1000" y="350"/>
                </a:lnTo>
                <a:lnTo>
                  <a:pt x="1000" y="354"/>
                </a:lnTo>
                <a:lnTo>
                  <a:pt x="1000" y="350"/>
                </a:lnTo>
                <a:lnTo>
                  <a:pt x="1004" y="350"/>
                </a:lnTo>
                <a:lnTo>
                  <a:pt x="1004" y="348"/>
                </a:lnTo>
                <a:lnTo>
                  <a:pt x="1006" y="348"/>
                </a:lnTo>
                <a:lnTo>
                  <a:pt x="1010" y="348"/>
                </a:lnTo>
                <a:lnTo>
                  <a:pt x="1014" y="348"/>
                </a:lnTo>
                <a:lnTo>
                  <a:pt x="1018" y="348"/>
                </a:lnTo>
                <a:lnTo>
                  <a:pt x="1022" y="350"/>
                </a:lnTo>
                <a:lnTo>
                  <a:pt x="1026" y="350"/>
                </a:lnTo>
                <a:lnTo>
                  <a:pt x="1030" y="350"/>
                </a:lnTo>
                <a:lnTo>
                  <a:pt x="1030" y="354"/>
                </a:lnTo>
                <a:lnTo>
                  <a:pt x="1026" y="354"/>
                </a:lnTo>
                <a:lnTo>
                  <a:pt x="1022" y="354"/>
                </a:lnTo>
                <a:lnTo>
                  <a:pt x="1022" y="358"/>
                </a:lnTo>
                <a:lnTo>
                  <a:pt x="1018" y="358"/>
                </a:lnTo>
                <a:lnTo>
                  <a:pt x="1014" y="358"/>
                </a:lnTo>
                <a:lnTo>
                  <a:pt x="1010" y="358"/>
                </a:lnTo>
                <a:lnTo>
                  <a:pt x="1010" y="362"/>
                </a:lnTo>
                <a:lnTo>
                  <a:pt x="1006" y="362"/>
                </a:lnTo>
                <a:lnTo>
                  <a:pt x="1004" y="362"/>
                </a:lnTo>
                <a:lnTo>
                  <a:pt x="1004" y="366"/>
                </a:lnTo>
                <a:lnTo>
                  <a:pt x="1006" y="366"/>
                </a:lnTo>
                <a:lnTo>
                  <a:pt x="1004" y="366"/>
                </a:lnTo>
                <a:lnTo>
                  <a:pt x="1000" y="370"/>
                </a:lnTo>
                <a:lnTo>
                  <a:pt x="1004" y="370"/>
                </a:lnTo>
                <a:lnTo>
                  <a:pt x="1004" y="366"/>
                </a:lnTo>
                <a:lnTo>
                  <a:pt x="1006" y="366"/>
                </a:lnTo>
                <a:lnTo>
                  <a:pt x="1006" y="362"/>
                </a:lnTo>
                <a:lnTo>
                  <a:pt x="1010" y="362"/>
                </a:lnTo>
                <a:lnTo>
                  <a:pt x="1014" y="362"/>
                </a:lnTo>
                <a:lnTo>
                  <a:pt x="1018" y="362"/>
                </a:lnTo>
                <a:lnTo>
                  <a:pt x="1022" y="362"/>
                </a:lnTo>
                <a:lnTo>
                  <a:pt x="1026" y="362"/>
                </a:lnTo>
                <a:lnTo>
                  <a:pt x="1022" y="366"/>
                </a:lnTo>
                <a:lnTo>
                  <a:pt x="1018" y="366"/>
                </a:lnTo>
                <a:lnTo>
                  <a:pt x="1014" y="370"/>
                </a:lnTo>
                <a:lnTo>
                  <a:pt x="1010" y="370"/>
                </a:lnTo>
                <a:lnTo>
                  <a:pt x="1006" y="370"/>
                </a:lnTo>
                <a:lnTo>
                  <a:pt x="1004" y="374"/>
                </a:lnTo>
                <a:lnTo>
                  <a:pt x="1004" y="378"/>
                </a:lnTo>
                <a:lnTo>
                  <a:pt x="1006" y="374"/>
                </a:lnTo>
                <a:lnTo>
                  <a:pt x="1006" y="370"/>
                </a:lnTo>
                <a:lnTo>
                  <a:pt x="1010" y="370"/>
                </a:lnTo>
                <a:lnTo>
                  <a:pt x="1014" y="370"/>
                </a:lnTo>
                <a:lnTo>
                  <a:pt x="1018" y="370"/>
                </a:lnTo>
                <a:lnTo>
                  <a:pt x="1018" y="366"/>
                </a:lnTo>
                <a:lnTo>
                  <a:pt x="1022" y="366"/>
                </a:lnTo>
                <a:lnTo>
                  <a:pt x="1026" y="366"/>
                </a:lnTo>
                <a:lnTo>
                  <a:pt x="1030" y="366"/>
                </a:lnTo>
                <a:lnTo>
                  <a:pt x="1030" y="362"/>
                </a:lnTo>
                <a:lnTo>
                  <a:pt x="1030" y="358"/>
                </a:lnTo>
                <a:lnTo>
                  <a:pt x="1032" y="358"/>
                </a:lnTo>
                <a:lnTo>
                  <a:pt x="1036" y="358"/>
                </a:lnTo>
                <a:lnTo>
                  <a:pt x="1036" y="362"/>
                </a:lnTo>
                <a:lnTo>
                  <a:pt x="1040" y="362"/>
                </a:lnTo>
                <a:lnTo>
                  <a:pt x="1040" y="366"/>
                </a:lnTo>
                <a:lnTo>
                  <a:pt x="1044" y="366"/>
                </a:lnTo>
                <a:lnTo>
                  <a:pt x="1044" y="370"/>
                </a:lnTo>
                <a:lnTo>
                  <a:pt x="1044" y="374"/>
                </a:lnTo>
                <a:lnTo>
                  <a:pt x="1040" y="374"/>
                </a:lnTo>
                <a:lnTo>
                  <a:pt x="1036" y="374"/>
                </a:lnTo>
                <a:lnTo>
                  <a:pt x="1036" y="370"/>
                </a:lnTo>
                <a:lnTo>
                  <a:pt x="1032" y="370"/>
                </a:lnTo>
                <a:lnTo>
                  <a:pt x="1032" y="374"/>
                </a:lnTo>
                <a:lnTo>
                  <a:pt x="1030" y="374"/>
                </a:lnTo>
                <a:lnTo>
                  <a:pt x="1026" y="374"/>
                </a:lnTo>
                <a:lnTo>
                  <a:pt x="1022" y="378"/>
                </a:lnTo>
                <a:lnTo>
                  <a:pt x="1018" y="378"/>
                </a:lnTo>
                <a:lnTo>
                  <a:pt x="1014" y="378"/>
                </a:lnTo>
                <a:lnTo>
                  <a:pt x="1010" y="378"/>
                </a:lnTo>
                <a:lnTo>
                  <a:pt x="1006" y="378"/>
                </a:lnTo>
                <a:lnTo>
                  <a:pt x="1004" y="378"/>
                </a:lnTo>
                <a:lnTo>
                  <a:pt x="1006" y="378"/>
                </a:lnTo>
                <a:lnTo>
                  <a:pt x="1010" y="378"/>
                </a:lnTo>
                <a:lnTo>
                  <a:pt x="1014" y="378"/>
                </a:lnTo>
                <a:lnTo>
                  <a:pt x="1018" y="378"/>
                </a:lnTo>
                <a:lnTo>
                  <a:pt x="1022" y="378"/>
                </a:lnTo>
                <a:lnTo>
                  <a:pt x="1026" y="378"/>
                </a:lnTo>
                <a:lnTo>
                  <a:pt x="1030" y="378"/>
                </a:lnTo>
                <a:lnTo>
                  <a:pt x="1032" y="380"/>
                </a:lnTo>
                <a:lnTo>
                  <a:pt x="1036" y="380"/>
                </a:lnTo>
                <a:lnTo>
                  <a:pt x="1036" y="378"/>
                </a:lnTo>
                <a:lnTo>
                  <a:pt x="1040" y="380"/>
                </a:lnTo>
                <a:lnTo>
                  <a:pt x="1044" y="380"/>
                </a:lnTo>
                <a:lnTo>
                  <a:pt x="1048" y="380"/>
                </a:lnTo>
                <a:lnTo>
                  <a:pt x="1052" y="380"/>
                </a:lnTo>
                <a:lnTo>
                  <a:pt x="1052" y="384"/>
                </a:lnTo>
                <a:lnTo>
                  <a:pt x="1052" y="388"/>
                </a:lnTo>
                <a:lnTo>
                  <a:pt x="1048" y="388"/>
                </a:lnTo>
                <a:lnTo>
                  <a:pt x="1044" y="384"/>
                </a:lnTo>
                <a:lnTo>
                  <a:pt x="1040" y="384"/>
                </a:lnTo>
                <a:lnTo>
                  <a:pt x="1040" y="388"/>
                </a:lnTo>
                <a:lnTo>
                  <a:pt x="1036" y="388"/>
                </a:lnTo>
                <a:lnTo>
                  <a:pt x="1032" y="384"/>
                </a:lnTo>
                <a:lnTo>
                  <a:pt x="1030" y="384"/>
                </a:lnTo>
                <a:lnTo>
                  <a:pt x="1026" y="384"/>
                </a:lnTo>
                <a:lnTo>
                  <a:pt x="1022" y="384"/>
                </a:lnTo>
                <a:lnTo>
                  <a:pt x="1022" y="380"/>
                </a:lnTo>
                <a:lnTo>
                  <a:pt x="1018" y="380"/>
                </a:lnTo>
                <a:lnTo>
                  <a:pt x="1014" y="384"/>
                </a:lnTo>
                <a:lnTo>
                  <a:pt x="1018" y="384"/>
                </a:lnTo>
                <a:lnTo>
                  <a:pt x="1018" y="380"/>
                </a:lnTo>
                <a:lnTo>
                  <a:pt x="1022" y="384"/>
                </a:lnTo>
                <a:lnTo>
                  <a:pt x="1026" y="384"/>
                </a:lnTo>
                <a:lnTo>
                  <a:pt x="1030" y="384"/>
                </a:lnTo>
                <a:lnTo>
                  <a:pt x="1032" y="384"/>
                </a:lnTo>
                <a:lnTo>
                  <a:pt x="1030" y="384"/>
                </a:lnTo>
                <a:lnTo>
                  <a:pt x="1026" y="384"/>
                </a:lnTo>
                <a:lnTo>
                  <a:pt x="1022" y="384"/>
                </a:lnTo>
                <a:lnTo>
                  <a:pt x="1018" y="384"/>
                </a:lnTo>
                <a:lnTo>
                  <a:pt x="1022" y="384"/>
                </a:lnTo>
                <a:lnTo>
                  <a:pt x="1026" y="384"/>
                </a:lnTo>
                <a:lnTo>
                  <a:pt x="1022" y="388"/>
                </a:lnTo>
                <a:lnTo>
                  <a:pt x="1018" y="388"/>
                </a:lnTo>
                <a:lnTo>
                  <a:pt x="1018" y="392"/>
                </a:lnTo>
                <a:lnTo>
                  <a:pt x="1022" y="388"/>
                </a:lnTo>
                <a:lnTo>
                  <a:pt x="1026" y="388"/>
                </a:lnTo>
                <a:lnTo>
                  <a:pt x="1030" y="388"/>
                </a:lnTo>
                <a:lnTo>
                  <a:pt x="1032" y="388"/>
                </a:lnTo>
                <a:lnTo>
                  <a:pt x="1036" y="392"/>
                </a:lnTo>
                <a:lnTo>
                  <a:pt x="1032" y="392"/>
                </a:lnTo>
                <a:lnTo>
                  <a:pt x="1030" y="392"/>
                </a:lnTo>
                <a:lnTo>
                  <a:pt x="1026" y="392"/>
                </a:lnTo>
                <a:lnTo>
                  <a:pt x="1030" y="392"/>
                </a:lnTo>
                <a:lnTo>
                  <a:pt x="1032" y="392"/>
                </a:lnTo>
                <a:lnTo>
                  <a:pt x="1032" y="396"/>
                </a:lnTo>
                <a:lnTo>
                  <a:pt x="1030" y="396"/>
                </a:lnTo>
                <a:lnTo>
                  <a:pt x="1030" y="392"/>
                </a:lnTo>
                <a:lnTo>
                  <a:pt x="1026" y="392"/>
                </a:lnTo>
                <a:lnTo>
                  <a:pt x="1026" y="396"/>
                </a:lnTo>
                <a:lnTo>
                  <a:pt x="1030" y="396"/>
                </a:lnTo>
                <a:lnTo>
                  <a:pt x="1032" y="396"/>
                </a:lnTo>
                <a:lnTo>
                  <a:pt x="1036" y="396"/>
                </a:lnTo>
                <a:lnTo>
                  <a:pt x="1032" y="396"/>
                </a:lnTo>
                <a:lnTo>
                  <a:pt x="1030" y="396"/>
                </a:lnTo>
                <a:lnTo>
                  <a:pt x="1026" y="396"/>
                </a:lnTo>
                <a:lnTo>
                  <a:pt x="1022" y="396"/>
                </a:lnTo>
                <a:lnTo>
                  <a:pt x="1018" y="396"/>
                </a:lnTo>
                <a:lnTo>
                  <a:pt x="1014" y="396"/>
                </a:lnTo>
                <a:lnTo>
                  <a:pt x="1018" y="396"/>
                </a:lnTo>
                <a:lnTo>
                  <a:pt x="1014" y="396"/>
                </a:lnTo>
                <a:lnTo>
                  <a:pt x="1018" y="396"/>
                </a:lnTo>
                <a:lnTo>
                  <a:pt x="1030" y="400"/>
                </a:lnTo>
                <a:lnTo>
                  <a:pt x="1032" y="400"/>
                </a:lnTo>
                <a:lnTo>
                  <a:pt x="1030" y="400"/>
                </a:lnTo>
                <a:lnTo>
                  <a:pt x="1026" y="400"/>
                </a:lnTo>
                <a:lnTo>
                  <a:pt x="1022" y="400"/>
                </a:lnTo>
                <a:lnTo>
                  <a:pt x="1026" y="400"/>
                </a:lnTo>
                <a:lnTo>
                  <a:pt x="1026" y="404"/>
                </a:lnTo>
                <a:lnTo>
                  <a:pt x="1022" y="404"/>
                </a:lnTo>
                <a:lnTo>
                  <a:pt x="1026" y="404"/>
                </a:lnTo>
                <a:lnTo>
                  <a:pt x="1026" y="400"/>
                </a:lnTo>
                <a:lnTo>
                  <a:pt x="1030" y="400"/>
                </a:lnTo>
                <a:lnTo>
                  <a:pt x="1030" y="404"/>
                </a:lnTo>
                <a:lnTo>
                  <a:pt x="1032" y="404"/>
                </a:lnTo>
                <a:lnTo>
                  <a:pt x="1036" y="404"/>
                </a:lnTo>
                <a:lnTo>
                  <a:pt x="1040" y="404"/>
                </a:lnTo>
                <a:lnTo>
                  <a:pt x="1036" y="404"/>
                </a:lnTo>
                <a:lnTo>
                  <a:pt x="1036" y="408"/>
                </a:lnTo>
                <a:lnTo>
                  <a:pt x="1040" y="408"/>
                </a:lnTo>
                <a:lnTo>
                  <a:pt x="1040" y="404"/>
                </a:lnTo>
                <a:lnTo>
                  <a:pt x="1044" y="404"/>
                </a:lnTo>
                <a:lnTo>
                  <a:pt x="1044" y="408"/>
                </a:lnTo>
                <a:lnTo>
                  <a:pt x="1040" y="408"/>
                </a:lnTo>
                <a:lnTo>
                  <a:pt x="1044" y="408"/>
                </a:lnTo>
                <a:lnTo>
                  <a:pt x="1044" y="404"/>
                </a:lnTo>
                <a:lnTo>
                  <a:pt x="1048" y="404"/>
                </a:lnTo>
                <a:lnTo>
                  <a:pt x="1052" y="404"/>
                </a:lnTo>
                <a:lnTo>
                  <a:pt x="1052" y="408"/>
                </a:lnTo>
                <a:lnTo>
                  <a:pt x="1048" y="408"/>
                </a:lnTo>
                <a:lnTo>
                  <a:pt x="1044" y="408"/>
                </a:lnTo>
                <a:lnTo>
                  <a:pt x="1040" y="408"/>
                </a:lnTo>
                <a:lnTo>
                  <a:pt x="1036" y="408"/>
                </a:lnTo>
                <a:lnTo>
                  <a:pt x="1032" y="408"/>
                </a:lnTo>
                <a:lnTo>
                  <a:pt x="1032" y="410"/>
                </a:lnTo>
                <a:lnTo>
                  <a:pt x="1036" y="410"/>
                </a:lnTo>
                <a:lnTo>
                  <a:pt x="1036" y="408"/>
                </a:lnTo>
                <a:lnTo>
                  <a:pt x="1040" y="408"/>
                </a:lnTo>
                <a:lnTo>
                  <a:pt x="1040" y="410"/>
                </a:lnTo>
                <a:lnTo>
                  <a:pt x="1036" y="410"/>
                </a:lnTo>
                <a:lnTo>
                  <a:pt x="1040" y="410"/>
                </a:lnTo>
                <a:lnTo>
                  <a:pt x="1040" y="408"/>
                </a:lnTo>
                <a:lnTo>
                  <a:pt x="1044" y="408"/>
                </a:lnTo>
                <a:lnTo>
                  <a:pt x="1048" y="408"/>
                </a:lnTo>
                <a:lnTo>
                  <a:pt x="1044" y="408"/>
                </a:lnTo>
                <a:lnTo>
                  <a:pt x="1044" y="410"/>
                </a:lnTo>
                <a:lnTo>
                  <a:pt x="1040" y="410"/>
                </a:lnTo>
                <a:lnTo>
                  <a:pt x="1044" y="410"/>
                </a:lnTo>
                <a:lnTo>
                  <a:pt x="1040" y="410"/>
                </a:lnTo>
                <a:lnTo>
                  <a:pt x="1036" y="410"/>
                </a:lnTo>
                <a:lnTo>
                  <a:pt x="1040" y="410"/>
                </a:lnTo>
                <a:lnTo>
                  <a:pt x="1040" y="414"/>
                </a:lnTo>
                <a:lnTo>
                  <a:pt x="1044" y="410"/>
                </a:lnTo>
                <a:lnTo>
                  <a:pt x="1048" y="408"/>
                </a:lnTo>
                <a:lnTo>
                  <a:pt x="1048" y="410"/>
                </a:lnTo>
                <a:lnTo>
                  <a:pt x="1052" y="410"/>
                </a:lnTo>
                <a:lnTo>
                  <a:pt x="1048" y="414"/>
                </a:lnTo>
                <a:lnTo>
                  <a:pt x="1052" y="414"/>
                </a:lnTo>
                <a:lnTo>
                  <a:pt x="1052" y="410"/>
                </a:lnTo>
                <a:lnTo>
                  <a:pt x="1052" y="414"/>
                </a:lnTo>
                <a:lnTo>
                  <a:pt x="1052" y="418"/>
                </a:lnTo>
                <a:lnTo>
                  <a:pt x="1052" y="414"/>
                </a:lnTo>
                <a:lnTo>
                  <a:pt x="1052" y="410"/>
                </a:lnTo>
                <a:lnTo>
                  <a:pt x="1056" y="410"/>
                </a:lnTo>
                <a:lnTo>
                  <a:pt x="1056" y="414"/>
                </a:lnTo>
                <a:lnTo>
                  <a:pt x="1060" y="414"/>
                </a:lnTo>
                <a:lnTo>
                  <a:pt x="1056" y="414"/>
                </a:lnTo>
                <a:lnTo>
                  <a:pt x="1056" y="418"/>
                </a:lnTo>
                <a:lnTo>
                  <a:pt x="1052" y="418"/>
                </a:lnTo>
                <a:lnTo>
                  <a:pt x="1056" y="422"/>
                </a:lnTo>
                <a:lnTo>
                  <a:pt x="1056" y="418"/>
                </a:lnTo>
                <a:lnTo>
                  <a:pt x="1060" y="418"/>
                </a:lnTo>
                <a:lnTo>
                  <a:pt x="1062" y="414"/>
                </a:lnTo>
                <a:lnTo>
                  <a:pt x="1062" y="410"/>
                </a:lnTo>
                <a:lnTo>
                  <a:pt x="1062" y="414"/>
                </a:lnTo>
                <a:lnTo>
                  <a:pt x="1062" y="418"/>
                </a:lnTo>
                <a:lnTo>
                  <a:pt x="1060" y="418"/>
                </a:lnTo>
                <a:lnTo>
                  <a:pt x="1062" y="418"/>
                </a:lnTo>
                <a:lnTo>
                  <a:pt x="1062" y="422"/>
                </a:lnTo>
                <a:lnTo>
                  <a:pt x="1060" y="422"/>
                </a:lnTo>
                <a:lnTo>
                  <a:pt x="1060" y="426"/>
                </a:lnTo>
                <a:lnTo>
                  <a:pt x="1062" y="426"/>
                </a:lnTo>
                <a:lnTo>
                  <a:pt x="1062" y="422"/>
                </a:lnTo>
                <a:lnTo>
                  <a:pt x="1062" y="418"/>
                </a:lnTo>
                <a:lnTo>
                  <a:pt x="1066" y="414"/>
                </a:lnTo>
                <a:lnTo>
                  <a:pt x="1070" y="414"/>
                </a:lnTo>
                <a:lnTo>
                  <a:pt x="1070" y="418"/>
                </a:lnTo>
                <a:lnTo>
                  <a:pt x="1066" y="418"/>
                </a:lnTo>
                <a:lnTo>
                  <a:pt x="1066" y="422"/>
                </a:lnTo>
                <a:lnTo>
                  <a:pt x="1070" y="422"/>
                </a:lnTo>
                <a:lnTo>
                  <a:pt x="1070" y="426"/>
                </a:lnTo>
                <a:lnTo>
                  <a:pt x="1070" y="422"/>
                </a:lnTo>
                <a:lnTo>
                  <a:pt x="1066" y="422"/>
                </a:lnTo>
                <a:lnTo>
                  <a:pt x="1070" y="418"/>
                </a:lnTo>
                <a:lnTo>
                  <a:pt x="1074" y="418"/>
                </a:lnTo>
                <a:lnTo>
                  <a:pt x="1074" y="414"/>
                </a:lnTo>
                <a:lnTo>
                  <a:pt x="1076" y="418"/>
                </a:lnTo>
                <a:lnTo>
                  <a:pt x="1074" y="418"/>
                </a:lnTo>
                <a:lnTo>
                  <a:pt x="1074" y="422"/>
                </a:lnTo>
                <a:lnTo>
                  <a:pt x="1074" y="426"/>
                </a:lnTo>
                <a:lnTo>
                  <a:pt x="1074" y="422"/>
                </a:lnTo>
                <a:lnTo>
                  <a:pt x="1076" y="422"/>
                </a:lnTo>
                <a:lnTo>
                  <a:pt x="1076" y="426"/>
                </a:lnTo>
                <a:lnTo>
                  <a:pt x="1076" y="422"/>
                </a:lnTo>
                <a:lnTo>
                  <a:pt x="1080" y="422"/>
                </a:lnTo>
                <a:lnTo>
                  <a:pt x="1084" y="422"/>
                </a:lnTo>
                <a:lnTo>
                  <a:pt x="1080" y="422"/>
                </a:lnTo>
                <a:lnTo>
                  <a:pt x="1080" y="426"/>
                </a:lnTo>
                <a:lnTo>
                  <a:pt x="1080" y="422"/>
                </a:lnTo>
                <a:lnTo>
                  <a:pt x="1084" y="422"/>
                </a:lnTo>
                <a:lnTo>
                  <a:pt x="1088" y="426"/>
                </a:lnTo>
                <a:lnTo>
                  <a:pt x="1088" y="430"/>
                </a:lnTo>
                <a:lnTo>
                  <a:pt x="1084" y="430"/>
                </a:lnTo>
                <a:lnTo>
                  <a:pt x="1080" y="430"/>
                </a:lnTo>
                <a:lnTo>
                  <a:pt x="1084" y="430"/>
                </a:lnTo>
                <a:lnTo>
                  <a:pt x="1088" y="430"/>
                </a:lnTo>
                <a:lnTo>
                  <a:pt x="1088" y="434"/>
                </a:lnTo>
                <a:lnTo>
                  <a:pt x="1084" y="434"/>
                </a:lnTo>
                <a:lnTo>
                  <a:pt x="1080" y="434"/>
                </a:lnTo>
                <a:lnTo>
                  <a:pt x="1076" y="434"/>
                </a:lnTo>
                <a:lnTo>
                  <a:pt x="1080" y="434"/>
                </a:lnTo>
                <a:lnTo>
                  <a:pt x="1084" y="434"/>
                </a:lnTo>
                <a:lnTo>
                  <a:pt x="1080" y="434"/>
                </a:lnTo>
                <a:lnTo>
                  <a:pt x="1076" y="436"/>
                </a:lnTo>
                <a:lnTo>
                  <a:pt x="1080" y="436"/>
                </a:lnTo>
                <a:lnTo>
                  <a:pt x="1084" y="436"/>
                </a:lnTo>
                <a:lnTo>
                  <a:pt x="1084" y="434"/>
                </a:lnTo>
                <a:lnTo>
                  <a:pt x="1088" y="434"/>
                </a:lnTo>
                <a:lnTo>
                  <a:pt x="1088" y="436"/>
                </a:lnTo>
                <a:lnTo>
                  <a:pt x="1084" y="436"/>
                </a:lnTo>
                <a:lnTo>
                  <a:pt x="1080" y="436"/>
                </a:lnTo>
                <a:lnTo>
                  <a:pt x="1076" y="440"/>
                </a:lnTo>
                <a:lnTo>
                  <a:pt x="1080" y="440"/>
                </a:lnTo>
                <a:lnTo>
                  <a:pt x="1080" y="436"/>
                </a:lnTo>
                <a:lnTo>
                  <a:pt x="1084" y="436"/>
                </a:lnTo>
                <a:lnTo>
                  <a:pt x="1088" y="436"/>
                </a:lnTo>
                <a:lnTo>
                  <a:pt x="1092" y="436"/>
                </a:lnTo>
                <a:lnTo>
                  <a:pt x="1092" y="434"/>
                </a:lnTo>
                <a:lnTo>
                  <a:pt x="1096" y="436"/>
                </a:lnTo>
                <a:lnTo>
                  <a:pt x="1096" y="440"/>
                </a:lnTo>
                <a:lnTo>
                  <a:pt x="1092" y="440"/>
                </a:lnTo>
                <a:lnTo>
                  <a:pt x="1096" y="440"/>
                </a:lnTo>
                <a:lnTo>
                  <a:pt x="1096" y="436"/>
                </a:lnTo>
                <a:lnTo>
                  <a:pt x="1100" y="434"/>
                </a:lnTo>
                <a:lnTo>
                  <a:pt x="1104" y="434"/>
                </a:lnTo>
                <a:lnTo>
                  <a:pt x="1104" y="436"/>
                </a:lnTo>
                <a:lnTo>
                  <a:pt x="1100" y="436"/>
                </a:lnTo>
                <a:lnTo>
                  <a:pt x="1100" y="440"/>
                </a:lnTo>
                <a:lnTo>
                  <a:pt x="1096" y="444"/>
                </a:lnTo>
                <a:lnTo>
                  <a:pt x="1092" y="444"/>
                </a:lnTo>
                <a:lnTo>
                  <a:pt x="1096" y="444"/>
                </a:lnTo>
                <a:lnTo>
                  <a:pt x="1096" y="448"/>
                </a:lnTo>
                <a:lnTo>
                  <a:pt x="1100" y="444"/>
                </a:lnTo>
                <a:lnTo>
                  <a:pt x="1104" y="440"/>
                </a:lnTo>
                <a:lnTo>
                  <a:pt x="1106" y="440"/>
                </a:lnTo>
                <a:lnTo>
                  <a:pt x="1106" y="444"/>
                </a:lnTo>
                <a:lnTo>
                  <a:pt x="1106" y="448"/>
                </a:lnTo>
                <a:lnTo>
                  <a:pt x="1104" y="448"/>
                </a:lnTo>
                <a:lnTo>
                  <a:pt x="1106" y="448"/>
                </a:lnTo>
                <a:lnTo>
                  <a:pt x="1106" y="444"/>
                </a:lnTo>
                <a:lnTo>
                  <a:pt x="1106" y="440"/>
                </a:lnTo>
                <a:lnTo>
                  <a:pt x="1110" y="440"/>
                </a:lnTo>
                <a:lnTo>
                  <a:pt x="1110" y="444"/>
                </a:lnTo>
                <a:lnTo>
                  <a:pt x="1114" y="448"/>
                </a:lnTo>
                <a:lnTo>
                  <a:pt x="1110" y="444"/>
                </a:lnTo>
                <a:lnTo>
                  <a:pt x="1110" y="440"/>
                </a:lnTo>
                <a:lnTo>
                  <a:pt x="1114" y="440"/>
                </a:lnTo>
                <a:lnTo>
                  <a:pt x="1118" y="440"/>
                </a:lnTo>
                <a:lnTo>
                  <a:pt x="1114" y="444"/>
                </a:lnTo>
                <a:lnTo>
                  <a:pt x="1118" y="444"/>
                </a:lnTo>
                <a:lnTo>
                  <a:pt x="1118" y="440"/>
                </a:lnTo>
                <a:lnTo>
                  <a:pt x="1122" y="440"/>
                </a:lnTo>
                <a:lnTo>
                  <a:pt x="1122" y="444"/>
                </a:lnTo>
                <a:lnTo>
                  <a:pt x="1126" y="448"/>
                </a:lnTo>
                <a:lnTo>
                  <a:pt x="1130" y="452"/>
                </a:lnTo>
                <a:lnTo>
                  <a:pt x="1126" y="452"/>
                </a:lnTo>
                <a:lnTo>
                  <a:pt x="1122" y="452"/>
                </a:lnTo>
                <a:lnTo>
                  <a:pt x="1122" y="448"/>
                </a:lnTo>
                <a:lnTo>
                  <a:pt x="1118" y="448"/>
                </a:lnTo>
                <a:lnTo>
                  <a:pt x="1114" y="452"/>
                </a:lnTo>
                <a:lnTo>
                  <a:pt x="1118" y="452"/>
                </a:lnTo>
                <a:lnTo>
                  <a:pt x="1118" y="448"/>
                </a:lnTo>
                <a:lnTo>
                  <a:pt x="1118" y="452"/>
                </a:lnTo>
                <a:lnTo>
                  <a:pt x="1122" y="452"/>
                </a:lnTo>
                <a:lnTo>
                  <a:pt x="1122" y="456"/>
                </a:lnTo>
                <a:lnTo>
                  <a:pt x="1118" y="456"/>
                </a:lnTo>
                <a:lnTo>
                  <a:pt x="1122" y="456"/>
                </a:lnTo>
                <a:lnTo>
                  <a:pt x="1126" y="456"/>
                </a:lnTo>
                <a:lnTo>
                  <a:pt x="1122" y="456"/>
                </a:lnTo>
                <a:lnTo>
                  <a:pt x="1118" y="460"/>
                </a:lnTo>
                <a:lnTo>
                  <a:pt x="1114" y="460"/>
                </a:lnTo>
                <a:lnTo>
                  <a:pt x="1114" y="456"/>
                </a:lnTo>
                <a:lnTo>
                  <a:pt x="1110" y="456"/>
                </a:lnTo>
                <a:lnTo>
                  <a:pt x="1106" y="456"/>
                </a:lnTo>
                <a:lnTo>
                  <a:pt x="1110" y="456"/>
                </a:lnTo>
                <a:lnTo>
                  <a:pt x="1110" y="460"/>
                </a:lnTo>
                <a:lnTo>
                  <a:pt x="1114" y="460"/>
                </a:lnTo>
                <a:lnTo>
                  <a:pt x="1110" y="460"/>
                </a:lnTo>
                <a:lnTo>
                  <a:pt x="1106" y="460"/>
                </a:lnTo>
                <a:lnTo>
                  <a:pt x="1104" y="456"/>
                </a:lnTo>
                <a:lnTo>
                  <a:pt x="1106" y="460"/>
                </a:lnTo>
                <a:lnTo>
                  <a:pt x="1110" y="460"/>
                </a:lnTo>
                <a:lnTo>
                  <a:pt x="1114" y="464"/>
                </a:lnTo>
                <a:lnTo>
                  <a:pt x="1118" y="464"/>
                </a:lnTo>
                <a:lnTo>
                  <a:pt x="1114" y="466"/>
                </a:lnTo>
                <a:lnTo>
                  <a:pt x="1110" y="466"/>
                </a:lnTo>
                <a:lnTo>
                  <a:pt x="1110" y="464"/>
                </a:lnTo>
                <a:lnTo>
                  <a:pt x="1106" y="464"/>
                </a:lnTo>
                <a:lnTo>
                  <a:pt x="1104" y="464"/>
                </a:lnTo>
                <a:lnTo>
                  <a:pt x="1106" y="464"/>
                </a:lnTo>
                <a:lnTo>
                  <a:pt x="1106" y="466"/>
                </a:lnTo>
                <a:lnTo>
                  <a:pt x="1110" y="466"/>
                </a:lnTo>
                <a:lnTo>
                  <a:pt x="1114" y="470"/>
                </a:lnTo>
                <a:lnTo>
                  <a:pt x="1110" y="470"/>
                </a:lnTo>
                <a:lnTo>
                  <a:pt x="1106" y="470"/>
                </a:lnTo>
                <a:lnTo>
                  <a:pt x="1106" y="466"/>
                </a:lnTo>
                <a:lnTo>
                  <a:pt x="1104" y="466"/>
                </a:lnTo>
                <a:lnTo>
                  <a:pt x="1106" y="470"/>
                </a:lnTo>
                <a:lnTo>
                  <a:pt x="1110" y="470"/>
                </a:lnTo>
                <a:lnTo>
                  <a:pt x="1106" y="470"/>
                </a:lnTo>
                <a:lnTo>
                  <a:pt x="1106" y="474"/>
                </a:lnTo>
                <a:lnTo>
                  <a:pt x="1104" y="474"/>
                </a:lnTo>
                <a:lnTo>
                  <a:pt x="1104" y="470"/>
                </a:lnTo>
                <a:lnTo>
                  <a:pt x="1104" y="474"/>
                </a:lnTo>
                <a:lnTo>
                  <a:pt x="1100" y="474"/>
                </a:lnTo>
                <a:lnTo>
                  <a:pt x="1096" y="470"/>
                </a:lnTo>
                <a:lnTo>
                  <a:pt x="1100" y="474"/>
                </a:lnTo>
                <a:lnTo>
                  <a:pt x="1096" y="474"/>
                </a:lnTo>
                <a:lnTo>
                  <a:pt x="1092" y="474"/>
                </a:lnTo>
                <a:lnTo>
                  <a:pt x="1096" y="474"/>
                </a:lnTo>
                <a:lnTo>
                  <a:pt x="1100" y="474"/>
                </a:lnTo>
                <a:lnTo>
                  <a:pt x="1100" y="478"/>
                </a:lnTo>
                <a:lnTo>
                  <a:pt x="1096" y="478"/>
                </a:lnTo>
                <a:lnTo>
                  <a:pt x="1096" y="474"/>
                </a:lnTo>
                <a:lnTo>
                  <a:pt x="1096" y="478"/>
                </a:lnTo>
                <a:lnTo>
                  <a:pt x="1100" y="478"/>
                </a:lnTo>
                <a:lnTo>
                  <a:pt x="1096" y="478"/>
                </a:lnTo>
                <a:lnTo>
                  <a:pt x="1092" y="478"/>
                </a:lnTo>
                <a:lnTo>
                  <a:pt x="1096" y="478"/>
                </a:lnTo>
                <a:lnTo>
                  <a:pt x="1100" y="482"/>
                </a:lnTo>
                <a:lnTo>
                  <a:pt x="1096" y="486"/>
                </a:lnTo>
                <a:lnTo>
                  <a:pt x="1096" y="490"/>
                </a:lnTo>
                <a:lnTo>
                  <a:pt x="1096" y="494"/>
                </a:lnTo>
                <a:lnTo>
                  <a:pt x="1092" y="494"/>
                </a:lnTo>
                <a:lnTo>
                  <a:pt x="1092" y="490"/>
                </a:lnTo>
                <a:lnTo>
                  <a:pt x="1088" y="486"/>
                </a:lnTo>
                <a:lnTo>
                  <a:pt x="1088" y="490"/>
                </a:lnTo>
                <a:lnTo>
                  <a:pt x="1084" y="486"/>
                </a:lnTo>
                <a:lnTo>
                  <a:pt x="1088" y="486"/>
                </a:lnTo>
                <a:lnTo>
                  <a:pt x="1084" y="486"/>
                </a:lnTo>
                <a:lnTo>
                  <a:pt x="1084" y="482"/>
                </a:lnTo>
                <a:lnTo>
                  <a:pt x="1084" y="478"/>
                </a:lnTo>
                <a:lnTo>
                  <a:pt x="1080" y="482"/>
                </a:lnTo>
                <a:lnTo>
                  <a:pt x="1080" y="486"/>
                </a:lnTo>
                <a:lnTo>
                  <a:pt x="1076" y="486"/>
                </a:lnTo>
                <a:lnTo>
                  <a:pt x="1076" y="482"/>
                </a:lnTo>
                <a:lnTo>
                  <a:pt x="1076" y="486"/>
                </a:lnTo>
                <a:lnTo>
                  <a:pt x="1076" y="482"/>
                </a:lnTo>
                <a:lnTo>
                  <a:pt x="1080" y="482"/>
                </a:lnTo>
                <a:lnTo>
                  <a:pt x="1076" y="482"/>
                </a:lnTo>
                <a:lnTo>
                  <a:pt x="1080" y="478"/>
                </a:lnTo>
                <a:lnTo>
                  <a:pt x="1084" y="478"/>
                </a:lnTo>
                <a:lnTo>
                  <a:pt x="1080" y="478"/>
                </a:lnTo>
                <a:lnTo>
                  <a:pt x="1076" y="478"/>
                </a:lnTo>
                <a:lnTo>
                  <a:pt x="1074" y="478"/>
                </a:lnTo>
                <a:lnTo>
                  <a:pt x="1074" y="482"/>
                </a:lnTo>
                <a:lnTo>
                  <a:pt x="1074" y="478"/>
                </a:lnTo>
                <a:lnTo>
                  <a:pt x="1076" y="478"/>
                </a:lnTo>
                <a:lnTo>
                  <a:pt x="1076" y="474"/>
                </a:lnTo>
                <a:lnTo>
                  <a:pt x="1074" y="478"/>
                </a:lnTo>
                <a:lnTo>
                  <a:pt x="1070" y="478"/>
                </a:lnTo>
                <a:lnTo>
                  <a:pt x="1070" y="474"/>
                </a:lnTo>
                <a:lnTo>
                  <a:pt x="1074" y="474"/>
                </a:lnTo>
                <a:lnTo>
                  <a:pt x="1076" y="474"/>
                </a:lnTo>
                <a:lnTo>
                  <a:pt x="1076" y="470"/>
                </a:lnTo>
                <a:lnTo>
                  <a:pt x="1074" y="470"/>
                </a:lnTo>
                <a:lnTo>
                  <a:pt x="1074" y="474"/>
                </a:lnTo>
                <a:lnTo>
                  <a:pt x="1070" y="474"/>
                </a:lnTo>
                <a:lnTo>
                  <a:pt x="1070" y="470"/>
                </a:lnTo>
                <a:lnTo>
                  <a:pt x="1066" y="470"/>
                </a:lnTo>
                <a:lnTo>
                  <a:pt x="1070" y="470"/>
                </a:lnTo>
                <a:lnTo>
                  <a:pt x="1070" y="466"/>
                </a:lnTo>
                <a:lnTo>
                  <a:pt x="1074" y="466"/>
                </a:lnTo>
                <a:lnTo>
                  <a:pt x="1076" y="466"/>
                </a:lnTo>
                <a:lnTo>
                  <a:pt x="1076" y="464"/>
                </a:lnTo>
                <a:lnTo>
                  <a:pt x="1076" y="460"/>
                </a:lnTo>
                <a:lnTo>
                  <a:pt x="1080" y="460"/>
                </a:lnTo>
                <a:lnTo>
                  <a:pt x="1084" y="460"/>
                </a:lnTo>
                <a:lnTo>
                  <a:pt x="1084" y="456"/>
                </a:lnTo>
                <a:lnTo>
                  <a:pt x="1080" y="456"/>
                </a:lnTo>
                <a:lnTo>
                  <a:pt x="1076" y="460"/>
                </a:lnTo>
                <a:lnTo>
                  <a:pt x="1076" y="464"/>
                </a:lnTo>
                <a:lnTo>
                  <a:pt x="1074" y="464"/>
                </a:lnTo>
                <a:lnTo>
                  <a:pt x="1070" y="466"/>
                </a:lnTo>
                <a:lnTo>
                  <a:pt x="1062" y="466"/>
                </a:lnTo>
                <a:lnTo>
                  <a:pt x="1062" y="464"/>
                </a:lnTo>
                <a:lnTo>
                  <a:pt x="1066" y="464"/>
                </a:lnTo>
                <a:lnTo>
                  <a:pt x="1066" y="460"/>
                </a:lnTo>
                <a:lnTo>
                  <a:pt x="1070" y="456"/>
                </a:lnTo>
                <a:lnTo>
                  <a:pt x="1066" y="460"/>
                </a:lnTo>
                <a:lnTo>
                  <a:pt x="1062" y="464"/>
                </a:lnTo>
                <a:lnTo>
                  <a:pt x="1060" y="464"/>
                </a:lnTo>
                <a:lnTo>
                  <a:pt x="1060" y="460"/>
                </a:lnTo>
                <a:lnTo>
                  <a:pt x="1056" y="460"/>
                </a:lnTo>
                <a:lnTo>
                  <a:pt x="1052" y="456"/>
                </a:lnTo>
                <a:lnTo>
                  <a:pt x="1056" y="456"/>
                </a:lnTo>
                <a:lnTo>
                  <a:pt x="1052" y="456"/>
                </a:lnTo>
                <a:lnTo>
                  <a:pt x="1048" y="456"/>
                </a:lnTo>
                <a:lnTo>
                  <a:pt x="1048" y="452"/>
                </a:lnTo>
                <a:lnTo>
                  <a:pt x="1048" y="448"/>
                </a:lnTo>
                <a:lnTo>
                  <a:pt x="1048" y="452"/>
                </a:lnTo>
                <a:lnTo>
                  <a:pt x="1044" y="452"/>
                </a:lnTo>
                <a:lnTo>
                  <a:pt x="1040" y="452"/>
                </a:lnTo>
                <a:lnTo>
                  <a:pt x="1036" y="452"/>
                </a:lnTo>
                <a:lnTo>
                  <a:pt x="1040" y="452"/>
                </a:lnTo>
                <a:lnTo>
                  <a:pt x="1044" y="452"/>
                </a:lnTo>
                <a:lnTo>
                  <a:pt x="1044" y="456"/>
                </a:lnTo>
                <a:lnTo>
                  <a:pt x="1040" y="456"/>
                </a:lnTo>
                <a:lnTo>
                  <a:pt x="1044" y="456"/>
                </a:lnTo>
                <a:lnTo>
                  <a:pt x="1044" y="460"/>
                </a:lnTo>
                <a:lnTo>
                  <a:pt x="1040" y="460"/>
                </a:lnTo>
                <a:lnTo>
                  <a:pt x="1040" y="456"/>
                </a:lnTo>
                <a:lnTo>
                  <a:pt x="1036" y="456"/>
                </a:lnTo>
                <a:lnTo>
                  <a:pt x="1036" y="452"/>
                </a:lnTo>
                <a:lnTo>
                  <a:pt x="1032" y="452"/>
                </a:lnTo>
                <a:lnTo>
                  <a:pt x="1032" y="456"/>
                </a:lnTo>
                <a:lnTo>
                  <a:pt x="1036" y="456"/>
                </a:lnTo>
                <a:lnTo>
                  <a:pt x="1036" y="460"/>
                </a:lnTo>
                <a:lnTo>
                  <a:pt x="1040" y="460"/>
                </a:lnTo>
                <a:lnTo>
                  <a:pt x="1040" y="464"/>
                </a:lnTo>
                <a:lnTo>
                  <a:pt x="1044" y="464"/>
                </a:lnTo>
                <a:lnTo>
                  <a:pt x="1044" y="466"/>
                </a:lnTo>
                <a:lnTo>
                  <a:pt x="1040" y="466"/>
                </a:lnTo>
                <a:lnTo>
                  <a:pt x="1036" y="466"/>
                </a:lnTo>
                <a:lnTo>
                  <a:pt x="1032" y="466"/>
                </a:lnTo>
                <a:lnTo>
                  <a:pt x="1032" y="464"/>
                </a:lnTo>
                <a:lnTo>
                  <a:pt x="1030" y="464"/>
                </a:lnTo>
                <a:lnTo>
                  <a:pt x="1030" y="460"/>
                </a:lnTo>
                <a:lnTo>
                  <a:pt x="1026" y="460"/>
                </a:lnTo>
                <a:lnTo>
                  <a:pt x="1022" y="460"/>
                </a:lnTo>
                <a:lnTo>
                  <a:pt x="1026" y="460"/>
                </a:lnTo>
                <a:lnTo>
                  <a:pt x="1026" y="464"/>
                </a:lnTo>
                <a:lnTo>
                  <a:pt x="1030" y="464"/>
                </a:lnTo>
                <a:lnTo>
                  <a:pt x="1032" y="464"/>
                </a:lnTo>
                <a:lnTo>
                  <a:pt x="1032" y="466"/>
                </a:lnTo>
                <a:lnTo>
                  <a:pt x="1030" y="466"/>
                </a:lnTo>
                <a:lnTo>
                  <a:pt x="1030" y="464"/>
                </a:lnTo>
                <a:lnTo>
                  <a:pt x="1030" y="466"/>
                </a:lnTo>
                <a:lnTo>
                  <a:pt x="1030" y="470"/>
                </a:lnTo>
                <a:lnTo>
                  <a:pt x="1032" y="470"/>
                </a:lnTo>
                <a:lnTo>
                  <a:pt x="1036" y="470"/>
                </a:lnTo>
                <a:lnTo>
                  <a:pt x="1032" y="474"/>
                </a:lnTo>
                <a:lnTo>
                  <a:pt x="1032" y="478"/>
                </a:lnTo>
                <a:lnTo>
                  <a:pt x="1032" y="474"/>
                </a:lnTo>
                <a:lnTo>
                  <a:pt x="1036" y="474"/>
                </a:lnTo>
                <a:lnTo>
                  <a:pt x="1040" y="474"/>
                </a:lnTo>
                <a:lnTo>
                  <a:pt x="1044" y="474"/>
                </a:lnTo>
                <a:lnTo>
                  <a:pt x="1040" y="478"/>
                </a:lnTo>
                <a:lnTo>
                  <a:pt x="1044" y="478"/>
                </a:lnTo>
                <a:lnTo>
                  <a:pt x="1048" y="478"/>
                </a:lnTo>
                <a:lnTo>
                  <a:pt x="1044" y="482"/>
                </a:lnTo>
                <a:lnTo>
                  <a:pt x="1040" y="482"/>
                </a:lnTo>
                <a:lnTo>
                  <a:pt x="1044" y="482"/>
                </a:lnTo>
                <a:lnTo>
                  <a:pt x="1048" y="486"/>
                </a:lnTo>
                <a:lnTo>
                  <a:pt x="1044" y="486"/>
                </a:lnTo>
                <a:lnTo>
                  <a:pt x="1044" y="490"/>
                </a:lnTo>
                <a:lnTo>
                  <a:pt x="1048" y="486"/>
                </a:lnTo>
                <a:lnTo>
                  <a:pt x="1052" y="486"/>
                </a:lnTo>
                <a:lnTo>
                  <a:pt x="1048" y="490"/>
                </a:lnTo>
                <a:lnTo>
                  <a:pt x="1052" y="490"/>
                </a:lnTo>
                <a:lnTo>
                  <a:pt x="1052" y="494"/>
                </a:lnTo>
                <a:lnTo>
                  <a:pt x="1052" y="496"/>
                </a:lnTo>
                <a:lnTo>
                  <a:pt x="1052" y="494"/>
                </a:lnTo>
                <a:lnTo>
                  <a:pt x="1052" y="490"/>
                </a:lnTo>
                <a:lnTo>
                  <a:pt x="1056" y="490"/>
                </a:lnTo>
                <a:lnTo>
                  <a:pt x="1056" y="494"/>
                </a:lnTo>
                <a:lnTo>
                  <a:pt x="1060" y="494"/>
                </a:lnTo>
                <a:lnTo>
                  <a:pt x="1060" y="496"/>
                </a:lnTo>
                <a:lnTo>
                  <a:pt x="1060" y="494"/>
                </a:lnTo>
                <a:lnTo>
                  <a:pt x="1062" y="494"/>
                </a:lnTo>
                <a:lnTo>
                  <a:pt x="1060" y="496"/>
                </a:lnTo>
                <a:lnTo>
                  <a:pt x="1062" y="496"/>
                </a:lnTo>
                <a:lnTo>
                  <a:pt x="1062" y="494"/>
                </a:lnTo>
                <a:lnTo>
                  <a:pt x="1066" y="494"/>
                </a:lnTo>
                <a:lnTo>
                  <a:pt x="1066" y="496"/>
                </a:lnTo>
                <a:lnTo>
                  <a:pt x="1066" y="500"/>
                </a:lnTo>
                <a:lnTo>
                  <a:pt x="1070" y="500"/>
                </a:lnTo>
                <a:lnTo>
                  <a:pt x="1074" y="500"/>
                </a:lnTo>
                <a:lnTo>
                  <a:pt x="1074" y="504"/>
                </a:lnTo>
                <a:lnTo>
                  <a:pt x="1074" y="508"/>
                </a:lnTo>
                <a:lnTo>
                  <a:pt x="1070" y="508"/>
                </a:lnTo>
                <a:lnTo>
                  <a:pt x="1070" y="504"/>
                </a:lnTo>
                <a:lnTo>
                  <a:pt x="1066" y="504"/>
                </a:lnTo>
                <a:lnTo>
                  <a:pt x="1066" y="508"/>
                </a:lnTo>
                <a:lnTo>
                  <a:pt x="1070" y="508"/>
                </a:lnTo>
                <a:lnTo>
                  <a:pt x="1074" y="512"/>
                </a:lnTo>
                <a:lnTo>
                  <a:pt x="1076" y="512"/>
                </a:lnTo>
                <a:lnTo>
                  <a:pt x="1080" y="512"/>
                </a:lnTo>
                <a:lnTo>
                  <a:pt x="1080" y="516"/>
                </a:lnTo>
                <a:lnTo>
                  <a:pt x="1076" y="516"/>
                </a:lnTo>
                <a:lnTo>
                  <a:pt x="1074" y="516"/>
                </a:lnTo>
                <a:lnTo>
                  <a:pt x="1074" y="520"/>
                </a:lnTo>
                <a:lnTo>
                  <a:pt x="1076" y="520"/>
                </a:lnTo>
                <a:lnTo>
                  <a:pt x="1080" y="520"/>
                </a:lnTo>
                <a:lnTo>
                  <a:pt x="1080" y="522"/>
                </a:lnTo>
                <a:lnTo>
                  <a:pt x="1080" y="526"/>
                </a:lnTo>
                <a:lnTo>
                  <a:pt x="1080" y="530"/>
                </a:lnTo>
                <a:lnTo>
                  <a:pt x="1076" y="530"/>
                </a:lnTo>
                <a:lnTo>
                  <a:pt x="1076" y="526"/>
                </a:lnTo>
                <a:lnTo>
                  <a:pt x="1076" y="522"/>
                </a:lnTo>
                <a:lnTo>
                  <a:pt x="1074" y="522"/>
                </a:lnTo>
                <a:lnTo>
                  <a:pt x="1074" y="520"/>
                </a:lnTo>
                <a:lnTo>
                  <a:pt x="1070" y="520"/>
                </a:lnTo>
                <a:lnTo>
                  <a:pt x="1074" y="520"/>
                </a:lnTo>
                <a:lnTo>
                  <a:pt x="1074" y="522"/>
                </a:lnTo>
                <a:lnTo>
                  <a:pt x="1074" y="526"/>
                </a:lnTo>
                <a:lnTo>
                  <a:pt x="1076" y="530"/>
                </a:lnTo>
                <a:lnTo>
                  <a:pt x="1074" y="530"/>
                </a:lnTo>
                <a:lnTo>
                  <a:pt x="1074" y="534"/>
                </a:lnTo>
                <a:lnTo>
                  <a:pt x="1076" y="534"/>
                </a:lnTo>
                <a:lnTo>
                  <a:pt x="1076" y="538"/>
                </a:lnTo>
                <a:lnTo>
                  <a:pt x="1080" y="538"/>
                </a:lnTo>
                <a:lnTo>
                  <a:pt x="1076" y="542"/>
                </a:lnTo>
                <a:lnTo>
                  <a:pt x="1074" y="538"/>
                </a:lnTo>
                <a:lnTo>
                  <a:pt x="1070" y="538"/>
                </a:lnTo>
                <a:lnTo>
                  <a:pt x="1074" y="542"/>
                </a:lnTo>
                <a:lnTo>
                  <a:pt x="1074" y="546"/>
                </a:lnTo>
                <a:lnTo>
                  <a:pt x="1076" y="546"/>
                </a:lnTo>
                <a:lnTo>
                  <a:pt x="1074" y="546"/>
                </a:lnTo>
                <a:lnTo>
                  <a:pt x="1074" y="550"/>
                </a:lnTo>
                <a:lnTo>
                  <a:pt x="1070" y="546"/>
                </a:lnTo>
                <a:lnTo>
                  <a:pt x="1070" y="542"/>
                </a:lnTo>
                <a:lnTo>
                  <a:pt x="1066" y="542"/>
                </a:lnTo>
                <a:lnTo>
                  <a:pt x="1066" y="538"/>
                </a:lnTo>
                <a:lnTo>
                  <a:pt x="1062" y="538"/>
                </a:lnTo>
                <a:lnTo>
                  <a:pt x="1060" y="538"/>
                </a:lnTo>
                <a:lnTo>
                  <a:pt x="1060" y="534"/>
                </a:lnTo>
                <a:lnTo>
                  <a:pt x="1056" y="534"/>
                </a:lnTo>
                <a:lnTo>
                  <a:pt x="1060" y="538"/>
                </a:lnTo>
                <a:lnTo>
                  <a:pt x="1056" y="538"/>
                </a:lnTo>
                <a:lnTo>
                  <a:pt x="1056" y="534"/>
                </a:lnTo>
                <a:lnTo>
                  <a:pt x="1052" y="534"/>
                </a:lnTo>
                <a:lnTo>
                  <a:pt x="1052" y="530"/>
                </a:lnTo>
                <a:lnTo>
                  <a:pt x="1052" y="526"/>
                </a:lnTo>
                <a:lnTo>
                  <a:pt x="1052" y="530"/>
                </a:lnTo>
                <a:lnTo>
                  <a:pt x="1052" y="534"/>
                </a:lnTo>
                <a:lnTo>
                  <a:pt x="1052" y="538"/>
                </a:lnTo>
                <a:lnTo>
                  <a:pt x="1052" y="534"/>
                </a:lnTo>
                <a:lnTo>
                  <a:pt x="1052" y="530"/>
                </a:lnTo>
                <a:lnTo>
                  <a:pt x="1048" y="530"/>
                </a:lnTo>
                <a:lnTo>
                  <a:pt x="1048" y="534"/>
                </a:lnTo>
                <a:lnTo>
                  <a:pt x="1048" y="530"/>
                </a:lnTo>
                <a:lnTo>
                  <a:pt x="1048" y="526"/>
                </a:lnTo>
                <a:lnTo>
                  <a:pt x="1048" y="530"/>
                </a:lnTo>
                <a:lnTo>
                  <a:pt x="1044" y="530"/>
                </a:lnTo>
                <a:lnTo>
                  <a:pt x="1040" y="526"/>
                </a:lnTo>
                <a:lnTo>
                  <a:pt x="1036" y="522"/>
                </a:lnTo>
                <a:lnTo>
                  <a:pt x="1036" y="520"/>
                </a:lnTo>
                <a:lnTo>
                  <a:pt x="1032" y="520"/>
                </a:lnTo>
                <a:lnTo>
                  <a:pt x="1036" y="522"/>
                </a:lnTo>
                <a:lnTo>
                  <a:pt x="1036" y="526"/>
                </a:lnTo>
                <a:lnTo>
                  <a:pt x="1036" y="530"/>
                </a:lnTo>
                <a:lnTo>
                  <a:pt x="1036" y="526"/>
                </a:lnTo>
                <a:lnTo>
                  <a:pt x="1032" y="526"/>
                </a:lnTo>
                <a:lnTo>
                  <a:pt x="1032" y="522"/>
                </a:lnTo>
                <a:lnTo>
                  <a:pt x="1030" y="522"/>
                </a:lnTo>
                <a:lnTo>
                  <a:pt x="1026" y="522"/>
                </a:lnTo>
                <a:lnTo>
                  <a:pt x="1026" y="520"/>
                </a:lnTo>
                <a:lnTo>
                  <a:pt x="1022" y="520"/>
                </a:lnTo>
                <a:lnTo>
                  <a:pt x="1018" y="520"/>
                </a:lnTo>
                <a:lnTo>
                  <a:pt x="1022" y="522"/>
                </a:lnTo>
                <a:lnTo>
                  <a:pt x="1026" y="526"/>
                </a:lnTo>
                <a:lnTo>
                  <a:pt x="1030" y="530"/>
                </a:lnTo>
                <a:lnTo>
                  <a:pt x="1030" y="534"/>
                </a:lnTo>
                <a:lnTo>
                  <a:pt x="1032" y="534"/>
                </a:lnTo>
                <a:lnTo>
                  <a:pt x="1036" y="534"/>
                </a:lnTo>
                <a:lnTo>
                  <a:pt x="1036" y="538"/>
                </a:lnTo>
                <a:lnTo>
                  <a:pt x="1040" y="538"/>
                </a:lnTo>
                <a:lnTo>
                  <a:pt x="1036" y="538"/>
                </a:lnTo>
                <a:lnTo>
                  <a:pt x="1040" y="538"/>
                </a:lnTo>
                <a:lnTo>
                  <a:pt x="1044" y="542"/>
                </a:lnTo>
                <a:lnTo>
                  <a:pt x="1048" y="542"/>
                </a:lnTo>
                <a:lnTo>
                  <a:pt x="1048" y="546"/>
                </a:lnTo>
                <a:lnTo>
                  <a:pt x="1052" y="546"/>
                </a:lnTo>
                <a:lnTo>
                  <a:pt x="1056" y="550"/>
                </a:lnTo>
                <a:lnTo>
                  <a:pt x="1056" y="552"/>
                </a:lnTo>
                <a:lnTo>
                  <a:pt x="1060" y="552"/>
                </a:lnTo>
                <a:lnTo>
                  <a:pt x="1060" y="556"/>
                </a:lnTo>
                <a:lnTo>
                  <a:pt x="1062" y="556"/>
                </a:lnTo>
                <a:lnTo>
                  <a:pt x="1060" y="556"/>
                </a:lnTo>
                <a:lnTo>
                  <a:pt x="1060" y="560"/>
                </a:lnTo>
                <a:lnTo>
                  <a:pt x="1062" y="560"/>
                </a:lnTo>
                <a:lnTo>
                  <a:pt x="1062" y="564"/>
                </a:lnTo>
                <a:lnTo>
                  <a:pt x="1060" y="564"/>
                </a:lnTo>
                <a:lnTo>
                  <a:pt x="1056" y="564"/>
                </a:lnTo>
                <a:lnTo>
                  <a:pt x="1052" y="564"/>
                </a:lnTo>
                <a:lnTo>
                  <a:pt x="1052" y="560"/>
                </a:lnTo>
                <a:lnTo>
                  <a:pt x="1048" y="560"/>
                </a:lnTo>
                <a:lnTo>
                  <a:pt x="1044" y="560"/>
                </a:lnTo>
                <a:lnTo>
                  <a:pt x="1040" y="556"/>
                </a:lnTo>
                <a:lnTo>
                  <a:pt x="1036" y="556"/>
                </a:lnTo>
                <a:lnTo>
                  <a:pt x="1032" y="556"/>
                </a:lnTo>
                <a:lnTo>
                  <a:pt x="1030" y="556"/>
                </a:lnTo>
                <a:lnTo>
                  <a:pt x="1026" y="556"/>
                </a:lnTo>
                <a:lnTo>
                  <a:pt x="1026" y="552"/>
                </a:lnTo>
                <a:lnTo>
                  <a:pt x="1022" y="552"/>
                </a:lnTo>
                <a:lnTo>
                  <a:pt x="1018" y="552"/>
                </a:lnTo>
                <a:lnTo>
                  <a:pt x="1018" y="550"/>
                </a:lnTo>
                <a:lnTo>
                  <a:pt x="1014" y="550"/>
                </a:lnTo>
                <a:lnTo>
                  <a:pt x="1014" y="546"/>
                </a:lnTo>
                <a:lnTo>
                  <a:pt x="1014" y="550"/>
                </a:lnTo>
                <a:lnTo>
                  <a:pt x="1010" y="546"/>
                </a:lnTo>
                <a:lnTo>
                  <a:pt x="1010" y="542"/>
                </a:lnTo>
                <a:lnTo>
                  <a:pt x="1006" y="542"/>
                </a:lnTo>
                <a:lnTo>
                  <a:pt x="1004" y="542"/>
                </a:lnTo>
                <a:lnTo>
                  <a:pt x="1004" y="542"/>
                </a:lnTo>
                <a:lnTo>
                  <a:pt x="1004" y="542"/>
                </a:lnTo>
                <a:close/>
                <a:moveTo>
                  <a:pt x="902" y="292"/>
                </a:moveTo>
                <a:lnTo>
                  <a:pt x="898" y="292"/>
                </a:lnTo>
                <a:lnTo>
                  <a:pt x="894" y="292"/>
                </a:lnTo>
                <a:lnTo>
                  <a:pt x="890" y="292"/>
                </a:lnTo>
                <a:lnTo>
                  <a:pt x="888" y="292"/>
                </a:lnTo>
                <a:lnTo>
                  <a:pt x="884" y="292"/>
                </a:lnTo>
                <a:lnTo>
                  <a:pt x="880" y="292"/>
                </a:lnTo>
                <a:lnTo>
                  <a:pt x="876" y="294"/>
                </a:lnTo>
                <a:lnTo>
                  <a:pt x="872" y="294"/>
                </a:lnTo>
                <a:lnTo>
                  <a:pt x="868" y="294"/>
                </a:lnTo>
                <a:lnTo>
                  <a:pt x="864" y="292"/>
                </a:lnTo>
                <a:lnTo>
                  <a:pt x="862" y="292"/>
                </a:lnTo>
                <a:lnTo>
                  <a:pt x="862" y="288"/>
                </a:lnTo>
                <a:lnTo>
                  <a:pt x="862" y="284"/>
                </a:lnTo>
                <a:lnTo>
                  <a:pt x="862" y="280"/>
                </a:lnTo>
                <a:lnTo>
                  <a:pt x="858" y="280"/>
                </a:lnTo>
                <a:lnTo>
                  <a:pt x="854" y="280"/>
                </a:lnTo>
                <a:lnTo>
                  <a:pt x="850" y="280"/>
                </a:lnTo>
                <a:lnTo>
                  <a:pt x="850" y="276"/>
                </a:lnTo>
                <a:lnTo>
                  <a:pt x="850" y="268"/>
                </a:lnTo>
                <a:lnTo>
                  <a:pt x="854" y="268"/>
                </a:lnTo>
                <a:lnTo>
                  <a:pt x="858" y="268"/>
                </a:lnTo>
                <a:lnTo>
                  <a:pt x="862" y="268"/>
                </a:lnTo>
                <a:lnTo>
                  <a:pt x="864" y="268"/>
                </a:lnTo>
                <a:lnTo>
                  <a:pt x="868" y="268"/>
                </a:lnTo>
                <a:lnTo>
                  <a:pt x="868" y="272"/>
                </a:lnTo>
                <a:lnTo>
                  <a:pt x="872" y="272"/>
                </a:lnTo>
                <a:lnTo>
                  <a:pt x="876" y="272"/>
                </a:lnTo>
                <a:lnTo>
                  <a:pt x="876" y="268"/>
                </a:lnTo>
                <a:lnTo>
                  <a:pt x="880" y="268"/>
                </a:lnTo>
                <a:lnTo>
                  <a:pt x="884" y="268"/>
                </a:lnTo>
                <a:lnTo>
                  <a:pt x="888" y="268"/>
                </a:lnTo>
                <a:lnTo>
                  <a:pt x="890" y="268"/>
                </a:lnTo>
                <a:lnTo>
                  <a:pt x="890" y="272"/>
                </a:lnTo>
                <a:lnTo>
                  <a:pt x="894" y="272"/>
                </a:lnTo>
                <a:lnTo>
                  <a:pt x="898" y="272"/>
                </a:lnTo>
                <a:lnTo>
                  <a:pt x="902" y="272"/>
                </a:lnTo>
                <a:lnTo>
                  <a:pt x="902" y="276"/>
                </a:lnTo>
                <a:lnTo>
                  <a:pt x="906" y="276"/>
                </a:lnTo>
                <a:lnTo>
                  <a:pt x="906" y="280"/>
                </a:lnTo>
                <a:lnTo>
                  <a:pt x="910" y="280"/>
                </a:lnTo>
                <a:lnTo>
                  <a:pt x="910" y="284"/>
                </a:lnTo>
                <a:lnTo>
                  <a:pt x="914" y="284"/>
                </a:lnTo>
                <a:lnTo>
                  <a:pt x="914" y="288"/>
                </a:lnTo>
                <a:lnTo>
                  <a:pt x="918" y="288"/>
                </a:lnTo>
                <a:lnTo>
                  <a:pt x="918" y="292"/>
                </a:lnTo>
                <a:lnTo>
                  <a:pt x="914" y="292"/>
                </a:lnTo>
                <a:lnTo>
                  <a:pt x="910" y="292"/>
                </a:lnTo>
                <a:lnTo>
                  <a:pt x="906" y="292"/>
                </a:lnTo>
                <a:lnTo>
                  <a:pt x="902" y="292"/>
                </a:lnTo>
                <a:lnTo>
                  <a:pt x="902" y="292"/>
                </a:lnTo>
                <a:lnTo>
                  <a:pt x="902" y="292"/>
                </a:lnTo>
                <a:close/>
                <a:moveTo>
                  <a:pt x="508" y="292"/>
                </a:moveTo>
                <a:lnTo>
                  <a:pt x="504" y="288"/>
                </a:lnTo>
                <a:lnTo>
                  <a:pt x="504" y="292"/>
                </a:lnTo>
                <a:lnTo>
                  <a:pt x="508" y="292"/>
                </a:lnTo>
                <a:lnTo>
                  <a:pt x="504" y="292"/>
                </a:lnTo>
                <a:lnTo>
                  <a:pt x="500" y="288"/>
                </a:lnTo>
                <a:lnTo>
                  <a:pt x="496" y="284"/>
                </a:lnTo>
                <a:lnTo>
                  <a:pt x="492" y="284"/>
                </a:lnTo>
                <a:lnTo>
                  <a:pt x="492" y="280"/>
                </a:lnTo>
                <a:lnTo>
                  <a:pt x="488" y="276"/>
                </a:lnTo>
                <a:lnTo>
                  <a:pt x="484" y="276"/>
                </a:lnTo>
                <a:lnTo>
                  <a:pt x="480" y="276"/>
                </a:lnTo>
                <a:lnTo>
                  <a:pt x="480" y="272"/>
                </a:lnTo>
                <a:lnTo>
                  <a:pt x="484" y="268"/>
                </a:lnTo>
                <a:lnTo>
                  <a:pt x="488" y="268"/>
                </a:lnTo>
                <a:lnTo>
                  <a:pt x="492" y="268"/>
                </a:lnTo>
                <a:lnTo>
                  <a:pt x="496" y="268"/>
                </a:lnTo>
                <a:lnTo>
                  <a:pt x="500" y="268"/>
                </a:lnTo>
                <a:lnTo>
                  <a:pt x="504" y="268"/>
                </a:lnTo>
                <a:lnTo>
                  <a:pt x="508" y="268"/>
                </a:lnTo>
                <a:lnTo>
                  <a:pt x="510" y="268"/>
                </a:lnTo>
                <a:lnTo>
                  <a:pt x="514" y="272"/>
                </a:lnTo>
                <a:lnTo>
                  <a:pt x="514" y="276"/>
                </a:lnTo>
                <a:lnTo>
                  <a:pt x="514" y="280"/>
                </a:lnTo>
                <a:lnTo>
                  <a:pt x="510" y="284"/>
                </a:lnTo>
                <a:lnTo>
                  <a:pt x="510" y="288"/>
                </a:lnTo>
                <a:lnTo>
                  <a:pt x="508" y="288"/>
                </a:lnTo>
                <a:lnTo>
                  <a:pt x="508" y="292"/>
                </a:lnTo>
                <a:lnTo>
                  <a:pt x="508" y="292"/>
                </a:lnTo>
                <a:lnTo>
                  <a:pt x="508" y="292"/>
                </a:lnTo>
                <a:close/>
                <a:moveTo>
                  <a:pt x="236" y="272"/>
                </a:moveTo>
                <a:lnTo>
                  <a:pt x="238" y="272"/>
                </a:lnTo>
                <a:lnTo>
                  <a:pt x="236" y="272"/>
                </a:lnTo>
                <a:lnTo>
                  <a:pt x="236" y="272"/>
                </a:lnTo>
                <a:lnTo>
                  <a:pt x="236" y="272"/>
                </a:lnTo>
                <a:close/>
                <a:moveTo>
                  <a:pt x="474" y="272"/>
                </a:moveTo>
                <a:lnTo>
                  <a:pt x="470" y="272"/>
                </a:lnTo>
                <a:lnTo>
                  <a:pt x="466" y="272"/>
                </a:lnTo>
                <a:lnTo>
                  <a:pt x="470" y="272"/>
                </a:lnTo>
                <a:lnTo>
                  <a:pt x="474" y="272"/>
                </a:lnTo>
                <a:lnTo>
                  <a:pt x="474" y="272"/>
                </a:lnTo>
                <a:lnTo>
                  <a:pt x="474" y="272"/>
                </a:lnTo>
                <a:close/>
                <a:moveTo>
                  <a:pt x="354" y="350"/>
                </a:moveTo>
                <a:lnTo>
                  <a:pt x="352" y="350"/>
                </a:lnTo>
                <a:lnTo>
                  <a:pt x="348" y="350"/>
                </a:lnTo>
                <a:lnTo>
                  <a:pt x="344" y="350"/>
                </a:lnTo>
                <a:lnTo>
                  <a:pt x="340" y="350"/>
                </a:lnTo>
                <a:lnTo>
                  <a:pt x="336" y="350"/>
                </a:lnTo>
                <a:lnTo>
                  <a:pt x="332" y="350"/>
                </a:lnTo>
                <a:lnTo>
                  <a:pt x="328" y="350"/>
                </a:lnTo>
                <a:lnTo>
                  <a:pt x="328" y="348"/>
                </a:lnTo>
                <a:lnTo>
                  <a:pt x="324" y="348"/>
                </a:lnTo>
                <a:lnTo>
                  <a:pt x="324" y="344"/>
                </a:lnTo>
                <a:lnTo>
                  <a:pt x="322" y="344"/>
                </a:lnTo>
                <a:lnTo>
                  <a:pt x="322" y="340"/>
                </a:lnTo>
                <a:lnTo>
                  <a:pt x="324" y="336"/>
                </a:lnTo>
                <a:lnTo>
                  <a:pt x="328" y="336"/>
                </a:lnTo>
                <a:lnTo>
                  <a:pt x="332" y="336"/>
                </a:lnTo>
                <a:lnTo>
                  <a:pt x="336" y="336"/>
                </a:lnTo>
                <a:lnTo>
                  <a:pt x="340" y="332"/>
                </a:lnTo>
                <a:lnTo>
                  <a:pt x="344" y="332"/>
                </a:lnTo>
                <a:lnTo>
                  <a:pt x="348" y="332"/>
                </a:lnTo>
                <a:lnTo>
                  <a:pt x="352" y="332"/>
                </a:lnTo>
                <a:lnTo>
                  <a:pt x="354" y="332"/>
                </a:lnTo>
                <a:lnTo>
                  <a:pt x="358" y="332"/>
                </a:lnTo>
                <a:lnTo>
                  <a:pt x="358" y="328"/>
                </a:lnTo>
                <a:lnTo>
                  <a:pt x="354" y="328"/>
                </a:lnTo>
                <a:lnTo>
                  <a:pt x="358" y="328"/>
                </a:lnTo>
                <a:lnTo>
                  <a:pt x="362" y="328"/>
                </a:lnTo>
                <a:lnTo>
                  <a:pt x="366" y="328"/>
                </a:lnTo>
                <a:lnTo>
                  <a:pt x="366" y="324"/>
                </a:lnTo>
                <a:lnTo>
                  <a:pt x="366" y="328"/>
                </a:lnTo>
                <a:lnTo>
                  <a:pt x="362" y="328"/>
                </a:lnTo>
                <a:lnTo>
                  <a:pt x="362" y="324"/>
                </a:lnTo>
                <a:lnTo>
                  <a:pt x="358" y="324"/>
                </a:lnTo>
                <a:lnTo>
                  <a:pt x="354" y="324"/>
                </a:lnTo>
                <a:lnTo>
                  <a:pt x="352" y="328"/>
                </a:lnTo>
                <a:lnTo>
                  <a:pt x="348" y="328"/>
                </a:lnTo>
                <a:lnTo>
                  <a:pt x="344" y="328"/>
                </a:lnTo>
                <a:lnTo>
                  <a:pt x="340" y="328"/>
                </a:lnTo>
                <a:lnTo>
                  <a:pt x="336" y="328"/>
                </a:lnTo>
                <a:lnTo>
                  <a:pt x="332" y="328"/>
                </a:lnTo>
                <a:lnTo>
                  <a:pt x="336" y="328"/>
                </a:lnTo>
                <a:lnTo>
                  <a:pt x="332" y="328"/>
                </a:lnTo>
                <a:lnTo>
                  <a:pt x="332" y="332"/>
                </a:lnTo>
                <a:lnTo>
                  <a:pt x="328" y="328"/>
                </a:lnTo>
                <a:lnTo>
                  <a:pt x="328" y="332"/>
                </a:lnTo>
                <a:lnTo>
                  <a:pt x="328" y="328"/>
                </a:lnTo>
                <a:lnTo>
                  <a:pt x="324" y="328"/>
                </a:lnTo>
                <a:lnTo>
                  <a:pt x="322" y="328"/>
                </a:lnTo>
                <a:lnTo>
                  <a:pt x="324" y="324"/>
                </a:lnTo>
                <a:lnTo>
                  <a:pt x="328" y="324"/>
                </a:lnTo>
                <a:lnTo>
                  <a:pt x="332" y="324"/>
                </a:lnTo>
                <a:lnTo>
                  <a:pt x="328" y="324"/>
                </a:lnTo>
                <a:lnTo>
                  <a:pt x="328" y="322"/>
                </a:lnTo>
                <a:lnTo>
                  <a:pt x="324" y="322"/>
                </a:lnTo>
                <a:lnTo>
                  <a:pt x="324" y="324"/>
                </a:lnTo>
                <a:lnTo>
                  <a:pt x="322" y="324"/>
                </a:lnTo>
                <a:lnTo>
                  <a:pt x="318" y="324"/>
                </a:lnTo>
                <a:lnTo>
                  <a:pt x="318" y="322"/>
                </a:lnTo>
                <a:lnTo>
                  <a:pt x="314" y="322"/>
                </a:lnTo>
                <a:lnTo>
                  <a:pt x="314" y="324"/>
                </a:lnTo>
                <a:lnTo>
                  <a:pt x="310" y="324"/>
                </a:lnTo>
                <a:lnTo>
                  <a:pt x="310" y="322"/>
                </a:lnTo>
                <a:lnTo>
                  <a:pt x="310" y="318"/>
                </a:lnTo>
                <a:lnTo>
                  <a:pt x="314" y="314"/>
                </a:lnTo>
                <a:lnTo>
                  <a:pt x="318" y="314"/>
                </a:lnTo>
                <a:lnTo>
                  <a:pt x="314" y="310"/>
                </a:lnTo>
                <a:lnTo>
                  <a:pt x="318" y="310"/>
                </a:lnTo>
                <a:lnTo>
                  <a:pt x="322" y="310"/>
                </a:lnTo>
                <a:lnTo>
                  <a:pt x="324" y="310"/>
                </a:lnTo>
                <a:lnTo>
                  <a:pt x="324" y="306"/>
                </a:lnTo>
                <a:lnTo>
                  <a:pt x="322" y="306"/>
                </a:lnTo>
                <a:lnTo>
                  <a:pt x="318" y="306"/>
                </a:lnTo>
                <a:lnTo>
                  <a:pt x="318" y="302"/>
                </a:lnTo>
                <a:lnTo>
                  <a:pt x="322" y="298"/>
                </a:lnTo>
                <a:lnTo>
                  <a:pt x="324" y="298"/>
                </a:lnTo>
                <a:lnTo>
                  <a:pt x="328" y="294"/>
                </a:lnTo>
                <a:lnTo>
                  <a:pt x="332" y="294"/>
                </a:lnTo>
                <a:lnTo>
                  <a:pt x="332" y="292"/>
                </a:lnTo>
                <a:lnTo>
                  <a:pt x="336" y="292"/>
                </a:lnTo>
                <a:lnTo>
                  <a:pt x="340" y="292"/>
                </a:lnTo>
                <a:lnTo>
                  <a:pt x="340" y="288"/>
                </a:lnTo>
                <a:lnTo>
                  <a:pt x="344" y="288"/>
                </a:lnTo>
                <a:lnTo>
                  <a:pt x="348" y="288"/>
                </a:lnTo>
                <a:lnTo>
                  <a:pt x="352" y="284"/>
                </a:lnTo>
                <a:lnTo>
                  <a:pt x="354" y="284"/>
                </a:lnTo>
                <a:lnTo>
                  <a:pt x="358" y="284"/>
                </a:lnTo>
                <a:lnTo>
                  <a:pt x="362" y="280"/>
                </a:lnTo>
                <a:lnTo>
                  <a:pt x="366" y="280"/>
                </a:lnTo>
                <a:lnTo>
                  <a:pt x="370" y="280"/>
                </a:lnTo>
                <a:lnTo>
                  <a:pt x="374" y="276"/>
                </a:lnTo>
                <a:lnTo>
                  <a:pt x="378" y="280"/>
                </a:lnTo>
                <a:lnTo>
                  <a:pt x="380" y="280"/>
                </a:lnTo>
                <a:lnTo>
                  <a:pt x="380" y="284"/>
                </a:lnTo>
                <a:lnTo>
                  <a:pt x="384" y="284"/>
                </a:lnTo>
                <a:lnTo>
                  <a:pt x="380" y="288"/>
                </a:lnTo>
                <a:lnTo>
                  <a:pt x="380" y="292"/>
                </a:lnTo>
                <a:lnTo>
                  <a:pt x="380" y="294"/>
                </a:lnTo>
                <a:lnTo>
                  <a:pt x="378" y="294"/>
                </a:lnTo>
                <a:lnTo>
                  <a:pt x="378" y="298"/>
                </a:lnTo>
                <a:lnTo>
                  <a:pt x="374" y="298"/>
                </a:lnTo>
                <a:lnTo>
                  <a:pt x="378" y="298"/>
                </a:lnTo>
                <a:lnTo>
                  <a:pt x="380" y="298"/>
                </a:lnTo>
                <a:lnTo>
                  <a:pt x="384" y="294"/>
                </a:lnTo>
                <a:lnTo>
                  <a:pt x="384" y="298"/>
                </a:lnTo>
                <a:lnTo>
                  <a:pt x="388" y="294"/>
                </a:lnTo>
                <a:lnTo>
                  <a:pt x="388" y="298"/>
                </a:lnTo>
                <a:lnTo>
                  <a:pt x="384" y="298"/>
                </a:lnTo>
                <a:lnTo>
                  <a:pt x="388" y="298"/>
                </a:lnTo>
                <a:lnTo>
                  <a:pt x="388" y="294"/>
                </a:lnTo>
                <a:lnTo>
                  <a:pt x="392" y="294"/>
                </a:lnTo>
                <a:lnTo>
                  <a:pt x="388" y="294"/>
                </a:lnTo>
                <a:lnTo>
                  <a:pt x="392" y="292"/>
                </a:lnTo>
                <a:lnTo>
                  <a:pt x="392" y="288"/>
                </a:lnTo>
                <a:lnTo>
                  <a:pt x="396" y="288"/>
                </a:lnTo>
                <a:lnTo>
                  <a:pt x="400" y="288"/>
                </a:lnTo>
                <a:lnTo>
                  <a:pt x="404" y="288"/>
                </a:lnTo>
                <a:lnTo>
                  <a:pt x="404" y="292"/>
                </a:lnTo>
                <a:lnTo>
                  <a:pt x="408" y="292"/>
                </a:lnTo>
                <a:lnTo>
                  <a:pt x="410" y="292"/>
                </a:lnTo>
                <a:lnTo>
                  <a:pt x="414" y="292"/>
                </a:lnTo>
                <a:lnTo>
                  <a:pt x="418" y="292"/>
                </a:lnTo>
                <a:lnTo>
                  <a:pt x="418" y="294"/>
                </a:lnTo>
                <a:lnTo>
                  <a:pt x="422" y="294"/>
                </a:lnTo>
                <a:lnTo>
                  <a:pt x="422" y="298"/>
                </a:lnTo>
                <a:lnTo>
                  <a:pt x="418" y="302"/>
                </a:lnTo>
                <a:lnTo>
                  <a:pt x="414" y="302"/>
                </a:lnTo>
                <a:lnTo>
                  <a:pt x="414" y="306"/>
                </a:lnTo>
                <a:lnTo>
                  <a:pt x="410" y="306"/>
                </a:lnTo>
                <a:lnTo>
                  <a:pt x="414" y="306"/>
                </a:lnTo>
                <a:lnTo>
                  <a:pt x="418" y="306"/>
                </a:lnTo>
                <a:lnTo>
                  <a:pt x="414" y="306"/>
                </a:lnTo>
                <a:lnTo>
                  <a:pt x="418" y="302"/>
                </a:lnTo>
                <a:lnTo>
                  <a:pt x="422" y="302"/>
                </a:lnTo>
                <a:lnTo>
                  <a:pt x="422" y="306"/>
                </a:lnTo>
                <a:lnTo>
                  <a:pt x="422" y="302"/>
                </a:lnTo>
                <a:lnTo>
                  <a:pt x="424" y="302"/>
                </a:lnTo>
                <a:lnTo>
                  <a:pt x="428" y="302"/>
                </a:lnTo>
                <a:lnTo>
                  <a:pt x="424" y="302"/>
                </a:lnTo>
                <a:lnTo>
                  <a:pt x="428" y="298"/>
                </a:lnTo>
                <a:lnTo>
                  <a:pt x="432" y="298"/>
                </a:lnTo>
                <a:lnTo>
                  <a:pt x="428" y="302"/>
                </a:lnTo>
                <a:lnTo>
                  <a:pt x="432" y="302"/>
                </a:lnTo>
                <a:lnTo>
                  <a:pt x="432" y="298"/>
                </a:lnTo>
                <a:lnTo>
                  <a:pt x="436" y="302"/>
                </a:lnTo>
                <a:lnTo>
                  <a:pt x="440" y="302"/>
                </a:lnTo>
                <a:lnTo>
                  <a:pt x="436" y="302"/>
                </a:lnTo>
                <a:lnTo>
                  <a:pt x="436" y="298"/>
                </a:lnTo>
                <a:lnTo>
                  <a:pt x="440" y="298"/>
                </a:lnTo>
                <a:lnTo>
                  <a:pt x="440" y="302"/>
                </a:lnTo>
                <a:lnTo>
                  <a:pt x="440" y="298"/>
                </a:lnTo>
                <a:lnTo>
                  <a:pt x="436" y="298"/>
                </a:lnTo>
                <a:lnTo>
                  <a:pt x="432" y="294"/>
                </a:lnTo>
                <a:lnTo>
                  <a:pt x="436" y="294"/>
                </a:lnTo>
                <a:lnTo>
                  <a:pt x="440" y="294"/>
                </a:lnTo>
                <a:lnTo>
                  <a:pt x="436" y="294"/>
                </a:lnTo>
                <a:lnTo>
                  <a:pt x="436" y="292"/>
                </a:lnTo>
                <a:lnTo>
                  <a:pt x="432" y="292"/>
                </a:lnTo>
                <a:lnTo>
                  <a:pt x="428" y="292"/>
                </a:lnTo>
                <a:lnTo>
                  <a:pt x="428" y="288"/>
                </a:lnTo>
                <a:lnTo>
                  <a:pt x="432" y="288"/>
                </a:lnTo>
                <a:lnTo>
                  <a:pt x="436" y="288"/>
                </a:lnTo>
                <a:lnTo>
                  <a:pt x="440" y="288"/>
                </a:lnTo>
                <a:lnTo>
                  <a:pt x="444" y="292"/>
                </a:lnTo>
                <a:lnTo>
                  <a:pt x="448" y="294"/>
                </a:lnTo>
                <a:lnTo>
                  <a:pt x="450" y="294"/>
                </a:lnTo>
                <a:lnTo>
                  <a:pt x="450" y="298"/>
                </a:lnTo>
                <a:lnTo>
                  <a:pt x="454" y="298"/>
                </a:lnTo>
                <a:lnTo>
                  <a:pt x="458" y="298"/>
                </a:lnTo>
                <a:lnTo>
                  <a:pt x="458" y="302"/>
                </a:lnTo>
                <a:lnTo>
                  <a:pt x="458" y="306"/>
                </a:lnTo>
                <a:lnTo>
                  <a:pt x="458" y="310"/>
                </a:lnTo>
                <a:lnTo>
                  <a:pt x="462" y="310"/>
                </a:lnTo>
                <a:lnTo>
                  <a:pt x="462" y="314"/>
                </a:lnTo>
                <a:lnTo>
                  <a:pt x="462" y="318"/>
                </a:lnTo>
                <a:lnTo>
                  <a:pt x="462" y="322"/>
                </a:lnTo>
                <a:lnTo>
                  <a:pt x="466" y="322"/>
                </a:lnTo>
                <a:lnTo>
                  <a:pt x="466" y="324"/>
                </a:lnTo>
                <a:lnTo>
                  <a:pt x="470" y="324"/>
                </a:lnTo>
                <a:lnTo>
                  <a:pt x="470" y="322"/>
                </a:lnTo>
                <a:lnTo>
                  <a:pt x="474" y="322"/>
                </a:lnTo>
                <a:lnTo>
                  <a:pt x="474" y="318"/>
                </a:lnTo>
                <a:lnTo>
                  <a:pt x="478" y="318"/>
                </a:lnTo>
                <a:lnTo>
                  <a:pt x="474" y="314"/>
                </a:lnTo>
                <a:lnTo>
                  <a:pt x="470" y="314"/>
                </a:lnTo>
                <a:lnTo>
                  <a:pt x="474" y="314"/>
                </a:lnTo>
                <a:lnTo>
                  <a:pt x="474" y="310"/>
                </a:lnTo>
                <a:lnTo>
                  <a:pt x="470" y="310"/>
                </a:lnTo>
                <a:lnTo>
                  <a:pt x="470" y="306"/>
                </a:lnTo>
                <a:lnTo>
                  <a:pt x="470" y="302"/>
                </a:lnTo>
                <a:lnTo>
                  <a:pt x="470" y="298"/>
                </a:lnTo>
                <a:lnTo>
                  <a:pt x="466" y="298"/>
                </a:lnTo>
                <a:lnTo>
                  <a:pt x="466" y="294"/>
                </a:lnTo>
                <a:lnTo>
                  <a:pt x="466" y="292"/>
                </a:lnTo>
                <a:lnTo>
                  <a:pt x="466" y="288"/>
                </a:lnTo>
                <a:lnTo>
                  <a:pt x="462" y="284"/>
                </a:lnTo>
                <a:lnTo>
                  <a:pt x="466" y="284"/>
                </a:lnTo>
                <a:lnTo>
                  <a:pt x="470" y="284"/>
                </a:lnTo>
                <a:lnTo>
                  <a:pt x="466" y="284"/>
                </a:lnTo>
                <a:lnTo>
                  <a:pt x="466" y="280"/>
                </a:lnTo>
                <a:lnTo>
                  <a:pt x="470" y="280"/>
                </a:lnTo>
                <a:lnTo>
                  <a:pt x="474" y="280"/>
                </a:lnTo>
                <a:lnTo>
                  <a:pt x="478" y="280"/>
                </a:lnTo>
                <a:lnTo>
                  <a:pt x="478" y="284"/>
                </a:lnTo>
                <a:lnTo>
                  <a:pt x="480" y="284"/>
                </a:lnTo>
                <a:lnTo>
                  <a:pt x="480" y="280"/>
                </a:lnTo>
                <a:lnTo>
                  <a:pt x="484" y="280"/>
                </a:lnTo>
                <a:lnTo>
                  <a:pt x="484" y="284"/>
                </a:lnTo>
                <a:lnTo>
                  <a:pt x="488" y="284"/>
                </a:lnTo>
                <a:lnTo>
                  <a:pt x="492" y="284"/>
                </a:lnTo>
                <a:lnTo>
                  <a:pt x="496" y="288"/>
                </a:lnTo>
                <a:lnTo>
                  <a:pt x="500" y="288"/>
                </a:lnTo>
                <a:lnTo>
                  <a:pt x="500" y="292"/>
                </a:lnTo>
                <a:lnTo>
                  <a:pt x="504" y="292"/>
                </a:lnTo>
                <a:lnTo>
                  <a:pt x="504" y="294"/>
                </a:lnTo>
                <a:lnTo>
                  <a:pt x="504" y="298"/>
                </a:lnTo>
                <a:lnTo>
                  <a:pt x="508" y="298"/>
                </a:lnTo>
                <a:lnTo>
                  <a:pt x="508" y="302"/>
                </a:lnTo>
                <a:lnTo>
                  <a:pt x="504" y="302"/>
                </a:lnTo>
                <a:lnTo>
                  <a:pt x="508" y="302"/>
                </a:lnTo>
                <a:lnTo>
                  <a:pt x="508" y="306"/>
                </a:lnTo>
                <a:lnTo>
                  <a:pt x="508" y="310"/>
                </a:lnTo>
                <a:lnTo>
                  <a:pt x="510" y="310"/>
                </a:lnTo>
                <a:lnTo>
                  <a:pt x="508" y="310"/>
                </a:lnTo>
                <a:lnTo>
                  <a:pt x="508" y="314"/>
                </a:lnTo>
                <a:lnTo>
                  <a:pt x="510" y="314"/>
                </a:lnTo>
                <a:lnTo>
                  <a:pt x="510" y="318"/>
                </a:lnTo>
                <a:lnTo>
                  <a:pt x="514" y="318"/>
                </a:lnTo>
                <a:lnTo>
                  <a:pt x="514" y="322"/>
                </a:lnTo>
                <a:lnTo>
                  <a:pt x="518" y="324"/>
                </a:lnTo>
                <a:lnTo>
                  <a:pt x="518" y="328"/>
                </a:lnTo>
                <a:lnTo>
                  <a:pt x="518" y="332"/>
                </a:lnTo>
                <a:lnTo>
                  <a:pt x="514" y="332"/>
                </a:lnTo>
                <a:lnTo>
                  <a:pt x="518" y="332"/>
                </a:lnTo>
                <a:lnTo>
                  <a:pt x="518" y="336"/>
                </a:lnTo>
                <a:lnTo>
                  <a:pt x="514" y="336"/>
                </a:lnTo>
                <a:lnTo>
                  <a:pt x="514" y="340"/>
                </a:lnTo>
                <a:lnTo>
                  <a:pt x="518" y="340"/>
                </a:lnTo>
                <a:lnTo>
                  <a:pt x="522" y="344"/>
                </a:lnTo>
                <a:lnTo>
                  <a:pt x="522" y="348"/>
                </a:lnTo>
                <a:lnTo>
                  <a:pt x="526" y="348"/>
                </a:lnTo>
                <a:lnTo>
                  <a:pt x="530" y="350"/>
                </a:lnTo>
                <a:lnTo>
                  <a:pt x="534" y="350"/>
                </a:lnTo>
                <a:lnTo>
                  <a:pt x="536" y="350"/>
                </a:lnTo>
                <a:lnTo>
                  <a:pt x="536" y="354"/>
                </a:lnTo>
                <a:lnTo>
                  <a:pt x="536" y="350"/>
                </a:lnTo>
                <a:lnTo>
                  <a:pt x="536" y="348"/>
                </a:lnTo>
                <a:lnTo>
                  <a:pt x="540" y="350"/>
                </a:lnTo>
                <a:lnTo>
                  <a:pt x="540" y="354"/>
                </a:lnTo>
                <a:lnTo>
                  <a:pt x="544" y="354"/>
                </a:lnTo>
                <a:lnTo>
                  <a:pt x="548" y="354"/>
                </a:lnTo>
                <a:lnTo>
                  <a:pt x="548" y="358"/>
                </a:lnTo>
                <a:lnTo>
                  <a:pt x="552" y="358"/>
                </a:lnTo>
                <a:lnTo>
                  <a:pt x="556" y="358"/>
                </a:lnTo>
                <a:lnTo>
                  <a:pt x="556" y="362"/>
                </a:lnTo>
                <a:lnTo>
                  <a:pt x="560" y="362"/>
                </a:lnTo>
                <a:lnTo>
                  <a:pt x="564" y="362"/>
                </a:lnTo>
                <a:lnTo>
                  <a:pt x="566" y="362"/>
                </a:lnTo>
                <a:lnTo>
                  <a:pt x="566" y="366"/>
                </a:lnTo>
                <a:lnTo>
                  <a:pt x="566" y="370"/>
                </a:lnTo>
                <a:lnTo>
                  <a:pt x="566" y="374"/>
                </a:lnTo>
                <a:lnTo>
                  <a:pt x="564" y="374"/>
                </a:lnTo>
                <a:lnTo>
                  <a:pt x="560" y="374"/>
                </a:lnTo>
                <a:lnTo>
                  <a:pt x="560" y="370"/>
                </a:lnTo>
                <a:lnTo>
                  <a:pt x="560" y="374"/>
                </a:lnTo>
                <a:lnTo>
                  <a:pt x="556" y="374"/>
                </a:lnTo>
                <a:lnTo>
                  <a:pt x="552" y="374"/>
                </a:lnTo>
                <a:lnTo>
                  <a:pt x="552" y="370"/>
                </a:lnTo>
                <a:lnTo>
                  <a:pt x="548" y="370"/>
                </a:lnTo>
                <a:lnTo>
                  <a:pt x="544" y="374"/>
                </a:lnTo>
                <a:lnTo>
                  <a:pt x="540" y="374"/>
                </a:lnTo>
                <a:lnTo>
                  <a:pt x="544" y="374"/>
                </a:lnTo>
                <a:lnTo>
                  <a:pt x="544" y="378"/>
                </a:lnTo>
                <a:lnTo>
                  <a:pt x="540" y="378"/>
                </a:lnTo>
                <a:lnTo>
                  <a:pt x="536" y="378"/>
                </a:lnTo>
                <a:lnTo>
                  <a:pt x="534" y="374"/>
                </a:lnTo>
                <a:lnTo>
                  <a:pt x="530" y="374"/>
                </a:lnTo>
                <a:lnTo>
                  <a:pt x="530" y="378"/>
                </a:lnTo>
                <a:lnTo>
                  <a:pt x="534" y="378"/>
                </a:lnTo>
                <a:lnTo>
                  <a:pt x="536" y="378"/>
                </a:lnTo>
                <a:lnTo>
                  <a:pt x="536" y="380"/>
                </a:lnTo>
                <a:lnTo>
                  <a:pt x="536" y="384"/>
                </a:lnTo>
                <a:lnTo>
                  <a:pt x="534" y="384"/>
                </a:lnTo>
                <a:lnTo>
                  <a:pt x="534" y="388"/>
                </a:lnTo>
                <a:lnTo>
                  <a:pt x="536" y="388"/>
                </a:lnTo>
                <a:lnTo>
                  <a:pt x="536" y="384"/>
                </a:lnTo>
                <a:lnTo>
                  <a:pt x="540" y="380"/>
                </a:lnTo>
                <a:lnTo>
                  <a:pt x="544" y="380"/>
                </a:lnTo>
                <a:lnTo>
                  <a:pt x="544" y="378"/>
                </a:lnTo>
                <a:lnTo>
                  <a:pt x="548" y="378"/>
                </a:lnTo>
                <a:lnTo>
                  <a:pt x="552" y="378"/>
                </a:lnTo>
                <a:lnTo>
                  <a:pt x="552" y="380"/>
                </a:lnTo>
                <a:lnTo>
                  <a:pt x="552" y="384"/>
                </a:lnTo>
                <a:lnTo>
                  <a:pt x="548" y="384"/>
                </a:lnTo>
                <a:lnTo>
                  <a:pt x="548" y="388"/>
                </a:lnTo>
                <a:lnTo>
                  <a:pt x="552" y="388"/>
                </a:lnTo>
                <a:lnTo>
                  <a:pt x="552" y="384"/>
                </a:lnTo>
                <a:lnTo>
                  <a:pt x="556" y="384"/>
                </a:lnTo>
                <a:lnTo>
                  <a:pt x="556" y="388"/>
                </a:lnTo>
                <a:lnTo>
                  <a:pt x="556" y="392"/>
                </a:lnTo>
                <a:lnTo>
                  <a:pt x="552" y="392"/>
                </a:lnTo>
                <a:lnTo>
                  <a:pt x="548" y="392"/>
                </a:lnTo>
                <a:lnTo>
                  <a:pt x="544" y="392"/>
                </a:lnTo>
                <a:lnTo>
                  <a:pt x="544" y="396"/>
                </a:lnTo>
                <a:lnTo>
                  <a:pt x="540" y="396"/>
                </a:lnTo>
                <a:lnTo>
                  <a:pt x="536" y="396"/>
                </a:lnTo>
                <a:lnTo>
                  <a:pt x="534" y="396"/>
                </a:lnTo>
                <a:lnTo>
                  <a:pt x="530" y="396"/>
                </a:lnTo>
                <a:lnTo>
                  <a:pt x="526" y="396"/>
                </a:lnTo>
                <a:lnTo>
                  <a:pt x="522" y="396"/>
                </a:lnTo>
                <a:lnTo>
                  <a:pt x="518" y="392"/>
                </a:lnTo>
                <a:lnTo>
                  <a:pt x="514" y="396"/>
                </a:lnTo>
                <a:lnTo>
                  <a:pt x="510" y="396"/>
                </a:lnTo>
                <a:lnTo>
                  <a:pt x="508" y="392"/>
                </a:lnTo>
                <a:lnTo>
                  <a:pt x="510" y="388"/>
                </a:lnTo>
                <a:lnTo>
                  <a:pt x="508" y="388"/>
                </a:lnTo>
                <a:lnTo>
                  <a:pt x="504" y="388"/>
                </a:lnTo>
                <a:lnTo>
                  <a:pt x="500" y="388"/>
                </a:lnTo>
                <a:lnTo>
                  <a:pt x="496" y="388"/>
                </a:lnTo>
                <a:lnTo>
                  <a:pt x="492" y="388"/>
                </a:lnTo>
                <a:lnTo>
                  <a:pt x="488" y="384"/>
                </a:lnTo>
                <a:lnTo>
                  <a:pt x="492" y="384"/>
                </a:lnTo>
                <a:lnTo>
                  <a:pt x="492" y="380"/>
                </a:lnTo>
                <a:lnTo>
                  <a:pt x="488" y="380"/>
                </a:lnTo>
                <a:lnTo>
                  <a:pt x="488" y="378"/>
                </a:lnTo>
                <a:lnTo>
                  <a:pt x="484" y="378"/>
                </a:lnTo>
                <a:lnTo>
                  <a:pt x="484" y="380"/>
                </a:lnTo>
                <a:lnTo>
                  <a:pt x="480" y="380"/>
                </a:lnTo>
                <a:lnTo>
                  <a:pt x="480" y="384"/>
                </a:lnTo>
                <a:lnTo>
                  <a:pt x="480" y="388"/>
                </a:lnTo>
                <a:lnTo>
                  <a:pt x="478" y="388"/>
                </a:lnTo>
                <a:lnTo>
                  <a:pt x="478" y="392"/>
                </a:lnTo>
                <a:lnTo>
                  <a:pt x="474" y="392"/>
                </a:lnTo>
                <a:lnTo>
                  <a:pt x="470" y="392"/>
                </a:lnTo>
                <a:lnTo>
                  <a:pt x="466" y="392"/>
                </a:lnTo>
                <a:lnTo>
                  <a:pt x="462" y="392"/>
                </a:lnTo>
                <a:lnTo>
                  <a:pt x="458" y="392"/>
                </a:lnTo>
                <a:lnTo>
                  <a:pt x="458" y="396"/>
                </a:lnTo>
                <a:lnTo>
                  <a:pt x="454" y="396"/>
                </a:lnTo>
                <a:lnTo>
                  <a:pt x="450" y="400"/>
                </a:lnTo>
                <a:lnTo>
                  <a:pt x="448" y="400"/>
                </a:lnTo>
                <a:lnTo>
                  <a:pt x="444" y="400"/>
                </a:lnTo>
                <a:lnTo>
                  <a:pt x="440" y="400"/>
                </a:lnTo>
                <a:lnTo>
                  <a:pt x="436" y="400"/>
                </a:lnTo>
                <a:lnTo>
                  <a:pt x="432" y="400"/>
                </a:lnTo>
                <a:lnTo>
                  <a:pt x="432" y="404"/>
                </a:lnTo>
                <a:lnTo>
                  <a:pt x="432" y="400"/>
                </a:lnTo>
                <a:lnTo>
                  <a:pt x="428" y="400"/>
                </a:lnTo>
                <a:lnTo>
                  <a:pt x="428" y="404"/>
                </a:lnTo>
                <a:lnTo>
                  <a:pt x="424" y="404"/>
                </a:lnTo>
                <a:lnTo>
                  <a:pt x="424" y="400"/>
                </a:lnTo>
                <a:lnTo>
                  <a:pt x="424" y="404"/>
                </a:lnTo>
                <a:lnTo>
                  <a:pt x="422" y="404"/>
                </a:lnTo>
                <a:lnTo>
                  <a:pt x="418" y="404"/>
                </a:lnTo>
                <a:lnTo>
                  <a:pt x="422" y="404"/>
                </a:lnTo>
                <a:lnTo>
                  <a:pt x="418" y="404"/>
                </a:lnTo>
                <a:lnTo>
                  <a:pt x="414" y="404"/>
                </a:lnTo>
                <a:lnTo>
                  <a:pt x="410" y="404"/>
                </a:lnTo>
                <a:lnTo>
                  <a:pt x="408" y="404"/>
                </a:lnTo>
                <a:lnTo>
                  <a:pt x="404" y="404"/>
                </a:lnTo>
                <a:lnTo>
                  <a:pt x="400" y="404"/>
                </a:lnTo>
                <a:lnTo>
                  <a:pt x="396" y="404"/>
                </a:lnTo>
                <a:lnTo>
                  <a:pt x="392" y="404"/>
                </a:lnTo>
                <a:lnTo>
                  <a:pt x="396" y="404"/>
                </a:lnTo>
                <a:lnTo>
                  <a:pt x="392" y="404"/>
                </a:lnTo>
                <a:lnTo>
                  <a:pt x="392" y="400"/>
                </a:lnTo>
                <a:lnTo>
                  <a:pt x="388" y="400"/>
                </a:lnTo>
                <a:lnTo>
                  <a:pt x="388" y="396"/>
                </a:lnTo>
                <a:lnTo>
                  <a:pt x="388" y="392"/>
                </a:lnTo>
                <a:lnTo>
                  <a:pt x="388" y="388"/>
                </a:lnTo>
                <a:lnTo>
                  <a:pt x="388" y="384"/>
                </a:lnTo>
                <a:lnTo>
                  <a:pt x="388" y="388"/>
                </a:lnTo>
                <a:lnTo>
                  <a:pt x="388" y="384"/>
                </a:lnTo>
                <a:lnTo>
                  <a:pt x="384" y="384"/>
                </a:lnTo>
                <a:lnTo>
                  <a:pt x="378" y="384"/>
                </a:lnTo>
                <a:lnTo>
                  <a:pt x="374" y="384"/>
                </a:lnTo>
                <a:lnTo>
                  <a:pt x="370" y="384"/>
                </a:lnTo>
                <a:lnTo>
                  <a:pt x="366" y="384"/>
                </a:lnTo>
                <a:lnTo>
                  <a:pt x="362" y="384"/>
                </a:lnTo>
                <a:lnTo>
                  <a:pt x="358" y="384"/>
                </a:lnTo>
                <a:lnTo>
                  <a:pt x="354" y="384"/>
                </a:lnTo>
                <a:lnTo>
                  <a:pt x="352" y="380"/>
                </a:lnTo>
                <a:lnTo>
                  <a:pt x="348" y="380"/>
                </a:lnTo>
                <a:lnTo>
                  <a:pt x="344" y="380"/>
                </a:lnTo>
                <a:lnTo>
                  <a:pt x="348" y="378"/>
                </a:lnTo>
                <a:lnTo>
                  <a:pt x="344" y="378"/>
                </a:lnTo>
                <a:lnTo>
                  <a:pt x="340" y="378"/>
                </a:lnTo>
                <a:lnTo>
                  <a:pt x="344" y="378"/>
                </a:lnTo>
                <a:lnTo>
                  <a:pt x="344" y="374"/>
                </a:lnTo>
                <a:lnTo>
                  <a:pt x="340" y="374"/>
                </a:lnTo>
                <a:lnTo>
                  <a:pt x="336" y="374"/>
                </a:lnTo>
                <a:lnTo>
                  <a:pt x="336" y="370"/>
                </a:lnTo>
                <a:lnTo>
                  <a:pt x="336" y="366"/>
                </a:lnTo>
                <a:lnTo>
                  <a:pt x="332" y="366"/>
                </a:lnTo>
                <a:lnTo>
                  <a:pt x="336" y="366"/>
                </a:lnTo>
                <a:lnTo>
                  <a:pt x="336" y="362"/>
                </a:lnTo>
                <a:lnTo>
                  <a:pt x="340" y="362"/>
                </a:lnTo>
                <a:lnTo>
                  <a:pt x="348" y="362"/>
                </a:lnTo>
                <a:lnTo>
                  <a:pt x="352" y="362"/>
                </a:lnTo>
                <a:lnTo>
                  <a:pt x="354" y="358"/>
                </a:lnTo>
                <a:lnTo>
                  <a:pt x="358" y="358"/>
                </a:lnTo>
                <a:lnTo>
                  <a:pt x="362" y="358"/>
                </a:lnTo>
                <a:lnTo>
                  <a:pt x="366" y="358"/>
                </a:lnTo>
                <a:lnTo>
                  <a:pt x="370" y="358"/>
                </a:lnTo>
                <a:lnTo>
                  <a:pt x="374" y="358"/>
                </a:lnTo>
                <a:lnTo>
                  <a:pt x="378" y="358"/>
                </a:lnTo>
                <a:lnTo>
                  <a:pt x="380" y="358"/>
                </a:lnTo>
                <a:lnTo>
                  <a:pt x="384" y="358"/>
                </a:lnTo>
                <a:lnTo>
                  <a:pt x="388" y="358"/>
                </a:lnTo>
                <a:lnTo>
                  <a:pt x="392" y="358"/>
                </a:lnTo>
                <a:lnTo>
                  <a:pt x="396" y="358"/>
                </a:lnTo>
                <a:lnTo>
                  <a:pt x="400" y="362"/>
                </a:lnTo>
                <a:lnTo>
                  <a:pt x="404" y="362"/>
                </a:lnTo>
                <a:lnTo>
                  <a:pt x="404" y="358"/>
                </a:lnTo>
                <a:lnTo>
                  <a:pt x="408" y="358"/>
                </a:lnTo>
                <a:lnTo>
                  <a:pt x="410" y="358"/>
                </a:lnTo>
                <a:lnTo>
                  <a:pt x="414" y="358"/>
                </a:lnTo>
                <a:lnTo>
                  <a:pt x="418" y="358"/>
                </a:lnTo>
                <a:lnTo>
                  <a:pt x="414" y="354"/>
                </a:lnTo>
                <a:lnTo>
                  <a:pt x="414" y="358"/>
                </a:lnTo>
                <a:lnTo>
                  <a:pt x="410" y="354"/>
                </a:lnTo>
                <a:lnTo>
                  <a:pt x="408" y="354"/>
                </a:lnTo>
                <a:lnTo>
                  <a:pt x="404" y="350"/>
                </a:lnTo>
                <a:lnTo>
                  <a:pt x="400" y="350"/>
                </a:lnTo>
                <a:lnTo>
                  <a:pt x="396" y="350"/>
                </a:lnTo>
                <a:lnTo>
                  <a:pt x="392" y="350"/>
                </a:lnTo>
                <a:lnTo>
                  <a:pt x="388" y="348"/>
                </a:lnTo>
                <a:lnTo>
                  <a:pt x="388" y="350"/>
                </a:lnTo>
                <a:lnTo>
                  <a:pt x="388" y="348"/>
                </a:lnTo>
                <a:lnTo>
                  <a:pt x="384" y="348"/>
                </a:lnTo>
                <a:lnTo>
                  <a:pt x="380" y="348"/>
                </a:lnTo>
                <a:lnTo>
                  <a:pt x="378" y="348"/>
                </a:lnTo>
                <a:lnTo>
                  <a:pt x="378" y="350"/>
                </a:lnTo>
                <a:lnTo>
                  <a:pt x="374" y="350"/>
                </a:lnTo>
                <a:lnTo>
                  <a:pt x="370" y="350"/>
                </a:lnTo>
                <a:lnTo>
                  <a:pt x="366" y="350"/>
                </a:lnTo>
                <a:lnTo>
                  <a:pt x="362" y="350"/>
                </a:lnTo>
                <a:lnTo>
                  <a:pt x="354" y="350"/>
                </a:lnTo>
                <a:lnTo>
                  <a:pt x="354" y="350"/>
                </a:lnTo>
                <a:lnTo>
                  <a:pt x="354" y="350"/>
                </a:lnTo>
                <a:close/>
                <a:moveTo>
                  <a:pt x="626" y="284"/>
                </a:moveTo>
                <a:lnTo>
                  <a:pt x="630" y="288"/>
                </a:lnTo>
                <a:lnTo>
                  <a:pt x="626" y="288"/>
                </a:lnTo>
                <a:lnTo>
                  <a:pt x="626" y="292"/>
                </a:lnTo>
                <a:lnTo>
                  <a:pt x="622" y="292"/>
                </a:lnTo>
                <a:lnTo>
                  <a:pt x="622" y="288"/>
                </a:lnTo>
                <a:lnTo>
                  <a:pt x="620" y="288"/>
                </a:lnTo>
                <a:lnTo>
                  <a:pt x="620" y="284"/>
                </a:lnTo>
                <a:lnTo>
                  <a:pt x="622" y="284"/>
                </a:lnTo>
                <a:lnTo>
                  <a:pt x="626" y="284"/>
                </a:lnTo>
                <a:lnTo>
                  <a:pt x="626" y="284"/>
                </a:lnTo>
                <a:lnTo>
                  <a:pt x="626" y="284"/>
                </a:lnTo>
                <a:close/>
                <a:moveTo>
                  <a:pt x="626" y="292"/>
                </a:moveTo>
                <a:lnTo>
                  <a:pt x="626" y="294"/>
                </a:lnTo>
                <a:lnTo>
                  <a:pt x="622" y="294"/>
                </a:lnTo>
                <a:lnTo>
                  <a:pt x="622" y="292"/>
                </a:lnTo>
                <a:lnTo>
                  <a:pt x="626" y="292"/>
                </a:lnTo>
                <a:lnTo>
                  <a:pt x="626" y="292"/>
                </a:lnTo>
                <a:lnTo>
                  <a:pt x="626" y="292"/>
                </a:lnTo>
                <a:close/>
                <a:moveTo>
                  <a:pt x="936" y="310"/>
                </a:moveTo>
                <a:lnTo>
                  <a:pt x="940" y="310"/>
                </a:lnTo>
                <a:lnTo>
                  <a:pt x="936" y="310"/>
                </a:lnTo>
                <a:lnTo>
                  <a:pt x="936" y="310"/>
                </a:lnTo>
                <a:lnTo>
                  <a:pt x="936" y="310"/>
                </a:lnTo>
                <a:close/>
                <a:moveTo>
                  <a:pt x="958" y="322"/>
                </a:moveTo>
                <a:lnTo>
                  <a:pt x="958" y="324"/>
                </a:lnTo>
                <a:lnTo>
                  <a:pt x="954" y="324"/>
                </a:lnTo>
                <a:lnTo>
                  <a:pt x="958" y="324"/>
                </a:lnTo>
                <a:lnTo>
                  <a:pt x="958" y="322"/>
                </a:lnTo>
                <a:lnTo>
                  <a:pt x="958" y="322"/>
                </a:lnTo>
                <a:lnTo>
                  <a:pt x="958" y="322"/>
                </a:lnTo>
                <a:close/>
                <a:moveTo>
                  <a:pt x="962" y="324"/>
                </a:moveTo>
                <a:lnTo>
                  <a:pt x="966" y="324"/>
                </a:lnTo>
                <a:lnTo>
                  <a:pt x="966" y="322"/>
                </a:lnTo>
                <a:lnTo>
                  <a:pt x="966" y="324"/>
                </a:lnTo>
                <a:lnTo>
                  <a:pt x="962" y="324"/>
                </a:lnTo>
                <a:lnTo>
                  <a:pt x="962" y="324"/>
                </a:lnTo>
                <a:lnTo>
                  <a:pt x="962" y="324"/>
                </a:lnTo>
                <a:close/>
                <a:moveTo>
                  <a:pt x="962" y="332"/>
                </a:moveTo>
                <a:lnTo>
                  <a:pt x="958" y="332"/>
                </a:lnTo>
                <a:lnTo>
                  <a:pt x="958" y="328"/>
                </a:lnTo>
                <a:lnTo>
                  <a:pt x="958" y="324"/>
                </a:lnTo>
                <a:lnTo>
                  <a:pt x="962" y="324"/>
                </a:lnTo>
                <a:lnTo>
                  <a:pt x="962" y="328"/>
                </a:lnTo>
                <a:lnTo>
                  <a:pt x="958" y="328"/>
                </a:lnTo>
                <a:lnTo>
                  <a:pt x="962" y="328"/>
                </a:lnTo>
                <a:lnTo>
                  <a:pt x="962" y="324"/>
                </a:lnTo>
                <a:lnTo>
                  <a:pt x="962" y="328"/>
                </a:lnTo>
                <a:lnTo>
                  <a:pt x="966" y="328"/>
                </a:lnTo>
                <a:lnTo>
                  <a:pt x="962" y="328"/>
                </a:lnTo>
                <a:lnTo>
                  <a:pt x="962" y="332"/>
                </a:lnTo>
                <a:lnTo>
                  <a:pt x="962" y="332"/>
                </a:lnTo>
                <a:lnTo>
                  <a:pt x="962" y="332"/>
                </a:lnTo>
                <a:close/>
                <a:moveTo>
                  <a:pt x="988" y="336"/>
                </a:moveTo>
                <a:lnTo>
                  <a:pt x="988" y="340"/>
                </a:lnTo>
                <a:lnTo>
                  <a:pt x="988" y="336"/>
                </a:lnTo>
                <a:lnTo>
                  <a:pt x="988" y="336"/>
                </a:lnTo>
                <a:lnTo>
                  <a:pt x="988" y="336"/>
                </a:lnTo>
                <a:close/>
                <a:moveTo>
                  <a:pt x="980" y="340"/>
                </a:moveTo>
                <a:lnTo>
                  <a:pt x="984" y="340"/>
                </a:lnTo>
                <a:lnTo>
                  <a:pt x="984" y="344"/>
                </a:lnTo>
                <a:lnTo>
                  <a:pt x="980" y="344"/>
                </a:lnTo>
                <a:lnTo>
                  <a:pt x="976" y="344"/>
                </a:lnTo>
                <a:lnTo>
                  <a:pt x="974" y="344"/>
                </a:lnTo>
                <a:lnTo>
                  <a:pt x="976" y="344"/>
                </a:lnTo>
                <a:lnTo>
                  <a:pt x="976" y="340"/>
                </a:lnTo>
                <a:lnTo>
                  <a:pt x="980" y="340"/>
                </a:lnTo>
                <a:lnTo>
                  <a:pt x="980" y="340"/>
                </a:lnTo>
                <a:lnTo>
                  <a:pt x="980" y="340"/>
                </a:lnTo>
                <a:close/>
                <a:moveTo>
                  <a:pt x="574" y="348"/>
                </a:moveTo>
                <a:lnTo>
                  <a:pt x="574" y="350"/>
                </a:lnTo>
                <a:lnTo>
                  <a:pt x="578" y="350"/>
                </a:lnTo>
                <a:lnTo>
                  <a:pt x="578" y="354"/>
                </a:lnTo>
                <a:lnTo>
                  <a:pt x="574" y="354"/>
                </a:lnTo>
                <a:lnTo>
                  <a:pt x="574" y="350"/>
                </a:lnTo>
                <a:lnTo>
                  <a:pt x="570" y="350"/>
                </a:lnTo>
                <a:lnTo>
                  <a:pt x="570" y="348"/>
                </a:lnTo>
                <a:lnTo>
                  <a:pt x="574" y="348"/>
                </a:lnTo>
                <a:lnTo>
                  <a:pt x="574" y="348"/>
                </a:lnTo>
                <a:lnTo>
                  <a:pt x="574" y="348"/>
                </a:lnTo>
                <a:close/>
                <a:moveTo>
                  <a:pt x="182" y="350"/>
                </a:moveTo>
                <a:lnTo>
                  <a:pt x="180" y="350"/>
                </a:lnTo>
                <a:lnTo>
                  <a:pt x="180" y="348"/>
                </a:lnTo>
                <a:lnTo>
                  <a:pt x="182" y="350"/>
                </a:lnTo>
                <a:lnTo>
                  <a:pt x="182" y="350"/>
                </a:lnTo>
                <a:lnTo>
                  <a:pt x="182" y="350"/>
                </a:lnTo>
                <a:close/>
                <a:moveTo>
                  <a:pt x="760" y="362"/>
                </a:moveTo>
                <a:lnTo>
                  <a:pt x="764" y="362"/>
                </a:lnTo>
                <a:lnTo>
                  <a:pt x="768" y="362"/>
                </a:lnTo>
                <a:lnTo>
                  <a:pt x="772" y="362"/>
                </a:lnTo>
                <a:lnTo>
                  <a:pt x="772" y="366"/>
                </a:lnTo>
                <a:lnTo>
                  <a:pt x="768" y="366"/>
                </a:lnTo>
                <a:lnTo>
                  <a:pt x="764" y="366"/>
                </a:lnTo>
                <a:lnTo>
                  <a:pt x="760" y="366"/>
                </a:lnTo>
                <a:lnTo>
                  <a:pt x="760" y="362"/>
                </a:lnTo>
                <a:lnTo>
                  <a:pt x="756" y="362"/>
                </a:lnTo>
                <a:lnTo>
                  <a:pt x="760" y="362"/>
                </a:lnTo>
                <a:lnTo>
                  <a:pt x="760" y="362"/>
                </a:lnTo>
                <a:lnTo>
                  <a:pt x="760" y="362"/>
                </a:lnTo>
                <a:close/>
                <a:moveTo>
                  <a:pt x="638" y="396"/>
                </a:moveTo>
                <a:lnTo>
                  <a:pt x="642" y="392"/>
                </a:lnTo>
                <a:lnTo>
                  <a:pt x="642" y="396"/>
                </a:lnTo>
                <a:lnTo>
                  <a:pt x="646" y="396"/>
                </a:lnTo>
                <a:lnTo>
                  <a:pt x="646" y="392"/>
                </a:lnTo>
                <a:lnTo>
                  <a:pt x="650" y="396"/>
                </a:lnTo>
                <a:lnTo>
                  <a:pt x="646" y="396"/>
                </a:lnTo>
                <a:lnTo>
                  <a:pt x="646" y="400"/>
                </a:lnTo>
                <a:lnTo>
                  <a:pt x="642" y="400"/>
                </a:lnTo>
                <a:lnTo>
                  <a:pt x="642" y="396"/>
                </a:lnTo>
                <a:lnTo>
                  <a:pt x="638" y="400"/>
                </a:lnTo>
                <a:lnTo>
                  <a:pt x="634" y="404"/>
                </a:lnTo>
                <a:lnTo>
                  <a:pt x="630" y="404"/>
                </a:lnTo>
                <a:lnTo>
                  <a:pt x="626" y="404"/>
                </a:lnTo>
                <a:lnTo>
                  <a:pt x="622" y="404"/>
                </a:lnTo>
                <a:lnTo>
                  <a:pt x="620" y="404"/>
                </a:lnTo>
                <a:lnTo>
                  <a:pt x="616" y="404"/>
                </a:lnTo>
                <a:lnTo>
                  <a:pt x="612" y="400"/>
                </a:lnTo>
                <a:lnTo>
                  <a:pt x="608" y="400"/>
                </a:lnTo>
                <a:lnTo>
                  <a:pt x="604" y="400"/>
                </a:lnTo>
                <a:lnTo>
                  <a:pt x="604" y="396"/>
                </a:lnTo>
                <a:lnTo>
                  <a:pt x="600" y="396"/>
                </a:lnTo>
                <a:lnTo>
                  <a:pt x="596" y="396"/>
                </a:lnTo>
                <a:lnTo>
                  <a:pt x="596" y="392"/>
                </a:lnTo>
                <a:lnTo>
                  <a:pt x="592" y="392"/>
                </a:lnTo>
                <a:lnTo>
                  <a:pt x="592" y="396"/>
                </a:lnTo>
                <a:lnTo>
                  <a:pt x="590" y="396"/>
                </a:lnTo>
                <a:lnTo>
                  <a:pt x="590" y="392"/>
                </a:lnTo>
                <a:lnTo>
                  <a:pt x="586" y="392"/>
                </a:lnTo>
                <a:lnTo>
                  <a:pt x="586" y="388"/>
                </a:lnTo>
                <a:lnTo>
                  <a:pt x="590" y="388"/>
                </a:lnTo>
                <a:lnTo>
                  <a:pt x="592" y="388"/>
                </a:lnTo>
                <a:lnTo>
                  <a:pt x="596" y="388"/>
                </a:lnTo>
                <a:lnTo>
                  <a:pt x="596" y="384"/>
                </a:lnTo>
                <a:lnTo>
                  <a:pt x="600" y="384"/>
                </a:lnTo>
                <a:lnTo>
                  <a:pt x="604" y="384"/>
                </a:lnTo>
                <a:lnTo>
                  <a:pt x="600" y="380"/>
                </a:lnTo>
                <a:lnTo>
                  <a:pt x="604" y="380"/>
                </a:lnTo>
                <a:lnTo>
                  <a:pt x="600" y="378"/>
                </a:lnTo>
                <a:lnTo>
                  <a:pt x="604" y="378"/>
                </a:lnTo>
                <a:lnTo>
                  <a:pt x="608" y="380"/>
                </a:lnTo>
                <a:lnTo>
                  <a:pt x="604" y="378"/>
                </a:lnTo>
                <a:lnTo>
                  <a:pt x="604" y="374"/>
                </a:lnTo>
                <a:lnTo>
                  <a:pt x="604" y="370"/>
                </a:lnTo>
                <a:lnTo>
                  <a:pt x="608" y="370"/>
                </a:lnTo>
                <a:lnTo>
                  <a:pt x="612" y="370"/>
                </a:lnTo>
                <a:lnTo>
                  <a:pt x="616" y="370"/>
                </a:lnTo>
                <a:lnTo>
                  <a:pt x="616" y="374"/>
                </a:lnTo>
                <a:lnTo>
                  <a:pt x="620" y="374"/>
                </a:lnTo>
                <a:lnTo>
                  <a:pt x="616" y="374"/>
                </a:lnTo>
                <a:lnTo>
                  <a:pt x="616" y="378"/>
                </a:lnTo>
                <a:lnTo>
                  <a:pt x="620" y="374"/>
                </a:lnTo>
                <a:lnTo>
                  <a:pt x="620" y="378"/>
                </a:lnTo>
                <a:lnTo>
                  <a:pt x="622" y="378"/>
                </a:lnTo>
                <a:lnTo>
                  <a:pt x="626" y="380"/>
                </a:lnTo>
                <a:lnTo>
                  <a:pt x="630" y="380"/>
                </a:lnTo>
                <a:lnTo>
                  <a:pt x="634" y="380"/>
                </a:lnTo>
                <a:lnTo>
                  <a:pt x="634" y="384"/>
                </a:lnTo>
                <a:lnTo>
                  <a:pt x="634" y="388"/>
                </a:lnTo>
                <a:lnTo>
                  <a:pt x="634" y="392"/>
                </a:lnTo>
                <a:lnTo>
                  <a:pt x="634" y="388"/>
                </a:lnTo>
                <a:lnTo>
                  <a:pt x="634" y="384"/>
                </a:lnTo>
                <a:lnTo>
                  <a:pt x="638" y="384"/>
                </a:lnTo>
                <a:lnTo>
                  <a:pt x="638" y="388"/>
                </a:lnTo>
                <a:lnTo>
                  <a:pt x="638" y="392"/>
                </a:lnTo>
                <a:lnTo>
                  <a:pt x="638" y="396"/>
                </a:lnTo>
                <a:lnTo>
                  <a:pt x="638" y="396"/>
                </a:lnTo>
                <a:lnTo>
                  <a:pt x="638" y="396"/>
                </a:lnTo>
                <a:close/>
                <a:moveTo>
                  <a:pt x="824" y="370"/>
                </a:moveTo>
                <a:lnTo>
                  <a:pt x="828" y="370"/>
                </a:lnTo>
                <a:lnTo>
                  <a:pt x="824" y="370"/>
                </a:lnTo>
                <a:lnTo>
                  <a:pt x="824" y="370"/>
                </a:lnTo>
                <a:lnTo>
                  <a:pt x="824" y="370"/>
                </a:lnTo>
                <a:close/>
                <a:moveTo>
                  <a:pt x="812" y="370"/>
                </a:moveTo>
                <a:lnTo>
                  <a:pt x="808" y="374"/>
                </a:lnTo>
                <a:lnTo>
                  <a:pt x="812" y="374"/>
                </a:lnTo>
                <a:lnTo>
                  <a:pt x="808" y="374"/>
                </a:lnTo>
                <a:lnTo>
                  <a:pt x="808" y="370"/>
                </a:lnTo>
                <a:lnTo>
                  <a:pt x="812" y="370"/>
                </a:lnTo>
                <a:lnTo>
                  <a:pt x="812" y="370"/>
                </a:lnTo>
                <a:lnTo>
                  <a:pt x="812" y="370"/>
                </a:lnTo>
                <a:close/>
                <a:moveTo>
                  <a:pt x="864" y="374"/>
                </a:moveTo>
                <a:lnTo>
                  <a:pt x="864" y="370"/>
                </a:lnTo>
                <a:lnTo>
                  <a:pt x="868" y="370"/>
                </a:lnTo>
                <a:lnTo>
                  <a:pt x="872" y="370"/>
                </a:lnTo>
                <a:lnTo>
                  <a:pt x="872" y="374"/>
                </a:lnTo>
                <a:lnTo>
                  <a:pt x="868" y="374"/>
                </a:lnTo>
                <a:lnTo>
                  <a:pt x="868" y="378"/>
                </a:lnTo>
                <a:lnTo>
                  <a:pt x="864" y="378"/>
                </a:lnTo>
                <a:lnTo>
                  <a:pt x="864" y="374"/>
                </a:lnTo>
                <a:lnTo>
                  <a:pt x="862" y="374"/>
                </a:lnTo>
                <a:lnTo>
                  <a:pt x="862" y="378"/>
                </a:lnTo>
                <a:lnTo>
                  <a:pt x="864" y="378"/>
                </a:lnTo>
                <a:lnTo>
                  <a:pt x="862" y="378"/>
                </a:lnTo>
                <a:lnTo>
                  <a:pt x="858" y="378"/>
                </a:lnTo>
                <a:lnTo>
                  <a:pt x="858" y="374"/>
                </a:lnTo>
                <a:lnTo>
                  <a:pt x="854" y="374"/>
                </a:lnTo>
                <a:lnTo>
                  <a:pt x="850" y="374"/>
                </a:lnTo>
                <a:lnTo>
                  <a:pt x="854" y="374"/>
                </a:lnTo>
                <a:lnTo>
                  <a:pt x="858" y="374"/>
                </a:lnTo>
                <a:lnTo>
                  <a:pt x="858" y="370"/>
                </a:lnTo>
                <a:lnTo>
                  <a:pt x="862" y="370"/>
                </a:lnTo>
                <a:lnTo>
                  <a:pt x="862" y="374"/>
                </a:lnTo>
                <a:lnTo>
                  <a:pt x="864" y="374"/>
                </a:lnTo>
                <a:lnTo>
                  <a:pt x="864" y="374"/>
                </a:lnTo>
                <a:lnTo>
                  <a:pt x="864" y="374"/>
                </a:lnTo>
                <a:close/>
                <a:moveTo>
                  <a:pt x="824" y="370"/>
                </a:moveTo>
                <a:lnTo>
                  <a:pt x="828" y="370"/>
                </a:lnTo>
                <a:lnTo>
                  <a:pt x="828" y="374"/>
                </a:lnTo>
                <a:lnTo>
                  <a:pt x="824" y="374"/>
                </a:lnTo>
                <a:lnTo>
                  <a:pt x="820" y="370"/>
                </a:lnTo>
                <a:lnTo>
                  <a:pt x="824" y="370"/>
                </a:lnTo>
                <a:lnTo>
                  <a:pt x="824" y="370"/>
                </a:lnTo>
                <a:lnTo>
                  <a:pt x="824" y="370"/>
                </a:lnTo>
                <a:close/>
                <a:moveTo>
                  <a:pt x="888" y="374"/>
                </a:moveTo>
                <a:lnTo>
                  <a:pt x="890" y="374"/>
                </a:lnTo>
                <a:lnTo>
                  <a:pt x="890" y="378"/>
                </a:lnTo>
                <a:lnTo>
                  <a:pt x="888" y="378"/>
                </a:lnTo>
                <a:lnTo>
                  <a:pt x="884" y="378"/>
                </a:lnTo>
                <a:lnTo>
                  <a:pt x="880" y="378"/>
                </a:lnTo>
                <a:lnTo>
                  <a:pt x="880" y="380"/>
                </a:lnTo>
                <a:lnTo>
                  <a:pt x="880" y="378"/>
                </a:lnTo>
                <a:lnTo>
                  <a:pt x="884" y="378"/>
                </a:lnTo>
                <a:lnTo>
                  <a:pt x="884" y="374"/>
                </a:lnTo>
                <a:lnTo>
                  <a:pt x="888" y="374"/>
                </a:lnTo>
                <a:lnTo>
                  <a:pt x="888" y="374"/>
                </a:lnTo>
                <a:lnTo>
                  <a:pt x="888" y="374"/>
                </a:lnTo>
                <a:close/>
                <a:moveTo>
                  <a:pt x="76" y="392"/>
                </a:moveTo>
                <a:lnTo>
                  <a:pt x="80" y="392"/>
                </a:lnTo>
                <a:lnTo>
                  <a:pt x="76" y="388"/>
                </a:lnTo>
                <a:lnTo>
                  <a:pt x="72" y="388"/>
                </a:lnTo>
                <a:lnTo>
                  <a:pt x="72" y="384"/>
                </a:lnTo>
                <a:lnTo>
                  <a:pt x="76" y="384"/>
                </a:lnTo>
                <a:lnTo>
                  <a:pt x="76" y="388"/>
                </a:lnTo>
                <a:lnTo>
                  <a:pt x="80" y="388"/>
                </a:lnTo>
                <a:lnTo>
                  <a:pt x="76" y="388"/>
                </a:lnTo>
                <a:lnTo>
                  <a:pt x="76" y="384"/>
                </a:lnTo>
                <a:lnTo>
                  <a:pt x="72" y="384"/>
                </a:lnTo>
                <a:lnTo>
                  <a:pt x="76" y="384"/>
                </a:lnTo>
                <a:lnTo>
                  <a:pt x="80" y="380"/>
                </a:lnTo>
                <a:lnTo>
                  <a:pt x="80" y="384"/>
                </a:lnTo>
                <a:lnTo>
                  <a:pt x="82" y="384"/>
                </a:lnTo>
                <a:lnTo>
                  <a:pt x="82" y="380"/>
                </a:lnTo>
                <a:lnTo>
                  <a:pt x="86" y="378"/>
                </a:lnTo>
                <a:lnTo>
                  <a:pt x="90" y="378"/>
                </a:lnTo>
                <a:lnTo>
                  <a:pt x="90" y="380"/>
                </a:lnTo>
                <a:lnTo>
                  <a:pt x="94" y="380"/>
                </a:lnTo>
                <a:lnTo>
                  <a:pt x="94" y="378"/>
                </a:lnTo>
                <a:lnTo>
                  <a:pt x="94" y="374"/>
                </a:lnTo>
                <a:lnTo>
                  <a:pt x="96" y="374"/>
                </a:lnTo>
                <a:lnTo>
                  <a:pt x="96" y="378"/>
                </a:lnTo>
                <a:lnTo>
                  <a:pt x="100" y="378"/>
                </a:lnTo>
                <a:lnTo>
                  <a:pt x="100" y="380"/>
                </a:lnTo>
                <a:lnTo>
                  <a:pt x="96" y="380"/>
                </a:lnTo>
                <a:lnTo>
                  <a:pt x="96" y="384"/>
                </a:lnTo>
                <a:lnTo>
                  <a:pt x="94" y="384"/>
                </a:lnTo>
                <a:lnTo>
                  <a:pt x="94" y="388"/>
                </a:lnTo>
                <a:lnTo>
                  <a:pt x="90" y="388"/>
                </a:lnTo>
                <a:lnTo>
                  <a:pt x="90" y="392"/>
                </a:lnTo>
                <a:lnTo>
                  <a:pt x="94" y="396"/>
                </a:lnTo>
                <a:lnTo>
                  <a:pt x="96" y="400"/>
                </a:lnTo>
                <a:lnTo>
                  <a:pt x="94" y="400"/>
                </a:lnTo>
                <a:lnTo>
                  <a:pt x="90" y="396"/>
                </a:lnTo>
                <a:lnTo>
                  <a:pt x="90" y="392"/>
                </a:lnTo>
                <a:lnTo>
                  <a:pt x="86" y="392"/>
                </a:lnTo>
                <a:lnTo>
                  <a:pt x="82" y="392"/>
                </a:lnTo>
                <a:lnTo>
                  <a:pt x="80" y="392"/>
                </a:lnTo>
                <a:lnTo>
                  <a:pt x="76" y="392"/>
                </a:lnTo>
                <a:lnTo>
                  <a:pt x="72" y="392"/>
                </a:lnTo>
                <a:lnTo>
                  <a:pt x="72" y="388"/>
                </a:lnTo>
                <a:lnTo>
                  <a:pt x="72" y="392"/>
                </a:lnTo>
                <a:lnTo>
                  <a:pt x="76" y="392"/>
                </a:lnTo>
                <a:lnTo>
                  <a:pt x="76" y="392"/>
                </a:lnTo>
                <a:lnTo>
                  <a:pt x="76" y="392"/>
                </a:lnTo>
                <a:close/>
                <a:moveTo>
                  <a:pt x="1032" y="374"/>
                </a:moveTo>
                <a:lnTo>
                  <a:pt x="1036" y="374"/>
                </a:lnTo>
                <a:lnTo>
                  <a:pt x="1036" y="378"/>
                </a:lnTo>
                <a:lnTo>
                  <a:pt x="1032" y="378"/>
                </a:lnTo>
                <a:lnTo>
                  <a:pt x="1030" y="378"/>
                </a:lnTo>
                <a:lnTo>
                  <a:pt x="1032" y="374"/>
                </a:lnTo>
                <a:lnTo>
                  <a:pt x="1032" y="374"/>
                </a:lnTo>
                <a:lnTo>
                  <a:pt x="1032" y="374"/>
                </a:lnTo>
                <a:close/>
                <a:moveTo>
                  <a:pt x="26" y="378"/>
                </a:moveTo>
                <a:lnTo>
                  <a:pt x="24" y="378"/>
                </a:lnTo>
                <a:lnTo>
                  <a:pt x="26" y="378"/>
                </a:lnTo>
                <a:lnTo>
                  <a:pt x="26" y="374"/>
                </a:lnTo>
                <a:lnTo>
                  <a:pt x="30" y="378"/>
                </a:lnTo>
                <a:lnTo>
                  <a:pt x="26" y="378"/>
                </a:lnTo>
                <a:lnTo>
                  <a:pt x="26" y="378"/>
                </a:lnTo>
                <a:lnTo>
                  <a:pt x="26" y="378"/>
                </a:lnTo>
                <a:close/>
                <a:moveTo>
                  <a:pt x="646" y="378"/>
                </a:moveTo>
                <a:lnTo>
                  <a:pt x="646" y="380"/>
                </a:lnTo>
                <a:lnTo>
                  <a:pt x="642" y="384"/>
                </a:lnTo>
                <a:lnTo>
                  <a:pt x="642" y="380"/>
                </a:lnTo>
                <a:lnTo>
                  <a:pt x="642" y="378"/>
                </a:lnTo>
                <a:lnTo>
                  <a:pt x="638" y="378"/>
                </a:lnTo>
                <a:lnTo>
                  <a:pt x="638" y="380"/>
                </a:lnTo>
                <a:lnTo>
                  <a:pt x="638" y="378"/>
                </a:lnTo>
                <a:lnTo>
                  <a:pt x="638" y="374"/>
                </a:lnTo>
                <a:lnTo>
                  <a:pt x="642" y="374"/>
                </a:lnTo>
                <a:lnTo>
                  <a:pt x="642" y="378"/>
                </a:lnTo>
                <a:lnTo>
                  <a:pt x="646" y="378"/>
                </a:lnTo>
                <a:lnTo>
                  <a:pt x="646" y="378"/>
                </a:lnTo>
                <a:lnTo>
                  <a:pt x="646" y="378"/>
                </a:lnTo>
                <a:close/>
                <a:moveTo>
                  <a:pt x="1040" y="378"/>
                </a:moveTo>
                <a:lnTo>
                  <a:pt x="1036" y="378"/>
                </a:lnTo>
                <a:lnTo>
                  <a:pt x="1040" y="378"/>
                </a:lnTo>
                <a:lnTo>
                  <a:pt x="1044" y="378"/>
                </a:lnTo>
                <a:lnTo>
                  <a:pt x="1040" y="378"/>
                </a:lnTo>
                <a:lnTo>
                  <a:pt x="1040" y="378"/>
                </a:lnTo>
                <a:lnTo>
                  <a:pt x="1040" y="378"/>
                </a:lnTo>
                <a:close/>
                <a:moveTo>
                  <a:pt x="566" y="378"/>
                </a:moveTo>
                <a:lnTo>
                  <a:pt x="566" y="380"/>
                </a:lnTo>
                <a:lnTo>
                  <a:pt x="564" y="380"/>
                </a:lnTo>
                <a:lnTo>
                  <a:pt x="564" y="378"/>
                </a:lnTo>
                <a:lnTo>
                  <a:pt x="560" y="378"/>
                </a:lnTo>
                <a:lnTo>
                  <a:pt x="564" y="378"/>
                </a:lnTo>
                <a:lnTo>
                  <a:pt x="566" y="378"/>
                </a:lnTo>
                <a:lnTo>
                  <a:pt x="566" y="378"/>
                </a:lnTo>
                <a:lnTo>
                  <a:pt x="566" y="378"/>
                </a:lnTo>
                <a:close/>
                <a:moveTo>
                  <a:pt x="902" y="380"/>
                </a:moveTo>
                <a:lnTo>
                  <a:pt x="906" y="380"/>
                </a:lnTo>
                <a:lnTo>
                  <a:pt x="910" y="380"/>
                </a:lnTo>
                <a:lnTo>
                  <a:pt x="910" y="384"/>
                </a:lnTo>
                <a:lnTo>
                  <a:pt x="906" y="384"/>
                </a:lnTo>
                <a:lnTo>
                  <a:pt x="906" y="388"/>
                </a:lnTo>
                <a:lnTo>
                  <a:pt x="902" y="388"/>
                </a:lnTo>
                <a:lnTo>
                  <a:pt x="898" y="384"/>
                </a:lnTo>
                <a:lnTo>
                  <a:pt x="898" y="380"/>
                </a:lnTo>
                <a:lnTo>
                  <a:pt x="902" y="380"/>
                </a:lnTo>
                <a:lnTo>
                  <a:pt x="902" y="380"/>
                </a:lnTo>
                <a:lnTo>
                  <a:pt x="902" y="380"/>
                </a:lnTo>
                <a:close/>
                <a:moveTo>
                  <a:pt x="884" y="380"/>
                </a:moveTo>
                <a:lnTo>
                  <a:pt x="888" y="380"/>
                </a:lnTo>
                <a:lnTo>
                  <a:pt x="888" y="384"/>
                </a:lnTo>
                <a:lnTo>
                  <a:pt x="884" y="384"/>
                </a:lnTo>
                <a:lnTo>
                  <a:pt x="884" y="388"/>
                </a:lnTo>
                <a:lnTo>
                  <a:pt x="880" y="392"/>
                </a:lnTo>
                <a:lnTo>
                  <a:pt x="876" y="392"/>
                </a:lnTo>
                <a:lnTo>
                  <a:pt x="876" y="396"/>
                </a:lnTo>
                <a:lnTo>
                  <a:pt x="872" y="396"/>
                </a:lnTo>
                <a:lnTo>
                  <a:pt x="872" y="392"/>
                </a:lnTo>
                <a:lnTo>
                  <a:pt x="872" y="388"/>
                </a:lnTo>
                <a:lnTo>
                  <a:pt x="876" y="388"/>
                </a:lnTo>
                <a:lnTo>
                  <a:pt x="880" y="388"/>
                </a:lnTo>
                <a:lnTo>
                  <a:pt x="880" y="384"/>
                </a:lnTo>
                <a:lnTo>
                  <a:pt x="880" y="380"/>
                </a:lnTo>
                <a:lnTo>
                  <a:pt x="884" y="380"/>
                </a:lnTo>
                <a:lnTo>
                  <a:pt x="884" y="380"/>
                </a:lnTo>
                <a:lnTo>
                  <a:pt x="884" y="380"/>
                </a:lnTo>
                <a:close/>
                <a:moveTo>
                  <a:pt x="556" y="396"/>
                </a:moveTo>
                <a:lnTo>
                  <a:pt x="556" y="400"/>
                </a:lnTo>
                <a:lnTo>
                  <a:pt x="556" y="404"/>
                </a:lnTo>
                <a:lnTo>
                  <a:pt x="552" y="404"/>
                </a:lnTo>
                <a:lnTo>
                  <a:pt x="552" y="400"/>
                </a:lnTo>
                <a:lnTo>
                  <a:pt x="548" y="400"/>
                </a:lnTo>
                <a:lnTo>
                  <a:pt x="548" y="396"/>
                </a:lnTo>
                <a:lnTo>
                  <a:pt x="552" y="396"/>
                </a:lnTo>
                <a:lnTo>
                  <a:pt x="556" y="396"/>
                </a:lnTo>
                <a:lnTo>
                  <a:pt x="556" y="396"/>
                </a:lnTo>
                <a:lnTo>
                  <a:pt x="556" y="396"/>
                </a:lnTo>
                <a:close/>
                <a:moveTo>
                  <a:pt x="932" y="400"/>
                </a:moveTo>
                <a:lnTo>
                  <a:pt x="936" y="404"/>
                </a:lnTo>
                <a:lnTo>
                  <a:pt x="936" y="408"/>
                </a:lnTo>
                <a:lnTo>
                  <a:pt x="932" y="408"/>
                </a:lnTo>
                <a:lnTo>
                  <a:pt x="928" y="408"/>
                </a:lnTo>
                <a:lnTo>
                  <a:pt x="928" y="404"/>
                </a:lnTo>
                <a:lnTo>
                  <a:pt x="928" y="400"/>
                </a:lnTo>
                <a:lnTo>
                  <a:pt x="932" y="400"/>
                </a:lnTo>
                <a:lnTo>
                  <a:pt x="932" y="400"/>
                </a:lnTo>
                <a:lnTo>
                  <a:pt x="932" y="400"/>
                </a:lnTo>
                <a:close/>
                <a:moveTo>
                  <a:pt x="936" y="400"/>
                </a:moveTo>
                <a:lnTo>
                  <a:pt x="940" y="400"/>
                </a:lnTo>
                <a:lnTo>
                  <a:pt x="940" y="404"/>
                </a:lnTo>
                <a:lnTo>
                  <a:pt x="936" y="404"/>
                </a:lnTo>
                <a:lnTo>
                  <a:pt x="936" y="400"/>
                </a:lnTo>
                <a:lnTo>
                  <a:pt x="936" y="400"/>
                </a:lnTo>
                <a:lnTo>
                  <a:pt x="936" y="400"/>
                </a:lnTo>
                <a:close/>
                <a:moveTo>
                  <a:pt x="880" y="408"/>
                </a:moveTo>
                <a:lnTo>
                  <a:pt x="880" y="404"/>
                </a:lnTo>
                <a:lnTo>
                  <a:pt x="876" y="404"/>
                </a:lnTo>
                <a:lnTo>
                  <a:pt x="880" y="404"/>
                </a:lnTo>
                <a:lnTo>
                  <a:pt x="880" y="400"/>
                </a:lnTo>
                <a:lnTo>
                  <a:pt x="884" y="400"/>
                </a:lnTo>
                <a:lnTo>
                  <a:pt x="884" y="404"/>
                </a:lnTo>
                <a:lnTo>
                  <a:pt x="880" y="404"/>
                </a:lnTo>
                <a:lnTo>
                  <a:pt x="884" y="404"/>
                </a:lnTo>
                <a:lnTo>
                  <a:pt x="880" y="404"/>
                </a:lnTo>
                <a:lnTo>
                  <a:pt x="880" y="408"/>
                </a:lnTo>
                <a:lnTo>
                  <a:pt x="880" y="408"/>
                </a:lnTo>
                <a:lnTo>
                  <a:pt x="880" y="408"/>
                </a:lnTo>
                <a:close/>
                <a:moveTo>
                  <a:pt x="514" y="404"/>
                </a:moveTo>
                <a:lnTo>
                  <a:pt x="518" y="404"/>
                </a:lnTo>
                <a:lnTo>
                  <a:pt x="518" y="408"/>
                </a:lnTo>
                <a:lnTo>
                  <a:pt x="514" y="408"/>
                </a:lnTo>
                <a:lnTo>
                  <a:pt x="510" y="408"/>
                </a:lnTo>
                <a:lnTo>
                  <a:pt x="510" y="404"/>
                </a:lnTo>
                <a:lnTo>
                  <a:pt x="508" y="404"/>
                </a:lnTo>
                <a:lnTo>
                  <a:pt x="510" y="404"/>
                </a:lnTo>
                <a:lnTo>
                  <a:pt x="514" y="404"/>
                </a:lnTo>
                <a:lnTo>
                  <a:pt x="514" y="404"/>
                </a:lnTo>
                <a:lnTo>
                  <a:pt x="514" y="404"/>
                </a:lnTo>
                <a:close/>
                <a:moveTo>
                  <a:pt x="944" y="404"/>
                </a:moveTo>
                <a:lnTo>
                  <a:pt x="944" y="408"/>
                </a:lnTo>
                <a:lnTo>
                  <a:pt x="948" y="408"/>
                </a:lnTo>
                <a:lnTo>
                  <a:pt x="948" y="410"/>
                </a:lnTo>
                <a:lnTo>
                  <a:pt x="944" y="410"/>
                </a:lnTo>
                <a:lnTo>
                  <a:pt x="944" y="408"/>
                </a:lnTo>
                <a:lnTo>
                  <a:pt x="944" y="404"/>
                </a:lnTo>
                <a:lnTo>
                  <a:pt x="944" y="404"/>
                </a:lnTo>
                <a:lnTo>
                  <a:pt x="944" y="404"/>
                </a:lnTo>
                <a:close/>
                <a:moveTo>
                  <a:pt x="876" y="408"/>
                </a:moveTo>
                <a:lnTo>
                  <a:pt x="880" y="408"/>
                </a:lnTo>
                <a:lnTo>
                  <a:pt x="880" y="410"/>
                </a:lnTo>
                <a:lnTo>
                  <a:pt x="876" y="410"/>
                </a:lnTo>
                <a:lnTo>
                  <a:pt x="872" y="410"/>
                </a:lnTo>
                <a:lnTo>
                  <a:pt x="872" y="408"/>
                </a:lnTo>
                <a:lnTo>
                  <a:pt x="876" y="408"/>
                </a:lnTo>
                <a:lnTo>
                  <a:pt x="876" y="408"/>
                </a:lnTo>
                <a:lnTo>
                  <a:pt x="876" y="408"/>
                </a:lnTo>
                <a:close/>
                <a:moveTo>
                  <a:pt x="910" y="436"/>
                </a:moveTo>
                <a:lnTo>
                  <a:pt x="906" y="434"/>
                </a:lnTo>
                <a:lnTo>
                  <a:pt x="902" y="434"/>
                </a:lnTo>
                <a:lnTo>
                  <a:pt x="902" y="430"/>
                </a:lnTo>
                <a:lnTo>
                  <a:pt x="902" y="426"/>
                </a:lnTo>
                <a:lnTo>
                  <a:pt x="902" y="422"/>
                </a:lnTo>
                <a:lnTo>
                  <a:pt x="902" y="418"/>
                </a:lnTo>
                <a:lnTo>
                  <a:pt x="906" y="410"/>
                </a:lnTo>
                <a:lnTo>
                  <a:pt x="910" y="410"/>
                </a:lnTo>
                <a:lnTo>
                  <a:pt x="918" y="408"/>
                </a:lnTo>
                <a:lnTo>
                  <a:pt x="920" y="408"/>
                </a:lnTo>
                <a:lnTo>
                  <a:pt x="924" y="408"/>
                </a:lnTo>
                <a:lnTo>
                  <a:pt x="928" y="410"/>
                </a:lnTo>
                <a:lnTo>
                  <a:pt x="932" y="410"/>
                </a:lnTo>
                <a:lnTo>
                  <a:pt x="932" y="414"/>
                </a:lnTo>
                <a:lnTo>
                  <a:pt x="932" y="418"/>
                </a:lnTo>
                <a:lnTo>
                  <a:pt x="932" y="422"/>
                </a:lnTo>
                <a:lnTo>
                  <a:pt x="932" y="426"/>
                </a:lnTo>
                <a:lnTo>
                  <a:pt x="932" y="430"/>
                </a:lnTo>
                <a:lnTo>
                  <a:pt x="928" y="434"/>
                </a:lnTo>
                <a:lnTo>
                  <a:pt x="924" y="434"/>
                </a:lnTo>
                <a:lnTo>
                  <a:pt x="920" y="434"/>
                </a:lnTo>
                <a:lnTo>
                  <a:pt x="918" y="434"/>
                </a:lnTo>
                <a:lnTo>
                  <a:pt x="914" y="434"/>
                </a:lnTo>
                <a:lnTo>
                  <a:pt x="914" y="436"/>
                </a:lnTo>
                <a:lnTo>
                  <a:pt x="910" y="436"/>
                </a:lnTo>
                <a:lnTo>
                  <a:pt x="910" y="436"/>
                </a:lnTo>
                <a:lnTo>
                  <a:pt x="910" y="436"/>
                </a:lnTo>
                <a:close/>
                <a:moveTo>
                  <a:pt x="772" y="410"/>
                </a:moveTo>
                <a:lnTo>
                  <a:pt x="772" y="414"/>
                </a:lnTo>
                <a:lnTo>
                  <a:pt x="772" y="418"/>
                </a:lnTo>
                <a:lnTo>
                  <a:pt x="772" y="422"/>
                </a:lnTo>
                <a:lnTo>
                  <a:pt x="768" y="422"/>
                </a:lnTo>
                <a:lnTo>
                  <a:pt x="764" y="422"/>
                </a:lnTo>
                <a:lnTo>
                  <a:pt x="764" y="418"/>
                </a:lnTo>
                <a:lnTo>
                  <a:pt x="764" y="414"/>
                </a:lnTo>
                <a:lnTo>
                  <a:pt x="764" y="410"/>
                </a:lnTo>
                <a:lnTo>
                  <a:pt x="768" y="410"/>
                </a:lnTo>
                <a:lnTo>
                  <a:pt x="768" y="408"/>
                </a:lnTo>
                <a:lnTo>
                  <a:pt x="772" y="410"/>
                </a:lnTo>
                <a:lnTo>
                  <a:pt x="772" y="410"/>
                </a:lnTo>
                <a:lnTo>
                  <a:pt x="772" y="410"/>
                </a:lnTo>
                <a:close/>
                <a:moveTo>
                  <a:pt x="1066" y="410"/>
                </a:moveTo>
                <a:lnTo>
                  <a:pt x="1066" y="414"/>
                </a:lnTo>
                <a:lnTo>
                  <a:pt x="1066" y="410"/>
                </a:lnTo>
                <a:lnTo>
                  <a:pt x="1066" y="410"/>
                </a:lnTo>
                <a:lnTo>
                  <a:pt x="1066" y="410"/>
                </a:lnTo>
                <a:close/>
                <a:moveTo>
                  <a:pt x="950" y="414"/>
                </a:moveTo>
                <a:lnTo>
                  <a:pt x="954" y="414"/>
                </a:lnTo>
                <a:lnTo>
                  <a:pt x="954" y="418"/>
                </a:lnTo>
                <a:lnTo>
                  <a:pt x="958" y="422"/>
                </a:lnTo>
                <a:lnTo>
                  <a:pt x="954" y="422"/>
                </a:lnTo>
                <a:lnTo>
                  <a:pt x="950" y="422"/>
                </a:lnTo>
                <a:lnTo>
                  <a:pt x="948" y="422"/>
                </a:lnTo>
                <a:lnTo>
                  <a:pt x="944" y="422"/>
                </a:lnTo>
                <a:lnTo>
                  <a:pt x="940" y="422"/>
                </a:lnTo>
                <a:lnTo>
                  <a:pt x="940" y="418"/>
                </a:lnTo>
                <a:lnTo>
                  <a:pt x="936" y="418"/>
                </a:lnTo>
                <a:lnTo>
                  <a:pt x="936" y="414"/>
                </a:lnTo>
                <a:lnTo>
                  <a:pt x="940" y="414"/>
                </a:lnTo>
                <a:lnTo>
                  <a:pt x="944" y="414"/>
                </a:lnTo>
                <a:lnTo>
                  <a:pt x="944" y="410"/>
                </a:lnTo>
                <a:lnTo>
                  <a:pt x="944" y="414"/>
                </a:lnTo>
                <a:lnTo>
                  <a:pt x="948" y="414"/>
                </a:lnTo>
                <a:lnTo>
                  <a:pt x="950" y="414"/>
                </a:lnTo>
                <a:lnTo>
                  <a:pt x="950" y="414"/>
                </a:lnTo>
                <a:lnTo>
                  <a:pt x="950" y="414"/>
                </a:lnTo>
                <a:close/>
                <a:moveTo>
                  <a:pt x="454" y="418"/>
                </a:moveTo>
                <a:lnTo>
                  <a:pt x="450" y="418"/>
                </a:lnTo>
                <a:lnTo>
                  <a:pt x="454" y="418"/>
                </a:lnTo>
                <a:lnTo>
                  <a:pt x="454" y="418"/>
                </a:lnTo>
                <a:lnTo>
                  <a:pt x="454" y="418"/>
                </a:lnTo>
                <a:close/>
                <a:moveTo>
                  <a:pt x="424" y="418"/>
                </a:moveTo>
                <a:lnTo>
                  <a:pt x="422" y="418"/>
                </a:lnTo>
                <a:lnTo>
                  <a:pt x="424" y="418"/>
                </a:lnTo>
                <a:lnTo>
                  <a:pt x="424" y="418"/>
                </a:lnTo>
                <a:lnTo>
                  <a:pt x="424" y="418"/>
                </a:lnTo>
                <a:close/>
                <a:moveTo>
                  <a:pt x="462" y="430"/>
                </a:moveTo>
                <a:lnTo>
                  <a:pt x="458" y="430"/>
                </a:lnTo>
                <a:lnTo>
                  <a:pt x="458" y="426"/>
                </a:lnTo>
                <a:lnTo>
                  <a:pt x="462" y="426"/>
                </a:lnTo>
                <a:lnTo>
                  <a:pt x="462" y="430"/>
                </a:lnTo>
                <a:lnTo>
                  <a:pt x="462" y="430"/>
                </a:lnTo>
                <a:lnTo>
                  <a:pt x="462" y="430"/>
                </a:lnTo>
                <a:close/>
                <a:moveTo>
                  <a:pt x="470" y="430"/>
                </a:moveTo>
                <a:lnTo>
                  <a:pt x="470" y="434"/>
                </a:lnTo>
                <a:lnTo>
                  <a:pt x="466" y="434"/>
                </a:lnTo>
                <a:lnTo>
                  <a:pt x="466" y="430"/>
                </a:lnTo>
                <a:lnTo>
                  <a:pt x="470" y="430"/>
                </a:lnTo>
                <a:lnTo>
                  <a:pt x="470" y="430"/>
                </a:lnTo>
                <a:lnTo>
                  <a:pt x="470" y="430"/>
                </a:lnTo>
                <a:close/>
                <a:moveTo>
                  <a:pt x="1104" y="440"/>
                </a:moveTo>
                <a:lnTo>
                  <a:pt x="1106" y="440"/>
                </a:lnTo>
                <a:lnTo>
                  <a:pt x="1106" y="436"/>
                </a:lnTo>
                <a:lnTo>
                  <a:pt x="1110" y="436"/>
                </a:lnTo>
                <a:lnTo>
                  <a:pt x="1106" y="436"/>
                </a:lnTo>
                <a:lnTo>
                  <a:pt x="1106" y="440"/>
                </a:lnTo>
                <a:lnTo>
                  <a:pt x="1104" y="440"/>
                </a:lnTo>
                <a:lnTo>
                  <a:pt x="1104" y="440"/>
                </a:lnTo>
                <a:lnTo>
                  <a:pt x="1104" y="440"/>
                </a:lnTo>
                <a:close/>
                <a:moveTo>
                  <a:pt x="1048" y="456"/>
                </a:moveTo>
                <a:lnTo>
                  <a:pt x="1052" y="456"/>
                </a:lnTo>
                <a:lnTo>
                  <a:pt x="1052" y="460"/>
                </a:lnTo>
                <a:lnTo>
                  <a:pt x="1048" y="456"/>
                </a:lnTo>
                <a:lnTo>
                  <a:pt x="1048" y="456"/>
                </a:lnTo>
                <a:lnTo>
                  <a:pt x="1048" y="456"/>
                </a:lnTo>
                <a:close/>
                <a:moveTo>
                  <a:pt x="820" y="460"/>
                </a:moveTo>
                <a:lnTo>
                  <a:pt x="816" y="460"/>
                </a:lnTo>
                <a:lnTo>
                  <a:pt x="816" y="456"/>
                </a:lnTo>
                <a:lnTo>
                  <a:pt x="816" y="460"/>
                </a:lnTo>
                <a:lnTo>
                  <a:pt x="820" y="460"/>
                </a:lnTo>
                <a:lnTo>
                  <a:pt x="820" y="460"/>
                </a:lnTo>
                <a:lnTo>
                  <a:pt x="820" y="460"/>
                </a:lnTo>
                <a:close/>
                <a:moveTo>
                  <a:pt x="808" y="466"/>
                </a:moveTo>
                <a:lnTo>
                  <a:pt x="808" y="470"/>
                </a:lnTo>
                <a:lnTo>
                  <a:pt x="812" y="470"/>
                </a:lnTo>
                <a:lnTo>
                  <a:pt x="816" y="470"/>
                </a:lnTo>
                <a:lnTo>
                  <a:pt x="816" y="474"/>
                </a:lnTo>
                <a:lnTo>
                  <a:pt x="812" y="474"/>
                </a:lnTo>
                <a:lnTo>
                  <a:pt x="808" y="474"/>
                </a:lnTo>
                <a:lnTo>
                  <a:pt x="808" y="470"/>
                </a:lnTo>
                <a:lnTo>
                  <a:pt x="806" y="470"/>
                </a:lnTo>
                <a:lnTo>
                  <a:pt x="806" y="466"/>
                </a:lnTo>
                <a:lnTo>
                  <a:pt x="802" y="466"/>
                </a:lnTo>
                <a:lnTo>
                  <a:pt x="802" y="464"/>
                </a:lnTo>
                <a:lnTo>
                  <a:pt x="798" y="464"/>
                </a:lnTo>
                <a:lnTo>
                  <a:pt x="802" y="464"/>
                </a:lnTo>
                <a:lnTo>
                  <a:pt x="806" y="464"/>
                </a:lnTo>
                <a:lnTo>
                  <a:pt x="808" y="466"/>
                </a:lnTo>
                <a:lnTo>
                  <a:pt x="808" y="466"/>
                </a:lnTo>
                <a:lnTo>
                  <a:pt x="808" y="466"/>
                </a:lnTo>
                <a:close/>
                <a:moveTo>
                  <a:pt x="794" y="466"/>
                </a:moveTo>
                <a:lnTo>
                  <a:pt x="794" y="470"/>
                </a:lnTo>
                <a:lnTo>
                  <a:pt x="798" y="470"/>
                </a:lnTo>
                <a:lnTo>
                  <a:pt x="798" y="474"/>
                </a:lnTo>
                <a:lnTo>
                  <a:pt x="794" y="478"/>
                </a:lnTo>
                <a:lnTo>
                  <a:pt x="794" y="474"/>
                </a:lnTo>
                <a:lnTo>
                  <a:pt x="790" y="470"/>
                </a:lnTo>
                <a:lnTo>
                  <a:pt x="790" y="466"/>
                </a:lnTo>
                <a:lnTo>
                  <a:pt x="790" y="464"/>
                </a:lnTo>
                <a:lnTo>
                  <a:pt x="794" y="466"/>
                </a:lnTo>
                <a:lnTo>
                  <a:pt x="794" y="466"/>
                </a:lnTo>
                <a:lnTo>
                  <a:pt x="794" y="466"/>
                </a:lnTo>
                <a:close/>
                <a:moveTo>
                  <a:pt x="772" y="496"/>
                </a:moveTo>
                <a:lnTo>
                  <a:pt x="776" y="496"/>
                </a:lnTo>
                <a:lnTo>
                  <a:pt x="776" y="494"/>
                </a:lnTo>
                <a:lnTo>
                  <a:pt x="776" y="490"/>
                </a:lnTo>
                <a:lnTo>
                  <a:pt x="776" y="486"/>
                </a:lnTo>
                <a:lnTo>
                  <a:pt x="776" y="482"/>
                </a:lnTo>
                <a:lnTo>
                  <a:pt x="776" y="478"/>
                </a:lnTo>
                <a:lnTo>
                  <a:pt x="778" y="470"/>
                </a:lnTo>
                <a:lnTo>
                  <a:pt x="782" y="470"/>
                </a:lnTo>
                <a:lnTo>
                  <a:pt x="782" y="466"/>
                </a:lnTo>
                <a:lnTo>
                  <a:pt x="786" y="466"/>
                </a:lnTo>
                <a:lnTo>
                  <a:pt x="786" y="470"/>
                </a:lnTo>
                <a:lnTo>
                  <a:pt x="782" y="470"/>
                </a:lnTo>
                <a:lnTo>
                  <a:pt x="786" y="470"/>
                </a:lnTo>
                <a:lnTo>
                  <a:pt x="790" y="470"/>
                </a:lnTo>
                <a:lnTo>
                  <a:pt x="790" y="474"/>
                </a:lnTo>
                <a:lnTo>
                  <a:pt x="790" y="478"/>
                </a:lnTo>
                <a:lnTo>
                  <a:pt x="786" y="474"/>
                </a:lnTo>
                <a:lnTo>
                  <a:pt x="786" y="478"/>
                </a:lnTo>
                <a:lnTo>
                  <a:pt x="790" y="478"/>
                </a:lnTo>
                <a:lnTo>
                  <a:pt x="790" y="482"/>
                </a:lnTo>
                <a:lnTo>
                  <a:pt x="794" y="486"/>
                </a:lnTo>
                <a:lnTo>
                  <a:pt x="794" y="482"/>
                </a:lnTo>
                <a:lnTo>
                  <a:pt x="798" y="478"/>
                </a:lnTo>
                <a:lnTo>
                  <a:pt x="802" y="478"/>
                </a:lnTo>
                <a:lnTo>
                  <a:pt x="802" y="482"/>
                </a:lnTo>
                <a:lnTo>
                  <a:pt x="806" y="482"/>
                </a:lnTo>
                <a:lnTo>
                  <a:pt x="802" y="482"/>
                </a:lnTo>
                <a:lnTo>
                  <a:pt x="806" y="486"/>
                </a:lnTo>
                <a:lnTo>
                  <a:pt x="808" y="486"/>
                </a:lnTo>
                <a:lnTo>
                  <a:pt x="812" y="486"/>
                </a:lnTo>
                <a:lnTo>
                  <a:pt x="816" y="486"/>
                </a:lnTo>
                <a:lnTo>
                  <a:pt x="816" y="490"/>
                </a:lnTo>
                <a:lnTo>
                  <a:pt x="820" y="494"/>
                </a:lnTo>
                <a:lnTo>
                  <a:pt x="824" y="494"/>
                </a:lnTo>
                <a:lnTo>
                  <a:pt x="824" y="496"/>
                </a:lnTo>
                <a:lnTo>
                  <a:pt x="828" y="496"/>
                </a:lnTo>
                <a:lnTo>
                  <a:pt x="832" y="496"/>
                </a:lnTo>
                <a:lnTo>
                  <a:pt x="834" y="496"/>
                </a:lnTo>
                <a:lnTo>
                  <a:pt x="834" y="500"/>
                </a:lnTo>
                <a:lnTo>
                  <a:pt x="838" y="500"/>
                </a:lnTo>
                <a:lnTo>
                  <a:pt x="838" y="504"/>
                </a:lnTo>
                <a:lnTo>
                  <a:pt x="838" y="508"/>
                </a:lnTo>
                <a:lnTo>
                  <a:pt x="838" y="512"/>
                </a:lnTo>
                <a:lnTo>
                  <a:pt x="834" y="512"/>
                </a:lnTo>
                <a:lnTo>
                  <a:pt x="834" y="516"/>
                </a:lnTo>
                <a:lnTo>
                  <a:pt x="838" y="512"/>
                </a:lnTo>
                <a:lnTo>
                  <a:pt x="842" y="512"/>
                </a:lnTo>
                <a:lnTo>
                  <a:pt x="846" y="512"/>
                </a:lnTo>
                <a:lnTo>
                  <a:pt x="850" y="516"/>
                </a:lnTo>
                <a:lnTo>
                  <a:pt x="850" y="512"/>
                </a:lnTo>
                <a:lnTo>
                  <a:pt x="854" y="512"/>
                </a:lnTo>
                <a:lnTo>
                  <a:pt x="854" y="516"/>
                </a:lnTo>
                <a:lnTo>
                  <a:pt x="858" y="516"/>
                </a:lnTo>
                <a:lnTo>
                  <a:pt x="854" y="516"/>
                </a:lnTo>
                <a:lnTo>
                  <a:pt x="858" y="516"/>
                </a:lnTo>
                <a:lnTo>
                  <a:pt x="858" y="520"/>
                </a:lnTo>
                <a:lnTo>
                  <a:pt x="862" y="520"/>
                </a:lnTo>
                <a:lnTo>
                  <a:pt x="858" y="520"/>
                </a:lnTo>
                <a:lnTo>
                  <a:pt x="854" y="522"/>
                </a:lnTo>
                <a:lnTo>
                  <a:pt x="850" y="522"/>
                </a:lnTo>
                <a:lnTo>
                  <a:pt x="850" y="526"/>
                </a:lnTo>
                <a:lnTo>
                  <a:pt x="846" y="526"/>
                </a:lnTo>
                <a:lnTo>
                  <a:pt x="842" y="526"/>
                </a:lnTo>
                <a:lnTo>
                  <a:pt x="838" y="522"/>
                </a:lnTo>
                <a:lnTo>
                  <a:pt x="834" y="522"/>
                </a:lnTo>
                <a:lnTo>
                  <a:pt x="834" y="520"/>
                </a:lnTo>
                <a:lnTo>
                  <a:pt x="832" y="520"/>
                </a:lnTo>
                <a:lnTo>
                  <a:pt x="832" y="522"/>
                </a:lnTo>
                <a:lnTo>
                  <a:pt x="828" y="522"/>
                </a:lnTo>
                <a:lnTo>
                  <a:pt x="828" y="520"/>
                </a:lnTo>
                <a:lnTo>
                  <a:pt x="828" y="516"/>
                </a:lnTo>
                <a:lnTo>
                  <a:pt x="824" y="516"/>
                </a:lnTo>
                <a:lnTo>
                  <a:pt x="820" y="516"/>
                </a:lnTo>
                <a:lnTo>
                  <a:pt x="816" y="512"/>
                </a:lnTo>
                <a:lnTo>
                  <a:pt x="820" y="512"/>
                </a:lnTo>
                <a:lnTo>
                  <a:pt x="820" y="508"/>
                </a:lnTo>
                <a:lnTo>
                  <a:pt x="816" y="508"/>
                </a:lnTo>
                <a:lnTo>
                  <a:pt x="816" y="512"/>
                </a:lnTo>
                <a:lnTo>
                  <a:pt x="812" y="512"/>
                </a:lnTo>
                <a:lnTo>
                  <a:pt x="808" y="512"/>
                </a:lnTo>
                <a:lnTo>
                  <a:pt x="808" y="516"/>
                </a:lnTo>
                <a:lnTo>
                  <a:pt x="812" y="516"/>
                </a:lnTo>
                <a:lnTo>
                  <a:pt x="812" y="520"/>
                </a:lnTo>
                <a:lnTo>
                  <a:pt x="808" y="520"/>
                </a:lnTo>
                <a:lnTo>
                  <a:pt x="806" y="522"/>
                </a:lnTo>
                <a:lnTo>
                  <a:pt x="802" y="522"/>
                </a:lnTo>
                <a:lnTo>
                  <a:pt x="802" y="526"/>
                </a:lnTo>
                <a:lnTo>
                  <a:pt x="798" y="526"/>
                </a:lnTo>
                <a:lnTo>
                  <a:pt x="798" y="530"/>
                </a:lnTo>
                <a:lnTo>
                  <a:pt x="794" y="530"/>
                </a:lnTo>
                <a:lnTo>
                  <a:pt x="794" y="534"/>
                </a:lnTo>
                <a:lnTo>
                  <a:pt x="790" y="534"/>
                </a:lnTo>
                <a:lnTo>
                  <a:pt x="786" y="534"/>
                </a:lnTo>
                <a:lnTo>
                  <a:pt x="782" y="534"/>
                </a:lnTo>
                <a:lnTo>
                  <a:pt x="782" y="530"/>
                </a:lnTo>
                <a:lnTo>
                  <a:pt x="782" y="526"/>
                </a:lnTo>
                <a:lnTo>
                  <a:pt x="782" y="522"/>
                </a:lnTo>
                <a:lnTo>
                  <a:pt x="782" y="520"/>
                </a:lnTo>
                <a:lnTo>
                  <a:pt x="778" y="520"/>
                </a:lnTo>
                <a:lnTo>
                  <a:pt x="776" y="522"/>
                </a:lnTo>
                <a:lnTo>
                  <a:pt x="772" y="522"/>
                </a:lnTo>
                <a:lnTo>
                  <a:pt x="768" y="522"/>
                </a:lnTo>
                <a:lnTo>
                  <a:pt x="764" y="522"/>
                </a:lnTo>
                <a:lnTo>
                  <a:pt x="760" y="522"/>
                </a:lnTo>
                <a:lnTo>
                  <a:pt x="760" y="520"/>
                </a:lnTo>
                <a:lnTo>
                  <a:pt x="764" y="516"/>
                </a:lnTo>
                <a:lnTo>
                  <a:pt x="768" y="516"/>
                </a:lnTo>
                <a:lnTo>
                  <a:pt x="772" y="512"/>
                </a:lnTo>
                <a:lnTo>
                  <a:pt x="776" y="512"/>
                </a:lnTo>
                <a:lnTo>
                  <a:pt x="776" y="508"/>
                </a:lnTo>
                <a:lnTo>
                  <a:pt x="772" y="508"/>
                </a:lnTo>
                <a:lnTo>
                  <a:pt x="772" y="504"/>
                </a:lnTo>
                <a:lnTo>
                  <a:pt x="772" y="500"/>
                </a:lnTo>
                <a:lnTo>
                  <a:pt x="772" y="496"/>
                </a:lnTo>
                <a:lnTo>
                  <a:pt x="772" y="496"/>
                </a:lnTo>
                <a:lnTo>
                  <a:pt x="772" y="496"/>
                </a:lnTo>
                <a:close/>
                <a:moveTo>
                  <a:pt x="816" y="470"/>
                </a:moveTo>
                <a:lnTo>
                  <a:pt x="812" y="470"/>
                </a:lnTo>
                <a:lnTo>
                  <a:pt x="812" y="466"/>
                </a:lnTo>
                <a:lnTo>
                  <a:pt x="816" y="466"/>
                </a:lnTo>
                <a:lnTo>
                  <a:pt x="816" y="470"/>
                </a:lnTo>
                <a:lnTo>
                  <a:pt x="816" y="470"/>
                </a:lnTo>
                <a:lnTo>
                  <a:pt x="816" y="470"/>
                </a:lnTo>
                <a:close/>
                <a:moveTo>
                  <a:pt x="1114" y="470"/>
                </a:moveTo>
                <a:lnTo>
                  <a:pt x="1114" y="474"/>
                </a:lnTo>
                <a:lnTo>
                  <a:pt x="1114" y="470"/>
                </a:lnTo>
                <a:lnTo>
                  <a:pt x="1114" y="474"/>
                </a:lnTo>
                <a:lnTo>
                  <a:pt x="1110" y="474"/>
                </a:lnTo>
                <a:lnTo>
                  <a:pt x="1110" y="470"/>
                </a:lnTo>
                <a:lnTo>
                  <a:pt x="1114" y="470"/>
                </a:lnTo>
                <a:lnTo>
                  <a:pt x="1114" y="470"/>
                </a:lnTo>
                <a:lnTo>
                  <a:pt x="1114" y="470"/>
                </a:lnTo>
                <a:close/>
                <a:moveTo>
                  <a:pt x="1070" y="496"/>
                </a:moveTo>
                <a:lnTo>
                  <a:pt x="1074" y="496"/>
                </a:lnTo>
                <a:lnTo>
                  <a:pt x="1070" y="500"/>
                </a:lnTo>
                <a:lnTo>
                  <a:pt x="1066" y="500"/>
                </a:lnTo>
                <a:lnTo>
                  <a:pt x="1070" y="496"/>
                </a:lnTo>
                <a:lnTo>
                  <a:pt x="1070" y="496"/>
                </a:lnTo>
                <a:lnTo>
                  <a:pt x="1070" y="496"/>
                </a:lnTo>
                <a:close/>
                <a:moveTo>
                  <a:pt x="894" y="516"/>
                </a:moveTo>
                <a:lnTo>
                  <a:pt x="890" y="516"/>
                </a:lnTo>
                <a:lnTo>
                  <a:pt x="890" y="512"/>
                </a:lnTo>
                <a:lnTo>
                  <a:pt x="894" y="512"/>
                </a:lnTo>
                <a:lnTo>
                  <a:pt x="898" y="512"/>
                </a:lnTo>
                <a:lnTo>
                  <a:pt x="894" y="516"/>
                </a:lnTo>
                <a:lnTo>
                  <a:pt x="894" y="516"/>
                </a:lnTo>
                <a:lnTo>
                  <a:pt x="894" y="516"/>
                </a:lnTo>
                <a:close/>
                <a:moveTo>
                  <a:pt x="970" y="520"/>
                </a:moveTo>
                <a:lnTo>
                  <a:pt x="970" y="522"/>
                </a:lnTo>
                <a:lnTo>
                  <a:pt x="966" y="522"/>
                </a:lnTo>
                <a:lnTo>
                  <a:pt x="970" y="520"/>
                </a:lnTo>
                <a:lnTo>
                  <a:pt x="970" y="520"/>
                </a:lnTo>
                <a:lnTo>
                  <a:pt x="970" y="520"/>
                </a:lnTo>
                <a:close/>
                <a:moveTo>
                  <a:pt x="910" y="526"/>
                </a:moveTo>
                <a:lnTo>
                  <a:pt x="914" y="526"/>
                </a:lnTo>
                <a:lnTo>
                  <a:pt x="910" y="526"/>
                </a:lnTo>
                <a:lnTo>
                  <a:pt x="910" y="530"/>
                </a:lnTo>
                <a:lnTo>
                  <a:pt x="906" y="526"/>
                </a:lnTo>
                <a:lnTo>
                  <a:pt x="902" y="526"/>
                </a:lnTo>
                <a:lnTo>
                  <a:pt x="902" y="522"/>
                </a:lnTo>
                <a:lnTo>
                  <a:pt x="898" y="522"/>
                </a:lnTo>
                <a:lnTo>
                  <a:pt x="898" y="520"/>
                </a:lnTo>
                <a:lnTo>
                  <a:pt x="902" y="522"/>
                </a:lnTo>
                <a:lnTo>
                  <a:pt x="906" y="522"/>
                </a:lnTo>
                <a:lnTo>
                  <a:pt x="910" y="522"/>
                </a:lnTo>
                <a:lnTo>
                  <a:pt x="910" y="526"/>
                </a:lnTo>
                <a:lnTo>
                  <a:pt x="910" y="526"/>
                </a:lnTo>
                <a:lnTo>
                  <a:pt x="910" y="526"/>
                </a:lnTo>
                <a:close/>
                <a:moveTo>
                  <a:pt x="1084" y="522"/>
                </a:moveTo>
                <a:lnTo>
                  <a:pt x="1084" y="526"/>
                </a:lnTo>
                <a:lnTo>
                  <a:pt x="1088" y="530"/>
                </a:lnTo>
                <a:lnTo>
                  <a:pt x="1084" y="530"/>
                </a:lnTo>
                <a:lnTo>
                  <a:pt x="1084" y="526"/>
                </a:lnTo>
                <a:lnTo>
                  <a:pt x="1080" y="522"/>
                </a:lnTo>
                <a:lnTo>
                  <a:pt x="1084" y="522"/>
                </a:lnTo>
                <a:lnTo>
                  <a:pt x="1084" y="522"/>
                </a:lnTo>
                <a:lnTo>
                  <a:pt x="1084" y="522"/>
                </a:lnTo>
                <a:close/>
                <a:moveTo>
                  <a:pt x="1076" y="522"/>
                </a:moveTo>
                <a:lnTo>
                  <a:pt x="1076" y="526"/>
                </a:lnTo>
                <a:lnTo>
                  <a:pt x="1074" y="526"/>
                </a:lnTo>
                <a:lnTo>
                  <a:pt x="1074" y="522"/>
                </a:lnTo>
                <a:lnTo>
                  <a:pt x="1076" y="522"/>
                </a:lnTo>
                <a:lnTo>
                  <a:pt x="1076" y="522"/>
                </a:lnTo>
                <a:lnTo>
                  <a:pt x="1076" y="522"/>
                </a:lnTo>
                <a:close/>
                <a:moveTo>
                  <a:pt x="888" y="526"/>
                </a:moveTo>
                <a:lnTo>
                  <a:pt x="890" y="526"/>
                </a:lnTo>
                <a:lnTo>
                  <a:pt x="894" y="526"/>
                </a:lnTo>
                <a:lnTo>
                  <a:pt x="898" y="530"/>
                </a:lnTo>
                <a:lnTo>
                  <a:pt x="898" y="534"/>
                </a:lnTo>
                <a:lnTo>
                  <a:pt x="894" y="534"/>
                </a:lnTo>
                <a:lnTo>
                  <a:pt x="890" y="534"/>
                </a:lnTo>
                <a:lnTo>
                  <a:pt x="888" y="530"/>
                </a:lnTo>
                <a:lnTo>
                  <a:pt x="884" y="530"/>
                </a:lnTo>
                <a:lnTo>
                  <a:pt x="884" y="526"/>
                </a:lnTo>
                <a:lnTo>
                  <a:pt x="888" y="526"/>
                </a:lnTo>
                <a:lnTo>
                  <a:pt x="888" y="526"/>
                </a:lnTo>
                <a:lnTo>
                  <a:pt x="888" y="526"/>
                </a:lnTo>
                <a:close/>
                <a:moveTo>
                  <a:pt x="832" y="538"/>
                </a:moveTo>
                <a:lnTo>
                  <a:pt x="834" y="538"/>
                </a:lnTo>
                <a:lnTo>
                  <a:pt x="834" y="542"/>
                </a:lnTo>
                <a:lnTo>
                  <a:pt x="834" y="546"/>
                </a:lnTo>
                <a:lnTo>
                  <a:pt x="832" y="546"/>
                </a:lnTo>
                <a:lnTo>
                  <a:pt x="832" y="550"/>
                </a:lnTo>
                <a:lnTo>
                  <a:pt x="828" y="550"/>
                </a:lnTo>
                <a:lnTo>
                  <a:pt x="828" y="552"/>
                </a:lnTo>
                <a:lnTo>
                  <a:pt x="824" y="552"/>
                </a:lnTo>
                <a:lnTo>
                  <a:pt x="820" y="556"/>
                </a:lnTo>
                <a:lnTo>
                  <a:pt x="816" y="556"/>
                </a:lnTo>
                <a:lnTo>
                  <a:pt x="812" y="556"/>
                </a:lnTo>
                <a:lnTo>
                  <a:pt x="808" y="556"/>
                </a:lnTo>
                <a:lnTo>
                  <a:pt x="808" y="552"/>
                </a:lnTo>
                <a:lnTo>
                  <a:pt x="806" y="550"/>
                </a:lnTo>
                <a:lnTo>
                  <a:pt x="808" y="550"/>
                </a:lnTo>
                <a:lnTo>
                  <a:pt x="812" y="546"/>
                </a:lnTo>
                <a:lnTo>
                  <a:pt x="812" y="542"/>
                </a:lnTo>
                <a:lnTo>
                  <a:pt x="816" y="538"/>
                </a:lnTo>
                <a:lnTo>
                  <a:pt x="816" y="542"/>
                </a:lnTo>
                <a:lnTo>
                  <a:pt x="820" y="542"/>
                </a:lnTo>
                <a:lnTo>
                  <a:pt x="824" y="542"/>
                </a:lnTo>
                <a:lnTo>
                  <a:pt x="824" y="538"/>
                </a:lnTo>
                <a:lnTo>
                  <a:pt x="828" y="538"/>
                </a:lnTo>
                <a:lnTo>
                  <a:pt x="832" y="538"/>
                </a:lnTo>
                <a:lnTo>
                  <a:pt x="832" y="538"/>
                </a:lnTo>
                <a:lnTo>
                  <a:pt x="832" y="538"/>
                </a:lnTo>
                <a:close/>
                <a:moveTo>
                  <a:pt x="940" y="542"/>
                </a:moveTo>
                <a:lnTo>
                  <a:pt x="944" y="546"/>
                </a:lnTo>
                <a:lnTo>
                  <a:pt x="948" y="546"/>
                </a:lnTo>
                <a:lnTo>
                  <a:pt x="944" y="546"/>
                </a:lnTo>
                <a:lnTo>
                  <a:pt x="940" y="546"/>
                </a:lnTo>
                <a:lnTo>
                  <a:pt x="940" y="542"/>
                </a:lnTo>
                <a:lnTo>
                  <a:pt x="940" y="542"/>
                </a:lnTo>
                <a:lnTo>
                  <a:pt x="940" y="542"/>
                </a:lnTo>
                <a:close/>
                <a:moveTo>
                  <a:pt x="1076" y="546"/>
                </a:moveTo>
                <a:lnTo>
                  <a:pt x="1076" y="550"/>
                </a:lnTo>
                <a:lnTo>
                  <a:pt x="1074" y="550"/>
                </a:lnTo>
                <a:lnTo>
                  <a:pt x="1074" y="546"/>
                </a:lnTo>
                <a:lnTo>
                  <a:pt x="1076" y="546"/>
                </a:lnTo>
                <a:lnTo>
                  <a:pt x="1076" y="546"/>
                </a:lnTo>
                <a:lnTo>
                  <a:pt x="1076" y="546"/>
                </a:lnTo>
                <a:close/>
                <a:moveTo>
                  <a:pt x="1084" y="550"/>
                </a:moveTo>
                <a:lnTo>
                  <a:pt x="1080" y="552"/>
                </a:lnTo>
                <a:lnTo>
                  <a:pt x="1076" y="552"/>
                </a:lnTo>
                <a:lnTo>
                  <a:pt x="1076" y="550"/>
                </a:lnTo>
                <a:lnTo>
                  <a:pt x="1074" y="550"/>
                </a:lnTo>
                <a:lnTo>
                  <a:pt x="1076" y="550"/>
                </a:lnTo>
                <a:lnTo>
                  <a:pt x="1080" y="550"/>
                </a:lnTo>
                <a:lnTo>
                  <a:pt x="1084" y="550"/>
                </a:lnTo>
                <a:lnTo>
                  <a:pt x="1084" y="550"/>
                </a:lnTo>
                <a:lnTo>
                  <a:pt x="1084" y="550"/>
                </a:lnTo>
                <a:close/>
                <a:moveTo>
                  <a:pt x="868" y="564"/>
                </a:moveTo>
                <a:lnTo>
                  <a:pt x="868" y="566"/>
                </a:lnTo>
                <a:lnTo>
                  <a:pt x="864" y="570"/>
                </a:lnTo>
                <a:lnTo>
                  <a:pt x="864" y="566"/>
                </a:lnTo>
                <a:lnTo>
                  <a:pt x="862" y="566"/>
                </a:lnTo>
                <a:lnTo>
                  <a:pt x="858" y="564"/>
                </a:lnTo>
                <a:lnTo>
                  <a:pt x="858" y="560"/>
                </a:lnTo>
                <a:lnTo>
                  <a:pt x="858" y="556"/>
                </a:lnTo>
                <a:lnTo>
                  <a:pt x="862" y="556"/>
                </a:lnTo>
                <a:lnTo>
                  <a:pt x="862" y="552"/>
                </a:lnTo>
                <a:lnTo>
                  <a:pt x="864" y="552"/>
                </a:lnTo>
                <a:lnTo>
                  <a:pt x="868" y="552"/>
                </a:lnTo>
                <a:lnTo>
                  <a:pt x="868" y="550"/>
                </a:lnTo>
                <a:lnTo>
                  <a:pt x="868" y="552"/>
                </a:lnTo>
                <a:lnTo>
                  <a:pt x="872" y="552"/>
                </a:lnTo>
                <a:lnTo>
                  <a:pt x="872" y="556"/>
                </a:lnTo>
                <a:lnTo>
                  <a:pt x="872" y="560"/>
                </a:lnTo>
                <a:lnTo>
                  <a:pt x="868" y="564"/>
                </a:lnTo>
                <a:lnTo>
                  <a:pt x="868" y="564"/>
                </a:lnTo>
                <a:lnTo>
                  <a:pt x="868" y="564"/>
                </a:lnTo>
                <a:close/>
                <a:moveTo>
                  <a:pt x="1074" y="564"/>
                </a:moveTo>
                <a:lnTo>
                  <a:pt x="1076" y="564"/>
                </a:lnTo>
                <a:lnTo>
                  <a:pt x="1076" y="566"/>
                </a:lnTo>
                <a:lnTo>
                  <a:pt x="1074" y="564"/>
                </a:lnTo>
                <a:lnTo>
                  <a:pt x="1070" y="564"/>
                </a:lnTo>
                <a:lnTo>
                  <a:pt x="1074" y="560"/>
                </a:lnTo>
                <a:lnTo>
                  <a:pt x="1074" y="564"/>
                </a:lnTo>
                <a:lnTo>
                  <a:pt x="1074" y="564"/>
                </a:lnTo>
                <a:lnTo>
                  <a:pt x="1074" y="564"/>
                </a:lnTo>
                <a:close/>
                <a:moveTo>
                  <a:pt x="678" y="564"/>
                </a:moveTo>
                <a:lnTo>
                  <a:pt x="676" y="564"/>
                </a:lnTo>
                <a:lnTo>
                  <a:pt x="678" y="564"/>
                </a:lnTo>
                <a:lnTo>
                  <a:pt x="678" y="564"/>
                </a:lnTo>
                <a:lnTo>
                  <a:pt x="678" y="564"/>
                </a:lnTo>
                <a:close/>
                <a:moveTo>
                  <a:pt x="1080" y="570"/>
                </a:moveTo>
                <a:lnTo>
                  <a:pt x="1076" y="570"/>
                </a:lnTo>
                <a:lnTo>
                  <a:pt x="1080" y="570"/>
                </a:lnTo>
                <a:lnTo>
                  <a:pt x="1076" y="574"/>
                </a:lnTo>
                <a:lnTo>
                  <a:pt x="1074" y="574"/>
                </a:lnTo>
                <a:lnTo>
                  <a:pt x="1074" y="570"/>
                </a:lnTo>
                <a:lnTo>
                  <a:pt x="1070" y="570"/>
                </a:lnTo>
                <a:lnTo>
                  <a:pt x="1066" y="570"/>
                </a:lnTo>
                <a:lnTo>
                  <a:pt x="1070" y="566"/>
                </a:lnTo>
                <a:lnTo>
                  <a:pt x="1074" y="566"/>
                </a:lnTo>
                <a:lnTo>
                  <a:pt x="1076" y="566"/>
                </a:lnTo>
                <a:lnTo>
                  <a:pt x="1080" y="570"/>
                </a:lnTo>
                <a:lnTo>
                  <a:pt x="1080" y="570"/>
                </a:lnTo>
                <a:lnTo>
                  <a:pt x="1080" y="570"/>
                </a:lnTo>
                <a:close/>
                <a:moveTo>
                  <a:pt x="888" y="586"/>
                </a:moveTo>
                <a:lnTo>
                  <a:pt x="888" y="590"/>
                </a:lnTo>
                <a:lnTo>
                  <a:pt x="884" y="590"/>
                </a:lnTo>
                <a:lnTo>
                  <a:pt x="880" y="590"/>
                </a:lnTo>
                <a:lnTo>
                  <a:pt x="884" y="590"/>
                </a:lnTo>
                <a:lnTo>
                  <a:pt x="884" y="586"/>
                </a:lnTo>
                <a:lnTo>
                  <a:pt x="888" y="586"/>
                </a:lnTo>
                <a:lnTo>
                  <a:pt x="888" y="586"/>
                </a:lnTo>
                <a:lnTo>
                  <a:pt x="888" y="586"/>
                </a:lnTo>
                <a:close/>
                <a:moveTo>
                  <a:pt x="1032" y="594"/>
                </a:moveTo>
                <a:lnTo>
                  <a:pt x="1036" y="596"/>
                </a:lnTo>
                <a:lnTo>
                  <a:pt x="1032" y="596"/>
                </a:lnTo>
                <a:lnTo>
                  <a:pt x="1032" y="600"/>
                </a:lnTo>
                <a:lnTo>
                  <a:pt x="1030" y="600"/>
                </a:lnTo>
                <a:lnTo>
                  <a:pt x="1026" y="600"/>
                </a:lnTo>
                <a:lnTo>
                  <a:pt x="1030" y="600"/>
                </a:lnTo>
                <a:lnTo>
                  <a:pt x="1030" y="596"/>
                </a:lnTo>
                <a:lnTo>
                  <a:pt x="1030" y="594"/>
                </a:lnTo>
                <a:lnTo>
                  <a:pt x="1032" y="594"/>
                </a:lnTo>
                <a:lnTo>
                  <a:pt x="1032" y="594"/>
                </a:lnTo>
                <a:lnTo>
                  <a:pt x="1032" y="594"/>
                </a:lnTo>
                <a:close/>
                <a:moveTo>
                  <a:pt x="864" y="608"/>
                </a:moveTo>
                <a:lnTo>
                  <a:pt x="864" y="612"/>
                </a:lnTo>
                <a:lnTo>
                  <a:pt x="862" y="612"/>
                </a:lnTo>
                <a:lnTo>
                  <a:pt x="862" y="608"/>
                </a:lnTo>
                <a:lnTo>
                  <a:pt x="864" y="608"/>
                </a:lnTo>
                <a:lnTo>
                  <a:pt x="864" y="608"/>
                </a:lnTo>
                <a:lnTo>
                  <a:pt x="864" y="608"/>
                </a:lnTo>
                <a:close/>
                <a:moveTo>
                  <a:pt x="1014" y="626"/>
                </a:moveTo>
                <a:lnTo>
                  <a:pt x="1014" y="630"/>
                </a:lnTo>
                <a:lnTo>
                  <a:pt x="1014" y="626"/>
                </a:lnTo>
                <a:lnTo>
                  <a:pt x="1014" y="626"/>
                </a:lnTo>
                <a:lnTo>
                  <a:pt x="1014" y="626"/>
                </a:lnTo>
                <a:close/>
                <a:moveTo>
                  <a:pt x="1118" y="652"/>
                </a:moveTo>
                <a:lnTo>
                  <a:pt x="1118" y="656"/>
                </a:lnTo>
                <a:lnTo>
                  <a:pt x="1114" y="656"/>
                </a:lnTo>
                <a:lnTo>
                  <a:pt x="1114" y="652"/>
                </a:lnTo>
                <a:lnTo>
                  <a:pt x="1118" y="652"/>
                </a:lnTo>
                <a:lnTo>
                  <a:pt x="1118" y="652"/>
                </a:lnTo>
                <a:lnTo>
                  <a:pt x="1118" y="652"/>
                </a:lnTo>
                <a:close/>
                <a:moveTo>
                  <a:pt x="1122" y="656"/>
                </a:moveTo>
                <a:lnTo>
                  <a:pt x="1118" y="656"/>
                </a:lnTo>
                <a:lnTo>
                  <a:pt x="1118" y="652"/>
                </a:lnTo>
                <a:lnTo>
                  <a:pt x="1122" y="652"/>
                </a:lnTo>
                <a:lnTo>
                  <a:pt x="1122" y="656"/>
                </a:lnTo>
                <a:lnTo>
                  <a:pt x="1122" y="656"/>
                </a:lnTo>
                <a:lnTo>
                  <a:pt x="1122" y="656"/>
                </a:lnTo>
                <a:close/>
                <a:moveTo>
                  <a:pt x="868" y="660"/>
                </a:moveTo>
                <a:lnTo>
                  <a:pt x="868" y="664"/>
                </a:lnTo>
                <a:lnTo>
                  <a:pt x="864" y="664"/>
                </a:lnTo>
                <a:lnTo>
                  <a:pt x="864" y="660"/>
                </a:lnTo>
                <a:lnTo>
                  <a:pt x="868" y="660"/>
                </a:lnTo>
                <a:lnTo>
                  <a:pt x="868" y="660"/>
                </a:lnTo>
                <a:lnTo>
                  <a:pt x="868" y="660"/>
                </a:lnTo>
                <a:close/>
                <a:moveTo>
                  <a:pt x="1122" y="664"/>
                </a:moveTo>
                <a:lnTo>
                  <a:pt x="1122" y="668"/>
                </a:lnTo>
                <a:lnTo>
                  <a:pt x="1122" y="664"/>
                </a:lnTo>
                <a:lnTo>
                  <a:pt x="1122" y="664"/>
                </a:lnTo>
                <a:lnTo>
                  <a:pt x="1122" y="664"/>
                </a:lnTo>
                <a:close/>
                <a:moveTo>
                  <a:pt x="1126" y="676"/>
                </a:moveTo>
                <a:lnTo>
                  <a:pt x="1126" y="680"/>
                </a:lnTo>
                <a:lnTo>
                  <a:pt x="1122" y="680"/>
                </a:lnTo>
                <a:lnTo>
                  <a:pt x="1126" y="680"/>
                </a:lnTo>
                <a:lnTo>
                  <a:pt x="1126" y="682"/>
                </a:lnTo>
                <a:lnTo>
                  <a:pt x="1126" y="680"/>
                </a:lnTo>
                <a:lnTo>
                  <a:pt x="1122" y="680"/>
                </a:lnTo>
                <a:lnTo>
                  <a:pt x="1122" y="676"/>
                </a:lnTo>
                <a:lnTo>
                  <a:pt x="1126" y="676"/>
                </a:lnTo>
                <a:lnTo>
                  <a:pt x="1126" y="676"/>
                </a:lnTo>
                <a:lnTo>
                  <a:pt x="1126" y="676"/>
                </a:lnTo>
                <a:close/>
                <a:moveTo>
                  <a:pt x="864" y="676"/>
                </a:moveTo>
                <a:lnTo>
                  <a:pt x="864" y="680"/>
                </a:lnTo>
                <a:lnTo>
                  <a:pt x="864" y="676"/>
                </a:lnTo>
                <a:lnTo>
                  <a:pt x="864" y="676"/>
                </a:lnTo>
                <a:lnTo>
                  <a:pt x="864" y="676"/>
                </a:lnTo>
                <a:close/>
                <a:moveTo>
                  <a:pt x="868" y="680"/>
                </a:moveTo>
                <a:lnTo>
                  <a:pt x="868" y="682"/>
                </a:lnTo>
                <a:lnTo>
                  <a:pt x="868" y="680"/>
                </a:lnTo>
                <a:lnTo>
                  <a:pt x="868" y="680"/>
                </a:lnTo>
                <a:lnTo>
                  <a:pt x="868" y="680"/>
                </a:lnTo>
                <a:close/>
                <a:moveTo>
                  <a:pt x="864" y="702"/>
                </a:moveTo>
                <a:lnTo>
                  <a:pt x="864" y="698"/>
                </a:lnTo>
                <a:lnTo>
                  <a:pt x="868" y="698"/>
                </a:lnTo>
                <a:lnTo>
                  <a:pt x="868" y="694"/>
                </a:lnTo>
                <a:lnTo>
                  <a:pt x="864" y="698"/>
                </a:lnTo>
                <a:lnTo>
                  <a:pt x="862" y="698"/>
                </a:lnTo>
                <a:lnTo>
                  <a:pt x="864" y="698"/>
                </a:lnTo>
                <a:lnTo>
                  <a:pt x="864" y="694"/>
                </a:lnTo>
                <a:lnTo>
                  <a:pt x="868" y="690"/>
                </a:lnTo>
                <a:lnTo>
                  <a:pt x="868" y="686"/>
                </a:lnTo>
                <a:lnTo>
                  <a:pt x="868" y="682"/>
                </a:lnTo>
                <a:lnTo>
                  <a:pt x="872" y="682"/>
                </a:lnTo>
                <a:lnTo>
                  <a:pt x="872" y="686"/>
                </a:lnTo>
                <a:lnTo>
                  <a:pt x="868" y="690"/>
                </a:lnTo>
                <a:lnTo>
                  <a:pt x="872" y="690"/>
                </a:lnTo>
                <a:lnTo>
                  <a:pt x="872" y="686"/>
                </a:lnTo>
                <a:lnTo>
                  <a:pt x="872" y="682"/>
                </a:lnTo>
                <a:lnTo>
                  <a:pt x="876" y="682"/>
                </a:lnTo>
                <a:lnTo>
                  <a:pt x="876" y="686"/>
                </a:lnTo>
                <a:lnTo>
                  <a:pt x="880" y="686"/>
                </a:lnTo>
                <a:lnTo>
                  <a:pt x="876" y="690"/>
                </a:lnTo>
                <a:lnTo>
                  <a:pt x="876" y="694"/>
                </a:lnTo>
                <a:lnTo>
                  <a:pt x="876" y="698"/>
                </a:lnTo>
                <a:lnTo>
                  <a:pt x="872" y="698"/>
                </a:lnTo>
                <a:lnTo>
                  <a:pt x="876" y="698"/>
                </a:lnTo>
                <a:lnTo>
                  <a:pt x="876" y="694"/>
                </a:lnTo>
                <a:lnTo>
                  <a:pt x="876" y="690"/>
                </a:lnTo>
                <a:lnTo>
                  <a:pt x="876" y="686"/>
                </a:lnTo>
                <a:lnTo>
                  <a:pt x="876" y="690"/>
                </a:lnTo>
                <a:lnTo>
                  <a:pt x="872" y="698"/>
                </a:lnTo>
                <a:lnTo>
                  <a:pt x="876" y="694"/>
                </a:lnTo>
                <a:lnTo>
                  <a:pt x="876" y="690"/>
                </a:lnTo>
                <a:lnTo>
                  <a:pt x="872" y="690"/>
                </a:lnTo>
                <a:lnTo>
                  <a:pt x="872" y="694"/>
                </a:lnTo>
                <a:lnTo>
                  <a:pt x="872" y="698"/>
                </a:lnTo>
                <a:lnTo>
                  <a:pt x="868" y="698"/>
                </a:lnTo>
                <a:lnTo>
                  <a:pt x="864" y="702"/>
                </a:lnTo>
                <a:lnTo>
                  <a:pt x="864" y="702"/>
                </a:lnTo>
                <a:lnTo>
                  <a:pt x="864" y="702"/>
                </a:lnTo>
                <a:close/>
                <a:moveTo>
                  <a:pt x="862" y="690"/>
                </a:moveTo>
                <a:lnTo>
                  <a:pt x="864" y="686"/>
                </a:lnTo>
                <a:lnTo>
                  <a:pt x="868" y="686"/>
                </a:lnTo>
                <a:lnTo>
                  <a:pt x="868" y="682"/>
                </a:lnTo>
                <a:lnTo>
                  <a:pt x="868" y="686"/>
                </a:lnTo>
                <a:lnTo>
                  <a:pt x="868" y="690"/>
                </a:lnTo>
                <a:lnTo>
                  <a:pt x="864" y="690"/>
                </a:lnTo>
                <a:lnTo>
                  <a:pt x="862" y="690"/>
                </a:lnTo>
                <a:lnTo>
                  <a:pt x="862" y="690"/>
                </a:lnTo>
                <a:lnTo>
                  <a:pt x="862" y="690"/>
                </a:lnTo>
                <a:close/>
                <a:moveTo>
                  <a:pt x="876" y="694"/>
                </a:moveTo>
                <a:lnTo>
                  <a:pt x="880" y="690"/>
                </a:lnTo>
                <a:lnTo>
                  <a:pt x="880" y="686"/>
                </a:lnTo>
                <a:lnTo>
                  <a:pt x="884" y="690"/>
                </a:lnTo>
                <a:lnTo>
                  <a:pt x="880" y="690"/>
                </a:lnTo>
                <a:lnTo>
                  <a:pt x="880" y="694"/>
                </a:lnTo>
                <a:lnTo>
                  <a:pt x="876" y="694"/>
                </a:lnTo>
                <a:lnTo>
                  <a:pt x="876" y="694"/>
                </a:lnTo>
                <a:lnTo>
                  <a:pt x="876" y="694"/>
                </a:lnTo>
                <a:close/>
                <a:moveTo>
                  <a:pt x="1122" y="686"/>
                </a:moveTo>
                <a:lnTo>
                  <a:pt x="1126" y="686"/>
                </a:lnTo>
                <a:lnTo>
                  <a:pt x="1126" y="690"/>
                </a:lnTo>
                <a:lnTo>
                  <a:pt x="1122" y="690"/>
                </a:lnTo>
                <a:lnTo>
                  <a:pt x="1122" y="686"/>
                </a:lnTo>
                <a:lnTo>
                  <a:pt x="1122" y="686"/>
                </a:lnTo>
                <a:lnTo>
                  <a:pt x="1122" y="686"/>
                </a:lnTo>
                <a:close/>
                <a:moveTo>
                  <a:pt x="1130" y="690"/>
                </a:moveTo>
                <a:lnTo>
                  <a:pt x="1132" y="694"/>
                </a:lnTo>
                <a:lnTo>
                  <a:pt x="1130" y="694"/>
                </a:lnTo>
                <a:lnTo>
                  <a:pt x="1130" y="690"/>
                </a:lnTo>
                <a:lnTo>
                  <a:pt x="1130" y="690"/>
                </a:lnTo>
                <a:lnTo>
                  <a:pt x="1130" y="690"/>
                </a:lnTo>
                <a:close/>
                <a:moveTo>
                  <a:pt x="876" y="694"/>
                </a:moveTo>
                <a:lnTo>
                  <a:pt x="876" y="698"/>
                </a:lnTo>
                <a:lnTo>
                  <a:pt x="876" y="702"/>
                </a:lnTo>
                <a:lnTo>
                  <a:pt x="876" y="698"/>
                </a:lnTo>
                <a:lnTo>
                  <a:pt x="876" y="694"/>
                </a:lnTo>
                <a:lnTo>
                  <a:pt x="876" y="694"/>
                </a:lnTo>
                <a:lnTo>
                  <a:pt x="876" y="694"/>
                </a:lnTo>
                <a:close/>
                <a:moveTo>
                  <a:pt x="152" y="716"/>
                </a:moveTo>
                <a:lnTo>
                  <a:pt x="152" y="720"/>
                </a:lnTo>
                <a:lnTo>
                  <a:pt x="150" y="724"/>
                </a:lnTo>
                <a:lnTo>
                  <a:pt x="150" y="720"/>
                </a:lnTo>
                <a:lnTo>
                  <a:pt x="152" y="720"/>
                </a:lnTo>
                <a:lnTo>
                  <a:pt x="152" y="716"/>
                </a:lnTo>
                <a:lnTo>
                  <a:pt x="152" y="716"/>
                </a:lnTo>
                <a:lnTo>
                  <a:pt x="152" y="716"/>
                </a:lnTo>
                <a:close/>
                <a:moveTo>
                  <a:pt x="876" y="720"/>
                </a:moveTo>
                <a:lnTo>
                  <a:pt x="872" y="720"/>
                </a:lnTo>
                <a:lnTo>
                  <a:pt x="868" y="720"/>
                </a:lnTo>
                <a:lnTo>
                  <a:pt x="864" y="724"/>
                </a:lnTo>
                <a:lnTo>
                  <a:pt x="864" y="720"/>
                </a:lnTo>
                <a:lnTo>
                  <a:pt x="868" y="720"/>
                </a:lnTo>
                <a:lnTo>
                  <a:pt x="872" y="720"/>
                </a:lnTo>
                <a:lnTo>
                  <a:pt x="876" y="720"/>
                </a:lnTo>
                <a:lnTo>
                  <a:pt x="876" y="720"/>
                </a:lnTo>
                <a:lnTo>
                  <a:pt x="876" y="720"/>
                </a:lnTo>
                <a:close/>
                <a:moveTo>
                  <a:pt x="146" y="724"/>
                </a:moveTo>
                <a:lnTo>
                  <a:pt x="146" y="728"/>
                </a:lnTo>
                <a:lnTo>
                  <a:pt x="142" y="728"/>
                </a:lnTo>
                <a:lnTo>
                  <a:pt x="142" y="724"/>
                </a:lnTo>
                <a:lnTo>
                  <a:pt x="146" y="724"/>
                </a:lnTo>
                <a:lnTo>
                  <a:pt x="146" y="724"/>
                </a:lnTo>
                <a:lnTo>
                  <a:pt x="146" y="724"/>
                </a:lnTo>
                <a:close/>
                <a:moveTo>
                  <a:pt x="112" y="746"/>
                </a:moveTo>
                <a:lnTo>
                  <a:pt x="112" y="742"/>
                </a:lnTo>
                <a:lnTo>
                  <a:pt x="112" y="738"/>
                </a:lnTo>
                <a:lnTo>
                  <a:pt x="112" y="736"/>
                </a:lnTo>
                <a:lnTo>
                  <a:pt x="116" y="736"/>
                </a:lnTo>
                <a:lnTo>
                  <a:pt x="120" y="736"/>
                </a:lnTo>
                <a:lnTo>
                  <a:pt x="120" y="738"/>
                </a:lnTo>
                <a:lnTo>
                  <a:pt x="116" y="738"/>
                </a:lnTo>
                <a:lnTo>
                  <a:pt x="120" y="738"/>
                </a:lnTo>
                <a:lnTo>
                  <a:pt x="124" y="736"/>
                </a:lnTo>
                <a:lnTo>
                  <a:pt x="124" y="738"/>
                </a:lnTo>
                <a:lnTo>
                  <a:pt x="126" y="738"/>
                </a:lnTo>
                <a:lnTo>
                  <a:pt x="126" y="742"/>
                </a:lnTo>
                <a:lnTo>
                  <a:pt x="124" y="742"/>
                </a:lnTo>
                <a:lnTo>
                  <a:pt x="120" y="746"/>
                </a:lnTo>
                <a:lnTo>
                  <a:pt x="124" y="746"/>
                </a:lnTo>
                <a:lnTo>
                  <a:pt x="126" y="742"/>
                </a:lnTo>
                <a:lnTo>
                  <a:pt x="126" y="738"/>
                </a:lnTo>
                <a:lnTo>
                  <a:pt x="130" y="738"/>
                </a:lnTo>
                <a:lnTo>
                  <a:pt x="130" y="736"/>
                </a:lnTo>
                <a:lnTo>
                  <a:pt x="130" y="738"/>
                </a:lnTo>
                <a:lnTo>
                  <a:pt x="130" y="742"/>
                </a:lnTo>
                <a:lnTo>
                  <a:pt x="126" y="746"/>
                </a:lnTo>
                <a:lnTo>
                  <a:pt x="126" y="750"/>
                </a:lnTo>
                <a:lnTo>
                  <a:pt x="126" y="754"/>
                </a:lnTo>
                <a:lnTo>
                  <a:pt x="124" y="754"/>
                </a:lnTo>
                <a:lnTo>
                  <a:pt x="124" y="758"/>
                </a:lnTo>
                <a:lnTo>
                  <a:pt x="126" y="758"/>
                </a:lnTo>
                <a:lnTo>
                  <a:pt x="124" y="758"/>
                </a:lnTo>
                <a:lnTo>
                  <a:pt x="120" y="758"/>
                </a:lnTo>
                <a:lnTo>
                  <a:pt x="120" y="754"/>
                </a:lnTo>
                <a:lnTo>
                  <a:pt x="116" y="754"/>
                </a:lnTo>
                <a:lnTo>
                  <a:pt x="120" y="754"/>
                </a:lnTo>
                <a:lnTo>
                  <a:pt x="124" y="754"/>
                </a:lnTo>
                <a:lnTo>
                  <a:pt x="120" y="750"/>
                </a:lnTo>
                <a:lnTo>
                  <a:pt x="116" y="750"/>
                </a:lnTo>
                <a:lnTo>
                  <a:pt x="112" y="750"/>
                </a:lnTo>
                <a:lnTo>
                  <a:pt x="112" y="746"/>
                </a:lnTo>
                <a:lnTo>
                  <a:pt x="116" y="746"/>
                </a:lnTo>
                <a:lnTo>
                  <a:pt x="112" y="746"/>
                </a:lnTo>
                <a:lnTo>
                  <a:pt x="112" y="746"/>
                </a:lnTo>
                <a:lnTo>
                  <a:pt x="112" y="746"/>
                </a:lnTo>
                <a:close/>
                <a:moveTo>
                  <a:pt x="150" y="738"/>
                </a:moveTo>
                <a:lnTo>
                  <a:pt x="152" y="738"/>
                </a:lnTo>
                <a:lnTo>
                  <a:pt x="150" y="742"/>
                </a:lnTo>
                <a:lnTo>
                  <a:pt x="150" y="738"/>
                </a:lnTo>
                <a:lnTo>
                  <a:pt x="150" y="742"/>
                </a:lnTo>
                <a:lnTo>
                  <a:pt x="150" y="738"/>
                </a:lnTo>
                <a:lnTo>
                  <a:pt x="146" y="738"/>
                </a:lnTo>
                <a:lnTo>
                  <a:pt x="146" y="742"/>
                </a:lnTo>
                <a:lnTo>
                  <a:pt x="146" y="738"/>
                </a:lnTo>
                <a:lnTo>
                  <a:pt x="150" y="738"/>
                </a:lnTo>
                <a:lnTo>
                  <a:pt x="150" y="736"/>
                </a:lnTo>
                <a:lnTo>
                  <a:pt x="150" y="738"/>
                </a:lnTo>
                <a:lnTo>
                  <a:pt x="150" y="738"/>
                </a:lnTo>
                <a:lnTo>
                  <a:pt x="150" y="738"/>
                </a:lnTo>
                <a:close/>
                <a:moveTo>
                  <a:pt x="152" y="742"/>
                </a:moveTo>
                <a:lnTo>
                  <a:pt x="152" y="746"/>
                </a:lnTo>
                <a:lnTo>
                  <a:pt x="152" y="750"/>
                </a:lnTo>
                <a:lnTo>
                  <a:pt x="152" y="746"/>
                </a:lnTo>
                <a:lnTo>
                  <a:pt x="150" y="746"/>
                </a:lnTo>
                <a:lnTo>
                  <a:pt x="152" y="742"/>
                </a:lnTo>
                <a:lnTo>
                  <a:pt x="152" y="742"/>
                </a:lnTo>
                <a:lnTo>
                  <a:pt x="152" y="742"/>
                </a:lnTo>
                <a:close/>
                <a:moveTo>
                  <a:pt x="172" y="746"/>
                </a:moveTo>
                <a:lnTo>
                  <a:pt x="168" y="746"/>
                </a:lnTo>
                <a:lnTo>
                  <a:pt x="168" y="750"/>
                </a:lnTo>
                <a:lnTo>
                  <a:pt x="168" y="754"/>
                </a:lnTo>
                <a:lnTo>
                  <a:pt x="168" y="746"/>
                </a:lnTo>
                <a:lnTo>
                  <a:pt x="172" y="746"/>
                </a:lnTo>
                <a:lnTo>
                  <a:pt x="172" y="746"/>
                </a:lnTo>
                <a:lnTo>
                  <a:pt x="172" y="746"/>
                </a:lnTo>
                <a:close/>
                <a:moveTo>
                  <a:pt x="150" y="746"/>
                </a:moveTo>
                <a:lnTo>
                  <a:pt x="152" y="746"/>
                </a:lnTo>
                <a:lnTo>
                  <a:pt x="152" y="750"/>
                </a:lnTo>
                <a:lnTo>
                  <a:pt x="156" y="750"/>
                </a:lnTo>
                <a:lnTo>
                  <a:pt x="156" y="754"/>
                </a:lnTo>
                <a:lnTo>
                  <a:pt x="160" y="758"/>
                </a:lnTo>
                <a:lnTo>
                  <a:pt x="156" y="758"/>
                </a:lnTo>
                <a:lnTo>
                  <a:pt x="152" y="754"/>
                </a:lnTo>
                <a:lnTo>
                  <a:pt x="150" y="754"/>
                </a:lnTo>
                <a:lnTo>
                  <a:pt x="150" y="750"/>
                </a:lnTo>
                <a:lnTo>
                  <a:pt x="150" y="746"/>
                </a:lnTo>
                <a:lnTo>
                  <a:pt x="150" y="746"/>
                </a:lnTo>
                <a:lnTo>
                  <a:pt x="150" y="746"/>
                </a:lnTo>
                <a:close/>
                <a:moveTo>
                  <a:pt x="172" y="750"/>
                </a:moveTo>
                <a:lnTo>
                  <a:pt x="172" y="754"/>
                </a:lnTo>
                <a:lnTo>
                  <a:pt x="168" y="754"/>
                </a:lnTo>
                <a:lnTo>
                  <a:pt x="168" y="750"/>
                </a:lnTo>
                <a:lnTo>
                  <a:pt x="172" y="750"/>
                </a:lnTo>
                <a:lnTo>
                  <a:pt x="172" y="750"/>
                </a:lnTo>
                <a:lnTo>
                  <a:pt x="172" y="750"/>
                </a:lnTo>
                <a:close/>
                <a:moveTo>
                  <a:pt x="864" y="754"/>
                </a:moveTo>
                <a:lnTo>
                  <a:pt x="862" y="754"/>
                </a:lnTo>
                <a:lnTo>
                  <a:pt x="864" y="754"/>
                </a:lnTo>
                <a:lnTo>
                  <a:pt x="864" y="754"/>
                </a:lnTo>
                <a:lnTo>
                  <a:pt x="864" y="754"/>
                </a:lnTo>
                <a:close/>
                <a:moveTo>
                  <a:pt x="168" y="754"/>
                </a:moveTo>
                <a:lnTo>
                  <a:pt x="168" y="758"/>
                </a:lnTo>
                <a:lnTo>
                  <a:pt x="164" y="758"/>
                </a:lnTo>
                <a:lnTo>
                  <a:pt x="164" y="754"/>
                </a:lnTo>
                <a:lnTo>
                  <a:pt x="168" y="754"/>
                </a:lnTo>
                <a:lnTo>
                  <a:pt x="168" y="754"/>
                </a:lnTo>
                <a:lnTo>
                  <a:pt x="168" y="754"/>
                </a:lnTo>
                <a:close/>
                <a:moveTo>
                  <a:pt x="846" y="758"/>
                </a:moveTo>
                <a:lnTo>
                  <a:pt x="850" y="758"/>
                </a:lnTo>
                <a:lnTo>
                  <a:pt x="850" y="762"/>
                </a:lnTo>
                <a:lnTo>
                  <a:pt x="854" y="766"/>
                </a:lnTo>
                <a:lnTo>
                  <a:pt x="854" y="768"/>
                </a:lnTo>
                <a:lnTo>
                  <a:pt x="854" y="766"/>
                </a:lnTo>
                <a:lnTo>
                  <a:pt x="850" y="766"/>
                </a:lnTo>
                <a:lnTo>
                  <a:pt x="846" y="766"/>
                </a:lnTo>
                <a:lnTo>
                  <a:pt x="842" y="766"/>
                </a:lnTo>
                <a:lnTo>
                  <a:pt x="838" y="762"/>
                </a:lnTo>
                <a:lnTo>
                  <a:pt x="834" y="762"/>
                </a:lnTo>
                <a:lnTo>
                  <a:pt x="834" y="758"/>
                </a:lnTo>
                <a:lnTo>
                  <a:pt x="838" y="758"/>
                </a:lnTo>
                <a:lnTo>
                  <a:pt x="842" y="758"/>
                </a:lnTo>
                <a:lnTo>
                  <a:pt x="842" y="754"/>
                </a:lnTo>
                <a:lnTo>
                  <a:pt x="842" y="758"/>
                </a:lnTo>
                <a:lnTo>
                  <a:pt x="846" y="758"/>
                </a:lnTo>
                <a:lnTo>
                  <a:pt x="846" y="758"/>
                </a:lnTo>
                <a:lnTo>
                  <a:pt x="846" y="758"/>
                </a:lnTo>
                <a:close/>
                <a:moveTo>
                  <a:pt x="164" y="758"/>
                </a:moveTo>
                <a:lnTo>
                  <a:pt x="164" y="762"/>
                </a:lnTo>
                <a:lnTo>
                  <a:pt x="164" y="758"/>
                </a:lnTo>
                <a:lnTo>
                  <a:pt x="160" y="758"/>
                </a:lnTo>
                <a:lnTo>
                  <a:pt x="164" y="758"/>
                </a:lnTo>
                <a:lnTo>
                  <a:pt x="164" y="758"/>
                </a:lnTo>
                <a:lnTo>
                  <a:pt x="164" y="758"/>
                </a:lnTo>
                <a:close/>
                <a:moveTo>
                  <a:pt x="168" y="766"/>
                </a:moveTo>
                <a:lnTo>
                  <a:pt x="172" y="768"/>
                </a:lnTo>
                <a:lnTo>
                  <a:pt x="172" y="772"/>
                </a:lnTo>
                <a:lnTo>
                  <a:pt x="168" y="768"/>
                </a:lnTo>
                <a:lnTo>
                  <a:pt x="164" y="766"/>
                </a:lnTo>
                <a:lnTo>
                  <a:pt x="168" y="766"/>
                </a:lnTo>
                <a:lnTo>
                  <a:pt x="168" y="766"/>
                </a:lnTo>
                <a:lnTo>
                  <a:pt x="168" y="766"/>
                </a:lnTo>
                <a:close/>
                <a:moveTo>
                  <a:pt x="182" y="766"/>
                </a:moveTo>
                <a:lnTo>
                  <a:pt x="180" y="766"/>
                </a:lnTo>
                <a:lnTo>
                  <a:pt x="180" y="768"/>
                </a:lnTo>
                <a:lnTo>
                  <a:pt x="180" y="766"/>
                </a:lnTo>
                <a:lnTo>
                  <a:pt x="182" y="766"/>
                </a:lnTo>
                <a:lnTo>
                  <a:pt x="182" y="766"/>
                </a:lnTo>
                <a:lnTo>
                  <a:pt x="182" y="766"/>
                </a:lnTo>
                <a:close/>
                <a:moveTo>
                  <a:pt x="180" y="766"/>
                </a:moveTo>
                <a:lnTo>
                  <a:pt x="180" y="768"/>
                </a:lnTo>
                <a:lnTo>
                  <a:pt x="180" y="772"/>
                </a:lnTo>
                <a:lnTo>
                  <a:pt x="176" y="772"/>
                </a:lnTo>
                <a:lnTo>
                  <a:pt x="180" y="768"/>
                </a:lnTo>
                <a:lnTo>
                  <a:pt x="180" y="766"/>
                </a:lnTo>
                <a:lnTo>
                  <a:pt x="180" y="766"/>
                </a:lnTo>
                <a:lnTo>
                  <a:pt x="180" y="766"/>
                </a:lnTo>
                <a:close/>
                <a:moveTo>
                  <a:pt x="134" y="766"/>
                </a:moveTo>
                <a:lnTo>
                  <a:pt x="134" y="768"/>
                </a:lnTo>
                <a:lnTo>
                  <a:pt x="130" y="766"/>
                </a:lnTo>
                <a:lnTo>
                  <a:pt x="134" y="766"/>
                </a:lnTo>
                <a:lnTo>
                  <a:pt x="134" y="766"/>
                </a:lnTo>
                <a:lnTo>
                  <a:pt x="134" y="766"/>
                </a:lnTo>
                <a:close/>
                <a:moveTo>
                  <a:pt x="176" y="768"/>
                </a:moveTo>
                <a:lnTo>
                  <a:pt x="176" y="772"/>
                </a:lnTo>
                <a:lnTo>
                  <a:pt x="172" y="772"/>
                </a:lnTo>
                <a:lnTo>
                  <a:pt x="172" y="768"/>
                </a:lnTo>
                <a:lnTo>
                  <a:pt x="176" y="768"/>
                </a:lnTo>
                <a:lnTo>
                  <a:pt x="176" y="768"/>
                </a:lnTo>
                <a:lnTo>
                  <a:pt x="176" y="768"/>
                </a:lnTo>
                <a:close/>
                <a:moveTo>
                  <a:pt x="176" y="772"/>
                </a:moveTo>
                <a:lnTo>
                  <a:pt x="176" y="776"/>
                </a:lnTo>
                <a:lnTo>
                  <a:pt x="172" y="772"/>
                </a:lnTo>
                <a:lnTo>
                  <a:pt x="176" y="772"/>
                </a:lnTo>
                <a:lnTo>
                  <a:pt x="176" y="772"/>
                </a:lnTo>
                <a:lnTo>
                  <a:pt x="176" y="772"/>
                </a:lnTo>
                <a:close/>
                <a:moveTo>
                  <a:pt x="190" y="780"/>
                </a:moveTo>
                <a:lnTo>
                  <a:pt x="186" y="780"/>
                </a:lnTo>
                <a:lnTo>
                  <a:pt x="186" y="784"/>
                </a:lnTo>
                <a:lnTo>
                  <a:pt x="186" y="780"/>
                </a:lnTo>
                <a:lnTo>
                  <a:pt x="186" y="776"/>
                </a:lnTo>
                <a:lnTo>
                  <a:pt x="190" y="776"/>
                </a:lnTo>
                <a:lnTo>
                  <a:pt x="190" y="772"/>
                </a:lnTo>
                <a:lnTo>
                  <a:pt x="194" y="772"/>
                </a:lnTo>
                <a:lnTo>
                  <a:pt x="194" y="776"/>
                </a:lnTo>
                <a:lnTo>
                  <a:pt x="190" y="776"/>
                </a:lnTo>
                <a:lnTo>
                  <a:pt x="190" y="780"/>
                </a:lnTo>
                <a:lnTo>
                  <a:pt x="190" y="780"/>
                </a:lnTo>
                <a:lnTo>
                  <a:pt x="190" y="780"/>
                </a:lnTo>
                <a:close/>
                <a:moveTo>
                  <a:pt x="182" y="772"/>
                </a:moveTo>
                <a:lnTo>
                  <a:pt x="182" y="776"/>
                </a:lnTo>
                <a:lnTo>
                  <a:pt x="180" y="776"/>
                </a:lnTo>
                <a:lnTo>
                  <a:pt x="182" y="776"/>
                </a:lnTo>
                <a:lnTo>
                  <a:pt x="182" y="772"/>
                </a:lnTo>
                <a:lnTo>
                  <a:pt x="182" y="772"/>
                </a:lnTo>
                <a:lnTo>
                  <a:pt x="182" y="772"/>
                </a:lnTo>
                <a:close/>
                <a:moveTo>
                  <a:pt x="142" y="780"/>
                </a:moveTo>
                <a:lnTo>
                  <a:pt x="142" y="784"/>
                </a:lnTo>
                <a:lnTo>
                  <a:pt x="138" y="780"/>
                </a:lnTo>
                <a:lnTo>
                  <a:pt x="142" y="780"/>
                </a:lnTo>
                <a:lnTo>
                  <a:pt x="142" y="780"/>
                </a:lnTo>
                <a:lnTo>
                  <a:pt x="142" y="780"/>
                </a:lnTo>
                <a:close/>
                <a:moveTo>
                  <a:pt x="872" y="780"/>
                </a:moveTo>
                <a:lnTo>
                  <a:pt x="872" y="784"/>
                </a:lnTo>
                <a:lnTo>
                  <a:pt x="868" y="784"/>
                </a:lnTo>
                <a:lnTo>
                  <a:pt x="868" y="780"/>
                </a:lnTo>
                <a:lnTo>
                  <a:pt x="872" y="780"/>
                </a:lnTo>
                <a:lnTo>
                  <a:pt x="872" y="780"/>
                </a:lnTo>
                <a:lnTo>
                  <a:pt x="872" y="780"/>
                </a:lnTo>
                <a:close/>
                <a:moveTo>
                  <a:pt x="182" y="788"/>
                </a:moveTo>
                <a:lnTo>
                  <a:pt x="182" y="792"/>
                </a:lnTo>
                <a:lnTo>
                  <a:pt x="186" y="792"/>
                </a:lnTo>
                <a:lnTo>
                  <a:pt x="186" y="794"/>
                </a:lnTo>
                <a:lnTo>
                  <a:pt x="182" y="794"/>
                </a:lnTo>
                <a:lnTo>
                  <a:pt x="182" y="792"/>
                </a:lnTo>
                <a:lnTo>
                  <a:pt x="182" y="788"/>
                </a:lnTo>
                <a:lnTo>
                  <a:pt x="182" y="788"/>
                </a:lnTo>
                <a:lnTo>
                  <a:pt x="182" y="788"/>
                </a:lnTo>
                <a:close/>
                <a:moveTo>
                  <a:pt x="1188" y="874"/>
                </a:moveTo>
                <a:lnTo>
                  <a:pt x="1186" y="874"/>
                </a:lnTo>
                <a:lnTo>
                  <a:pt x="1182" y="874"/>
                </a:lnTo>
                <a:lnTo>
                  <a:pt x="1178" y="874"/>
                </a:lnTo>
                <a:lnTo>
                  <a:pt x="1174" y="874"/>
                </a:lnTo>
                <a:lnTo>
                  <a:pt x="1174" y="870"/>
                </a:lnTo>
                <a:lnTo>
                  <a:pt x="1170" y="874"/>
                </a:lnTo>
                <a:lnTo>
                  <a:pt x="1162" y="874"/>
                </a:lnTo>
                <a:lnTo>
                  <a:pt x="1160" y="874"/>
                </a:lnTo>
                <a:lnTo>
                  <a:pt x="1156" y="874"/>
                </a:lnTo>
                <a:lnTo>
                  <a:pt x="1156" y="870"/>
                </a:lnTo>
                <a:lnTo>
                  <a:pt x="1156" y="866"/>
                </a:lnTo>
                <a:lnTo>
                  <a:pt x="1160" y="862"/>
                </a:lnTo>
                <a:lnTo>
                  <a:pt x="1162" y="858"/>
                </a:lnTo>
                <a:lnTo>
                  <a:pt x="1166" y="854"/>
                </a:lnTo>
                <a:lnTo>
                  <a:pt x="1166" y="858"/>
                </a:lnTo>
                <a:lnTo>
                  <a:pt x="1166" y="854"/>
                </a:lnTo>
                <a:lnTo>
                  <a:pt x="1162" y="854"/>
                </a:lnTo>
                <a:lnTo>
                  <a:pt x="1160" y="854"/>
                </a:lnTo>
                <a:lnTo>
                  <a:pt x="1156" y="854"/>
                </a:lnTo>
                <a:lnTo>
                  <a:pt x="1160" y="852"/>
                </a:lnTo>
                <a:lnTo>
                  <a:pt x="1162" y="852"/>
                </a:lnTo>
                <a:lnTo>
                  <a:pt x="1160" y="852"/>
                </a:lnTo>
                <a:lnTo>
                  <a:pt x="1162" y="854"/>
                </a:lnTo>
                <a:lnTo>
                  <a:pt x="1162" y="852"/>
                </a:lnTo>
                <a:lnTo>
                  <a:pt x="1166" y="848"/>
                </a:lnTo>
                <a:lnTo>
                  <a:pt x="1166" y="844"/>
                </a:lnTo>
                <a:lnTo>
                  <a:pt x="1170" y="840"/>
                </a:lnTo>
                <a:lnTo>
                  <a:pt x="1170" y="844"/>
                </a:lnTo>
                <a:lnTo>
                  <a:pt x="1174" y="844"/>
                </a:lnTo>
                <a:lnTo>
                  <a:pt x="1174" y="848"/>
                </a:lnTo>
                <a:lnTo>
                  <a:pt x="1174" y="844"/>
                </a:lnTo>
                <a:lnTo>
                  <a:pt x="1170" y="844"/>
                </a:lnTo>
                <a:lnTo>
                  <a:pt x="1174" y="844"/>
                </a:lnTo>
                <a:lnTo>
                  <a:pt x="1174" y="840"/>
                </a:lnTo>
                <a:lnTo>
                  <a:pt x="1170" y="840"/>
                </a:lnTo>
                <a:lnTo>
                  <a:pt x="1170" y="836"/>
                </a:lnTo>
                <a:lnTo>
                  <a:pt x="1174" y="832"/>
                </a:lnTo>
                <a:lnTo>
                  <a:pt x="1178" y="836"/>
                </a:lnTo>
                <a:lnTo>
                  <a:pt x="1174" y="832"/>
                </a:lnTo>
                <a:lnTo>
                  <a:pt x="1174" y="828"/>
                </a:lnTo>
                <a:lnTo>
                  <a:pt x="1178" y="828"/>
                </a:lnTo>
                <a:lnTo>
                  <a:pt x="1178" y="822"/>
                </a:lnTo>
                <a:lnTo>
                  <a:pt x="1182" y="818"/>
                </a:lnTo>
                <a:lnTo>
                  <a:pt x="1182" y="814"/>
                </a:lnTo>
                <a:lnTo>
                  <a:pt x="1182" y="810"/>
                </a:lnTo>
                <a:lnTo>
                  <a:pt x="1186" y="810"/>
                </a:lnTo>
                <a:lnTo>
                  <a:pt x="1182" y="810"/>
                </a:lnTo>
                <a:lnTo>
                  <a:pt x="1186" y="810"/>
                </a:lnTo>
                <a:lnTo>
                  <a:pt x="1186" y="806"/>
                </a:lnTo>
                <a:lnTo>
                  <a:pt x="1188" y="806"/>
                </a:lnTo>
                <a:lnTo>
                  <a:pt x="1188" y="802"/>
                </a:lnTo>
                <a:lnTo>
                  <a:pt x="1188" y="798"/>
                </a:lnTo>
                <a:lnTo>
                  <a:pt x="1192" y="794"/>
                </a:lnTo>
                <a:lnTo>
                  <a:pt x="1196" y="794"/>
                </a:lnTo>
                <a:lnTo>
                  <a:pt x="1196" y="792"/>
                </a:lnTo>
                <a:lnTo>
                  <a:pt x="1200" y="792"/>
                </a:lnTo>
                <a:lnTo>
                  <a:pt x="1204" y="792"/>
                </a:lnTo>
                <a:lnTo>
                  <a:pt x="1208" y="792"/>
                </a:lnTo>
                <a:lnTo>
                  <a:pt x="1204" y="792"/>
                </a:lnTo>
                <a:lnTo>
                  <a:pt x="1208" y="792"/>
                </a:lnTo>
                <a:lnTo>
                  <a:pt x="1212" y="792"/>
                </a:lnTo>
                <a:lnTo>
                  <a:pt x="1212" y="794"/>
                </a:lnTo>
                <a:lnTo>
                  <a:pt x="1208" y="794"/>
                </a:lnTo>
                <a:lnTo>
                  <a:pt x="1204" y="794"/>
                </a:lnTo>
                <a:lnTo>
                  <a:pt x="1200" y="794"/>
                </a:lnTo>
                <a:lnTo>
                  <a:pt x="1200" y="798"/>
                </a:lnTo>
                <a:lnTo>
                  <a:pt x="1204" y="798"/>
                </a:lnTo>
                <a:lnTo>
                  <a:pt x="1208" y="798"/>
                </a:lnTo>
                <a:lnTo>
                  <a:pt x="1208" y="802"/>
                </a:lnTo>
                <a:lnTo>
                  <a:pt x="1204" y="802"/>
                </a:lnTo>
                <a:lnTo>
                  <a:pt x="1200" y="806"/>
                </a:lnTo>
                <a:lnTo>
                  <a:pt x="1200" y="810"/>
                </a:lnTo>
                <a:lnTo>
                  <a:pt x="1200" y="806"/>
                </a:lnTo>
                <a:lnTo>
                  <a:pt x="1200" y="810"/>
                </a:lnTo>
                <a:lnTo>
                  <a:pt x="1200" y="814"/>
                </a:lnTo>
                <a:lnTo>
                  <a:pt x="1196" y="814"/>
                </a:lnTo>
                <a:lnTo>
                  <a:pt x="1196" y="818"/>
                </a:lnTo>
                <a:lnTo>
                  <a:pt x="1196" y="822"/>
                </a:lnTo>
                <a:lnTo>
                  <a:pt x="1192" y="822"/>
                </a:lnTo>
                <a:lnTo>
                  <a:pt x="1192" y="824"/>
                </a:lnTo>
                <a:lnTo>
                  <a:pt x="1192" y="828"/>
                </a:lnTo>
                <a:lnTo>
                  <a:pt x="1188" y="828"/>
                </a:lnTo>
                <a:lnTo>
                  <a:pt x="1192" y="828"/>
                </a:lnTo>
                <a:lnTo>
                  <a:pt x="1188" y="832"/>
                </a:lnTo>
                <a:lnTo>
                  <a:pt x="1192" y="832"/>
                </a:lnTo>
                <a:lnTo>
                  <a:pt x="1192" y="828"/>
                </a:lnTo>
                <a:lnTo>
                  <a:pt x="1196" y="824"/>
                </a:lnTo>
                <a:lnTo>
                  <a:pt x="1200" y="822"/>
                </a:lnTo>
                <a:lnTo>
                  <a:pt x="1200" y="824"/>
                </a:lnTo>
                <a:lnTo>
                  <a:pt x="1204" y="824"/>
                </a:lnTo>
                <a:lnTo>
                  <a:pt x="1208" y="824"/>
                </a:lnTo>
                <a:lnTo>
                  <a:pt x="1212" y="824"/>
                </a:lnTo>
                <a:lnTo>
                  <a:pt x="1208" y="824"/>
                </a:lnTo>
                <a:lnTo>
                  <a:pt x="1208" y="828"/>
                </a:lnTo>
                <a:lnTo>
                  <a:pt x="1204" y="828"/>
                </a:lnTo>
                <a:lnTo>
                  <a:pt x="1200" y="832"/>
                </a:lnTo>
                <a:lnTo>
                  <a:pt x="1204" y="828"/>
                </a:lnTo>
                <a:lnTo>
                  <a:pt x="1204" y="832"/>
                </a:lnTo>
                <a:lnTo>
                  <a:pt x="1200" y="832"/>
                </a:lnTo>
                <a:lnTo>
                  <a:pt x="1200" y="836"/>
                </a:lnTo>
                <a:lnTo>
                  <a:pt x="1204" y="836"/>
                </a:lnTo>
                <a:lnTo>
                  <a:pt x="1204" y="832"/>
                </a:lnTo>
                <a:lnTo>
                  <a:pt x="1208" y="836"/>
                </a:lnTo>
                <a:lnTo>
                  <a:pt x="1212" y="836"/>
                </a:lnTo>
                <a:lnTo>
                  <a:pt x="1212" y="832"/>
                </a:lnTo>
                <a:lnTo>
                  <a:pt x="1212" y="836"/>
                </a:lnTo>
                <a:lnTo>
                  <a:pt x="1212" y="840"/>
                </a:lnTo>
                <a:lnTo>
                  <a:pt x="1212" y="836"/>
                </a:lnTo>
                <a:lnTo>
                  <a:pt x="1212" y="832"/>
                </a:lnTo>
                <a:lnTo>
                  <a:pt x="1216" y="832"/>
                </a:lnTo>
                <a:lnTo>
                  <a:pt x="1216" y="836"/>
                </a:lnTo>
                <a:lnTo>
                  <a:pt x="1212" y="840"/>
                </a:lnTo>
                <a:lnTo>
                  <a:pt x="1212" y="844"/>
                </a:lnTo>
                <a:lnTo>
                  <a:pt x="1212" y="840"/>
                </a:lnTo>
                <a:lnTo>
                  <a:pt x="1216" y="840"/>
                </a:lnTo>
                <a:lnTo>
                  <a:pt x="1216" y="836"/>
                </a:lnTo>
                <a:lnTo>
                  <a:pt x="1216" y="840"/>
                </a:lnTo>
                <a:lnTo>
                  <a:pt x="1218" y="840"/>
                </a:lnTo>
                <a:lnTo>
                  <a:pt x="1222" y="836"/>
                </a:lnTo>
                <a:lnTo>
                  <a:pt x="1222" y="832"/>
                </a:lnTo>
                <a:lnTo>
                  <a:pt x="1222" y="836"/>
                </a:lnTo>
                <a:lnTo>
                  <a:pt x="1222" y="840"/>
                </a:lnTo>
                <a:lnTo>
                  <a:pt x="1226" y="836"/>
                </a:lnTo>
                <a:lnTo>
                  <a:pt x="1230" y="836"/>
                </a:lnTo>
                <a:lnTo>
                  <a:pt x="1234" y="836"/>
                </a:lnTo>
                <a:lnTo>
                  <a:pt x="1238" y="840"/>
                </a:lnTo>
                <a:lnTo>
                  <a:pt x="1238" y="844"/>
                </a:lnTo>
                <a:lnTo>
                  <a:pt x="1234" y="844"/>
                </a:lnTo>
                <a:lnTo>
                  <a:pt x="1234" y="848"/>
                </a:lnTo>
                <a:lnTo>
                  <a:pt x="1230" y="848"/>
                </a:lnTo>
                <a:lnTo>
                  <a:pt x="1234" y="848"/>
                </a:lnTo>
                <a:lnTo>
                  <a:pt x="1234" y="852"/>
                </a:lnTo>
                <a:lnTo>
                  <a:pt x="1230" y="852"/>
                </a:lnTo>
                <a:lnTo>
                  <a:pt x="1234" y="852"/>
                </a:lnTo>
                <a:lnTo>
                  <a:pt x="1230" y="852"/>
                </a:lnTo>
                <a:lnTo>
                  <a:pt x="1234" y="852"/>
                </a:lnTo>
                <a:lnTo>
                  <a:pt x="1238" y="852"/>
                </a:lnTo>
                <a:lnTo>
                  <a:pt x="1234" y="852"/>
                </a:lnTo>
                <a:lnTo>
                  <a:pt x="1230" y="854"/>
                </a:lnTo>
                <a:lnTo>
                  <a:pt x="1234" y="854"/>
                </a:lnTo>
                <a:lnTo>
                  <a:pt x="1238" y="854"/>
                </a:lnTo>
                <a:lnTo>
                  <a:pt x="1238" y="852"/>
                </a:lnTo>
                <a:lnTo>
                  <a:pt x="1242" y="852"/>
                </a:lnTo>
                <a:lnTo>
                  <a:pt x="1242" y="854"/>
                </a:lnTo>
                <a:lnTo>
                  <a:pt x="1242" y="852"/>
                </a:lnTo>
                <a:lnTo>
                  <a:pt x="1244" y="852"/>
                </a:lnTo>
                <a:lnTo>
                  <a:pt x="1244" y="854"/>
                </a:lnTo>
                <a:lnTo>
                  <a:pt x="1244" y="858"/>
                </a:lnTo>
                <a:lnTo>
                  <a:pt x="1242" y="858"/>
                </a:lnTo>
                <a:lnTo>
                  <a:pt x="1238" y="858"/>
                </a:lnTo>
                <a:lnTo>
                  <a:pt x="1234" y="862"/>
                </a:lnTo>
                <a:lnTo>
                  <a:pt x="1230" y="862"/>
                </a:lnTo>
                <a:lnTo>
                  <a:pt x="1234" y="862"/>
                </a:lnTo>
                <a:lnTo>
                  <a:pt x="1234" y="866"/>
                </a:lnTo>
                <a:lnTo>
                  <a:pt x="1230" y="866"/>
                </a:lnTo>
                <a:lnTo>
                  <a:pt x="1234" y="866"/>
                </a:lnTo>
                <a:lnTo>
                  <a:pt x="1238" y="866"/>
                </a:lnTo>
                <a:lnTo>
                  <a:pt x="1234" y="870"/>
                </a:lnTo>
                <a:lnTo>
                  <a:pt x="1234" y="874"/>
                </a:lnTo>
                <a:lnTo>
                  <a:pt x="1238" y="874"/>
                </a:lnTo>
                <a:lnTo>
                  <a:pt x="1238" y="870"/>
                </a:lnTo>
                <a:lnTo>
                  <a:pt x="1242" y="866"/>
                </a:lnTo>
                <a:lnTo>
                  <a:pt x="1242" y="862"/>
                </a:lnTo>
                <a:lnTo>
                  <a:pt x="1242" y="866"/>
                </a:lnTo>
                <a:lnTo>
                  <a:pt x="1244" y="862"/>
                </a:lnTo>
                <a:lnTo>
                  <a:pt x="1248" y="862"/>
                </a:lnTo>
                <a:lnTo>
                  <a:pt x="1244" y="862"/>
                </a:lnTo>
                <a:lnTo>
                  <a:pt x="1244" y="866"/>
                </a:lnTo>
                <a:lnTo>
                  <a:pt x="1244" y="870"/>
                </a:lnTo>
                <a:lnTo>
                  <a:pt x="1242" y="874"/>
                </a:lnTo>
                <a:lnTo>
                  <a:pt x="1242" y="878"/>
                </a:lnTo>
                <a:lnTo>
                  <a:pt x="1244" y="878"/>
                </a:lnTo>
                <a:lnTo>
                  <a:pt x="1244" y="874"/>
                </a:lnTo>
                <a:lnTo>
                  <a:pt x="1248" y="870"/>
                </a:lnTo>
                <a:lnTo>
                  <a:pt x="1248" y="874"/>
                </a:lnTo>
                <a:lnTo>
                  <a:pt x="1248" y="878"/>
                </a:lnTo>
                <a:lnTo>
                  <a:pt x="1248" y="880"/>
                </a:lnTo>
                <a:lnTo>
                  <a:pt x="1244" y="880"/>
                </a:lnTo>
                <a:lnTo>
                  <a:pt x="1244" y="884"/>
                </a:lnTo>
                <a:lnTo>
                  <a:pt x="1244" y="888"/>
                </a:lnTo>
                <a:lnTo>
                  <a:pt x="1244" y="892"/>
                </a:lnTo>
                <a:lnTo>
                  <a:pt x="1242" y="892"/>
                </a:lnTo>
                <a:lnTo>
                  <a:pt x="1238" y="892"/>
                </a:lnTo>
                <a:lnTo>
                  <a:pt x="1234" y="892"/>
                </a:lnTo>
                <a:lnTo>
                  <a:pt x="1234" y="888"/>
                </a:lnTo>
                <a:lnTo>
                  <a:pt x="1238" y="888"/>
                </a:lnTo>
                <a:lnTo>
                  <a:pt x="1234" y="884"/>
                </a:lnTo>
                <a:lnTo>
                  <a:pt x="1238" y="884"/>
                </a:lnTo>
                <a:lnTo>
                  <a:pt x="1238" y="880"/>
                </a:lnTo>
                <a:lnTo>
                  <a:pt x="1234" y="884"/>
                </a:lnTo>
                <a:lnTo>
                  <a:pt x="1230" y="888"/>
                </a:lnTo>
                <a:lnTo>
                  <a:pt x="1226" y="888"/>
                </a:lnTo>
                <a:lnTo>
                  <a:pt x="1226" y="884"/>
                </a:lnTo>
                <a:lnTo>
                  <a:pt x="1230" y="884"/>
                </a:lnTo>
                <a:lnTo>
                  <a:pt x="1230" y="880"/>
                </a:lnTo>
                <a:lnTo>
                  <a:pt x="1234" y="878"/>
                </a:lnTo>
                <a:lnTo>
                  <a:pt x="1230" y="878"/>
                </a:lnTo>
                <a:lnTo>
                  <a:pt x="1230" y="874"/>
                </a:lnTo>
                <a:lnTo>
                  <a:pt x="1234" y="874"/>
                </a:lnTo>
                <a:lnTo>
                  <a:pt x="1230" y="874"/>
                </a:lnTo>
                <a:lnTo>
                  <a:pt x="1230" y="870"/>
                </a:lnTo>
                <a:lnTo>
                  <a:pt x="1226" y="870"/>
                </a:lnTo>
                <a:lnTo>
                  <a:pt x="1226" y="874"/>
                </a:lnTo>
                <a:lnTo>
                  <a:pt x="1222" y="874"/>
                </a:lnTo>
                <a:lnTo>
                  <a:pt x="1222" y="878"/>
                </a:lnTo>
                <a:lnTo>
                  <a:pt x="1226" y="874"/>
                </a:lnTo>
                <a:lnTo>
                  <a:pt x="1222" y="874"/>
                </a:lnTo>
                <a:lnTo>
                  <a:pt x="1222" y="878"/>
                </a:lnTo>
                <a:lnTo>
                  <a:pt x="1218" y="878"/>
                </a:lnTo>
                <a:lnTo>
                  <a:pt x="1216" y="880"/>
                </a:lnTo>
                <a:lnTo>
                  <a:pt x="1216" y="884"/>
                </a:lnTo>
                <a:lnTo>
                  <a:pt x="1212" y="888"/>
                </a:lnTo>
                <a:lnTo>
                  <a:pt x="1208" y="888"/>
                </a:lnTo>
                <a:lnTo>
                  <a:pt x="1204" y="888"/>
                </a:lnTo>
                <a:lnTo>
                  <a:pt x="1204" y="884"/>
                </a:lnTo>
                <a:lnTo>
                  <a:pt x="1208" y="884"/>
                </a:lnTo>
                <a:lnTo>
                  <a:pt x="1212" y="880"/>
                </a:lnTo>
                <a:lnTo>
                  <a:pt x="1212" y="878"/>
                </a:lnTo>
                <a:lnTo>
                  <a:pt x="1216" y="878"/>
                </a:lnTo>
                <a:lnTo>
                  <a:pt x="1218" y="874"/>
                </a:lnTo>
                <a:lnTo>
                  <a:pt x="1216" y="874"/>
                </a:lnTo>
                <a:lnTo>
                  <a:pt x="1216" y="870"/>
                </a:lnTo>
                <a:lnTo>
                  <a:pt x="1218" y="870"/>
                </a:lnTo>
                <a:lnTo>
                  <a:pt x="1216" y="870"/>
                </a:lnTo>
                <a:lnTo>
                  <a:pt x="1216" y="874"/>
                </a:lnTo>
                <a:lnTo>
                  <a:pt x="1212" y="874"/>
                </a:lnTo>
                <a:lnTo>
                  <a:pt x="1212" y="870"/>
                </a:lnTo>
                <a:lnTo>
                  <a:pt x="1212" y="874"/>
                </a:lnTo>
                <a:lnTo>
                  <a:pt x="1212" y="878"/>
                </a:lnTo>
                <a:lnTo>
                  <a:pt x="1208" y="878"/>
                </a:lnTo>
                <a:lnTo>
                  <a:pt x="1204" y="878"/>
                </a:lnTo>
                <a:lnTo>
                  <a:pt x="1204" y="874"/>
                </a:lnTo>
                <a:lnTo>
                  <a:pt x="1204" y="878"/>
                </a:lnTo>
                <a:lnTo>
                  <a:pt x="1200" y="878"/>
                </a:lnTo>
                <a:lnTo>
                  <a:pt x="1200" y="874"/>
                </a:lnTo>
                <a:lnTo>
                  <a:pt x="1204" y="874"/>
                </a:lnTo>
                <a:lnTo>
                  <a:pt x="1208" y="874"/>
                </a:lnTo>
                <a:lnTo>
                  <a:pt x="1204" y="874"/>
                </a:lnTo>
                <a:lnTo>
                  <a:pt x="1204" y="870"/>
                </a:lnTo>
                <a:lnTo>
                  <a:pt x="1204" y="866"/>
                </a:lnTo>
                <a:lnTo>
                  <a:pt x="1204" y="870"/>
                </a:lnTo>
                <a:lnTo>
                  <a:pt x="1200" y="870"/>
                </a:lnTo>
                <a:lnTo>
                  <a:pt x="1200" y="874"/>
                </a:lnTo>
                <a:lnTo>
                  <a:pt x="1196" y="874"/>
                </a:lnTo>
                <a:lnTo>
                  <a:pt x="1192" y="874"/>
                </a:lnTo>
                <a:lnTo>
                  <a:pt x="1188" y="874"/>
                </a:lnTo>
                <a:lnTo>
                  <a:pt x="1188" y="874"/>
                </a:lnTo>
                <a:lnTo>
                  <a:pt x="1188" y="874"/>
                </a:lnTo>
                <a:close/>
                <a:moveTo>
                  <a:pt x="190" y="818"/>
                </a:moveTo>
                <a:lnTo>
                  <a:pt x="190" y="814"/>
                </a:lnTo>
                <a:lnTo>
                  <a:pt x="190" y="810"/>
                </a:lnTo>
                <a:lnTo>
                  <a:pt x="186" y="810"/>
                </a:lnTo>
                <a:lnTo>
                  <a:pt x="190" y="810"/>
                </a:lnTo>
                <a:lnTo>
                  <a:pt x="190" y="814"/>
                </a:lnTo>
                <a:lnTo>
                  <a:pt x="182" y="814"/>
                </a:lnTo>
                <a:lnTo>
                  <a:pt x="180" y="814"/>
                </a:lnTo>
                <a:lnTo>
                  <a:pt x="180" y="810"/>
                </a:lnTo>
                <a:lnTo>
                  <a:pt x="180" y="806"/>
                </a:lnTo>
                <a:lnTo>
                  <a:pt x="182" y="806"/>
                </a:lnTo>
                <a:lnTo>
                  <a:pt x="186" y="806"/>
                </a:lnTo>
                <a:lnTo>
                  <a:pt x="190" y="806"/>
                </a:lnTo>
                <a:lnTo>
                  <a:pt x="190" y="810"/>
                </a:lnTo>
                <a:lnTo>
                  <a:pt x="194" y="810"/>
                </a:lnTo>
                <a:lnTo>
                  <a:pt x="198" y="810"/>
                </a:lnTo>
                <a:lnTo>
                  <a:pt x="202" y="814"/>
                </a:lnTo>
                <a:lnTo>
                  <a:pt x="206" y="814"/>
                </a:lnTo>
                <a:lnTo>
                  <a:pt x="210" y="814"/>
                </a:lnTo>
                <a:lnTo>
                  <a:pt x="212" y="814"/>
                </a:lnTo>
                <a:lnTo>
                  <a:pt x="212" y="818"/>
                </a:lnTo>
                <a:lnTo>
                  <a:pt x="216" y="818"/>
                </a:lnTo>
                <a:lnTo>
                  <a:pt x="220" y="818"/>
                </a:lnTo>
                <a:lnTo>
                  <a:pt x="220" y="822"/>
                </a:lnTo>
                <a:lnTo>
                  <a:pt x="224" y="822"/>
                </a:lnTo>
                <a:lnTo>
                  <a:pt x="224" y="824"/>
                </a:lnTo>
                <a:lnTo>
                  <a:pt x="228" y="828"/>
                </a:lnTo>
                <a:lnTo>
                  <a:pt x="228" y="832"/>
                </a:lnTo>
                <a:lnTo>
                  <a:pt x="228" y="836"/>
                </a:lnTo>
                <a:lnTo>
                  <a:pt x="232" y="836"/>
                </a:lnTo>
                <a:lnTo>
                  <a:pt x="236" y="840"/>
                </a:lnTo>
                <a:lnTo>
                  <a:pt x="238" y="840"/>
                </a:lnTo>
                <a:lnTo>
                  <a:pt x="242" y="840"/>
                </a:lnTo>
                <a:lnTo>
                  <a:pt x="242" y="844"/>
                </a:lnTo>
                <a:lnTo>
                  <a:pt x="246" y="848"/>
                </a:lnTo>
                <a:lnTo>
                  <a:pt x="246" y="852"/>
                </a:lnTo>
                <a:lnTo>
                  <a:pt x="246" y="854"/>
                </a:lnTo>
                <a:lnTo>
                  <a:pt x="246" y="852"/>
                </a:lnTo>
                <a:lnTo>
                  <a:pt x="250" y="852"/>
                </a:lnTo>
                <a:lnTo>
                  <a:pt x="250" y="854"/>
                </a:lnTo>
                <a:lnTo>
                  <a:pt x="250" y="858"/>
                </a:lnTo>
                <a:lnTo>
                  <a:pt x="250" y="854"/>
                </a:lnTo>
                <a:lnTo>
                  <a:pt x="246" y="858"/>
                </a:lnTo>
                <a:lnTo>
                  <a:pt x="242" y="858"/>
                </a:lnTo>
                <a:lnTo>
                  <a:pt x="236" y="854"/>
                </a:lnTo>
                <a:lnTo>
                  <a:pt x="232" y="854"/>
                </a:lnTo>
                <a:lnTo>
                  <a:pt x="232" y="852"/>
                </a:lnTo>
                <a:lnTo>
                  <a:pt x="228" y="852"/>
                </a:lnTo>
                <a:lnTo>
                  <a:pt x="224" y="852"/>
                </a:lnTo>
                <a:lnTo>
                  <a:pt x="224" y="848"/>
                </a:lnTo>
                <a:lnTo>
                  <a:pt x="228" y="848"/>
                </a:lnTo>
                <a:lnTo>
                  <a:pt x="228" y="844"/>
                </a:lnTo>
                <a:lnTo>
                  <a:pt x="228" y="840"/>
                </a:lnTo>
                <a:lnTo>
                  <a:pt x="228" y="844"/>
                </a:lnTo>
                <a:lnTo>
                  <a:pt x="224" y="844"/>
                </a:lnTo>
                <a:lnTo>
                  <a:pt x="224" y="848"/>
                </a:lnTo>
                <a:lnTo>
                  <a:pt x="220" y="844"/>
                </a:lnTo>
                <a:lnTo>
                  <a:pt x="220" y="848"/>
                </a:lnTo>
                <a:lnTo>
                  <a:pt x="216" y="844"/>
                </a:lnTo>
                <a:lnTo>
                  <a:pt x="216" y="840"/>
                </a:lnTo>
                <a:lnTo>
                  <a:pt x="212" y="840"/>
                </a:lnTo>
                <a:lnTo>
                  <a:pt x="212" y="836"/>
                </a:lnTo>
                <a:lnTo>
                  <a:pt x="210" y="836"/>
                </a:lnTo>
                <a:lnTo>
                  <a:pt x="206" y="836"/>
                </a:lnTo>
                <a:lnTo>
                  <a:pt x="206" y="832"/>
                </a:lnTo>
                <a:lnTo>
                  <a:pt x="210" y="832"/>
                </a:lnTo>
                <a:lnTo>
                  <a:pt x="212" y="832"/>
                </a:lnTo>
                <a:lnTo>
                  <a:pt x="210" y="832"/>
                </a:lnTo>
                <a:lnTo>
                  <a:pt x="206" y="832"/>
                </a:lnTo>
                <a:lnTo>
                  <a:pt x="206" y="828"/>
                </a:lnTo>
                <a:lnTo>
                  <a:pt x="202" y="828"/>
                </a:lnTo>
                <a:lnTo>
                  <a:pt x="202" y="824"/>
                </a:lnTo>
                <a:lnTo>
                  <a:pt x="198" y="824"/>
                </a:lnTo>
                <a:lnTo>
                  <a:pt x="198" y="828"/>
                </a:lnTo>
                <a:lnTo>
                  <a:pt x="194" y="824"/>
                </a:lnTo>
                <a:lnTo>
                  <a:pt x="194" y="822"/>
                </a:lnTo>
                <a:lnTo>
                  <a:pt x="198" y="822"/>
                </a:lnTo>
                <a:lnTo>
                  <a:pt x="194" y="822"/>
                </a:lnTo>
                <a:lnTo>
                  <a:pt x="194" y="824"/>
                </a:lnTo>
                <a:lnTo>
                  <a:pt x="190" y="822"/>
                </a:lnTo>
                <a:lnTo>
                  <a:pt x="186" y="822"/>
                </a:lnTo>
                <a:lnTo>
                  <a:pt x="186" y="818"/>
                </a:lnTo>
                <a:lnTo>
                  <a:pt x="182" y="818"/>
                </a:lnTo>
                <a:lnTo>
                  <a:pt x="186" y="814"/>
                </a:lnTo>
                <a:lnTo>
                  <a:pt x="190" y="814"/>
                </a:lnTo>
                <a:lnTo>
                  <a:pt x="190" y="818"/>
                </a:lnTo>
                <a:lnTo>
                  <a:pt x="190" y="818"/>
                </a:lnTo>
                <a:lnTo>
                  <a:pt x="190" y="818"/>
                </a:lnTo>
                <a:close/>
                <a:moveTo>
                  <a:pt x="210" y="806"/>
                </a:moveTo>
                <a:lnTo>
                  <a:pt x="210" y="810"/>
                </a:lnTo>
                <a:lnTo>
                  <a:pt x="206" y="810"/>
                </a:lnTo>
                <a:lnTo>
                  <a:pt x="206" y="806"/>
                </a:lnTo>
                <a:lnTo>
                  <a:pt x="210" y="806"/>
                </a:lnTo>
                <a:lnTo>
                  <a:pt x="210" y="806"/>
                </a:lnTo>
                <a:lnTo>
                  <a:pt x="210" y="806"/>
                </a:lnTo>
                <a:close/>
                <a:moveTo>
                  <a:pt x="220" y="818"/>
                </a:moveTo>
                <a:lnTo>
                  <a:pt x="224" y="818"/>
                </a:lnTo>
                <a:lnTo>
                  <a:pt x="224" y="822"/>
                </a:lnTo>
                <a:lnTo>
                  <a:pt x="224" y="824"/>
                </a:lnTo>
                <a:lnTo>
                  <a:pt x="224" y="822"/>
                </a:lnTo>
                <a:lnTo>
                  <a:pt x="220" y="822"/>
                </a:lnTo>
                <a:lnTo>
                  <a:pt x="220" y="818"/>
                </a:lnTo>
                <a:lnTo>
                  <a:pt x="220" y="818"/>
                </a:lnTo>
                <a:lnTo>
                  <a:pt x="220" y="818"/>
                </a:lnTo>
                <a:close/>
                <a:moveTo>
                  <a:pt x="1096" y="828"/>
                </a:moveTo>
                <a:lnTo>
                  <a:pt x="1100" y="828"/>
                </a:lnTo>
                <a:lnTo>
                  <a:pt x="1104" y="828"/>
                </a:lnTo>
                <a:lnTo>
                  <a:pt x="1106" y="832"/>
                </a:lnTo>
                <a:lnTo>
                  <a:pt x="1110" y="832"/>
                </a:lnTo>
                <a:lnTo>
                  <a:pt x="1110" y="836"/>
                </a:lnTo>
                <a:lnTo>
                  <a:pt x="1114" y="836"/>
                </a:lnTo>
                <a:lnTo>
                  <a:pt x="1118" y="836"/>
                </a:lnTo>
                <a:lnTo>
                  <a:pt x="1118" y="840"/>
                </a:lnTo>
                <a:lnTo>
                  <a:pt x="1122" y="840"/>
                </a:lnTo>
                <a:lnTo>
                  <a:pt x="1122" y="844"/>
                </a:lnTo>
                <a:lnTo>
                  <a:pt x="1118" y="844"/>
                </a:lnTo>
                <a:lnTo>
                  <a:pt x="1114" y="844"/>
                </a:lnTo>
                <a:lnTo>
                  <a:pt x="1110" y="844"/>
                </a:lnTo>
                <a:lnTo>
                  <a:pt x="1106" y="840"/>
                </a:lnTo>
                <a:lnTo>
                  <a:pt x="1104" y="840"/>
                </a:lnTo>
                <a:lnTo>
                  <a:pt x="1100" y="840"/>
                </a:lnTo>
                <a:lnTo>
                  <a:pt x="1096" y="836"/>
                </a:lnTo>
                <a:lnTo>
                  <a:pt x="1092" y="832"/>
                </a:lnTo>
                <a:lnTo>
                  <a:pt x="1088" y="832"/>
                </a:lnTo>
                <a:lnTo>
                  <a:pt x="1088" y="828"/>
                </a:lnTo>
                <a:lnTo>
                  <a:pt x="1084" y="828"/>
                </a:lnTo>
                <a:lnTo>
                  <a:pt x="1080" y="824"/>
                </a:lnTo>
                <a:lnTo>
                  <a:pt x="1084" y="824"/>
                </a:lnTo>
                <a:lnTo>
                  <a:pt x="1088" y="824"/>
                </a:lnTo>
                <a:lnTo>
                  <a:pt x="1096" y="828"/>
                </a:lnTo>
                <a:lnTo>
                  <a:pt x="1096" y="828"/>
                </a:lnTo>
                <a:lnTo>
                  <a:pt x="1096" y="828"/>
                </a:lnTo>
                <a:close/>
                <a:moveTo>
                  <a:pt x="202" y="824"/>
                </a:moveTo>
                <a:lnTo>
                  <a:pt x="202" y="828"/>
                </a:lnTo>
                <a:lnTo>
                  <a:pt x="206" y="832"/>
                </a:lnTo>
                <a:lnTo>
                  <a:pt x="202" y="832"/>
                </a:lnTo>
                <a:lnTo>
                  <a:pt x="198" y="828"/>
                </a:lnTo>
                <a:lnTo>
                  <a:pt x="202" y="824"/>
                </a:lnTo>
                <a:lnTo>
                  <a:pt x="202" y="824"/>
                </a:lnTo>
                <a:lnTo>
                  <a:pt x="202" y="824"/>
                </a:lnTo>
                <a:close/>
                <a:moveTo>
                  <a:pt x="238" y="836"/>
                </a:moveTo>
                <a:lnTo>
                  <a:pt x="236" y="832"/>
                </a:lnTo>
                <a:lnTo>
                  <a:pt x="232" y="828"/>
                </a:lnTo>
                <a:lnTo>
                  <a:pt x="236" y="828"/>
                </a:lnTo>
                <a:lnTo>
                  <a:pt x="238" y="832"/>
                </a:lnTo>
                <a:lnTo>
                  <a:pt x="238" y="836"/>
                </a:lnTo>
                <a:lnTo>
                  <a:pt x="238" y="836"/>
                </a:lnTo>
                <a:lnTo>
                  <a:pt x="238" y="836"/>
                </a:lnTo>
                <a:close/>
                <a:moveTo>
                  <a:pt x="210" y="836"/>
                </a:moveTo>
                <a:lnTo>
                  <a:pt x="212" y="836"/>
                </a:lnTo>
                <a:lnTo>
                  <a:pt x="212" y="840"/>
                </a:lnTo>
                <a:lnTo>
                  <a:pt x="210" y="840"/>
                </a:lnTo>
                <a:lnTo>
                  <a:pt x="210" y="836"/>
                </a:lnTo>
                <a:lnTo>
                  <a:pt x="210" y="836"/>
                </a:lnTo>
                <a:lnTo>
                  <a:pt x="210" y="836"/>
                </a:lnTo>
                <a:close/>
                <a:moveTo>
                  <a:pt x="246" y="844"/>
                </a:moveTo>
                <a:lnTo>
                  <a:pt x="246" y="848"/>
                </a:lnTo>
                <a:lnTo>
                  <a:pt x="250" y="848"/>
                </a:lnTo>
                <a:lnTo>
                  <a:pt x="246" y="848"/>
                </a:lnTo>
                <a:lnTo>
                  <a:pt x="246" y="844"/>
                </a:lnTo>
                <a:lnTo>
                  <a:pt x="246" y="844"/>
                </a:lnTo>
                <a:lnTo>
                  <a:pt x="246" y="844"/>
                </a:lnTo>
                <a:close/>
                <a:moveTo>
                  <a:pt x="246" y="848"/>
                </a:moveTo>
                <a:lnTo>
                  <a:pt x="250" y="848"/>
                </a:lnTo>
                <a:lnTo>
                  <a:pt x="250" y="852"/>
                </a:lnTo>
                <a:lnTo>
                  <a:pt x="246" y="852"/>
                </a:lnTo>
                <a:lnTo>
                  <a:pt x="246" y="848"/>
                </a:lnTo>
                <a:lnTo>
                  <a:pt x="246" y="848"/>
                </a:lnTo>
                <a:lnTo>
                  <a:pt x="246" y="848"/>
                </a:lnTo>
                <a:close/>
                <a:moveTo>
                  <a:pt x="1080" y="866"/>
                </a:moveTo>
                <a:lnTo>
                  <a:pt x="1080" y="870"/>
                </a:lnTo>
                <a:lnTo>
                  <a:pt x="1076" y="870"/>
                </a:lnTo>
                <a:lnTo>
                  <a:pt x="1080" y="870"/>
                </a:lnTo>
                <a:lnTo>
                  <a:pt x="1080" y="866"/>
                </a:lnTo>
                <a:lnTo>
                  <a:pt x="1080" y="866"/>
                </a:lnTo>
                <a:lnTo>
                  <a:pt x="1080" y="866"/>
                </a:lnTo>
                <a:close/>
                <a:moveTo>
                  <a:pt x="1126" y="874"/>
                </a:moveTo>
                <a:lnTo>
                  <a:pt x="1122" y="874"/>
                </a:lnTo>
                <a:lnTo>
                  <a:pt x="1126" y="874"/>
                </a:lnTo>
                <a:lnTo>
                  <a:pt x="1122" y="874"/>
                </a:lnTo>
                <a:lnTo>
                  <a:pt x="1118" y="878"/>
                </a:lnTo>
                <a:lnTo>
                  <a:pt x="1122" y="878"/>
                </a:lnTo>
                <a:lnTo>
                  <a:pt x="1122" y="874"/>
                </a:lnTo>
                <a:lnTo>
                  <a:pt x="1122" y="878"/>
                </a:lnTo>
                <a:lnTo>
                  <a:pt x="1118" y="878"/>
                </a:lnTo>
                <a:lnTo>
                  <a:pt x="1118" y="880"/>
                </a:lnTo>
                <a:lnTo>
                  <a:pt x="1122" y="880"/>
                </a:lnTo>
                <a:lnTo>
                  <a:pt x="1118" y="880"/>
                </a:lnTo>
                <a:lnTo>
                  <a:pt x="1118" y="878"/>
                </a:lnTo>
                <a:lnTo>
                  <a:pt x="1122" y="874"/>
                </a:lnTo>
                <a:lnTo>
                  <a:pt x="1126" y="874"/>
                </a:lnTo>
                <a:lnTo>
                  <a:pt x="1126" y="874"/>
                </a:lnTo>
                <a:lnTo>
                  <a:pt x="1126" y="874"/>
                </a:lnTo>
                <a:close/>
                <a:moveTo>
                  <a:pt x="1114" y="900"/>
                </a:moveTo>
                <a:lnTo>
                  <a:pt x="1110" y="900"/>
                </a:lnTo>
                <a:lnTo>
                  <a:pt x="1110" y="904"/>
                </a:lnTo>
                <a:lnTo>
                  <a:pt x="1106" y="904"/>
                </a:lnTo>
                <a:lnTo>
                  <a:pt x="1110" y="904"/>
                </a:lnTo>
                <a:lnTo>
                  <a:pt x="1110" y="908"/>
                </a:lnTo>
                <a:lnTo>
                  <a:pt x="1106" y="908"/>
                </a:lnTo>
                <a:lnTo>
                  <a:pt x="1104" y="908"/>
                </a:lnTo>
                <a:lnTo>
                  <a:pt x="1104" y="904"/>
                </a:lnTo>
                <a:lnTo>
                  <a:pt x="1100" y="904"/>
                </a:lnTo>
                <a:lnTo>
                  <a:pt x="1104" y="900"/>
                </a:lnTo>
                <a:lnTo>
                  <a:pt x="1100" y="904"/>
                </a:lnTo>
                <a:lnTo>
                  <a:pt x="1096" y="904"/>
                </a:lnTo>
                <a:lnTo>
                  <a:pt x="1092" y="900"/>
                </a:lnTo>
                <a:lnTo>
                  <a:pt x="1088" y="900"/>
                </a:lnTo>
                <a:lnTo>
                  <a:pt x="1088" y="896"/>
                </a:lnTo>
                <a:lnTo>
                  <a:pt x="1088" y="892"/>
                </a:lnTo>
                <a:lnTo>
                  <a:pt x="1084" y="892"/>
                </a:lnTo>
                <a:lnTo>
                  <a:pt x="1084" y="888"/>
                </a:lnTo>
                <a:lnTo>
                  <a:pt x="1088" y="884"/>
                </a:lnTo>
                <a:lnTo>
                  <a:pt x="1088" y="888"/>
                </a:lnTo>
                <a:lnTo>
                  <a:pt x="1088" y="892"/>
                </a:lnTo>
                <a:lnTo>
                  <a:pt x="1092" y="892"/>
                </a:lnTo>
                <a:lnTo>
                  <a:pt x="1092" y="896"/>
                </a:lnTo>
                <a:lnTo>
                  <a:pt x="1096" y="896"/>
                </a:lnTo>
                <a:lnTo>
                  <a:pt x="1100" y="896"/>
                </a:lnTo>
                <a:lnTo>
                  <a:pt x="1104" y="896"/>
                </a:lnTo>
                <a:lnTo>
                  <a:pt x="1106" y="896"/>
                </a:lnTo>
                <a:lnTo>
                  <a:pt x="1110" y="896"/>
                </a:lnTo>
                <a:lnTo>
                  <a:pt x="1114" y="896"/>
                </a:lnTo>
                <a:lnTo>
                  <a:pt x="1118" y="896"/>
                </a:lnTo>
                <a:lnTo>
                  <a:pt x="1114" y="900"/>
                </a:lnTo>
                <a:lnTo>
                  <a:pt x="1114" y="900"/>
                </a:lnTo>
                <a:lnTo>
                  <a:pt x="1114" y="900"/>
                </a:lnTo>
                <a:close/>
                <a:moveTo>
                  <a:pt x="1136" y="914"/>
                </a:moveTo>
                <a:lnTo>
                  <a:pt x="1132" y="914"/>
                </a:lnTo>
                <a:lnTo>
                  <a:pt x="1130" y="914"/>
                </a:lnTo>
                <a:lnTo>
                  <a:pt x="1126" y="914"/>
                </a:lnTo>
                <a:lnTo>
                  <a:pt x="1126" y="910"/>
                </a:lnTo>
                <a:lnTo>
                  <a:pt x="1126" y="908"/>
                </a:lnTo>
                <a:lnTo>
                  <a:pt x="1126" y="904"/>
                </a:lnTo>
                <a:lnTo>
                  <a:pt x="1126" y="900"/>
                </a:lnTo>
                <a:lnTo>
                  <a:pt x="1130" y="896"/>
                </a:lnTo>
                <a:lnTo>
                  <a:pt x="1132" y="892"/>
                </a:lnTo>
                <a:lnTo>
                  <a:pt x="1132" y="888"/>
                </a:lnTo>
                <a:lnTo>
                  <a:pt x="1136" y="888"/>
                </a:lnTo>
                <a:lnTo>
                  <a:pt x="1136" y="884"/>
                </a:lnTo>
                <a:lnTo>
                  <a:pt x="1140" y="884"/>
                </a:lnTo>
                <a:lnTo>
                  <a:pt x="1136" y="888"/>
                </a:lnTo>
                <a:lnTo>
                  <a:pt x="1140" y="888"/>
                </a:lnTo>
                <a:lnTo>
                  <a:pt x="1140" y="892"/>
                </a:lnTo>
                <a:lnTo>
                  <a:pt x="1136" y="900"/>
                </a:lnTo>
                <a:lnTo>
                  <a:pt x="1136" y="904"/>
                </a:lnTo>
                <a:lnTo>
                  <a:pt x="1136" y="900"/>
                </a:lnTo>
                <a:lnTo>
                  <a:pt x="1140" y="900"/>
                </a:lnTo>
                <a:lnTo>
                  <a:pt x="1136" y="904"/>
                </a:lnTo>
                <a:lnTo>
                  <a:pt x="1132" y="904"/>
                </a:lnTo>
                <a:lnTo>
                  <a:pt x="1132" y="908"/>
                </a:lnTo>
                <a:lnTo>
                  <a:pt x="1130" y="908"/>
                </a:lnTo>
                <a:lnTo>
                  <a:pt x="1132" y="908"/>
                </a:lnTo>
                <a:lnTo>
                  <a:pt x="1132" y="904"/>
                </a:lnTo>
                <a:lnTo>
                  <a:pt x="1136" y="904"/>
                </a:lnTo>
                <a:lnTo>
                  <a:pt x="1132" y="908"/>
                </a:lnTo>
                <a:lnTo>
                  <a:pt x="1130" y="908"/>
                </a:lnTo>
                <a:lnTo>
                  <a:pt x="1132" y="908"/>
                </a:lnTo>
                <a:lnTo>
                  <a:pt x="1132" y="910"/>
                </a:lnTo>
                <a:lnTo>
                  <a:pt x="1130" y="910"/>
                </a:lnTo>
                <a:lnTo>
                  <a:pt x="1132" y="910"/>
                </a:lnTo>
                <a:lnTo>
                  <a:pt x="1136" y="910"/>
                </a:lnTo>
                <a:lnTo>
                  <a:pt x="1136" y="908"/>
                </a:lnTo>
                <a:lnTo>
                  <a:pt x="1140" y="908"/>
                </a:lnTo>
                <a:lnTo>
                  <a:pt x="1136" y="908"/>
                </a:lnTo>
                <a:lnTo>
                  <a:pt x="1132" y="908"/>
                </a:lnTo>
                <a:lnTo>
                  <a:pt x="1136" y="908"/>
                </a:lnTo>
                <a:lnTo>
                  <a:pt x="1136" y="904"/>
                </a:lnTo>
                <a:lnTo>
                  <a:pt x="1140" y="904"/>
                </a:lnTo>
                <a:lnTo>
                  <a:pt x="1140" y="900"/>
                </a:lnTo>
                <a:lnTo>
                  <a:pt x="1140" y="904"/>
                </a:lnTo>
                <a:lnTo>
                  <a:pt x="1136" y="904"/>
                </a:lnTo>
                <a:lnTo>
                  <a:pt x="1140" y="900"/>
                </a:lnTo>
                <a:lnTo>
                  <a:pt x="1144" y="900"/>
                </a:lnTo>
                <a:lnTo>
                  <a:pt x="1144" y="904"/>
                </a:lnTo>
                <a:lnTo>
                  <a:pt x="1148" y="904"/>
                </a:lnTo>
                <a:lnTo>
                  <a:pt x="1148" y="908"/>
                </a:lnTo>
                <a:lnTo>
                  <a:pt x="1144" y="908"/>
                </a:lnTo>
                <a:lnTo>
                  <a:pt x="1144" y="910"/>
                </a:lnTo>
                <a:lnTo>
                  <a:pt x="1140" y="910"/>
                </a:lnTo>
                <a:lnTo>
                  <a:pt x="1140" y="914"/>
                </a:lnTo>
                <a:lnTo>
                  <a:pt x="1136" y="914"/>
                </a:lnTo>
                <a:lnTo>
                  <a:pt x="1136" y="914"/>
                </a:lnTo>
                <a:lnTo>
                  <a:pt x="1136" y="914"/>
                </a:lnTo>
                <a:close/>
                <a:moveTo>
                  <a:pt x="992" y="884"/>
                </a:moveTo>
                <a:lnTo>
                  <a:pt x="992" y="888"/>
                </a:lnTo>
                <a:lnTo>
                  <a:pt x="988" y="888"/>
                </a:lnTo>
                <a:lnTo>
                  <a:pt x="992" y="884"/>
                </a:lnTo>
                <a:lnTo>
                  <a:pt x="992" y="884"/>
                </a:lnTo>
                <a:lnTo>
                  <a:pt x="992" y="884"/>
                </a:lnTo>
                <a:close/>
                <a:moveTo>
                  <a:pt x="1132" y="914"/>
                </a:moveTo>
                <a:lnTo>
                  <a:pt x="1132" y="918"/>
                </a:lnTo>
                <a:lnTo>
                  <a:pt x="1130" y="918"/>
                </a:lnTo>
                <a:lnTo>
                  <a:pt x="1130" y="914"/>
                </a:lnTo>
                <a:lnTo>
                  <a:pt x="1132" y="914"/>
                </a:lnTo>
                <a:lnTo>
                  <a:pt x="1132" y="914"/>
                </a:lnTo>
                <a:lnTo>
                  <a:pt x="1132" y="914"/>
                </a:lnTo>
                <a:close/>
                <a:moveTo>
                  <a:pt x="1052" y="930"/>
                </a:moveTo>
                <a:lnTo>
                  <a:pt x="1052" y="934"/>
                </a:lnTo>
                <a:lnTo>
                  <a:pt x="1048" y="934"/>
                </a:lnTo>
                <a:lnTo>
                  <a:pt x="1048" y="930"/>
                </a:lnTo>
                <a:lnTo>
                  <a:pt x="1052" y="930"/>
                </a:lnTo>
                <a:lnTo>
                  <a:pt x="1052" y="930"/>
                </a:lnTo>
                <a:lnTo>
                  <a:pt x="1052" y="930"/>
                </a:lnTo>
                <a:close/>
                <a:moveTo>
                  <a:pt x="820" y="78"/>
                </a:moveTo>
                <a:lnTo>
                  <a:pt x="816" y="78"/>
                </a:lnTo>
                <a:lnTo>
                  <a:pt x="816" y="76"/>
                </a:lnTo>
                <a:lnTo>
                  <a:pt x="820" y="76"/>
                </a:lnTo>
                <a:lnTo>
                  <a:pt x="824" y="76"/>
                </a:lnTo>
                <a:lnTo>
                  <a:pt x="828" y="76"/>
                </a:lnTo>
                <a:lnTo>
                  <a:pt x="828" y="72"/>
                </a:lnTo>
                <a:lnTo>
                  <a:pt x="832" y="72"/>
                </a:lnTo>
                <a:lnTo>
                  <a:pt x="834" y="72"/>
                </a:lnTo>
                <a:lnTo>
                  <a:pt x="838" y="72"/>
                </a:lnTo>
                <a:lnTo>
                  <a:pt x="834" y="68"/>
                </a:lnTo>
                <a:lnTo>
                  <a:pt x="834" y="72"/>
                </a:lnTo>
                <a:lnTo>
                  <a:pt x="832" y="72"/>
                </a:lnTo>
                <a:lnTo>
                  <a:pt x="828" y="72"/>
                </a:lnTo>
                <a:lnTo>
                  <a:pt x="820" y="72"/>
                </a:lnTo>
                <a:lnTo>
                  <a:pt x="816" y="76"/>
                </a:lnTo>
                <a:lnTo>
                  <a:pt x="812" y="76"/>
                </a:lnTo>
                <a:lnTo>
                  <a:pt x="812" y="72"/>
                </a:lnTo>
                <a:lnTo>
                  <a:pt x="816" y="72"/>
                </a:lnTo>
                <a:lnTo>
                  <a:pt x="820" y="72"/>
                </a:lnTo>
                <a:lnTo>
                  <a:pt x="816" y="68"/>
                </a:lnTo>
                <a:lnTo>
                  <a:pt x="816" y="72"/>
                </a:lnTo>
                <a:lnTo>
                  <a:pt x="812" y="72"/>
                </a:lnTo>
                <a:lnTo>
                  <a:pt x="808" y="72"/>
                </a:lnTo>
                <a:lnTo>
                  <a:pt x="808" y="76"/>
                </a:lnTo>
                <a:lnTo>
                  <a:pt x="808" y="78"/>
                </a:lnTo>
                <a:lnTo>
                  <a:pt x="806" y="78"/>
                </a:lnTo>
                <a:lnTo>
                  <a:pt x="802" y="78"/>
                </a:lnTo>
                <a:lnTo>
                  <a:pt x="798" y="78"/>
                </a:lnTo>
                <a:lnTo>
                  <a:pt x="794" y="78"/>
                </a:lnTo>
                <a:lnTo>
                  <a:pt x="790" y="78"/>
                </a:lnTo>
                <a:lnTo>
                  <a:pt x="786" y="78"/>
                </a:lnTo>
                <a:lnTo>
                  <a:pt x="782" y="78"/>
                </a:lnTo>
                <a:lnTo>
                  <a:pt x="778" y="78"/>
                </a:lnTo>
                <a:lnTo>
                  <a:pt x="782" y="76"/>
                </a:lnTo>
                <a:lnTo>
                  <a:pt x="778" y="76"/>
                </a:lnTo>
                <a:lnTo>
                  <a:pt x="778" y="78"/>
                </a:lnTo>
                <a:lnTo>
                  <a:pt x="776" y="78"/>
                </a:lnTo>
                <a:lnTo>
                  <a:pt x="772" y="78"/>
                </a:lnTo>
                <a:lnTo>
                  <a:pt x="768" y="76"/>
                </a:lnTo>
                <a:lnTo>
                  <a:pt x="772" y="72"/>
                </a:lnTo>
                <a:lnTo>
                  <a:pt x="776" y="72"/>
                </a:lnTo>
                <a:lnTo>
                  <a:pt x="776" y="68"/>
                </a:lnTo>
                <a:lnTo>
                  <a:pt x="778" y="68"/>
                </a:lnTo>
                <a:lnTo>
                  <a:pt x="782" y="68"/>
                </a:lnTo>
                <a:lnTo>
                  <a:pt x="782" y="64"/>
                </a:lnTo>
                <a:lnTo>
                  <a:pt x="790" y="64"/>
                </a:lnTo>
                <a:lnTo>
                  <a:pt x="794" y="64"/>
                </a:lnTo>
                <a:lnTo>
                  <a:pt x="802" y="64"/>
                </a:lnTo>
                <a:lnTo>
                  <a:pt x="806" y="64"/>
                </a:lnTo>
                <a:lnTo>
                  <a:pt x="808" y="64"/>
                </a:lnTo>
                <a:lnTo>
                  <a:pt x="812" y="60"/>
                </a:lnTo>
                <a:lnTo>
                  <a:pt x="816" y="60"/>
                </a:lnTo>
                <a:lnTo>
                  <a:pt x="820" y="60"/>
                </a:lnTo>
                <a:lnTo>
                  <a:pt x="824" y="60"/>
                </a:lnTo>
                <a:lnTo>
                  <a:pt x="828" y="60"/>
                </a:lnTo>
                <a:lnTo>
                  <a:pt x="824" y="60"/>
                </a:lnTo>
                <a:lnTo>
                  <a:pt x="820" y="60"/>
                </a:lnTo>
                <a:lnTo>
                  <a:pt x="816" y="60"/>
                </a:lnTo>
                <a:lnTo>
                  <a:pt x="812" y="60"/>
                </a:lnTo>
                <a:lnTo>
                  <a:pt x="808" y="60"/>
                </a:lnTo>
                <a:lnTo>
                  <a:pt x="806" y="60"/>
                </a:lnTo>
                <a:lnTo>
                  <a:pt x="802" y="60"/>
                </a:lnTo>
                <a:lnTo>
                  <a:pt x="798" y="60"/>
                </a:lnTo>
                <a:lnTo>
                  <a:pt x="794" y="64"/>
                </a:lnTo>
                <a:lnTo>
                  <a:pt x="790" y="64"/>
                </a:lnTo>
                <a:lnTo>
                  <a:pt x="786" y="64"/>
                </a:lnTo>
                <a:lnTo>
                  <a:pt x="782" y="64"/>
                </a:lnTo>
                <a:lnTo>
                  <a:pt x="778" y="64"/>
                </a:lnTo>
                <a:lnTo>
                  <a:pt x="776" y="64"/>
                </a:lnTo>
                <a:lnTo>
                  <a:pt x="772" y="68"/>
                </a:lnTo>
                <a:lnTo>
                  <a:pt x="764" y="72"/>
                </a:lnTo>
                <a:lnTo>
                  <a:pt x="760" y="76"/>
                </a:lnTo>
                <a:lnTo>
                  <a:pt x="756" y="76"/>
                </a:lnTo>
                <a:lnTo>
                  <a:pt x="752" y="76"/>
                </a:lnTo>
                <a:lnTo>
                  <a:pt x="748" y="76"/>
                </a:lnTo>
                <a:lnTo>
                  <a:pt x="746" y="76"/>
                </a:lnTo>
                <a:lnTo>
                  <a:pt x="746" y="72"/>
                </a:lnTo>
                <a:lnTo>
                  <a:pt x="742" y="72"/>
                </a:lnTo>
                <a:lnTo>
                  <a:pt x="738" y="72"/>
                </a:lnTo>
                <a:lnTo>
                  <a:pt x="734" y="72"/>
                </a:lnTo>
                <a:lnTo>
                  <a:pt x="732" y="68"/>
                </a:lnTo>
                <a:lnTo>
                  <a:pt x="734" y="68"/>
                </a:lnTo>
                <a:lnTo>
                  <a:pt x="738" y="64"/>
                </a:lnTo>
                <a:lnTo>
                  <a:pt x="742" y="64"/>
                </a:lnTo>
                <a:lnTo>
                  <a:pt x="746" y="64"/>
                </a:lnTo>
                <a:lnTo>
                  <a:pt x="748" y="64"/>
                </a:lnTo>
                <a:lnTo>
                  <a:pt x="752" y="64"/>
                </a:lnTo>
                <a:lnTo>
                  <a:pt x="756" y="64"/>
                </a:lnTo>
                <a:lnTo>
                  <a:pt x="760" y="64"/>
                </a:lnTo>
                <a:lnTo>
                  <a:pt x="764" y="64"/>
                </a:lnTo>
                <a:lnTo>
                  <a:pt x="768" y="64"/>
                </a:lnTo>
                <a:lnTo>
                  <a:pt x="772" y="64"/>
                </a:lnTo>
                <a:lnTo>
                  <a:pt x="776" y="64"/>
                </a:lnTo>
                <a:lnTo>
                  <a:pt x="778" y="60"/>
                </a:lnTo>
                <a:lnTo>
                  <a:pt x="782" y="60"/>
                </a:lnTo>
                <a:lnTo>
                  <a:pt x="786" y="60"/>
                </a:lnTo>
                <a:lnTo>
                  <a:pt x="786" y="56"/>
                </a:lnTo>
                <a:lnTo>
                  <a:pt x="790" y="56"/>
                </a:lnTo>
                <a:lnTo>
                  <a:pt x="794" y="56"/>
                </a:lnTo>
                <a:lnTo>
                  <a:pt x="790" y="56"/>
                </a:lnTo>
                <a:lnTo>
                  <a:pt x="786" y="56"/>
                </a:lnTo>
                <a:lnTo>
                  <a:pt x="782" y="56"/>
                </a:lnTo>
                <a:lnTo>
                  <a:pt x="778" y="56"/>
                </a:lnTo>
                <a:lnTo>
                  <a:pt x="776" y="60"/>
                </a:lnTo>
                <a:lnTo>
                  <a:pt x="772" y="60"/>
                </a:lnTo>
                <a:lnTo>
                  <a:pt x="768" y="60"/>
                </a:lnTo>
                <a:lnTo>
                  <a:pt x="764" y="60"/>
                </a:lnTo>
                <a:lnTo>
                  <a:pt x="760" y="60"/>
                </a:lnTo>
                <a:lnTo>
                  <a:pt x="760" y="64"/>
                </a:lnTo>
                <a:lnTo>
                  <a:pt x="752" y="64"/>
                </a:lnTo>
                <a:lnTo>
                  <a:pt x="748" y="64"/>
                </a:lnTo>
                <a:lnTo>
                  <a:pt x="746" y="64"/>
                </a:lnTo>
                <a:lnTo>
                  <a:pt x="742" y="64"/>
                </a:lnTo>
                <a:lnTo>
                  <a:pt x="738" y="64"/>
                </a:lnTo>
                <a:lnTo>
                  <a:pt x="734" y="64"/>
                </a:lnTo>
                <a:lnTo>
                  <a:pt x="732" y="64"/>
                </a:lnTo>
                <a:lnTo>
                  <a:pt x="728" y="64"/>
                </a:lnTo>
                <a:lnTo>
                  <a:pt x="724" y="64"/>
                </a:lnTo>
                <a:lnTo>
                  <a:pt x="720" y="64"/>
                </a:lnTo>
                <a:lnTo>
                  <a:pt x="716" y="60"/>
                </a:lnTo>
                <a:lnTo>
                  <a:pt x="720" y="56"/>
                </a:lnTo>
                <a:lnTo>
                  <a:pt x="724" y="56"/>
                </a:lnTo>
                <a:lnTo>
                  <a:pt x="728" y="56"/>
                </a:lnTo>
                <a:lnTo>
                  <a:pt x="728" y="60"/>
                </a:lnTo>
                <a:lnTo>
                  <a:pt x="732" y="60"/>
                </a:lnTo>
                <a:lnTo>
                  <a:pt x="732" y="56"/>
                </a:lnTo>
                <a:lnTo>
                  <a:pt x="734" y="56"/>
                </a:lnTo>
                <a:lnTo>
                  <a:pt x="732" y="56"/>
                </a:lnTo>
                <a:lnTo>
                  <a:pt x="728" y="56"/>
                </a:lnTo>
                <a:lnTo>
                  <a:pt x="724" y="56"/>
                </a:lnTo>
                <a:lnTo>
                  <a:pt x="724" y="52"/>
                </a:lnTo>
                <a:lnTo>
                  <a:pt x="728" y="52"/>
                </a:lnTo>
                <a:lnTo>
                  <a:pt x="732" y="52"/>
                </a:lnTo>
                <a:lnTo>
                  <a:pt x="734" y="52"/>
                </a:lnTo>
                <a:lnTo>
                  <a:pt x="738" y="50"/>
                </a:lnTo>
                <a:lnTo>
                  <a:pt x="742" y="50"/>
                </a:lnTo>
                <a:lnTo>
                  <a:pt x="746" y="50"/>
                </a:lnTo>
                <a:lnTo>
                  <a:pt x="748" y="50"/>
                </a:lnTo>
                <a:lnTo>
                  <a:pt x="752" y="50"/>
                </a:lnTo>
                <a:lnTo>
                  <a:pt x="756" y="50"/>
                </a:lnTo>
                <a:lnTo>
                  <a:pt x="760" y="50"/>
                </a:lnTo>
                <a:lnTo>
                  <a:pt x="756" y="50"/>
                </a:lnTo>
                <a:lnTo>
                  <a:pt x="752" y="50"/>
                </a:lnTo>
                <a:lnTo>
                  <a:pt x="748" y="50"/>
                </a:lnTo>
                <a:lnTo>
                  <a:pt x="746" y="50"/>
                </a:lnTo>
                <a:lnTo>
                  <a:pt x="742" y="50"/>
                </a:lnTo>
                <a:lnTo>
                  <a:pt x="738" y="50"/>
                </a:lnTo>
                <a:lnTo>
                  <a:pt x="734" y="50"/>
                </a:lnTo>
                <a:lnTo>
                  <a:pt x="732" y="50"/>
                </a:lnTo>
                <a:lnTo>
                  <a:pt x="728" y="50"/>
                </a:lnTo>
                <a:lnTo>
                  <a:pt x="728" y="52"/>
                </a:lnTo>
                <a:lnTo>
                  <a:pt x="720" y="52"/>
                </a:lnTo>
                <a:lnTo>
                  <a:pt x="716" y="52"/>
                </a:lnTo>
                <a:lnTo>
                  <a:pt x="712" y="52"/>
                </a:lnTo>
                <a:lnTo>
                  <a:pt x="716" y="52"/>
                </a:lnTo>
                <a:lnTo>
                  <a:pt x="712" y="52"/>
                </a:lnTo>
                <a:lnTo>
                  <a:pt x="708" y="52"/>
                </a:lnTo>
                <a:lnTo>
                  <a:pt x="708" y="50"/>
                </a:lnTo>
                <a:lnTo>
                  <a:pt x="712" y="50"/>
                </a:lnTo>
                <a:lnTo>
                  <a:pt x="716" y="50"/>
                </a:lnTo>
                <a:lnTo>
                  <a:pt x="720" y="50"/>
                </a:lnTo>
                <a:lnTo>
                  <a:pt x="724" y="46"/>
                </a:lnTo>
                <a:lnTo>
                  <a:pt x="728" y="46"/>
                </a:lnTo>
                <a:lnTo>
                  <a:pt x="724" y="46"/>
                </a:lnTo>
                <a:lnTo>
                  <a:pt x="720" y="46"/>
                </a:lnTo>
                <a:lnTo>
                  <a:pt x="716" y="46"/>
                </a:lnTo>
                <a:lnTo>
                  <a:pt x="712" y="46"/>
                </a:lnTo>
                <a:lnTo>
                  <a:pt x="708" y="46"/>
                </a:lnTo>
                <a:lnTo>
                  <a:pt x="708" y="50"/>
                </a:lnTo>
                <a:lnTo>
                  <a:pt x="706" y="50"/>
                </a:lnTo>
                <a:lnTo>
                  <a:pt x="702" y="50"/>
                </a:lnTo>
                <a:lnTo>
                  <a:pt x="702" y="46"/>
                </a:lnTo>
                <a:lnTo>
                  <a:pt x="698" y="46"/>
                </a:lnTo>
                <a:lnTo>
                  <a:pt x="694" y="46"/>
                </a:lnTo>
                <a:lnTo>
                  <a:pt x="698" y="46"/>
                </a:lnTo>
                <a:lnTo>
                  <a:pt x="698" y="42"/>
                </a:lnTo>
                <a:lnTo>
                  <a:pt x="702" y="42"/>
                </a:lnTo>
                <a:lnTo>
                  <a:pt x="706" y="42"/>
                </a:lnTo>
                <a:lnTo>
                  <a:pt x="708" y="42"/>
                </a:lnTo>
                <a:lnTo>
                  <a:pt x="708" y="38"/>
                </a:lnTo>
                <a:lnTo>
                  <a:pt x="712" y="38"/>
                </a:lnTo>
                <a:lnTo>
                  <a:pt x="716" y="38"/>
                </a:lnTo>
                <a:lnTo>
                  <a:pt x="720" y="38"/>
                </a:lnTo>
                <a:lnTo>
                  <a:pt x="724" y="38"/>
                </a:lnTo>
                <a:lnTo>
                  <a:pt x="728" y="38"/>
                </a:lnTo>
                <a:lnTo>
                  <a:pt x="732" y="42"/>
                </a:lnTo>
                <a:lnTo>
                  <a:pt x="732" y="38"/>
                </a:lnTo>
                <a:lnTo>
                  <a:pt x="734" y="38"/>
                </a:lnTo>
                <a:lnTo>
                  <a:pt x="734" y="34"/>
                </a:lnTo>
                <a:lnTo>
                  <a:pt x="738" y="34"/>
                </a:lnTo>
                <a:lnTo>
                  <a:pt x="742" y="34"/>
                </a:lnTo>
                <a:lnTo>
                  <a:pt x="746" y="34"/>
                </a:lnTo>
                <a:lnTo>
                  <a:pt x="748" y="30"/>
                </a:lnTo>
                <a:lnTo>
                  <a:pt x="752" y="34"/>
                </a:lnTo>
                <a:lnTo>
                  <a:pt x="752" y="30"/>
                </a:lnTo>
                <a:lnTo>
                  <a:pt x="756" y="30"/>
                </a:lnTo>
                <a:lnTo>
                  <a:pt x="756" y="34"/>
                </a:lnTo>
                <a:lnTo>
                  <a:pt x="760" y="34"/>
                </a:lnTo>
                <a:lnTo>
                  <a:pt x="760" y="38"/>
                </a:lnTo>
                <a:lnTo>
                  <a:pt x="764" y="38"/>
                </a:lnTo>
                <a:lnTo>
                  <a:pt x="768" y="38"/>
                </a:lnTo>
                <a:lnTo>
                  <a:pt x="764" y="38"/>
                </a:lnTo>
                <a:lnTo>
                  <a:pt x="760" y="38"/>
                </a:lnTo>
                <a:lnTo>
                  <a:pt x="760" y="34"/>
                </a:lnTo>
                <a:lnTo>
                  <a:pt x="764" y="34"/>
                </a:lnTo>
                <a:lnTo>
                  <a:pt x="768" y="34"/>
                </a:lnTo>
                <a:lnTo>
                  <a:pt x="772" y="34"/>
                </a:lnTo>
                <a:lnTo>
                  <a:pt x="776" y="34"/>
                </a:lnTo>
                <a:lnTo>
                  <a:pt x="778" y="34"/>
                </a:lnTo>
                <a:lnTo>
                  <a:pt x="782" y="34"/>
                </a:lnTo>
                <a:lnTo>
                  <a:pt x="782" y="38"/>
                </a:lnTo>
                <a:lnTo>
                  <a:pt x="786" y="38"/>
                </a:lnTo>
                <a:lnTo>
                  <a:pt x="782" y="38"/>
                </a:lnTo>
                <a:lnTo>
                  <a:pt x="782" y="34"/>
                </a:lnTo>
                <a:lnTo>
                  <a:pt x="786" y="34"/>
                </a:lnTo>
                <a:lnTo>
                  <a:pt x="790" y="34"/>
                </a:lnTo>
                <a:lnTo>
                  <a:pt x="790" y="38"/>
                </a:lnTo>
                <a:lnTo>
                  <a:pt x="794" y="38"/>
                </a:lnTo>
                <a:lnTo>
                  <a:pt x="790" y="38"/>
                </a:lnTo>
                <a:lnTo>
                  <a:pt x="790" y="34"/>
                </a:lnTo>
                <a:lnTo>
                  <a:pt x="794" y="34"/>
                </a:lnTo>
                <a:lnTo>
                  <a:pt x="794" y="38"/>
                </a:lnTo>
                <a:lnTo>
                  <a:pt x="798" y="38"/>
                </a:lnTo>
                <a:lnTo>
                  <a:pt x="794" y="34"/>
                </a:lnTo>
                <a:lnTo>
                  <a:pt x="790" y="34"/>
                </a:lnTo>
                <a:lnTo>
                  <a:pt x="786" y="34"/>
                </a:lnTo>
                <a:lnTo>
                  <a:pt x="782" y="34"/>
                </a:lnTo>
                <a:lnTo>
                  <a:pt x="778" y="34"/>
                </a:lnTo>
                <a:lnTo>
                  <a:pt x="778" y="30"/>
                </a:lnTo>
                <a:lnTo>
                  <a:pt x="776" y="30"/>
                </a:lnTo>
                <a:lnTo>
                  <a:pt x="772" y="30"/>
                </a:lnTo>
                <a:lnTo>
                  <a:pt x="768" y="30"/>
                </a:lnTo>
                <a:lnTo>
                  <a:pt x="764" y="30"/>
                </a:lnTo>
                <a:lnTo>
                  <a:pt x="764" y="26"/>
                </a:lnTo>
                <a:lnTo>
                  <a:pt x="768" y="26"/>
                </a:lnTo>
                <a:lnTo>
                  <a:pt x="772" y="26"/>
                </a:lnTo>
                <a:lnTo>
                  <a:pt x="776" y="26"/>
                </a:lnTo>
                <a:lnTo>
                  <a:pt x="778" y="26"/>
                </a:lnTo>
                <a:lnTo>
                  <a:pt x="782" y="26"/>
                </a:lnTo>
                <a:lnTo>
                  <a:pt x="786" y="26"/>
                </a:lnTo>
                <a:lnTo>
                  <a:pt x="782" y="22"/>
                </a:lnTo>
                <a:lnTo>
                  <a:pt x="786" y="22"/>
                </a:lnTo>
                <a:lnTo>
                  <a:pt x="782" y="22"/>
                </a:lnTo>
                <a:lnTo>
                  <a:pt x="778" y="22"/>
                </a:lnTo>
                <a:lnTo>
                  <a:pt x="778" y="20"/>
                </a:lnTo>
                <a:lnTo>
                  <a:pt x="782" y="20"/>
                </a:lnTo>
                <a:lnTo>
                  <a:pt x="786" y="20"/>
                </a:lnTo>
                <a:lnTo>
                  <a:pt x="790" y="20"/>
                </a:lnTo>
                <a:lnTo>
                  <a:pt x="798" y="20"/>
                </a:lnTo>
                <a:lnTo>
                  <a:pt x="798" y="22"/>
                </a:lnTo>
                <a:lnTo>
                  <a:pt x="794" y="22"/>
                </a:lnTo>
                <a:lnTo>
                  <a:pt x="798" y="22"/>
                </a:lnTo>
                <a:lnTo>
                  <a:pt x="802" y="22"/>
                </a:lnTo>
                <a:lnTo>
                  <a:pt x="806" y="22"/>
                </a:lnTo>
                <a:lnTo>
                  <a:pt x="808" y="22"/>
                </a:lnTo>
                <a:lnTo>
                  <a:pt x="812" y="26"/>
                </a:lnTo>
                <a:lnTo>
                  <a:pt x="816" y="26"/>
                </a:lnTo>
                <a:lnTo>
                  <a:pt x="816" y="30"/>
                </a:lnTo>
                <a:lnTo>
                  <a:pt x="820" y="30"/>
                </a:lnTo>
                <a:lnTo>
                  <a:pt x="820" y="34"/>
                </a:lnTo>
                <a:lnTo>
                  <a:pt x="824" y="34"/>
                </a:lnTo>
                <a:lnTo>
                  <a:pt x="828" y="34"/>
                </a:lnTo>
                <a:lnTo>
                  <a:pt x="832" y="34"/>
                </a:lnTo>
                <a:lnTo>
                  <a:pt x="834" y="34"/>
                </a:lnTo>
                <a:lnTo>
                  <a:pt x="832" y="34"/>
                </a:lnTo>
                <a:lnTo>
                  <a:pt x="828" y="30"/>
                </a:lnTo>
                <a:lnTo>
                  <a:pt x="824" y="30"/>
                </a:lnTo>
                <a:lnTo>
                  <a:pt x="820" y="30"/>
                </a:lnTo>
                <a:lnTo>
                  <a:pt x="820" y="26"/>
                </a:lnTo>
                <a:lnTo>
                  <a:pt x="824" y="26"/>
                </a:lnTo>
                <a:lnTo>
                  <a:pt x="828" y="26"/>
                </a:lnTo>
                <a:lnTo>
                  <a:pt x="832" y="26"/>
                </a:lnTo>
                <a:lnTo>
                  <a:pt x="832" y="30"/>
                </a:lnTo>
                <a:lnTo>
                  <a:pt x="834" y="30"/>
                </a:lnTo>
                <a:lnTo>
                  <a:pt x="838" y="30"/>
                </a:lnTo>
                <a:lnTo>
                  <a:pt x="842" y="30"/>
                </a:lnTo>
                <a:lnTo>
                  <a:pt x="846" y="34"/>
                </a:lnTo>
                <a:lnTo>
                  <a:pt x="850" y="34"/>
                </a:lnTo>
                <a:lnTo>
                  <a:pt x="854" y="34"/>
                </a:lnTo>
                <a:lnTo>
                  <a:pt x="858" y="34"/>
                </a:lnTo>
                <a:lnTo>
                  <a:pt x="862" y="34"/>
                </a:lnTo>
                <a:lnTo>
                  <a:pt x="864" y="38"/>
                </a:lnTo>
                <a:lnTo>
                  <a:pt x="868" y="38"/>
                </a:lnTo>
                <a:lnTo>
                  <a:pt x="868" y="42"/>
                </a:lnTo>
                <a:lnTo>
                  <a:pt x="872" y="42"/>
                </a:lnTo>
                <a:lnTo>
                  <a:pt x="868" y="38"/>
                </a:lnTo>
                <a:lnTo>
                  <a:pt x="864" y="34"/>
                </a:lnTo>
                <a:lnTo>
                  <a:pt x="862" y="34"/>
                </a:lnTo>
                <a:lnTo>
                  <a:pt x="858" y="34"/>
                </a:lnTo>
                <a:lnTo>
                  <a:pt x="854" y="34"/>
                </a:lnTo>
                <a:lnTo>
                  <a:pt x="850" y="34"/>
                </a:lnTo>
                <a:lnTo>
                  <a:pt x="850" y="30"/>
                </a:lnTo>
                <a:lnTo>
                  <a:pt x="846" y="30"/>
                </a:lnTo>
                <a:lnTo>
                  <a:pt x="842" y="30"/>
                </a:lnTo>
                <a:lnTo>
                  <a:pt x="838" y="26"/>
                </a:lnTo>
                <a:lnTo>
                  <a:pt x="834" y="26"/>
                </a:lnTo>
                <a:lnTo>
                  <a:pt x="832" y="26"/>
                </a:lnTo>
                <a:lnTo>
                  <a:pt x="828" y="26"/>
                </a:lnTo>
                <a:lnTo>
                  <a:pt x="828" y="22"/>
                </a:lnTo>
                <a:lnTo>
                  <a:pt x="824" y="22"/>
                </a:lnTo>
                <a:lnTo>
                  <a:pt x="828" y="20"/>
                </a:lnTo>
                <a:lnTo>
                  <a:pt x="832" y="20"/>
                </a:lnTo>
                <a:lnTo>
                  <a:pt x="838" y="20"/>
                </a:lnTo>
                <a:lnTo>
                  <a:pt x="842" y="20"/>
                </a:lnTo>
                <a:lnTo>
                  <a:pt x="838" y="20"/>
                </a:lnTo>
                <a:lnTo>
                  <a:pt x="834" y="20"/>
                </a:lnTo>
                <a:lnTo>
                  <a:pt x="832" y="20"/>
                </a:lnTo>
                <a:lnTo>
                  <a:pt x="832" y="16"/>
                </a:lnTo>
                <a:lnTo>
                  <a:pt x="828" y="16"/>
                </a:lnTo>
                <a:lnTo>
                  <a:pt x="832" y="16"/>
                </a:lnTo>
                <a:lnTo>
                  <a:pt x="834" y="16"/>
                </a:lnTo>
                <a:lnTo>
                  <a:pt x="842" y="16"/>
                </a:lnTo>
                <a:lnTo>
                  <a:pt x="846" y="20"/>
                </a:lnTo>
                <a:lnTo>
                  <a:pt x="850" y="20"/>
                </a:lnTo>
                <a:lnTo>
                  <a:pt x="854" y="20"/>
                </a:lnTo>
                <a:lnTo>
                  <a:pt x="850" y="16"/>
                </a:lnTo>
                <a:lnTo>
                  <a:pt x="846" y="16"/>
                </a:lnTo>
                <a:lnTo>
                  <a:pt x="846" y="12"/>
                </a:lnTo>
                <a:lnTo>
                  <a:pt x="842" y="12"/>
                </a:lnTo>
                <a:lnTo>
                  <a:pt x="838" y="12"/>
                </a:lnTo>
                <a:lnTo>
                  <a:pt x="842" y="12"/>
                </a:lnTo>
                <a:lnTo>
                  <a:pt x="842" y="8"/>
                </a:lnTo>
                <a:lnTo>
                  <a:pt x="850" y="12"/>
                </a:lnTo>
                <a:lnTo>
                  <a:pt x="858" y="12"/>
                </a:lnTo>
                <a:lnTo>
                  <a:pt x="862" y="12"/>
                </a:lnTo>
                <a:lnTo>
                  <a:pt x="862" y="16"/>
                </a:lnTo>
                <a:lnTo>
                  <a:pt x="864" y="16"/>
                </a:lnTo>
                <a:lnTo>
                  <a:pt x="864" y="12"/>
                </a:lnTo>
                <a:lnTo>
                  <a:pt x="868" y="16"/>
                </a:lnTo>
                <a:lnTo>
                  <a:pt x="872" y="16"/>
                </a:lnTo>
                <a:lnTo>
                  <a:pt x="876" y="16"/>
                </a:lnTo>
                <a:lnTo>
                  <a:pt x="880" y="16"/>
                </a:lnTo>
                <a:lnTo>
                  <a:pt x="884" y="16"/>
                </a:lnTo>
                <a:lnTo>
                  <a:pt x="880" y="16"/>
                </a:lnTo>
                <a:lnTo>
                  <a:pt x="876" y="16"/>
                </a:lnTo>
                <a:lnTo>
                  <a:pt x="872" y="16"/>
                </a:lnTo>
                <a:lnTo>
                  <a:pt x="872" y="12"/>
                </a:lnTo>
                <a:lnTo>
                  <a:pt x="868" y="12"/>
                </a:lnTo>
                <a:lnTo>
                  <a:pt x="864" y="12"/>
                </a:lnTo>
                <a:lnTo>
                  <a:pt x="862" y="12"/>
                </a:lnTo>
                <a:lnTo>
                  <a:pt x="864" y="12"/>
                </a:lnTo>
                <a:lnTo>
                  <a:pt x="868" y="12"/>
                </a:lnTo>
                <a:lnTo>
                  <a:pt x="864" y="8"/>
                </a:lnTo>
                <a:lnTo>
                  <a:pt x="862" y="8"/>
                </a:lnTo>
                <a:lnTo>
                  <a:pt x="858" y="8"/>
                </a:lnTo>
                <a:lnTo>
                  <a:pt x="862" y="8"/>
                </a:lnTo>
                <a:lnTo>
                  <a:pt x="864" y="4"/>
                </a:lnTo>
                <a:lnTo>
                  <a:pt x="868" y="4"/>
                </a:lnTo>
                <a:lnTo>
                  <a:pt x="872" y="4"/>
                </a:lnTo>
                <a:lnTo>
                  <a:pt x="876" y="4"/>
                </a:lnTo>
                <a:lnTo>
                  <a:pt x="876" y="8"/>
                </a:lnTo>
                <a:lnTo>
                  <a:pt x="880" y="8"/>
                </a:lnTo>
                <a:lnTo>
                  <a:pt x="884" y="8"/>
                </a:lnTo>
                <a:lnTo>
                  <a:pt x="888" y="8"/>
                </a:lnTo>
                <a:lnTo>
                  <a:pt x="888" y="12"/>
                </a:lnTo>
                <a:lnTo>
                  <a:pt x="890" y="8"/>
                </a:lnTo>
                <a:lnTo>
                  <a:pt x="888" y="8"/>
                </a:lnTo>
                <a:lnTo>
                  <a:pt x="890" y="8"/>
                </a:lnTo>
                <a:lnTo>
                  <a:pt x="894" y="8"/>
                </a:lnTo>
                <a:lnTo>
                  <a:pt x="898" y="8"/>
                </a:lnTo>
                <a:lnTo>
                  <a:pt x="902" y="8"/>
                </a:lnTo>
                <a:lnTo>
                  <a:pt x="906" y="12"/>
                </a:lnTo>
                <a:lnTo>
                  <a:pt x="910" y="12"/>
                </a:lnTo>
                <a:lnTo>
                  <a:pt x="910" y="16"/>
                </a:lnTo>
                <a:lnTo>
                  <a:pt x="914" y="16"/>
                </a:lnTo>
                <a:lnTo>
                  <a:pt x="918" y="16"/>
                </a:lnTo>
                <a:lnTo>
                  <a:pt x="920" y="16"/>
                </a:lnTo>
                <a:lnTo>
                  <a:pt x="920" y="20"/>
                </a:lnTo>
                <a:lnTo>
                  <a:pt x="918" y="20"/>
                </a:lnTo>
                <a:lnTo>
                  <a:pt x="918" y="22"/>
                </a:lnTo>
                <a:lnTo>
                  <a:pt x="918" y="20"/>
                </a:lnTo>
                <a:lnTo>
                  <a:pt x="920" y="20"/>
                </a:lnTo>
                <a:lnTo>
                  <a:pt x="924" y="16"/>
                </a:lnTo>
                <a:lnTo>
                  <a:pt x="928" y="16"/>
                </a:lnTo>
                <a:lnTo>
                  <a:pt x="924" y="16"/>
                </a:lnTo>
                <a:lnTo>
                  <a:pt x="920" y="16"/>
                </a:lnTo>
                <a:lnTo>
                  <a:pt x="918" y="16"/>
                </a:lnTo>
                <a:lnTo>
                  <a:pt x="918" y="12"/>
                </a:lnTo>
                <a:lnTo>
                  <a:pt x="914" y="12"/>
                </a:lnTo>
                <a:lnTo>
                  <a:pt x="918" y="12"/>
                </a:lnTo>
                <a:lnTo>
                  <a:pt x="920" y="12"/>
                </a:lnTo>
                <a:lnTo>
                  <a:pt x="918" y="12"/>
                </a:lnTo>
                <a:lnTo>
                  <a:pt x="914" y="12"/>
                </a:lnTo>
                <a:lnTo>
                  <a:pt x="910" y="8"/>
                </a:lnTo>
                <a:lnTo>
                  <a:pt x="906" y="8"/>
                </a:lnTo>
                <a:lnTo>
                  <a:pt x="902" y="8"/>
                </a:lnTo>
                <a:lnTo>
                  <a:pt x="898" y="4"/>
                </a:lnTo>
                <a:lnTo>
                  <a:pt x="902" y="4"/>
                </a:lnTo>
                <a:lnTo>
                  <a:pt x="906" y="4"/>
                </a:lnTo>
                <a:lnTo>
                  <a:pt x="910" y="4"/>
                </a:lnTo>
                <a:lnTo>
                  <a:pt x="914" y="4"/>
                </a:lnTo>
                <a:lnTo>
                  <a:pt x="918" y="4"/>
                </a:lnTo>
                <a:lnTo>
                  <a:pt x="920" y="4"/>
                </a:lnTo>
                <a:lnTo>
                  <a:pt x="924" y="4"/>
                </a:lnTo>
                <a:lnTo>
                  <a:pt x="928" y="4"/>
                </a:lnTo>
                <a:lnTo>
                  <a:pt x="932" y="4"/>
                </a:lnTo>
                <a:lnTo>
                  <a:pt x="936" y="4"/>
                </a:lnTo>
                <a:lnTo>
                  <a:pt x="940" y="4"/>
                </a:lnTo>
                <a:lnTo>
                  <a:pt x="944" y="4"/>
                </a:lnTo>
                <a:lnTo>
                  <a:pt x="948" y="4"/>
                </a:lnTo>
                <a:lnTo>
                  <a:pt x="950" y="8"/>
                </a:lnTo>
                <a:lnTo>
                  <a:pt x="954" y="12"/>
                </a:lnTo>
                <a:lnTo>
                  <a:pt x="958" y="12"/>
                </a:lnTo>
                <a:lnTo>
                  <a:pt x="962" y="12"/>
                </a:lnTo>
                <a:lnTo>
                  <a:pt x="966" y="12"/>
                </a:lnTo>
                <a:lnTo>
                  <a:pt x="966" y="16"/>
                </a:lnTo>
                <a:lnTo>
                  <a:pt x="970" y="12"/>
                </a:lnTo>
                <a:lnTo>
                  <a:pt x="966" y="12"/>
                </a:lnTo>
                <a:lnTo>
                  <a:pt x="962" y="12"/>
                </a:lnTo>
                <a:lnTo>
                  <a:pt x="958" y="12"/>
                </a:lnTo>
                <a:lnTo>
                  <a:pt x="954" y="8"/>
                </a:lnTo>
                <a:lnTo>
                  <a:pt x="958" y="4"/>
                </a:lnTo>
                <a:lnTo>
                  <a:pt x="962" y="4"/>
                </a:lnTo>
                <a:lnTo>
                  <a:pt x="966" y="0"/>
                </a:lnTo>
                <a:lnTo>
                  <a:pt x="970" y="0"/>
                </a:lnTo>
                <a:lnTo>
                  <a:pt x="974" y="0"/>
                </a:lnTo>
                <a:lnTo>
                  <a:pt x="976" y="0"/>
                </a:lnTo>
                <a:lnTo>
                  <a:pt x="980" y="0"/>
                </a:lnTo>
                <a:lnTo>
                  <a:pt x="980" y="4"/>
                </a:lnTo>
                <a:lnTo>
                  <a:pt x="980" y="8"/>
                </a:lnTo>
                <a:lnTo>
                  <a:pt x="984" y="8"/>
                </a:lnTo>
                <a:lnTo>
                  <a:pt x="988" y="8"/>
                </a:lnTo>
                <a:lnTo>
                  <a:pt x="992" y="8"/>
                </a:lnTo>
                <a:lnTo>
                  <a:pt x="988" y="8"/>
                </a:lnTo>
                <a:lnTo>
                  <a:pt x="984" y="4"/>
                </a:lnTo>
                <a:lnTo>
                  <a:pt x="988" y="0"/>
                </a:lnTo>
                <a:lnTo>
                  <a:pt x="992" y="0"/>
                </a:lnTo>
                <a:lnTo>
                  <a:pt x="996" y="0"/>
                </a:lnTo>
                <a:lnTo>
                  <a:pt x="1000" y="0"/>
                </a:lnTo>
                <a:lnTo>
                  <a:pt x="1004" y="0"/>
                </a:lnTo>
                <a:lnTo>
                  <a:pt x="1006" y="0"/>
                </a:lnTo>
                <a:lnTo>
                  <a:pt x="1010" y="0"/>
                </a:lnTo>
                <a:lnTo>
                  <a:pt x="1010" y="4"/>
                </a:lnTo>
                <a:lnTo>
                  <a:pt x="1006" y="4"/>
                </a:lnTo>
                <a:lnTo>
                  <a:pt x="1010" y="4"/>
                </a:lnTo>
                <a:lnTo>
                  <a:pt x="1014" y="4"/>
                </a:lnTo>
                <a:lnTo>
                  <a:pt x="1018" y="4"/>
                </a:lnTo>
                <a:lnTo>
                  <a:pt x="1022" y="4"/>
                </a:lnTo>
                <a:lnTo>
                  <a:pt x="1026" y="4"/>
                </a:lnTo>
                <a:lnTo>
                  <a:pt x="1030" y="4"/>
                </a:lnTo>
                <a:lnTo>
                  <a:pt x="1030" y="8"/>
                </a:lnTo>
                <a:lnTo>
                  <a:pt x="1032" y="8"/>
                </a:lnTo>
                <a:lnTo>
                  <a:pt x="1032" y="4"/>
                </a:lnTo>
                <a:lnTo>
                  <a:pt x="1036" y="4"/>
                </a:lnTo>
                <a:lnTo>
                  <a:pt x="1040" y="4"/>
                </a:lnTo>
                <a:lnTo>
                  <a:pt x="1040" y="8"/>
                </a:lnTo>
                <a:lnTo>
                  <a:pt x="1044" y="8"/>
                </a:lnTo>
                <a:lnTo>
                  <a:pt x="1044" y="4"/>
                </a:lnTo>
                <a:lnTo>
                  <a:pt x="1048" y="4"/>
                </a:lnTo>
                <a:lnTo>
                  <a:pt x="1048" y="8"/>
                </a:lnTo>
                <a:lnTo>
                  <a:pt x="1052" y="8"/>
                </a:lnTo>
                <a:lnTo>
                  <a:pt x="1056" y="8"/>
                </a:lnTo>
                <a:lnTo>
                  <a:pt x="1048" y="12"/>
                </a:lnTo>
                <a:lnTo>
                  <a:pt x="1044" y="12"/>
                </a:lnTo>
                <a:lnTo>
                  <a:pt x="1040" y="12"/>
                </a:lnTo>
                <a:lnTo>
                  <a:pt x="1036" y="12"/>
                </a:lnTo>
                <a:lnTo>
                  <a:pt x="1032" y="12"/>
                </a:lnTo>
                <a:lnTo>
                  <a:pt x="1032" y="16"/>
                </a:lnTo>
                <a:lnTo>
                  <a:pt x="1030" y="16"/>
                </a:lnTo>
                <a:lnTo>
                  <a:pt x="1026" y="16"/>
                </a:lnTo>
                <a:lnTo>
                  <a:pt x="1022" y="16"/>
                </a:lnTo>
                <a:lnTo>
                  <a:pt x="1026" y="16"/>
                </a:lnTo>
                <a:lnTo>
                  <a:pt x="1030" y="16"/>
                </a:lnTo>
                <a:lnTo>
                  <a:pt x="1032" y="16"/>
                </a:lnTo>
                <a:lnTo>
                  <a:pt x="1036" y="16"/>
                </a:lnTo>
                <a:lnTo>
                  <a:pt x="1040" y="16"/>
                </a:lnTo>
                <a:lnTo>
                  <a:pt x="1044" y="16"/>
                </a:lnTo>
                <a:lnTo>
                  <a:pt x="1048" y="12"/>
                </a:lnTo>
                <a:lnTo>
                  <a:pt x="1052" y="12"/>
                </a:lnTo>
                <a:lnTo>
                  <a:pt x="1060" y="12"/>
                </a:lnTo>
                <a:lnTo>
                  <a:pt x="1062" y="8"/>
                </a:lnTo>
                <a:lnTo>
                  <a:pt x="1066" y="8"/>
                </a:lnTo>
                <a:lnTo>
                  <a:pt x="1070" y="8"/>
                </a:lnTo>
                <a:lnTo>
                  <a:pt x="1066" y="12"/>
                </a:lnTo>
                <a:lnTo>
                  <a:pt x="1070" y="12"/>
                </a:lnTo>
                <a:lnTo>
                  <a:pt x="1074" y="12"/>
                </a:lnTo>
                <a:lnTo>
                  <a:pt x="1070" y="12"/>
                </a:lnTo>
                <a:lnTo>
                  <a:pt x="1070" y="8"/>
                </a:lnTo>
                <a:lnTo>
                  <a:pt x="1074" y="8"/>
                </a:lnTo>
                <a:lnTo>
                  <a:pt x="1070" y="8"/>
                </a:lnTo>
                <a:lnTo>
                  <a:pt x="1074" y="8"/>
                </a:lnTo>
                <a:lnTo>
                  <a:pt x="1076" y="8"/>
                </a:lnTo>
                <a:lnTo>
                  <a:pt x="1080" y="8"/>
                </a:lnTo>
                <a:lnTo>
                  <a:pt x="1076" y="8"/>
                </a:lnTo>
                <a:lnTo>
                  <a:pt x="1076" y="12"/>
                </a:lnTo>
                <a:lnTo>
                  <a:pt x="1080" y="12"/>
                </a:lnTo>
                <a:lnTo>
                  <a:pt x="1084" y="12"/>
                </a:lnTo>
                <a:lnTo>
                  <a:pt x="1088" y="8"/>
                </a:lnTo>
                <a:lnTo>
                  <a:pt x="1092" y="8"/>
                </a:lnTo>
                <a:lnTo>
                  <a:pt x="1096" y="8"/>
                </a:lnTo>
                <a:lnTo>
                  <a:pt x="1096" y="12"/>
                </a:lnTo>
                <a:lnTo>
                  <a:pt x="1092" y="12"/>
                </a:lnTo>
                <a:lnTo>
                  <a:pt x="1096" y="16"/>
                </a:lnTo>
                <a:lnTo>
                  <a:pt x="1100" y="16"/>
                </a:lnTo>
                <a:lnTo>
                  <a:pt x="1104" y="16"/>
                </a:lnTo>
                <a:lnTo>
                  <a:pt x="1104" y="20"/>
                </a:lnTo>
                <a:lnTo>
                  <a:pt x="1100" y="20"/>
                </a:lnTo>
                <a:lnTo>
                  <a:pt x="1100" y="22"/>
                </a:lnTo>
                <a:lnTo>
                  <a:pt x="1104" y="22"/>
                </a:lnTo>
                <a:lnTo>
                  <a:pt x="1104" y="20"/>
                </a:lnTo>
                <a:lnTo>
                  <a:pt x="1106" y="20"/>
                </a:lnTo>
                <a:lnTo>
                  <a:pt x="1110" y="20"/>
                </a:lnTo>
                <a:lnTo>
                  <a:pt x="1114" y="20"/>
                </a:lnTo>
                <a:lnTo>
                  <a:pt x="1110" y="20"/>
                </a:lnTo>
                <a:lnTo>
                  <a:pt x="1114" y="20"/>
                </a:lnTo>
                <a:lnTo>
                  <a:pt x="1118" y="20"/>
                </a:lnTo>
                <a:lnTo>
                  <a:pt x="1122" y="20"/>
                </a:lnTo>
                <a:lnTo>
                  <a:pt x="1126" y="20"/>
                </a:lnTo>
                <a:lnTo>
                  <a:pt x="1126" y="22"/>
                </a:lnTo>
                <a:lnTo>
                  <a:pt x="1130" y="22"/>
                </a:lnTo>
                <a:lnTo>
                  <a:pt x="1130" y="26"/>
                </a:lnTo>
                <a:lnTo>
                  <a:pt x="1126" y="30"/>
                </a:lnTo>
                <a:lnTo>
                  <a:pt x="1122" y="30"/>
                </a:lnTo>
                <a:lnTo>
                  <a:pt x="1118" y="30"/>
                </a:lnTo>
                <a:lnTo>
                  <a:pt x="1114" y="34"/>
                </a:lnTo>
                <a:lnTo>
                  <a:pt x="1110" y="34"/>
                </a:lnTo>
                <a:lnTo>
                  <a:pt x="1104" y="38"/>
                </a:lnTo>
                <a:lnTo>
                  <a:pt x="1100" y="38"/>
                </a:lnTo>
                <a:lnTo>
                  <a:pt x="1096" y="38"/>
                </a:lnTo>
                <a:lnTo>
                  <a:pt x="1092" y="38"/>
                </a:lnTo>
                <a:lnTo>
                  <a:pt x="1092" y="42"/>
                </a:lnTo>
                <a:lnTo>
                  <a:pt x="1088" y="42"/>
                </a:lnTo>
                <a:lnTo>
                  <a:pt x="1084" y="42"/>
                </a:lnTo>
                <a:lnTo>
                  <a:pt x="1088" y="42"/>
                </a:lnTo>
                <a:lnTo>
                  <a:pt x="1084" y="42"/>
                </a:lnTo>
                <a:lnTo>
                  <a:pt x="1080" y="42"/>
                </a:lnTo>
                <a:lnTo>
                  <a:pt x="1076" y="42"/>
                </a:lnTo>
                <a:lnTo>
                  <a:pt x="1074" y="42"/>
                </a:lnTo>
                <a:lnTo>
                  <a:pt x="1070" y="42"/>
                </a:lnTo>
                <a:lnTo>
                  <a:pt x="1066" y="46"/>
                </a:lnTo>
                <a:lnTo>
                  <a:pt x="1062" y="46"/>
                </a:lnTo>
                <a:lnTo>
                  <a:pt x="1060" y="46"/>
                </a:lnTo>
                <a:lnTo>
                  <a:pt x="1062" y="46"/>
                </a:lnTo>
                <a:lnTo>
                  <a:pt x="1066" y="46"/>
                </a:lnTo>
                <a:lnTo>
                  <a:pt x="1070" y="46"/>
                </a:lnTo>
                <a:lnTo>
                  <a:pt x="1066" y="46"/>
                </a:lnTo>
                <a:lnTo>
                  <a:pt x="1062" y="46"/>
                </a:lnTo>
                <a:lnTo>
                  <a:pt x="1060" y="46"/>
                </a:lnTo>
                <a:lnTo>
                  <a:pt x="1056" y="46"/>
                </a:lnTo>
                <a:lnTo>
                  <a:pt x="1052" y="46"/>
                </a:lnTo>
                <a:lnTo>
                  <a:pt x="1048" y="46"/>
                </a:lnTo>
                <a:lnTo>
                  <a:pt x="1044" y="46"/>
                </a:lnTo>
                <a:lnTo>
                  <a:pt x="1040" y="46"/>
                </a:lnTo>
                <a:lnTo>
                  <a:pt x="1036" y="46"/>
                </a:lnTo>
                <a:lnTo>
                  <a:pt x="1032" y="50"/>
                </a:lnTo>
                <a:lnTo>
                  <a:pt x="1030" y="50"/>
                </a:lnTo>
                <a:lnTo>
                  <a:pt x="1026" y="46"/>
                </a:lnTo>
                <a:lnTo>
                  <a:pt x="1022" y="46"/>
                </a:lnTo>
                <a:lnTo>
                  <a:pt x="1018" y="46"/>
                </a:lnTo>
                <a:lnTo>
                  <a:pt x="1014" y="42"/>
                </a:lnTo>
                <a:lnTo>
                  <a:pt x="1014" y="46"/>
                </a:lnTo>
                <a:lnTo>
                  <a:pt x="1018" y="46"/>
                </a:lnTo>
                <a:lnTo>
                  <a:pt x="1022" y="46"/>
                </a:lnTo>
                <a:lnTo>
                  <a:pt x="1026" y="46"/>
                </a:lnTo>
                <a:lnTo>
                  <a:pt x="1026" y="50"/>
                </a:lnTo>
                <a:lnTo>
                  <a:pt x="1030" y="50"/>
                </a:lnTo>
                <a:lnTo>
                  <a:pt x="1026" y="50"/>
                </a:lnTo>
                <a:lnTo>
                  <a:pt x="1022" y="50"/>
                </a:lnTo>
                <a:lnTo>
                  <a:pt x="1026" y="50"/>
                </a:lnTo>
                <a:lnTo>
                  <a:pt x="1030" y="50"/>
                </a:lnTo>
                <a:lnTo>
                  <a:pt x="1032" y="50"/>
                </a:lnTo>
                <a:lnTo>
                  <a:pt x="1036" y="50"/>
                </a:lnTo>
                <a:lnTo>
                  <a:pt x="1040" y="50"/>
                </a:lnTo>
                <a:lnTo>
                  <a:pt x="1044" y="50"/>
                </a:lnTo>
                <a:lnTo>
                  <a:pt x="1048" y="50"/>
                </a:lnTo>
                <a:lnTo>
                  <a:pt x="1052" y="50"/>
                </a:lnTo>
                <a:lnTo>
                  <a:pt x="1048" y="50"/>
                </a:lnTo>
                <a:lnTo>
                  <a:pt x="1044" y="52"/>
                </a:lnTo>
                <a:lnTo>
                  <a:pt x="1040" y="52"/>
                </a:lnTo>
                <a:lnTo>
                  <a:pt x="1036" y="52"/>
                </a:lnTo>
                <a:lnTo>
                  <a:pt x="1032" y="52"/>
                </a:lnTo>
                <a:lnTo>
                  <a:pt x="1030" y="52"/>
                </a:lnTo>
                <a:lnTo>
                  <a:pt x="1030" y="56"/>
                </a:lnTo>
                <a:lnTo>
                  <a:pt x="1026" y="56"/>
                </a:lnTo>
                <a:lnTo>
                  <a:pt x="1022" y="56"/>
                </a:lnTo>
                <a:lnTo>
                  <a:pt x="1018" y="56"/>
                </a:lnTo>
                <a:lnTo>
                  <a:pt x="1014" y="56"/>
                </a:lnTo>
                <a:lnTo>
                  <a:pt x="1010" y="56"/>
                </a:lnTo>
                <a:lnTo>
                  <a:pt x="1014" y="56"/>
                </a:lnTo>
                <a:lnTo>
                  <a:pt x="1010" y="56"/>
                </a:lnTo>
                <a:lnTo>
                  <a:pt x="1006" y="60"/>
                </a:lnTo>
                <a:lnTo>
                  <a:pt x="1004" y="60"/>
                </a:lnTo>
                <a:lnTo>
                  <a:pt x="1006" y="60"/>
                </a:lnTo>
                <a:lnTo>
                  <a:pt x="1010" y="60"/>
                </a:lnTo>
                <a:lnTo>
                  <a:pt x="1006" y="60"/>
                </a:lnTo>
                <a:lnTo>
                  <a:pt x="1004" y="60"/>
                </a:lnTo>
                <a:lnTo>
                  <a:pt x="1006" y="60"/>
                </a:lnTo>
                <a:lnTo>
                  <a:pt x="1010" y="60"/>
                </a:lnTo>
                <a:lnTo>
                  <a:pt x="1014" y="60"/>
                </a:lnTo>
                <a:lnTo>
                  <a:pt x="1022" y="56"/>
                </a:lnTo>
                <a:lnTo>
                  <a:pt x="1030" y="56"/>
                </a:lnTo>
                <a:lnTo>
                  <a:pt x="1032" y="56"/>
                </a:lnTo>
                <a:lnTo>
                  <a:pt x="1036" y="56"/>
                </a:lnTo>
                <a:lnTo>
                  <a:pt x="1036" y="52"/>
                </a:lnTo>
                <a:lnTo>
                  <a:pt x="1040" y="52"/>
                </a:lnTo>
                <a:lnTo>
                  <a:pt x="1044" y="52"/>
                </a:lnTo>
                <a:lnTo>
                  <a:pt x="1048" y="52"/>
                </a:lnTo>
                <a:lnTo>
                  <a:pt x="1052" y="52"/>
                </a:lnTo>
                <a:lnTo>
                  <a:pt x="1056" y="52"/>
                </a:lnTo>
                <a:lnTo>
                  <a:pt x="1060" y="52"/>
                </a:lnTo>
                <a:lnTo>
                  <a:pt x="1062" y="50"/>
                </a:lnTo>
                <a:lnTo>
                  <a:pt x="1066" y="50"/>
                </a:lnTo>
                <a:lnTo>
                  <a:pt x="1070" y="50"/>
                </a:lnTo>
                <a:lnTo>
                  <a:pt x="1074" y="50"/>
                </a:lnTo>
                <a:lnTo>
                  <a:pt x="1080" y="50"/>
                </a:lnTo>
                <a:lnTo>
                  <a:pt x="1080" y="52"/>
                </a:lnTo>
                <a:lnTo>
                  <a:pt x="1076" y="52"/>
                </a:lnTo>
                <a:lnTo>
                  <a:pt x="1074" y="56"/>
                </a:lnTo>
                <a:lnTo>
                  <a:pt x="1070" y="56"/>
                </a:lnTo>
                <a:lnTo>
                  <a:pt x="1066" y="56"/>
                </a:lnTo>
                <a:lnTo>
                  <a:pt x="1062" y="56"/>
                </a:lnTo>
                <a:lnTo>
                  <a:pt x="1060" y="60"/>
                </a:lnTo>
                <a:lnTo>
                  <a:pt x="1056" y="60"/>
                </a:lnTo>
                <a:lnTo>
                  <a:pt x="1056" y="64"/>
                </a:lnTo>
                <a:lnTo>
                  <a:pt x="1052" y="64"/>
                </a:lnTo>
                <a:lnTo>
                  <a:pt x="1048" y="64"/>
                </a:lnTo>
                <a:lnTo>
                  <a:pt x="1044" y="68"/>
                </a:lnTo>
                <a:lnTo>
                  <a:pt x="1040" y="68"/>
                </a:lnTo>
                <a:lnTo>
                  <a:pt x="1036" y="68"/>
                </a:lnTo>
                <a:lnTo>
                  <a:pt x="1040" y="68"/>
                </a:lnTo>
                <a:lnTo>
                  <a:pt x="1036" y="68"/>
                </a:lnTo>
                <a:lnTo>
                  <a:pt x="1032" y="68"/>
                </a:lnTo>
                <a:lnTo>
                  <a:pt x="1032" y="72"/>
                </a:lnTo>
                <a:lnTo>
                  <a:pt x="1030" y="72"/>
                </a:lnTo>
                <a:lnTo>
                  <a:pt x="1022" y="76"/>
                </a:lnTo>
                <a:lnTo>
                  <a:pt x="1018" y="76"/>
                </a:lnTo>
                <a:lnTo>
                  <a:pt x="1018" y="78"/>
                </a:lnTo>
                <a:lnTo>
                  <a:pt x="1014" y="78"/>
                </a:lnTo>
                <a:lnTo>
                  <a:pt x="1014" y="82"/>
                </a:lnTo>
                <a:lnTo>
                  <a:pt x="1010" y="82"/>
                </a:lnTo>
                <a:lnTo>
                  <a:pt x="1006" y="82"/>
                </a:lnTo>
                <a:lnTo>
                  <a:pt x="1004" y="82"/>
                </a:lnTo>
                <a:lnTo>
                  <a:pt x="1000" y="82"/>
                </a:lnTo>
                <a:lnTo>
                  <a:pt x="1000" y="78"/>
                </a:lnTo>
                <a:lnTo>
                  <a:pt x="996" y="78"/>
                </a:lnTo>
                <a:lnTo>
                  <a:pt x="992" y="78"/>
                </a:lnTo>
                <a:lnTo>
                  <a:pt x="996" y="78"/>
                </a:lnTo>
                <a:lnTo>
                  <a:pt x="1000" y="78"/>
                </a:lnTo>
                <a:lnTo>
                  <a:pt x="1000" y="82"/>
                </a:lnTo>
                <a:lnTo>
                  <a:pt x="1000" y="86"/>
                </a:lnTo>
                <a:lnTo>
                  <a:pt x="1004" y="86"/>
                </a:lnTo>
                <a:lnTo>
                  <a:pt x="1006" y="86"/>
                </a:lnTo>
                <a:lnTo>
                  <a:pt x="1004" y="86"/>
                </a:lnTo>
                <a:lnTo>
                  <a:pt x="1004" y="90"/>
                </a:lnTo>
                <a:lnTo>
                  <a:pt x="1000" y="90"/>
                </a:lnTo>
                <a:lnTo>
                  <a:pt x="996" y="86"/>
                </a:lnTo>
                <a:lnTo>
                  <a:pt x="992" y="90"/>
                </a:lnTo>
                <a:lnTo>
                  <a:pt x="988" y="90"/>
                </a:lnTo>
                <a:lnTo>
                  <a:pt x="984" y="90"/>
                </a:lnTo>
                <a:lnTo>
                  <a:pt x="980" y="90"/>
                </a:lnTo>
                <a:lnTo>
                  <a:pt x="976" y="90"/>
                </a:lnTo>
                <a:lnTo>
                  <a:pt x="974" y="90"/>
                </a:lnTo>
                <a:lnTo>
                  <a:pt x="974" y="86"/>
                </a:lnTo>
                <a:lnTo>
                  <a:pt x="970" y="86"/>
                </a:lnTo>
                <a:lnTo>
                  <a:pt x="974" y="90"/>
                </a:lnTo>
                <a:lnTo>
                  <a:pt x="976" y="90"/>
                </a:lnTo>
                <a:lnTo>
                  <a:pt x="974" y="90"/>
                </a:lnTo>
                <a:lnTo>
                  <a:pt x="970" y="90"/>
                </a:lnTo>
                <a:lnTo>
                  <a:pt x="970" y="94"/>
                </a:lnTo>
                <a:lnTo>
                  <a:pt x="974" y="94"/>
                </a:lnTo>
                <a:lnTo>
                  <a:pt x="976" y="94"/>
                </a:lnTo>
                <a:lnTo>
                  <a:pt x="980" y="94"/>
                </a:lnTo>
                <a:lnTo>
                  <a:pt x="984" y="94"/>
                </a:lnTo>
                <a:lnTo>
                  <a:pt x="984" y="90"/>
                </a:lnTo>
                <a:lnTo>
                  <a:pt x="988" y="90"/>
                </a:lnTo>
                <a:lnTo>
                  <a:pt x="992" y="90"/>
                </a:lnTo>
                <a:lnTo>
                  <a:pt x="996" y="90"/>
                </a:lnTo>
                <a:lnTo>
                  <a:pt x="996" y="94"/>
                </a:lnTo>
                <a:lnTo>
                  <a:pt x="992" y="94"/>
                </a:lnTo>
                <a:lnTo>
                  <a:pt x="988" y="94"/>
                </a:lnTo>
                <a:lnTo>
                  <a:pt x="984" y="98"/>
                </a:lnTo>
                <a:lnTo>
                  <a:pt x="988" y="98"/>
                </a:lnTo>
                <a:lnTo>
                  <a:pt x="992" y="98"/>
                </a:lnTo>
                <a:lnTo>
                  <a:pt x="988" y="102"/>
                </a:lnTo>
                <a:lnTo>
                  <a:pt x="984" y="102"/>
                </a:lnTo>
                <a:lnTo>
                  <a:pt x="980" y="102"/>
                </a:lnTo>
                <a:lnTo>
                  <a:pt x="976" y="102"/>
                </a:lnTo>
                <a:lnTo>
                  <a:pt x="974" y="106"/>
                </a:lnTo>
                <a:lnTo>
                  <a:pt x="970" y="106"/>
                </a:lnTo>
                <a:lnTo>
                  <a:pt x="970" y="102"/>
                </a:lnTo>
                <a:lnTo>
                  <a:pt x="970" y="106"/>
                </a:lnTo>
                <a:lnTo>
                  <a:pt x="966" y="106"/>
                </a:lnTo>
                <a:lnTo>
                  <a:pt x="962" y="102"/>
                </a:lnTo>
                <a:lnTo>
                  <a:pt x="962" y="98"/>
                </a:lnTo>
                <a:lnTo>
                  <a:pt x="958" y="98"/>
                </a:lnTo>
                <a:lnTo>
                  <a:pt x="954" y="98"/>
                </a:lnTo>
                <a:lnTo>
                  <a:pt x="950" y="98"/>
                </a:lnTo>
                <a:lnTo>
                  <a:pt x="948" y="98"/>
                </a:lnTo>
                <a:lnTo>
                  <a:pt x="944" y="98"/>
                </a:lnTo>
                <a:lnTo>
                  <a:pt x="940" y="98"/>
                </a:lnTo>
                <a:lnTo>
                  <a:pt x="936" y="98"/>
                </a:lnTo>
                <a:lnTo>
                  <a:pt x="936" y="102"/>
                </a:lnTo>
                <a:lnTo>
                  <a:pt x="940" y="102"/>
                </a:lnTo>
                <a:lnTo>
                  <a:pt x="944" y="102"/>
                </a:lnTo>
                <a:lnTo>
                  <a:pt x="948" y="102"/>
                </a:lnTo>
                <a:lnTo>
                  <a:pt x="950" y="102"/>
                </a:lnTo>
                <a:lnTo>
                  <a:pt x="954" y="102"/>
                </a:lnTo>
                <a:lnTo>
                  <a:pt x="958" y="102"/>
                </a:lnTo>
                <a:lnTo>
                  <a:pt x="958" y="106"/>
                </a:lnTo>
                <a:lnTo>
                  <a:pt x="958" y="108"/>
                </a:lnTo>
                <a:lnTo>
                  <a:pt x="954" y="108"/>
                </a:lnTo>
                <a:lnTo>
                  <a:pt x="950" y="108"/>
                </a:lnTo>
                <a:lnTo>
                  <a:pt x="948" y="108"/>
                </a:lnTo>
                <a:lnTo>
                  <a:pt x="944" y="108"/>
                </a:lnTo>
                <a:lnTo>
                  <a:pt x="940" y="108"/>
                </a:lnTo>
                <a:lnTo>
                  <a:pt x="936" y="108"/>
                </a:lnTo>
                <a:lnTo>
                  <a:pt x="932" y="108"/>
                </a:lnTo>
                <a:lnTo>
                  <a:pt x="936" y="108"/>
                </a:lnTo>
                <a:lnTo>
                  <a:pt x="936" y="112"/>
                </a:lnTo>
                <a:lnTo>
                  <a:pt x="932" y="112"/>
                </a:lnTo>
                <a:lnTo>
                  <a:pt x="928" y="112"/>
                </a:lnTo>
                <a:lnTo>
                  <a:pt x="924" y="112"/>
                </a:lnTo>
                <a:lnTo>
                  <a:pt x="920" y="108"/>
                </a:lnTo>
                <a:lnTo>
                  <a:pt x="920" y="112"/>
                </a:lnTo>
                <a:lnTo>
                  <a:pt x="920" y="108"/>
                </a:lnTo>
                <a:lnTo>
                  <a:pt x="918" y="108"/>
                </a:lnTo>
                <a:lnTo>
                  <a:pt x="914" y="108"/>
                </a:lnTo>
                <a:lnTo>
                  <a:pt x="910" y="108"/>
                </a:lnTo>
                <a:lnTo>
                  <a:pt x="906" y="108"/>
                </a:lnTo>
                <a:lnTo>
                  <a:pt x="902" y="108"/>
                </a:lnTo>
                <a:lnTo>
                  <a:pt x="906" y="108"/>
                </a:lnTo>
                <a:lnTo>
                  <a:pt x="910" y="108"/>
                </a:lnTo>
                <a:lnTo>
                  <a:pt x="914" y="108"/>
                </a:lnTo>
                <a:lnTo>
                  <a:pt x="918" y="108"/>
                </a:lnTo>
                <a:lnTo>
                  <a:pt x="918" y="112"/>
                </a:lnTo>
                <a:lnTo>
                  <a:pt x="920" y="112"/>
                </a:lnTo>
                <a:lnTo>
                  <a:pt x="918" y="112"/>
                </a:lnTo>
                <a:lnTo>
                  <a:pt x="914" y="112"/>
                </a:lnTo>
                <a:lnTo>
                  <a:pt x="910" y="112"/>
                </a:lnTo>
                <a:lnTo>
                  <a:pt x="906" y="112"/>
                </a:lnTo>
                <a:lnTo>
                  <a:pt x="902" y="112"/>
                </a:lnTo>
                <a:lnTo>
                  <a:pt x="902" y="108"/>
                </a:lnTo>
                <a:lnTo>
                  <a:pt x="898" y="108"/>
                </a:lnTo>
                <a:lnTo>
                  <a:pt x="902" y="112"/>
                </a:lnTo>
                <a:lnTo>
                  <a:pt x="898" y="112"/>
                </a:lnTo>
                <a:lnTo>
                  <a:pt x="894" y="112"/>
                </a:lnTo>
                <a:lnTo>
                  <a:pt x="890" y="112"/>
                </a:lnTo>
                <a:lnTo>
                  <a:pt x="894" y="112"/>
                </a:lnTo>
                <a:lnTo>
                  <a:pt x="898" y="112"/>
                </a:lnTo>
                <a:lnTo>
                  <a:pt x="898" y="116"/>
                </a:lnTo>
                <a:lnTo>
                  <a:pt x="902" y="116"/>
                </a:lnTo>
                <a:lnTo>
                  <a:pt x="898" y="116"/>
                </a:lnTo>
                <a:lnTo>
                  <a:pt x="902" y="116"/>
                </a:lnTo>
                <a:lnTo>
                  <a:pt x="906" y="116"/>
                </a:lnTo>
                <a:lnTo>
                  <a:pt x="910" y="116"/>
                </a:lnTo>
                <a:lnTo>
                  <a:pt x="918" y="116"/>
                </a:lnTo>
                <a:lnTo>
                  <a:pt x="920" y="116"/>
                </a:lnTo>
                <a:lnTo>
                  <a:pt x="924" y="116"/>
                </a:lnTo>
                <a:lnTo>
                  <a:pt x="928" y="116"/>
                </a:lnTo>
                <a:lnTo>
                  <a:pt x="932" y="116"/>
                </a:lnTo>
                <a:lnTo>
                  <a:pt x="936" y="116"/>
                </a:lnTo>
                <a:lnTo>
                  <a:pt x="940" y="116"/>
                </a:lnTo>
                <a:lnTo>
                  <a:pt x="936" y="116"/>
                </a:lnTo>
                <a:lnTo>
                  <a:pt x="936" y="120"/>
                </a:lnTo>
                <a:lnTo>
                  <a:pt x="940" y="120"/>
                </a:lnTo>
                <a:lnTo>
                  <a:pt x="944" y="120"/>
                </a:lnTo>
                <a:lnTo>
                  <a:pt x="940" y="120"/>
                </a:lnTo>
                <a:lnTo>
                  <a:pt x="940" y="124"/>
                </a:lnTo>
                <a:lnTo>
                  <a:pt x="936" y="124"/>
                </a:lnTo>
                <a:lnTo>
                  <a:pt x="932" y="124"/>
                </a:lnTo>
                <a:lnTo>
                  <a:pt x="928" y="120"/>
                </a:lnTo>
                <a:lnTo>
                  <a:pt x="924" y="120"/>
                </a:lnTo>
                <a:lnTo>
                  <a:pt x="920" y="120"/>
                </a:lnTo>
                <a:lnTo>
                  <a:pt x="920" y="116"/>
                </a:lnTo>
                <a:lnTo>
                  <a:pt x="918" y="116"/>
                </a:lnTo>
                <a:lnTo>
                  <a:pt x="914" y="116"/>
                </a:lnTo>
                <a:lnTo>
                  <a:pt x="906" y="116"/>
                </a:lnTo>
                <a:lnTo>
                  <a:pt x="902" y="116"/>
                </a:lnTo>
                <a:lnTo>
                  <a:pt x="898" y="116"/>
                </a:lnTo>
                <a:lnTo>
                  <a:pt x="894" y="116"/>
                </a:lnTo>
                <a:lnTo>
                  <a:pt x="888" y="116"/>
                </a:lnTo>
                <a:lnTo>
                  <a:pt x="888" y="120"/>
                </a:lnTo>
                <a:lnTo>
                  <a:pt x="890" y="116"/>
                </a:lnTo>
                <a:lnTo>
                  <a:pt x="894" y="116"/>
                </a:lnTo>
                <a:lnTo>
                  <a:pt x="898" y="116"/>
                </a:lnTo>
                <a:lnTo>
                  <a:pt x="902" y="120"/>
                </a:lnTo>
                <a:lnTo>
                  <a:pt x="906" y="120"/>
                </a:lnTo>
                <a:lnTo>
                  <a:pt x="910" y="120"/>
                </a:lnTo>
                <a:lnTo>
                  <a:pt x="914" y="120"/>
                </a:lnTo>
                <a:lnTo>
                  <a:pt x="918" y="120"/>
                </a:lnTo>
                <a:lnTo>
                  <a:pt x="914" y="120"/>
                </a:lnTo>
                <a:lnTo>
                  <a:pt x="910" y="120"/>
                </a:lnTo>
                <a:lnTo>
                  <a:pt x="906" y="120"/>
                </a:lnTo>
                <a:lnTo>
                  <a:pt x="902" y="120"/>
                </a:lnTo>
                <a:lnTo>
                  <a:pt x="898" y="120"/>
                </a:lnTo>
                <a:lnTo>
                  <a:pt x="898" y="124"/>
                </a:lnTo>
                <a:lnTo>
                  <a:pt x="894" y="124"/>
                </a:lnTo>
                <a:lnTo>
                  <a:pt x="894" y="120"/>
                </a:lnTo>
                <a:lnTo>
                  <a:pt x="890" y="120"/>
                </a:lnTo>
                <a:lnTo>
                  <a:pt x="888" y="120"/>
                </a:lnTo>
                <a:lnTo>
                  <a:pt x="884" y="120"/>
                </a:lnTo>
                <a:lnTo>
                  <a:pt x="880" y="120"/>
                </a:lnTo>
                <a:lnTo>
                  <a:pt x="884" y="120"/>
                </a:lnTo>
                <a:lnTo>
                  <a:pt x="888" y="120"/>
                </a:lnTo>
                <a:lnTo>
                  <a:pt x="890" y="120"/>
                </a:lnTo>
                <a:lnTo>
                  <a:pt x="894" y="120"/>
                </a:lnTo>
                <a:lnTo>
                  <a:pt x="894" y="124"/>
                </a:lnTo>
                <a:lnTo>
                  <a:pt x="890" y="124"/>
                </a:lnTo>
                <a:lnTo>
                  <a:pt x="890" y="128"/>
                </a:lnTo>
                <a:lnTo>
                  <a:pt x="888" y="128"/>
                </a:lnTo>
                <a:lnTo>
                  <a:pt x="888" y="132"/>
                </a:lnTo>
                <a:lnTo>
                  <a:pt x="888" y="128"/>
                </a:lnTo>
                <a:lnTo>
                  <a:pt x="890" y="128"/>
                </a:lnTo>
                <a:lnTo>
                  <a:pt x="890" y="124"/>
                </a:lnTo>
                <a:lnTo>
                  <a:pt x="894" y="124"/>
                </a:lnTo>
                <a:lnTo>
                  <a:pt x="898" y="124"/>
                </a:lnTo>
                <a:lnTo>
                  <a:pt x="902" y="124"/>
                </a:lnTo>
                <a:lnTo>
                  <a:pt x="906" y="124"/>
                </a:lnTo>
                <a:lnTo>
                  <a:pt x="910" y="124"/>
                </a:lnTo>
                <a:lnTo>
                  <a:pt x="914" y="124"/>
                </a:lnTo>
                <a:lnTo>
                  <a:pt x="920" y="124"/>
                </a:lnTo>
                <a:lnTo>
                  <a:pt x="924" y="124"/>
                </a:lnTo>
                <a:lnTo>
                  <a:pt x="920" y="124"/>
                </a:lnTo>
                <a:lnTo>
                  <a:pt x="918" y="124"/>
                </a:lnTo>
                <a:lnTo>
                  <a:pt x="918" y="128"/>
                </a:lnTo>
                <a:lnTo>
                  <a:pt x="914" y="128"/>
                </a:lnTo>
                <a:lnTo>
                  <a:pt x="918" y="128"/>
                </a:lnTo>
                <a:lnTo>
                  <a:pt x="920" y="128"/>
                </a:lnTo>
                <a:lnTo>
                  <a:pt x="928" y="128"/>
                </a:lnTo>
                <a:lnTo>
                  <a:pt x="932" y="128"/>
                </a:lnTo>
                <a:lnTo>
                  <a:pt x="936" y="128"/>
                </a:lnTo>
                <a:lnTo>
                  <a:pt x="936" y="132"/>
                </a:lnTo>
                <a:lnTo>
                  <a:pt x="936" y="136"/>
                </a:lnTo>
                <a:lnTo>
                  <a:pt x="932" y="136"/>
                </a:lnTo>
                <a:lnTo>
                  <a:pt x="928" y="136"/>
                </a:lnTo>
                <a:lnTo>
                  <a:pt x="928" y="138"/>
                </a:lnTo>
                <a:lnTo>
                  <a:pt x="920" y="138"/>
                </a:lnTo>
                <a:lnTo>
                  <a:pt x="918" y="136"/>
                </a:lnTo>
                <a:lnTo>
                  <a:pt x="914" y="136"/>
                </a:lnTo>
                <a:lnTo>
                  <a:pt x="910" y="136"/>
                </a:lnTo>
                <a:lnTo>
                  <a:pt x="910" y="138"/>
                </a:lnTo>
                <a:lnTo>
                  <a:pt x="914" y="138"/>
                </a:lnTo>
                <a:lnTo>
                  <a:pt x="918" y="138"/>
                </a:lnTo>
                <a:lnTo>
                  <a:pt x="920" y="138"/>
                </a:lnTo>
                <a:lnTo>
                  <a:pt x="924" y="138"/>
                </a:lnTo>
                <a:lnTo>
                  <a:pt x="928" y="138"/>
                </a:lnTo>
                <a:lnTo>
                  <a:pt x="932" y="142"/>
                </a:lnTo>
                <a:lnTo>
                  <a:pt x="928" y="142"/>
                </a:lnTo>
                <a:lnTo>
                  <a:pt x="928" y="146"/>
                </a:lnTo>
                <a:lnTo>
                  <a:pt x="924" y="146"/>
                </a:lnTo>
                <a:lnTo>
                  <a:pt x="920" y="146"/>
                </a:lnTo>
                <a:lnTo>
                  <a:pt x="918" y="146"/>
                </a:lnTo>
                <a:lnTo>
                  <a:pt x="914" y="146"/>
                </a:lnTo>
                <a:lnTo>
                  <a:pt x="910" y="146"/>
                </a:lnTo>
                <a:lnTo>
                  <a:pt x="906" y="146"/>
                </a:lnTo>
                <a:lnTo>
                  <a:pt x="910" y="146"/>
                </a:lnTo>
                <a:lnTo>
                  <a:pt x="914" y="146"/>
                </a:lnTo>
                <a:lnTo>
                  <a:pt x="920" y="146"/>
                </a:lnTo>
                <a:lnTo>
                  <a:pt x="924" y="146"/>
                </a:lnTo>
                <a:lnTo>
                  <a:pt x="924" y="150"/>
                </a:lnTo>
                <a:lnTo>
                  <a:pt x="920" y="150"/>
                </a:lnTo>
                <a:lnTo>
                  <a:pt x="920" y="154"/>
                </a:lnTo>
                <a:lnTo>
                  <a:pt x="918" y="150"/>
                </a:lnTo>
                <a:lnTo>
                  <a:pt x="914" y="150"/>
                </a:lnTo>
                <a:lnTo>
                  <a:pt x="914" y="154"/>
                </a:lnTo>
                <a:lnTo>
                  <a:pt x="910" y="154"/>
                </a:lnTo>
                <a:lnTo>
                  <a:pt x="906" y="154"/>
                </a:lnTo>
                <a:lnTo>
                  <a:pt x="902" y="154"/>
                </a:lnTo>
                <a:lnTo>
                  <a:pt x="894" y="154"/>
                </a:lnTo>
                <a:lnTo>
                  <a:pt x="890" y="154"/>
                </a:lnTo>
                <a:lnTo>
                  <a:pt x="888" y="154"/>
                </a:lnTo>
                <a:lnTo>
                  <a:pt x="888" y="150"/>
                </a:lnTo>
                <a:lnTo>
                  <a:pt x="884" y="154"/>
                </a:lnTo>
                <a:lnTo>
                  <a:pt x="888" y="154"/>
                </a:lnTo>
                <a:lnTo>
                  <a:pt x="888" y="158"/>
                </a:lnTo>
                <a:lnTo>
                  <a:pt x="890" y="158"/>
                </a:lnTo>
                <a:lnTo>
                  <a:pt x="890" y="160"/>
                </a:lnTo>
                <a:lnTo>
                  <a:pt x="894" y="160"/>
                </a:lnTo>
                <a:lnTo>
                  <a:pt x="890" y="164"/>
                </a:lnTo>
                <a:lnTo>
                  <a:pt x="888" y="168"/>
                </a:lnTo>
                <a:lnTo>
                  <a:pt x="880" y="172"/>
                </a:lnTo>
                <a:lnTo>
                  <a:pt x="880" y="168"/>
                </a:lnTo>
                <a:lnTo>
                  <a:pt x="876" y="168"/>
                </a:lnTo>
                <a:lnTo>
                  <a:pt x="876" y="172"/>
                </a:lnTo>
                <a:lnTo>
                  <a:pt x="872" y="172"/>
                </a:lnTo>
                <a:lnTo>
                  <a:pt x="868" y="172"/>
                </a:lnTo>
                <a:lnTo>
                  <a:pt x="864" y="172"/>
                </a:lnTo>
                <a:lnTo>
                  <a:pt x="862" y="172"/>
                </a:lnTo>
                <a:lnTo>
                  <a:pt x="858" y="172"/>
                </a:lnTo>
                <a:lnTo>
                  <a:pt x="854" y="168"/>
                </a:lnTo>
                <a:lnTo>
                  <a:pt x="850" y="168"/>
                </a:lnTo>
                <a:lnTo>
                  <a:pt x="846" y="168"/>
                </a:lnTo>
                <a:lnTo>
                  <a:pt x="842" y="168"/>
                </a:lnTo>
                <a:lnTo>
                  <a:pt x="842" y="164"/>
                </a:lnTo>
                <a:lnTo>
                  <a:pt x="838" y="164"/>
                </a:lnTo>
                <a:lnTo>
                  <a:pt x="834" y="160"/>
                </a:lnTo>
                <a:lnTo>
                  <a:pt x="838" y="164"/>
                </a:lnTo>
                <a:lnTo>
                  <a:pt x="838" y="168"/>
                </a:lnTo>
                <a:lnTo>
                  <a:pt x="842" y="168"/>
                </a:lnTo>
                <a:lnTo>
                  <a:pt x="846" y="168"/>
                </a:lnTo>
                <a:lnTo>
                  <a:pt x="846" y="172"/>
                </a:lnTo>
                <a:lnTo>
                  <a:pt x="842" y="172"/>
                </a:lnTo>
                <a:lnTo>
                  <a:pt x="834" y="172"/>
                </a:lnTo>
                <a:lnTo>
                  <a:pt x="832" y="172"/>
                </a:lnTo>
                <a:lnTo>
                  <a:pt x="834" y="172"/>
                </a:lnTo>
                <a:lnTo>
                  <a:pt x="834" y="176"/>
                </a:lnTo>
                <a:lnTo>
                  <a:pt x="838" y="176"/>
                </a:lnTo>
                <a:lnTo>
                  <a:pt x="838" y="172"/>
                </a:lnTo>
                <a:lnTo>
                  <a:pt x="842" y="172"/>
                </a:lnTo>
                <a:lnTo>
                  <a:pt x="846" y="172"/>
                </a:lnTo>
                <a:lnTo>
                  <a:pt x="850" y="172"/>
                </a:lnTo>
                <a:lnTo>
                  <a:pt x="854" y="172"/>
                </a:lnTo>
                <a:lnTo>
                  <a:pt x="858" y="172"/>
                </a:lnTo>
                <a:lnTo>
                  <a:pt x="862" y="172"/>
                </a:lnTo>
                <a:lnTo>
                  <a:pt x="862" y="176"/>
                </a:lnTo>
                <a:lnTo>
                  <a:pt x="858" y="176"/>
                </a:lnTo>
                <a:lnTo>
                  <a:pt x="862" y="176"/>
                </a:lnTo>
                <a:lnTo>
                  <a:pt x="864" y="172"/>
                </a:lnTo>
                <a:lnTo>
                  <a:pt x="868" y="172"/>
                </a:lnTo>
                <a:lnTo>
                  <a:pt x="872" y="172"/>
                </a:lnTo>
                <a:lnTo>
                  <a:pt x="876" y="176"/>
                </a:lnTo>
                <a:lnTo>
                  <a:pt x="876" y="180"/>
                </a:lnTo>
                <a:lnTo>
                  <a:pt x="872" y="180"/>
                </a:lnTo>
                <a:lnTo>
                  <a:pt x="872" y="182"/>
                </a:lnTo>
                <a:lnTo>
                  <a:pt x="872" y="180"/>
                </a:lnTo>
                <a:lnTo>
                  <a:pt x="876" y="180"/>
                </a:lnTo>
                <a:lnTo>
                  <a:pt x="880" y="182"/>
                </a:lnTo>
                <a:lnTo>
                  <a:pt x="884" y="182"/>
                </a:lnTo>
                <a:lnTo>
                  <a:pt x="884" y="180"/>
                </a:lnTo>
                <a:lnTo>
                  <a:pt x="888" y="180"/>
                </a:lnTo>
                <a:lnTo>
                  <a:pt x="890" y="180"/>
                </a:lnTo>
                <a:lnTo>
                  <a:pt x="894" y="186"/>
                </a:lnTo>
                <a:lnTo>
                  <a:pt x="894" y="190"/>
                </a:lnTo>
                <a:lnTo>
                  <a:pt x="890" y="190"/>
                </a:lnTo>
                <a:lnTo>
                  <a:pt x="888" y="190"/>
                </a:lnTo>
                <a:lnTo>
                  <a:pt x="888" y="194"/>
                </a:lnTo>
                <a:lnTo>
                  <a:pt x="884" y="194"/>
                </a:lnTo>
                <a:lnTo>
                  <a:pt x="884" y="190"/>
                </a:lnTo>
                <a:lnTo>
                  <a:pt x="880" y="190"/>
                </a:lnTo>
                <a:lnTo>
                  <a:pt x="880" y="194"/>
                </a:lnTo>
                <a:lnTo>
                  <a:pt x="876" y="194"/>
                </a:lnTo>
                <a:lnTo>
                  <a:pt x="872" y="194"/>
                </a:lnTo>
                <a:lnTo>
                  <a:pt x="872" y="198"/>
                </a:lnTo>
                <a:lnTo>
                  <a:pt x="868" y="198"/>
                </a:lnTo>
                <a:lnTo>
                  <a:pt x="864" y="198"/>
                </a:lnTo>
                <a:lnTo>
                  <a:pt x="864" y="202"/>
                </a:lnTo>
                <a:lnTo>
                  <a:pt x="862" y="202"/>
                </a:lnTo>
                <a:lnTo>
                  <a:pt x="858" y="202"/>
                </a:lnTo>
                <a:lnTo>
                  <a:pt x="854" y="202"/>
                </a:lnTo>
                <a:lnTo>
                  <a:pt x="850" y="202"/>
                </a:lnTo>
                <a:lnTo>
                  <a:pt x="846" y="202"/>
                </a:lnTo>
                <a:lnTo>
                  <a:pt x="850" y="198"/>
                </a:lnTo>
                <a:lnTo>
                  <a:pt x="854" y="194"/>
                </a:lnTo>
                <a:lnTo>
                  <a:pt x="850" y="194"/>
                </a:lnTo>
                <a:lnTo>
                  <a:pt x="846" y="194"/>
                </a:lnTo>
                <a:lnTo>
                  <a:pt x="846" y="190"/>
                </a:lnTo>
                <a:lnTo>
                  <a:pt x="842" y="194"/>
                </a:lnTo>
                <a:lnTo>
                  <a:pt x="838" y="194"/>
                </a:lnTo>
                <a:lnTo>
                  <a:pt x="834" y="194"/>
                </a:lnTo>
                <a:lnTo>
                  <a:pt x="834" y="190"/>
                </a:lnTo>
                <a:lnTo>
                  <a:pt x="838" y="190"/>
                </a:lnTo>
                <a:lnTo>
                  <a:pt x="838" y="186"/>
                </a:lnTo>
                <a:lnTo>
                  <a:pt x="834" y="186"/>
                </a:lnTo>
                <a:lnTo>
                  <a:pt x="834" y="190"/>
                </a:lnTo>
                <a:lnTo>
                  <a:pt x="832" y="190"/>
                </a:lnTo>
                <a:lnTo>
                  <a:pt x="828" y="190"/>
                </a:lnTo>
                <a:lnTo>
                  <a:pt x="828" y="186"/>
                </a:lnTo>
                <a:lnTo>
                  <a:pt x="824" y="182"/>
                </a:lnTo>
                <a:lnTo>
                  <a:pt x="824" y="186"/>
                </a:lnTo>
                <a:lnTo>
                  <a:pt x="828" y="186"/>
                </a:lnTo>
                <a:lnTo>
                  <a:pt x="828" y="190"/>
                </a:lnTo>
                <a:lnTo>
                  <a:pt x="832" y="190"/>
                </a:lnTo>
                <a:lnTo>
                  <a:pt x="832" y="194"/>
                </a:lnTo>
                <a:lnTo>
                  <a:pt x="828" y="194"/>
                </a:lnTo>
                <a:lnTo>
                  <a:pt x="824" y="198"/>
                </a:lnTo>
                <a:lnTo>
                  <a:pt x="824" y="194"/>
                </a:lnTo>
                <a:lnTo>
                  <a:pt x="820" y="194"/>
                </a:lnTo>
                <a:lnTo>
                  <a:pt x="820" y="190"/>
                </a:lnTo>
                <a:lnTo>
                  <a:pt x="816" y="190"/>
                </a:lnTo>
                <a:lnTo>
                  <a:pt x="816" y="186"/>
                </a:lnTo>
                <a:lnTo>
                  <a:pt x="812" y="186"/>
                </a:lnTo>
                <a:lnTo>
                  <a:pt x="816" y="190"/>
                </a:lnTo>
                <a:lnTo>
                  <a:pt x="816" y="194"/>
                </a:lnTo>
                <a:lnTo>
                  <a:pt x="812" y="194"/>
                </a:lnTo>
                <a:lnTo>
                  <a:pt x="808" y="194"/>
                </a:lnTo>
                <a:lnTo>
                  <a:pt x="806" y="194"/>
                </a:lnTo>
                <a:lnTo>
                  <a:pt x="806" y="190"/>
                </a:lnTo>
                <a:lnTo>
                  <a:pt x="802" y="190"/>
                </a:lnTo>
                <a:lnTo>
                  <a:pt x="802" y="194"/>
                </a:lnTo>
                <a:lnTo>
                  <a:pt x="806" y="194"/>
                </a:lnTo>
                <a:lnTo>
                  <a:pt x="802" y="194"/>
                </a:lnTo>
                <a:lnTo>
                  <a:pt x="798" y="194"/>
                </a:lnTo>
                <a:lnTo>
                  <a:pt x="794" y="194"/>
                </a:lnTo>
                <a:lnTo>
                  <a:pt x="794" y="190"/>
                </a:lnTo>
                <a:lnTo>
                  <a:pt x="790" y="190"/>
                </a:lnTo>
                <a:lnTo>
                  <a:pt x="790" y="194"/>
                </a:lnTo>
                <a:lnTo>
                  <a:pt x="794" y="194"/>
                </a:lnTo>
                <a:lnTo>
                  <a:pt x="802" y="198"/>
                </a:lnTo>
                <a:lnTo>
                  <a:pt x="798" y="198"/>
                </a:lnTo>
                <a:lnTo>
                  <a:pt x="794" y="198"/>
                </a:lnTo>
                <a:lnTo>
                  <a:pt x="790" y="198"/>
                </a:lnTo>
                <a:lnTo>
                  <a:pt x="786" y="198"/>
                </a:lnTo>
                <a:lnTo>
                  <a:pt x="782" y="198"/>
                </a:lnTo>
                <a:lnTo>
                  <a:pt x="778" y="198"/>
                </a:lnTo>
                <a:lnTo>
                  <a:pt x="776" y="198"/>
                </a:lnTo>
                <a:lnTo>
                  <a:pt x="772" y="198"/>
                </a:lnTo>
                <a:lnTo>
                  <a:pt x="772" y="194"/>
                </a:lnTo>
                <a:lnTo>
                  <a:pt x="776" y="194"/>
                </a:lnTo>
                <a:lnTo>
                  <a:pt x="772" y="190"/>
                </a:lnTo>
                <a:lnTo>
                  <a:pt x="768" y="190"/>
                </a:lnTo>
                <a:lnTo>
                  <a:pt x="772" y="190"/>
                </a:lnTo>
                <a:lnTo>
                  <a:pt x="772" y="194"/>
                </a:lnTo>
                <a:lnTo>
                  <a:pt x="768" y="194"/>
                </a:lnTo>
                <a:lnTo>
                  <a:pt x="768" y="198"/>
                </a:lnTo>
                <a:lnTo>
                  <a:pt x="764" y="198"/>
                </a:lnTo>
                <a:lnTo>
                  <a:pt x="760" y="194"/>
                </a:lnTo>
                <a:lnTo>
                  <a:pt x="756" y="194"/>
                </a:lnTo>
                <a:lnTo>
                  <a:pt x="756" y="190"/>
                </a:lnTo>
                <a:lnTo>
                  <a:pt x="756" y="194"/>
                </a:lnTo>
                <a:lnTo>
                  <a:pt x="756" y="198"/>
                </a:lnTo>
                <a:lnTo>
                  <a:pt x="752" y="198"/>
                </a:lnTo>
                <a:lnTo>
                  <a:pt x="752" y="194"/>
                </a:lnTo>
                <a:lnTo>
                  <a:pt x="752" y="198"/>
                </a:lnTo>
                <a:lnTo>
                  <a:pt x="748" y="198"/>
                </a:lnTo>
                <a:lnTo>
                  <a:pt x="746" y="198"/>
                </a:lnTo>
                <a:lnTo>
                  <a:pt x="742" y="194"/>
                </a:lnTo>
                <a:lnTo>
                  <a:pt x="746" y="194"/>
                </a:lnTo>
                <a:lnTo>
                  <a:pt x="742" y="190"/>
                </a:lnTo>
                <a:lnTo>
                  <a:pt x="742" y="186"/>
                </a:lnTo>
                <a:lnTo>
                  <a:pt x="742" y="182"/>
                </a:lnTo>
                <a:lnTo>
                  <a:pt x="738" y="186"/>
                </a:lnTo>
                <a:lnTo>
                  <a:pt x="742" y="186"/>
                </a:lnTo>
                <a:lnTo>
                  <a:pt x="742" y="190"/>
                </a:lnTo>
                <a:lnTo>
                  <a:pt x="742" y="194"/>
                </a:lnTo>
                <a:lnTo>
                  <a:pt x="738" y="194"/>
                </a:lnTo>
                <a:lnTo>
                  <a:pt x="742" y="194"/>
                </a:lnTo>
                <a:lnTo>
                  <a:pt x="742" y="190"/>
                </a:lnTo>
                <a:lnTo>
                  <a:pt x="738" y="190"/>
                </a:lnTo>
                <a:lnTo>
                  <a:pt x="738" y="194"/>
                </a:lnTo>
                <a:lnTo>
                  <a:pt x="734" y="194"/>
                </a:lnTo>
                <a:lnTo>
                  <a:pt x="732" y="194"/>
                </a:lnTo>
                <a:lnTo>
                  <a:pt x="728" y="190"/>
                </a:lnTo>
                <a:lnTo>
                  <a:pt x="732" y="186"/>
                </a:lnTo>
                <a:lnTo>
                  <a:pt x="728" y="186"/>
                </a:lnTo>
                <a:lnTo>
                  <a:pt x="728" y="182"/>
                </a:lnTo>
                <a:lnTo>
                  <a:pt x="732" y="182"/>
                </a:lnTo>
                <a:lnTo>
                  <a:pt x="734" y="182"/>
                </a:lnTo>
                <a:lnTo>
                  <a:pt x="734" y="180"/>
                </a:lnTo>
                <a:lnTo>
                  <a:pt x="738" y="180"/>
                </a:lnTo>
                <a:lnTo>
                  <a:pt x="742" y="176"/>
                </a:lnTo>
                <a:lnTo>
                  <a:pt x="746" y="176"/>
                </a:lnTo>
                <a:lnTo>
                  <a:pt x="748" y="176"/>
                </a:lnTo>
                <a:lnTo>
                  <a:pt x="752" y="176"/>
                </a:lnTo>
                <a:lnTo>
                  <a:pt x="756" y="176"/>
                </a:lnTo>
                <a:lnTo>
                  <a:pt x="760" y="176"/>
                </a:lnTo>
                <a:lnTo>
                  <a:pt x="756" y="176"/>
                </a:lnTo>
                <a:lnTo>
                  <a:pt x="760" y="176"/>
                </a:lnTo>
                <a:lnTo>
                  <a:pt x="764" y="176"/>
                </a:lnTo>
                <a:lnTo>
                  <a:pt x="768" y="176"/>
                </a:lnTo>
                <a:lnTo>
                  <a:pt x="764" y="172"/>
                </a:lnTo>
                <a:lnTo>
                  <a:pt x="760" y="172"/>
                </a:lnTo>
                <a:lnTo>
                  <a:pt x="764" y="172"/>
                </a:lnTo>
                <a:lnTo>
                  <a:pt x="760" y="172"/>
                </a:lnTo>
                <a:lnTo>
                  <a:pt x="760" y="168"/>
                </a:lnTo>
                <a:lnTo>
                  <a:pt x="764" y="168"/>
                </a:lnTo>
                <a:lnTo>
                  <a:pt x="760" y="168"/>
                </a:lnTo>
                <a:lnTo>
                  <a:pt x="756" y="168"/>
                </a:lnTo>
                <a:lnTo>
                  <a:pt x="752" y="168"/>
                </a:lnTo>
                <a:lnTo>
                  <a:pt x="752" y="164"/>
                </a:lnTo>
                <a:lnTo>
                  <a:pt x="748" y="160"/>
                </a:lnTo>
                <a:lnTo>
                  <a:pt x="746" y="160"/>
                </a:lnTo>
                <a:lnTo>
                  <a:pt x="746" y="158"/>
                </a:lnTo>
                <a:lnTo>
                  <a:pt x="748" y="158"/>
                </a:lnTo>
                <a:lnTo>
                  <a:pt x="752" y="158"/>
                </a:lnTo>
                <a:lnTo>
                  <a:pt x="752" y="154"/>
                </a:lnTo>
                <a:lnTo>
                  <a:pt x="760" y="154"/>
                </a:lnTo>
                <a:lnTo>
                  <a:pt x="764" y="154"/>
                </a:lnTo>
                <a:lnTo>
                  <a:pt x="768" y="154"/>
                </a:lnTo>
                <a:lnTo>
                  <a:pt x="772" y="158"/>
                </a:lnTo>
                <a:lnTo>
                  <a:pt x="776" y="158"/>
                </a:lnTo>
                <a:lnTo>
                  <a:pt x="778" y="160"/>
                </a:lnTo>
                <a:lnTo>
                  <a:pt x="782" y="164"/>
                </a:lnTo>
                <a:lnTo>
                  <a:pt x="782" y="168"/>
                </a:lnTo>
                <a:lnTo>
                  <a:pt x="778" y="168"/>
                </a:lnTo>
                <a:lnTo>
                  <a:pt x="782" y="168"/>
                </a:lnTo>
                <a:lnTo>
                  <a:pt x="782" y="164"/>
                </a:lnTo>
                <a:lnTo>
                  <a:pt x="786" y="168"/>
                </a:lnTo>
                <a:lnTo>
                  <a:pt x="790" y="168"/>
                </a:lnTo>
                <a:lnTo>
                  <a:pt x="794" y="168"/>
                </a:lnTo>
                <a:lnTo>
                  <a:pt x="794" y="172"/>
                </a:lnTo>
                <a:lnTo>
                  <a:pt x="798" y="172"/>
                </a:lnTo>
                <a:lnTo>
                  <a:pt x="798" y="168"/>
                </a:lnTo>
                <a:lnTo>
                  <a:pt x="802" y="168"/>
                </a:lnTo>
                <a:lnTo>
                  <a:pt x="806" y="168"/>
                </a:lnTo>
                <a:lnTo>
                  <a:pt x="808" y="168"/>
                </a:lnTo>
                <a:lnTo>
                  <a:pt x="812" y="168"/>
                </a:lnTo>
                <a:lnTo>
                  <a:pt x="808" y="168"/>
                </a:lnTo>
                <a:lnTo>
                  <a:pt x="808" y="164"/>
                </a:lnTo>
                <a:lnTo>
                  <a:pt x="812" y="164"/>
                </a:lnTo>
                <a:lnTo>
                  <a:pt x="816" y="164"/>
                </a:lnTo>
                <a:lnTo>
                  <a:pt x="820" y="160"/>
                </a:lnTo>
                <a:lnTo>
                  <a:pt x="824" y="158"/>
                </a:lnTo>
                <a:lnTo>
                  <a:pt x="828" y="154"/>
                </a:lnTo>
                <a:lnTo>
                  <a:pt x="828" y="150"/>
                </a:lnTo>
                <a:lnTo>
                  <a:pt x="832" y="150"/>
                </a:lnTo>
                <a:lnTo>
                  <a:pt x="828" y="150"/>
                </a:lnTo>
                <a:lnTo>
                  <a:pt x="824" y="150"/>
                </a:lnTo>
                <a:lnTo>
                  <a:pt x="824" y="154"/>
                </a:lnTo>
                <a:lnTo>
                  <a:pt x="820" y="154"/>
                </a:lnTo>
                <a:lnTo>
                  <a:pt x="820" y="158"/>
                </a:lnTo>
                <a:lnTo>
                  <a:pt x="816" y="158"/>
                </a:lnTo>
                <a:lnTo>
                  <a:pt x="816" y="160"/>
                </a:lnTo>
                <a:lnTo>
                  <a:pt x="812" y="160"/>
                </a:lnTo>
                <a:lnTo>
                  <a:pt x="812" y="164"/>
                </a:lnTo>
                <a:lnTo>
                  <a:pt x="808" y="164"/>
                </a:lnTo>
                <a:lnTo>
                  <a:pt x="806" y="164"/>
                </a:lnTo>
                <a:lnTo>
                  <a:pt x="802" y="164"/>
                </a:lnTo>
                <a:lnTo>
                  <a:pt x="798" y="164"/>
                </a:lnTo>
                <a:lnTo>
                  <a:pt x="794" y="164"/>
                </a:lnTo>
                <a:lnTo>
                  <a:pt x="794" y="160"/>
                </a:lnTo>
                <a:lnTo>
                  <a:pt x="798" y="160"/>
                </a:lnTo>
                <a:lnTo>
                  <a:pt x="802" y="160"/>
                </a:lnTo>
                <a:lnTo>
                  <a:pt x="798" y="158"/>
                </a:lnTo>
                <a:lnTo>
                  <a:pt x="798" y="160"/>
                </a:lnTo>
                <a:lnTo>
                  <a:pt x="794" y="160"/>
                </a:lnTo>
                <a:lnTo>
                  <a:pt x="790" y="160"/>
                </a:lnTo>
                <a:lnTo>
                  <a:pt x="786" y="160"/>
                </a:lnTo>
                <a:lnTo>
                  <a:pt x="786" y="158"/>
                </a:lnTo>
                <a:lnTo>
                  <a:pt x="790" y="158"/>
                </a:lnTo>
                <a:lnTo>
                  <a:pt x="786" y="158"/>
                </a:lnTo>
                <a:lnTo>
                  <a:pt x="786" y="154"/>
                </a:lnTo>
                <a:lnTo>
                  <a:pt x="790" y="154"/>
                </a:lnTo>
                <a:lnTo>
                  <a:pt x="794" y="154"/>
                </a:lnTo>
                <a:lnTo>
                  <a:pt x="798" y="154"/>
                </a:lnTo>
                <a:lnTo>
                  <a:pt x="802" y="154"/>
                </a:lnTo>
                <a:lnTo>
                  <a:pt x="798" y="154"/>
                </a:lnTo>
                <a:lnTo>
                  <a:pt x="794" y="154"/>
                </a:lnTo>
                <a:lnTo>
                  <a:pt x="790" y="154"/>
                </a:lnTo>
                <a:lnTo>
                  <a:pt x="786" y="154"/>
                </a:lnTo>
                <a:lnTo>
                  <a:pt x="782" y="154"/>
                </a:lnTo>
                <a:lnTo>
                  <a:pt x="786" y="150"/>
                </a:lnTo>
                <a:lnTo>
                  <a:pt x="790" y="150"/>
                </a:lnTo>
                <a:lnTo>
                  <a:pt x="794" y="150"/>
                </a:lnTo>
                <a:lnTo>
                  <a:pt x="798" y="150"/>
                </a:lnTo>
                <a:lnTo>
                  <a:pt x="802" y="150"/>
                </a:lnTo>
                <a:lnTo>
                  <a:pt x="798" y="150"/>
                </a:lnTo>
                <a:lnTo>
                  <a:pt x="794" y="150"/>
                </a:lnTo>
                <a:lnTo>
                  <a:pt x="790" y="150"/>
                </a:lnTo>
                <a:lnTo>
                  <a:pt x="790" y="146"/>
                </a:lnTo>
                <a:lnTo>
                  <a:pt x="794" y="146"/>
                </a:lnTo>
                <a:lnTo>
                  <a:pt x="798" y="146"/>
                </a:lnTo>
                <a:lnTo>
                  <a:pt x="802" y="146"/>
                </a:lnTo>
                <a:lnTo>
                  <a:pt x="806" y="146"/>
                </a:lnTo>
                <a:lnTo>
                  <a:pt x="802" y="146"/>
                </a:lnTo>
                <a:lnTo>
                  <a:pt x="798" y="146"/>
                </a:lnTo>
                <a:lnTo>
                  <a:pt x="794" y="146"/>
                </a:lnTo>
                <a:lnTo>
                  <a:pt x="794" y="142"/>
                </a:lnTo>
                <a:lnTo>
                  <a:pt x="798" y="142"/>
                </a:lnTo>
                <a:lnTo>
                  <a:pt x="794" y="142"/>
                </a:lnTo>
                <a:lnTo>
                  <a:pt x="794" y="138"/>
                </a:lnTo>
                <a:lnTo>
                  <a:pt x="794" y="136"/>
                </a:lnTo>
                <a:lnTo>
                  <a:pt x="798" y="136"/>
                </a:lnTo>
                <a:lnTo>
                  <a:pt x="794" y="138"/>
                </a:lnTo>
                <a:lnTo>
                  <a:pt x="794" y="142"/>
                </a:lnTo>
                <a:lnTo>
                  <a:pt x="790" y="142"/>
                </a:lnTo>
                <a:lnTo>
                  <a:pt x="790" y="146"/>
                </a:lnTo>
                <a:lnTo>
                  <a:pt x="786" y="150"/>
                </a:lnTo>
                <a:lnTo>
                  <a:pt x="782" y="150"/>
                </a:lnTo>
                <a:lnTo>
                  <a:pt x="778" y="150"/>
                </a:lnTo>
                <a:lnTo>
                  <a:pt x="776" y="150"/>
                </a:lnTo>
                <a:lnTo>
                  <a:pt x="776" y="146"/>
                </a:lnTo>
                <a:lnTo>
                  <a:pt x="778" y="146"/>
                </a:lnTo>
                <a:lnTo>
                  <a:pt x="778" y="142"/>
                </a:lnTo>
                <a:lnTo>
                  <a:pt x="776" y="142"/>
                </a:lnTo>
                <a:lnTo>
                  <a:pt x="776" y="146"/>
                </a:lnTo>
                <a:lnTo>
                  <a:pt x="772" y="146"/>
                </a:lnTo>
                <a:lnTo>
                  <a:pt x="768" y="146"/>
                </a:lnTo>
                <a:lnTo>
                  <a:pt x="768" y="150"/>
                </a:lnTo>
                <a:lnTo>
                  <a:pt x="764" y="150"/>
                </a:lnTo>
                <a:lnTo>
                  <a:pt x="760" y="150"/>
                </a:lnTo>
                <a:lnTo>
                  <a:pt x="756" y="150"/>
                </a:lnTo>
                <a:lnTo>
                  <a:pt x="756" y="146"/>
                </a:lnTo>
                <a:lnTo>
                  <a:pt x="760" y="146"/>
                </a:lnTo>
                <a:lnTo>
                  <a:pt x="756" y="146"/>
                </a:lnTo>
                <a:lnTo>
                  <a:pt x="756" y="142"/>
                </a:lnTo>
                <a:lnTo>
                  <a:pt x="756" y="138"/>
                </a:lnTo>
                <a:lnTo>
                  <a:pt x="760" y="138"/>
                </a:lnTo>
                <a:lnTo>
                  <a:pt x="760" y="136"/>
                </a:lnTo>
                <a:lnTo>
                  <a:pt x="764" y="136"/>
                </a:lnTo>
                <a:lnTo>
                  <a:pt x="760" y="136"/>
                </a:lnTo>
                <a:lnTo>
                  <a:pt x="764" y="132"/>
                </a:lnTo>
                <a:lnTo>
                  <a:pt x="768" y="128"/>
                </a:lnTo>
                <a:lnTo>
                  <a:pt x="772" y="128"/>
                </a:lnTo>
                <a:lnTo>
                  <a:pt x="776" y="128"/>
                </a:lnTo>
                <a:lnTo>
                  <a:pt x="778" y="128"/>
                </a:lnTo>
                <a:lnTo>
                  <a:pt x="782" y="128"/>
                </a:lnTo>
                <a:lnTo>
                  <a:pt x="786" y="128"/>
                </a:lnTo>
                <a:lnTo>
                  <a:pt x="786" y="124"/>
                </a:lnTo>
                <a:lnTo>
                  <a:pt x="790" y="124"/>
                </a:lnTo>
                <a:lnTo>
                  <a:pt x="794" y="128"/>
                </a:lnTo>
                <a:lnTo>
                  <a:pt x="798" y="128"/>
                </a:lnTo>
                <a:lnTo>
                  <a:pt x="802" y="128"/>
                </a:lnTo>
                <a:lnTo>
                  <a:pt x="806" y="128"/>
                </a:lnTo>
                <a:lnTo>
                  <a:pt x="808" y="128"/>
                </a:lnTo>
                <a:lnTo>
                  <a:pt x="812" y="128"/>
                </a:lnTo>
                <a:lnTo>
                  <a:pt x="816" y="128"/>
                </a:lnTo>
                <a:lnTo>
                  <a:pt x="816" y="132"/>
                </a:lnTo>
                <a:lnTo>
                  <a:pt x="820" y="132"/>
                </a:lnTo>
                <a:lnTo>
                  <a:pt x="824" y="132"/>
                </a:lnTo>
                <a:lnTo>
                  <a:pt x="828" y="136"/>
                </a:lnTo>
                <a:lnTo>
                  <a:pt x="832" y="136"/>
                </a:lnTo>
                <a:lnTo>
                  <a:pt x="828" y="136"/>
                </a:lnTo>
                <a:lnTo>
                  <a:pt x="828" y="132"/>
                </a:lnTo>
                <a:lnTo>
                  <a:pt x="832" y="132"/>
                </a:lnTo>
                <a:lnTo>
                  <a:pt x="828" y="132"/>
                </a:lnTo>
                <a:lnTo>
                  <a:pt x="824" y="132"/>
                </a:lnTo>
                <a:lnTo>
                  <a:pt x="820" y="132"/>
                </a:lnTo>
                <a:lnTo>
                  <a:pt x="820" y="128"/>
                </a:lnTo>
                <a:lnTo>
                  <a:pt x="816" y="128"/>
                </a:lnTo>
                <a:lnTo>
                  <a:pt x="820" y="128"/>
                </a:lnTo>
                <a:lnTo>
                  <a:pt x="824" y="128"/>
                </a:lnTo>
                <a:lnTo>
                  <a:pt x="828" y="128"/>
                </a:lnTo>
                <a:lnTo>
                  <a:pt x="832" y="128"/>
                </a:lnTo>
                <a:lnTo>
                  <a:pt x="834" y="128"/>
                </a:lnTo>
                <a:lnTo>
                  <a:pt x="838" y="128"/>
                </a:lnTo>
                <a:lnTo>
                  <a:pt x="834" y="128"/>
                </a:lnTo>
                <a:lnTo>
                  <a:pt x="838" y="128"/>
                </a:lnTo>
                <a:lnTo>
                  <a:pt x="838" y="124"/>
                </a:lnTo>
                <a:lnTo>
                  <a:pt x="842" y="124"/>
                </a:lnTo>
                <a:lnTo>
                  <a:pt x="842" y="120"/>
                </a:lnTo>
                <a:lnTo>
                  <a:pt x="838" y="120"/>
                </a:lnTo>
                <a:lnTo>
                  <a:pt x="834" y="124"/>
                </a:lnTo>
                <a:lnTo>
                  <a:pt x="832" y="124"/>
                </a:lnTo>
                <a:lnTo>
                  <a:pt x="832" y="128"/>
                </a:lnTo>
                <a:lnTo>
                  <a:pt x="828" y="128"/>
                </a:lnTo>
                <a:lnTo>
                  <a:pt x="824" y="128"/>
                </a:lnTo>
                <a:lnTo>
                  <a:pt x="824" y="124"/>
                </a:lnTo>
                <a:lnTo>
                  <a:pt x="820" y="124"/>
                </a:lnTo>
                <a:lnTo>
                  <a:pt x="816" y="124"/>
                </a:lnTo>
                <a:lnTo>
                  <a:pt x="812" y="124"/>
                </a:lnTo>
                <a:lnTo>
                  <a:pt x="808" y="124"/>
                </a:lnTo>
                <a:lnTo>
                  <a:pt x="806" y="124"/>
                </a:lnTo>
                <a:lnTo>
                  <a:pt x="802" y="124"/>
                </a:lnTo>
                <a:lnTo>
                  <a:pt x="798" y="124"/>
                </a:lnTo>
                <a:lnTo>
                  <a:pt x="794" y="124"/>
                </a:lnTo>
                <a:lnTo>
                  <a:pt x="794" y="120"/>
                </a:lnTo>
                <a:lnTo>
                  <a:pt x="798" y="120"/>
                </a:lnTo>
                <a:lnTo>
                  <a:pt x="806" y="120"/>
                </a:lnTo>
                <a:lnTo>
                  <a:pt x="808" y="120"/>
                </a:lnTo>
                <a:lnTo>
                  <a:pt x="808" y="124"/>
                </a:lnTo>
                <a:lnTo>
                  <a:pt x="812" y="124"/>
                </a:lnTo>
                <a:lnTo>
                  <a:pt x="816" y="120"/>
                </a:lnTo>
                <a:lnTo>
                  <a:pt x="812" y="120"/>
                </a:lnTo>
                <a:lnTo>
                  <a:pt x="808" y="120"/>
                </a:lnTo>
                <a:lnTo>
                  <a:pt x="806" y="120"/>
                </a:lnTo>
                <a:lnTo>
                  <a:pt x="806" y="116"/>
                </a:lnTo>
                <a:lnTo>
                  <a:pt x="802" y="116"/>
                </a:lnTo>
                <a:lnTo>
                  <a:pt x="802" y="112"/>
                </a:lnTo>
                <a:lnTo>
                  <a:pt x="798" y="112"/>
                </a:lnTo>
                <a:lnTo>
                  <a:pt x="798" y="108"/>
                </a:lnTo>
                <a:lnTo>
                  <a:pt x="794" y="108"/>
                </a:lnTo>
                <a:lnTo>
                  <a:pt x="790" y="106"/>
                </a:lnTo>
                <a:lnTo>
                  <a:pt x="786" y="106"/>
                </a:lnTo>
                <a:lnTo>
                  <a:pt x="786" y="102"/>
                </a:lnTo>
                <a:lnTo>
                  <a:pt x="782" y="102"/>
                </a:lnTo>
                <a:lnTo>
                  <a:pt x="778" y="102"/>
                </a:lnTo>
                <a:lnTo>
                  <a:pt x="776" y="102"/>
                </a:lnTo>
                <a:lnTo>
                  <a:pt x="772" y="102"/>
                </a:lnTo>
                <a:lnTo>
                  <a:pt x="772" y="98"/>
                </a:lnTo>
                <a:lnTo>
                  <a:pt x="772" y="94"/>
                </a:lnTo>
                <a:lnTo>
                  <a:pt x="776" y="94"/>
                </a:lnTo>
                <a:lnTo>
                  <a:pt x="778" y="94"/>
                </a:lnTo>
                <a:lnTo>
                  <a:pt x="778" y="98"/>
                </a:lnTo>
                <a:lnTo>
                  <a:pt x="782" y="98"/>
                </a:lnTo>
                <a:lnTo>
                  <a:pt x="786" y="98"/>
                </a:lnTo>
                <a:lnTo>
                  <a:pt x="782" y="94"/>
                </a:lnTo>
                <a:lnTo>
                  <a:pt x="776" y="94"/>
                </a:lnTo>
                <a:lnTo>
                  <a:pt x="772" y="94"/>
                </a:lnTo>
                <a:lnTo>
                  <a:pt x="768" y="94"/>
                </a:lnTo>
                <a:lnTo>
                  <a:pt x="768" y="90"/>
                </a:lnTo>
                <a:lnTo>
                  <a:pt x="772" y="86"/>
                </a:lnTo>
                <a:lnTo>
                  <a:pt x="776" y="82"/>
                </a:lnTo>
                <a:lnTo>
                  <a:pt x="778" y="82"/>
                </a:lnTo>
                <a:lnTo>
                  <a:pt x="782" y="86"/>
                </a:lnTo>
                <a:lnTo>
                  <a:pt x="786" y="86"/>
                </a:lnTo>
                <a:lnTo>
                  <a:pt x="790" y="86"/>
                </a:lnTo>
                <a:lnTo>
                  <a:pt x="794" y="86"/>
                </a:lnTo>
                <a:lnTo>
                  <a:pt x="798" y="86"/>
                </a:lnTo>
                <a:lnTo>
                  <a:pt x="802" y="86"/>
                </a:lnTo>
                <a:lnTo>
                  <a:pt x="806" y="86"/>
                </a:lnTo>
                <a:lnTo>
                  <a:pt x="808" y="86"/>
                </a:lnTo>
                <a:lnTo>
                  <a:pt x="812" y="86"/>
                </a:lnTo>
                <a:lnTo>
                  <a:pt x="812" y="90"/>
                </a:lnTo>
                <a:lnTo>
                  <a:pt x="816" y="90"/>
                </a:lnTo>
                <a:lnTo>
                  <a:pt x="820" y="90"/>
                </a:lnTo>
                <a:lnTo>
                  <a:pt x="820" y="94"/>
                </a:lnTo>
                <a:lnTo>
                  <a:pt x="824" y="94"/>
                </a:lnTo>
                <a:lnTo>
                  <a:pt x="828" y="94"/>
                </a:lnTo>
                <a:lnTo>
                  <a:pt x="832" y="98"/>
                </a:lnTo>
                <a:lnTo>
                  <a:pt x="834" y="98"/>
                </a:lnTo>
                <a:lnTo>
                  <a:pt x="834" y="102"/>
                </a:lnTo>
                <a:lnTo>
                  <a:pt x="838" y="102"/>
                </a:lnTo>
                <a:lnTo>
                  <a:pt x="838" y="106"/>
                </a:lnTo>
                <a:lnTo>
                  <a:pt x="842" y="106"/>
                </a:lnTo>
                <a:lnTo>
                  <a:pt x="846" y="106"/>
                </a:lnTo>
                <a:lnTo>
                  <a:pt x="850" y="106"/>
                </a:lnTo>
                <a:lnTo>
                  <a:pt x="854" y="106"/>
                </a:lnTo>
                <a:lnTo>
                  <a:pt x="858" y="106"/>
                </a:lnTo>
                <a:lnTo>
                  <a:pt x="862" y="106"/>
                </a:lnTo>
                <a:lnTo>
                  <a:pt x="864" y="106"/>
                </a:lnTo>
                <a:lnTo>
                  <a:pt x="864" y="102"/>
                </a:lnTo>
                <a:lnTo>
                  <a:pt x="862" y="102"/>
                </a:lnTo>
                <a:lnTo>
                  <a:pt x="858" y="102"/>
                </a:lnTo>
                <a:lnTo>
                  <a:pt x="858" y="106"/>
                </a:lnTo>
                <a:lnTo>
                  <a:pt x="854" y="106"/>
                </a:lnTo>
                <a:lnTo>
                  <a:pt x="850" y="106"/>
                </a:lnTo>
                <a:lnTo>
                  <a:pt x="846" y="102"/>
                </a:lnTo>
                <a:lnTo>
                  <a:pt x="842" y="102"/>
                </a:lnTo>
                <a:lnTo>
                  <a:pt x="838" y="98"/>
                </a:lnTo>
                <a:lnTo>
                  <a:pt x="842" y="98"/>
                </a:lnTo>
                <a:lnTo>
                  <a:pt x="842" y="94"/>
                </a:lnTo>
                <a:lnTo>
                  <a:pt x="838" y="94"/>
                </a:lnTo>
                <a:lnTo>
                  <a:pt x="834" y="94"/>
                </a:lnTo>
                <a:lnTo>
                  <a:pt x="832" y="94"/>
                </a:lnTo>
                <a:lnTo>
                  <a:pt x="828" y="94"/>
                </a:lnTo>
                <a:lnTo>
                  <a:pt x="824" y="90"/>
                </a:lnTo>
                <a:lnTo>
                  <a:pt x="820" y="86"/>
                </a:lnTo>
                <a:lnTo>
                  <a:pt x="816" y="86"/>
                </a:lnTo>
                <a:lnTo>
                  <a:pt x="816" y="82"/>
                </a:lnTo>
                <a:lnTo>
                  <a:pt x="820" y="82"/>
                </a:lnTo>
                <a:lnTo>
                  <a:pt x="824" y="82"/>
                </a:lnTo>
                <a:lnTo>
                  <a:pt x="828" y="82"/>
                </a:lnTo>
                <a:lnTo>
                  <a:pt x="832" y="82"/>
                </a:lnTo>
                <a:lnTo>
                  <a:pt x="834" y="82"/>
                </a:lnTo>
                <a:lnTo>
                  <a:pt x="838" y="82"/>
                </a:lnTo>
                <a:lnTo>
                  <a:pt x="842" y="82"/>
                </a:lnTo>
                <a:lnTo>
                  <a:pt x="846" y="82"/>
                </a:lnTo>
                <a:lnTo>
                  <a:pt x="850" y="82"/>
                </a:lnTo>
                <a:lnTo>
                  <a:pt x="850" y="78"/>
                </a:lnTo>
                <a:lnTo>
                  <a:pt x="854" y="78"/>
                </a:lnTo>
                <a:lnTo>
                  <a:pt x="858" y="78"/>
                </a:lnTo>
                <a:lnTo>
                  <a:pt x="862" y="78"/>
                </a:lnTo>
                <a:lnTo>
                  <a:pt x="864" y="78"/>
                </a:lnTo>
                <a:lnTo>
                  <a:pt x="868" y="78"/>
                </a:lnTo>
                <a:lnTo>
                  <a:pt x="872" y="78"/>
                </a:lnTo>
                <a:lnTo>
                  <a:pt x="876" y="78"/>
                </a:lnTo>
                <a:lnTo>
                  <a:pt x="880" y="78"/>
                </a:lnTo>
                <a:lnTo>
                  <a:pt x="884" y="78"/>
                </a:lnTo>
                <a:lnTo>
                  <a:pt x="888" y="78"/>
                </a:lnTo>
                <a:lnTo>
                  <a:pt x="890" y="78"/>
                </a:lnTo>
                <a:lnTo>
                  <a:pt x="890" y="76"/>
                </a:lnTo>
                <a:lnTo>
                  <a:pt x="888" y="76"/>
                </a:lnTo>
                <a:lnTo>
                  <a:pt x="880" y="76"/>
                </a:lnTo>
                <a:lnTo>
                  <a:pt x="876" y="76"/>
                </a:lnTo>
                <a:lnTo>
                  <a:pt x="872" y="76"/>
                </a:lnTo>
                <a:lnTo>
                  <a:pt x="868" y="76"/>
                </a:lnTo>
                <a:lnTo>
                  <a:pt x="864" y="76"/>
                </a:lnTo>
                <a:lnTo>
                  <a:pt x="868" y="76"/>
                </a:lnTo>
                <a:lnTo>
                  <a:pt x="872" y="76"/>
                </a:lnTo>
                <a:lnTo>
                  <a:pt x="876" y="72"/>
                </a:lnTo>
                <a:lnTo>
                  <a:pt x="880" y="72"/>
                </a:lnTo>
                <a:lnTo>
                  <a:pt x="884" y="72"/>
                </a:lnTo>
                <a:lnTo>
                  <a:pt x="888" y="72"/>
                </a:lnTo>
                <a:lnTo>
                  <a:pt x="890" y="72"/>
                </a:lnTo>
                <a:lnTo>
                  <a:pt x="894" y="72"/>
                </a:lnTo>
                <a:lnTo>
                  <a:pt x="902" y="68"/>
                </a:lnTo>
                <a:lnTo>
                  <a:pt x="906" y="68"/>
                </a:lnTo>
                <a:lnTo>
                  <a:pt x="910" y="68"/>
                </a:lnTo>
                <a:lnTo>
                  <a:pt x="914" y="68"/>
                </a:lnTo>
                <a:lnTo>
                  <a:pt x="910" y="68"/>
                </a:lnTo>
                <a:lnTo>
                  <a:pt x="906" y="68"/>
                </a:lnTo>
                <a:lnTo>
                  <a:pt x="902" y="68"/>
                </a:lnTo>
                <a:lnTo>
                  <a:pt x="898" y="68"/>
                </a:lnTo>
                <a:lnTo>
                  <a:pt x="894" y="68"/>
                </a:lnTo>
                <a:lnTo>
                  <a:pt x="890" y="68"/>
                </a:lnTo>
                <a:lnTo>
                  <a:pt x="884" y="68"/>
                </a:lnTo>
                <a:lnTo>
                  <a:pt x="880" y="68"/>
                </a:lnTo>
                <a:lnTo>
                  <a:pt x="876" y="68"/>
                </a:lnTo>
                <a:lnTo>
                  <a:pt x="876" y="64"/>
                </a:lnTo>
                <a:lnTo>
                  <a:pt x="880" y="64"/>
                </a:lnTo>
                <a:lnTo>
                  <a:pt x="884" y="64"/>
                </a:lnTo>
                <a:lnTo>
                  <a:pt x="884" y="60"/>
                </a:lnTo>
                <a:lnTo>
                  <a:pt x="888" y="60"/>
                </a:lnTo>
                <a:lnTo>
                  <a:pt x="890" y="56"/>
                </a:lnTo>
                <a:lnTo>
                  <a:pt x="894" y="56"/>
                </a:lnTo>
                <a:lnTo>
                  <a:pt x="898" y="56"/>
                </a:lnTo>
                <a:lnTo>
                  <a:pt x="902" y="52"/>
                </a:lnTo>
                <a:lnTo>
                  <a:pt x="906" y="52"/>
                </a:lnTo>
                <a:lnTo>
                  <a:pt x="910" y="52"/>
                </a:lnTo>
                <a:lnTo>
                  <a:pt x="906" y="52"/>
                </a:lnTo>
                <a:lnTo>
                  <a:pt x="902" y="52"/>
                </a:lnTo>
                <a:lnTo>
                  <a:pt x="898" y="52"/>
                </a:lnTo>
                <a:lnTo>
                  <a:pt x="894" y="52"/>
                </a:lnTo>
                <a:lnTo>
                  <a:pt x="890" y="56"/>
                </a:lnTo>
                <a:lnTo>
                  <a:pt x="888" y="56"/>
                </a:lnTo>
                <a:lnTo>
                  <a:pt x="884" y="56"/>
                </a:lnTo>
                <a:lnTo>
                  <a:pt x="884" y="60"/>
                </a:lnTo>
                <a:lnTo>
                  <a:pt x="880" y="60"/>
                </a:lnTo>
                <a:lnTo>
                  <a:pt x="876" y="60"/>
                </a:lnTo>
                <a:lnTo>
                  <a:pt x="872" y="60"/>
                </a:lnTo>
                <a:lnTo>
                  <a:pt x="868" y="60"/>
                </a:lnTo>
                <a:lnTo>
                  <a:pt x="872" y="60"/>
                </a:lnTo>
                <a:lnTo>
                  <a:pt x="876" y="60"/>
                </a:lnTo>
                <a:lnTo>
                  <a:pt x="876" y="64"/>
                </a:lnTo>
                <a:lnTo>
                  <a:pt x="872" y="64"/>
                </a:lnTo>
                <a:lnTo>
                  <a:pt x="876" y="64"/>
                </a:lnTo>
                <a:lnTo>
                  <a:pt x="872" y="68"/>
                </a:lnTo>
                <a:lnTo>
                  <a:pt x="868" y="72"/>
                </a:lnTo>
                <a:lnTo>
                  <a:pt x="864" y="72"/>
                </a:lnTo>
                <a:lnTo>
                  <a:pt x="862" y="72"/>
                </a:lnTo>
                <a:lnTo>
                  <a:pt x="858" y="72"/>
                </a:lnTo>
                <a:lnTo>
                  <a:pt x="854" y="72"/>
                </a:lnTo>
                <a:lnTo>
                  <a:pt x="854" y="76"/>
                </a:lnTo>
                <a:lnTo>
                  <a:pt x="850" y="76"/>
                </a:lnTo>
                <a:lnTo>
                  <a:pt x="842" y="76"/>
                </a:lnTo>
                <a:lnTo>
                  <a:pt x="838" y="76"/>
                </a:lnTo>
                <a:lnTo>
                  <a:pt x="834" y="76"/>
                </a:lnTo>
                <a:lnTo>
                  <a:pt x="828" y="78"/>
                </a:lnTo>
                <a:lnTo>
                  <a:pt x="824" y="78"/>
                </a:lnTo>
                <a:lnTo>
                  <a:pt x="820" y="78"/>
                </a:lnTo>
                <a:lnTo>
                  <a:pt x="820" y="78"/>
                </a:lnTo>
                <a:lnTo>
                  <a:pt x="820" y="78"/>
                </a:lnTo>
                <a:close/>
              </a:path>
            </a:pathLst>
          </a:custGeom>
          <a:solidFill>
            <a:srgbClr val="A0DCFF"/>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62" name="Freeform 69"/>
          <p:cNvSpPr>
            <a:spLocks/>
          </p:cNvSpPr>
          <p:nvPr/>
        </p:nvSpPr>
        <p:spPr bwMode="auto">
          <a:xfrm>
            <a:off x="2812256" y="3469481"/>
            <a:ext cx="57150" cy="66675"/>
          </a:xfrm>
          <a:custGeom>
            <a:avLst/>
            <a:gdLst>
              <a:gd name="T0" fmla="*/ 6 w 48"/>
              <a:gd name="T1" fmla="*/ 22 h 56"/>
              <a:gd name="T2" fmla="*/ 2 w 48"/>
              <a:gd name="T3" fmla="*/ 22 h 56"/>
              <a:gd name="T4" fmla="*/ 2 w 48"/>
              <a:gd name="T5" fmla="*/ 18 h 56"/>
              <a:gd name="T6" fmla="*/ 0 w 48"/>
              <a:gd name="T7" fmla="*/ 16 h 56"/>
              <a:gd name="T8" fmla="*/ 2 w 48"/>
              <a:gd name="T9" fmla="*/ 12 h 56"/>
              <a:gd name="T10" fmla="*/ 0 w 48"/>
              <a:gd name="T11" fmla="*/ 8 h 56"/>
              <a:gd name="T12" fmla="*/ 0 w 48"/>
              <a:gd name="T13" fmla="*/ 4 h 56"/>
              <a:gd name="T14" fmla="*/ 2 w 48"/>
              <a:gd name="T15" fmla="*/ 4 h 56"/>
              <a:gd name="T16" fmla="*/ 2 w 48"/>
              <a:gd name="T17" fmla="*/ 0 h 56"/>
              <a:gd name="T18" fmla="*/ 6 w 48"/>
              <a:gd name="T19" fmla="*/ 4 h 56"/>
              <a:gd name="T20" fmla="*/ 10 w 48"/>
              <a:gd name="T21" fmla="*/ 4 h 56"/>
              <a:gd name="T22" fmla="*/ 18 w 48"/>
              <a:gd name="T23" fmla="*/ 4 h 56"/>
              <a:gd name="T24" fmla="*/ 26 w 48"/>
              <a:gd name="T25" fmla="*/ 8 h 56"/>
              <a:gd name="T26" fmla="*/ 26 w 48"/>
              <a:gd name="T27" fmla="*/ 8 h 56"/>
              <a:gd name="T28" fmla="*/ 28 w 48"/>
              <a:gd name="T29" fmla="*/ 8 h 56"/>
              <a:gd name="T30" fmla="*/ 28 w 48"/>
              <a:gd name="T31" fmla="*/ 8 h 56"/>
              <a:gd name="T32" fmla="*/ 32 w 48"/>
              <a:gd name="T33" fmla="*/ 4 h 56"/>
              <a:gd name="T34" fmla="*/ 32 w 48"/>
              <a:gd name="T35" fmla="*/ 8 h 56"/>
              <a:gd name="T36" fmla="*/ 32 w 48"/>
              <a:gd name="T37" fmla="*/ 8 h 56"/>
              <a:gd name="T38" fmla="*/ 36 w 48"/>
              <a:gd name="T39" fmla="*/ 16 h 56"/>
              <a:gd name="T40" fmla="*/ 40 w 48"/>
              <a:gd name="T41" fmla="*/ 22 h 56"/>
              <a:gd name="T42" fmla="*/ 44 w 48"/>
              <a:gd name="T43" fmla="*/ 26 h 56"/>
              <a:gd name="T44" fmla="*/ 48 w 48"/>
              <a:gd name="T45" fmla="*/ 30 h 56"/>
              <a:gd name="T46" fmla="*/ 44 w 48"/>
              <a:gd name="T47" fmla="*/ 30 h 56"/>
              <a:gd name="T48" fmla="*/ 44 w 48"/>
              <a:gd name="T49" fmla="*/ 26 h 56"/>
              <a:gd name="T50" fmla="*/ 40 w 48"/>
              <a:gd name="T51" fmla="*/ 38 h 56"/>
              <a:gd name="T52" fmla="*/ 44 w 48"/>
              <a:gd name="T53" fmla="*/ 40 h 56"/>
              <a:gd name="T54" fmla="*/ 40 w 48"/>
              <a:gd name="T55" fmla="*/ 40 h 56"/>
              <a:gd name="T56" fmla="*/ 40 w 48"/>
              <a:gd name="T57" fmla="*/ 44 h 56"/>
              <a:gd name="T58" fmla="*/ 40 w 48"/>
              <a:gd name="T59" fmla="*/ 48 h 56"/>
              <a:gd name="T60" fmla="*/ 40 w 48"/>
              <a:gd name="T61" fmla="*/ 48 h 56"/>
              <a:gd name="T62" fmla="*/ 40 w 48"/>
              <a:gd name="T63" fmla="*/ 52 h 56"/>
              <a:gd name="T64" fmla="*/ 40 w 48"/>
              <a:gd name="T65" fmla="*/ 56 h 56"/>
              <a:gd name="T66" fmla="*/ 40 w 48"/>
              <a:gd name="T67" fmla="*/ 52 h 56"/>
              <a:gd name="T68" fmla="*/ 36 w 48"/>
              <a:gd name="T69" fmla="*/ 48 h 56"/>
              <a:gd name="T70" fmla="*/ 36 w 48"/>
              <a:gd name="T71" fmla="*/ 44 h 56"/>
              <a:gd name="T72" fmla="*/ 36 w 48"/>
              <a:gd name="T73" fmla="*/ 40 h 56"/>
              <a:gd name="T74" fmla="*/ 32 w 48"/>
              <a:gd name="T75" fmla="*/ 44 h 56"/>
              <a:gd name="T76" fmla="*/ 36 w 48"/>
              <a:gd name="T77" fmla="*/ 44 h 56"/>
              <a:gd name="T78" fmla="*/ 36 w 48"/>
              <a:gd name="T79" fmla="*/ 48 h 56"/>
              <a:gd name="T80" fmla="*/ 36 w 48"/>
              <a:gd name="T81" fmla="*/ 48 h 56"/>
              <a:gd name="T82" fmla="*/ 32 w 48"/>
              <a:gd name="T83" fmla="*/ 48 h 56"/>
              <a:gd name="T84" fmla="*/ 28 w 48"/>
              <a:gd name="T85" fmla="*/ 44 h 56"/>
              <a:gd name="T86" fmla="*/ 32 w 48"/>
              <a:gd name="T87" fmla="*/ 38 h 56"/>
              <a:gd name="T88" fmla="*/ 28 w 48"/>
              <a:gd name="T89" fmla="*/ 34 h 56"/>
              <a:gd name="T90" fmla="*/ 26 w 48"/>
              <a:gd name="T91" fmla="*/ 30 h 56"/>
              <a:gd name="T92" fmla="*/ 22 w 48"/>
              <a:gd name="T93" fmla="*/ 30 h 56"/>
              <a:gd name="T94" fmla="*/ 18 w 48"/>
              <a:gd name="T95" fmla="*/ 26 h 56"/>
              <a:gd name="T96" fmla="*/ 18 w 48"/>
              <a:gd name="T97" fmla="*/ 26 h 56"/>
              <a:gd name="T98" fmla="*/ 14 w 48"/>
              <a:gd name="T99" fmla="*/ 22 h 56"/>
              <a:gd name="T100" fmla="*/ 10 w 48"/>
              <a:gd name="T101" fmla="*/ 18 h 56"/>
              <a:gd name="T102" fmla="*/ 10 w 48"/>
              <a:gd name="T103" fmla="*/ 18 h 56"/>
              <a:gd name="T104" fmla="*/ 10 w 48"/>
              <a:gd name="T105" fmla="*/ 18 h 56"/>
              <a:gd name="T106" fmla="*/ 14 w 48"/>
              <a:gd name="T107" fmla="*/ 22 h 56"/>
              <a:gd name="T108" fmla="*/ 10 w 48"/>
              <a:gd name="T109"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8" h="56">
                <a:moveTo>
                  <a:pt x="10" y="26"/>
                </a:moveTo>
                <a:lnTo>
                  <a:pt x="6" y="26"/>
                </a:lnTo>
                <a:lnTo>
                  <a:pt x="6" y="22"/>
                </a:lnTo>
                <a:lnTo>
                  <a:pt x="6" y="22"/>
                </a:lnTo>
                <a:lnTo>
                  <a:pt x="6" y="22"/>
                </a:lnTo>
                <a:lnTo>
                  <a:pt x="2" y="22"/>
                </a:lnTo>
                <a:lnTo>
                  <a:pt x="2" y="22"/>
                </a:lnTo>
                <a:lnTo>
                  <a:pt x="2" y="22"/>
                </a:lnTo>
                <a:lnTo>
                  <a:pt x="2" y="22"/>
                </a:lnTo>
                <a:lnTo>
                  <a:pt x="2" y="22"/>
                </a:lnTo>
                <a:lnTo>
                  <a:pt x="2" y="22"/>
                </a:lnTo>
                <a:lnTo>
                  <a:pt x="2" y="18"/>
                </a:lnTo>
                <a:lnTo>
                  <a:pt x="2" y="18"/>
                </a:lnTo>
                <a:lnTo>
                  <a:pt x="0" y="18"/>
                </a:lnTo>
                <a:lnTo>
                  <a:pt x="0" y="18"/>
                </a:lnTo>
                <a:lnTo>
                  <a:pt x="0" y="16"/>
                </a:lnTo>
                <a:lnTo>
                  <a:pt x="0" y="16"/>
                </a:lnTo>
                <a:lnTo>
                  <a:pt x="0" y="16"/>
                </a:lnTo>
                <a:lnTo>
                  <a:pt x="2" y="12"/>
                </a:lnTo>
                <a:lnTo>
                  <a:pt x="2" y="12"/>
                </a:lnTo>
                <a:lnTo>
                  <a:pt x="2" y="8"/>
                </a:lnTo>
                <a:lnTo>
                  <a:pt x="2" y="8"/>
                </a:lnTo>
                <a:lnTo>
                  <a:pt x="2" y="8"/>
                </a:lnTo>
                <a:lnTo>
                  <a:pt x="0" y="8"/>
                </a:lnTo>
                <a:lnTo>
                  <a:pt x="0" y="4"/>
                </a:lnTo>
                <a:lnTo>
                  <a:pt x="0" y="4"/>
                </a:lnTo>
                <a:lnTo>
                  <a:pt x="0" y="4"/>
                </a:lnTo>
                <a:lnTo>
                  <a:pt x="0" y="4"/>
                </a:lnTo>
                <a:lnTo>
                  <a:pt x="2" y="4"/>
                </a:lnTo>
                <a:lnTo>
                  <a:pt x="2" y="4"/>
                </a:lnTo>
                <a:lnTo>
                  <a:pt x="2" y="4"/>
                </a:lnTo>
                <a:lnTo>
                  <a:pt x="2" y="4"/>
                </a:lnTo>
                <a:lnTo>
                  <a:pt x="2" y="4"/>
                </a:lnTo>
                <a:lnTo>
                  <a:pt x="2" y="4"/>
                </a:lnTo>
                <a:lnTo>
                  <a:pt x="2" y="0"/>
                </a:lnTo>
                <a:lnTo>
                  <a:pt x="2" y="0"/>
                </a:lnTo>
                <a:lnTo>
                  <a:pt x="2" y="0"/>
                </a:lnTo>
                <a:lnTo>
                  <a:pt x="6" y="0"/>
                </a:lnTo>
                <a:lnTo>
                  <a:pt x="6" y="0"/>
                </a:lnTo>
                <a:lnTo>
                  <a:pt x="6" y="4"/>
                </a:lnTo>
                <a:lnTo>
                  <a:pt x="10" y="4"/>
                </a:lnTo>
                <a:lnTo>
                  <a:pt x="10" y="4"/>
                </a:lnTo>
                <a:lnTo>
                  <a:pt x="10" y="4"/>
                </a:lnTo>
                <a:lnTo>
                  <a:pt x="10" y="4"/>
                </a:lnTo>
                <a:lnTo>
                  <a:pt x="10" y="4"/>
                </a:lnTo>
                <a:lnTo>
                  <a:pt x="10" y="4"/>
                </a:lnTo>
                <a:lnTo>
                  <a:pt x="14" y="4"/>
                </a:lnTo>
                <a:lnTo>
                  <a:pt x="18" y="4"/>
                </a:lnTo>
                <a:lnTo>
                  <a:pt x="22" y="4"/>
                </a:lnTo>
                <a:lnTo>
                  <a:pt x="22" y="4"/>
                </a:lnTo>
                <a:lnTo>
                  <a:pt x="22" y="8"/>
                </a:lnTo>
                <a:lnTo>
                  <a:pt x="26" y="8"/>
                </a:lnTo>
                <a:lnTo>
                  <a:pt x="26" y="8"/>
                </a:lnTo>
                <a:lnTo>
                  <a:pt x="26" y="8"/>
                </a:lnTo>
                <a:lnTo>
                  <a:pt x="26" y="8"/>
                </a:lnTo>
                <a:lnTo>
                  <a:pt x="26" y="8"/>
                </a:lnTo>
                <a:lnTo>
                  <a:pt x="26" y="8"/>
                </a:lnTo>
                <a:lnTo>
                  <a:pt x="26" y="8"/>
                </a:lnTo>
                <a:lnTo>
                  <a:pt x="28" y="8"/>
                </a:lnTo>
                <a:lnTo>
                  <a:pt x="28" y="8"/>
                </a:lnTo>
                <a:lnTo>
                  <a:pt x="28" y="8"/>
                </a:lnTo>
                <a:lnTo>
                  <a:pt x="28" y="8"/>
                </a:lnTo>
                <a:lnTo>
                  <a:pt x="28" y="8"/>
                </a:lnTo>
                <a:lnTo>
                  <a:pt x="28" y="8"/>
                </a:lnTo>
                <a:lnTo>
                  <a:pt x="28" y="8"/>
                </a:lnTo>
                <a:lnTo>
                  <a:pt x="32" y="8"/>
                </a:lnTo>
                <a:lnTo>
                  <a:pt x="32" y="8"/>
                </a:lnTo>
                <a:lnTo>
                  <a:pt x="32" y="4"/>
                </a:lnTo>
                <a:lnTo>
                  <a:pt x="32" y="4"/>
                </a:lnTo>
                <a:lnTo>
                  <a:pt x="32" y="4"/>
                </a:lnTo>
                <a:lnTo>
                  <a:pt x="32" y="4"/>
                </a:lnTo>
                <a:lnTo>
                  <a:pt x="32" y="8"/>
                </a:lnTo>
                <a:lnTo>
                  <a:pt x="32" y="8"/>
                </a:lnTo>
                <a:lnTo>
                  <a:pt x="32" y="8"/>
                </a:lnTo>
                <a:lnTo>
                  <a:pt x="32" y="8"/>
                </a:lnTo>
                <a:lnTo>
                  <a:pt x="32" y="8"/>
                </a:lnTo>
                <a:lnTo>
                  <a:pt x="32" y="12"/>
                </a:lnTo>
                <a:lnTo>
                  <a:pt x="32" y="12"/>
                </a:lnTo>
                <a:lnTo>
                  <a:pt x="32" y="16"/>
                </a:lnTo>
                <a:lnTo>
                  <a:pt x="36" y="16"/>
                </a:lnTo>
                <a:lnTo>
                  <a:pt x="40" y="22"/>
                </a:lnTo>
                <a:lnTo>
                  <a:pt x="40" y="22"/>
                </a:lnTo>
                <a:lnTo>
                  <a:pt x="40" y="22"/>
                </a:lnTo>
                <a:lnTo>
                  <a:pt x="40" y="22"/>
                </a:lnTo>
                <a:lnTo>
                  <a:pt x="40" y="22"/>
                </a:lnTo>
                <a:lnTo>
                  <a:pt x="40" y="22"/>
                </a:lnTo>
                <a:lnTo>
                  <a:pt x="44" y="26"/>
                </a:lnTo>
                <a:lnTo>
                  <a:pt x="44" y="26"/>
                </a:lnTo>
                <a:lnTo>
                  <a:pt x="44" y="26"/>
                </a:lnTo>
                <a:lnTo>
                  <a:pt x="44" y="26"/>
                </a:lnTo>
                <a:lnTo>
                  <a:pt x="48" y="26"/>
                </a:lnTo>
                <a:lnTo>
                  <a:pt x="48" y="30"/>
                </a:lnTo>
                <a:lnTo>
                  <a:pt x="48" y="30"/>
                </a:lnTo>
                <a:lnTo>
                  <a:pt x="48" y="30"/>
                </a:lnTo>
                <a:lnTo>
                  <a:pt x="44" y="30"/>
                </a:lnTo>
                <a:lnTo>
                  <a:pt x="44" y="30"/>
                </a:lnTo>
                <a:lnTo>
                  <a:pt x="44" y="30"/>
                </a:lnTo>
                <a:lnTo>
                  <a:pt x="44" y="26"/>
                </a:lnTo>
                <a:lnTo>
                  <a:pt x="44" y="26"/>
                </a:lnTo>
                <a:lnTo>
                  <a:pt x="44" y="26"/>
                </a:lnTo>
                <a:lnTo>
                  <a:pt x="44" y="26"/>
                </a:lnTo>
                <a:lnTo>
                  <a:pt x="40" y="30"/>
                </a:lnTo>
                <a:lnTo>
                  <a:pt x="40" y="34"/>
                </a:lnTo>
                <a:lnTo>
                  <a:pt x="40" y="38"/>
                </a:lnTo>
                <a:lnTo>
                  <a:pt x="40" y="38"/>
                </a:lnTo>
                <a:lnTo>
                  <a:pt x="44" y="38"/>
                </a:lnTo>
                <a:lnTo>
                  <a:pt x="44" y="40"/>
                </a:lnTo>
                <a:lnTo>
                  <a:pt x="44" y="40"/>
                </a:lnTo>
                <a:lnTo>
                  <a:pt x="44" y="40"/>
                </a:lnTo>
                <a:lnTo>
                  <a:pt x="44" y="40"/>
                </a:lnTo>
                <a:lnTo>
                  <a:pt x="44" y="40"/>
                </a:lnTo>
                <a:lnTo>
                  <a:pt x="40" y="40"/>
                </a:lnTo>
                <a:lnTo>
                  <a:pt x="40" y="40"/>
                </a:lnTo>
                <a:lnTo>
                  <a:pt x="40" y="40"/>
                </a:lnTo>
                <a:lnTo>
                  <a:pt x="40" y="44"/>
                </a:lnTo>
                <a:lnTo>
                  <a:pt x="40" y="44"/>
                </a:lnTo>
                <a:lnTo>
                  <a:pt x="44" y="44"/>
                </a:lnTo>
                <a:lnTo>
                  <a:pt x="44" y="44"/>
                </a:lnTo>
                <a:lnTo>
                  <a:pt x="44" y="48"/>
                </a:lnTo>
                <a:lnTo>
                  <a:pt x="40" y="48"/>
                </a:lnTo>
                <a:lnTo>
                  <a:pt x="40" y="48"/>
                </a:lnTo>
                <a:lnTo>
                  <a:pt x="40" y="48"/>
                </a:lnTo>
                <a:lnTo>
                  <a:pt x="40" y="48"/>
                </a:lnTo>
                <a:lnTo>
                  <a:pt x="40" y="48"/>
                </a:lnTo>
                <a:lnTo>
                  <a:pt x="40" y="48"/>
                </a:lnTo>
                <a:lnTo>
                  <a:pt x="40" y="52"/>
                </a:lnTo>
                <a:lnTo>
                  <a:pt x="40" y="52"/>
                </a:lnTo>
                <a:lnTo>
                  <a:pt x="40" y="52"/>
                </a:lnTo>
                <a:lnTo>
                  <a:pt x="40" y="52"/>
                </a:lnTo>
                <a:lnTo>
                  <a:pt x="40" y="52"/>
                </a:lnTo>
                <a:lnTo>
                  <a:pt x="40" y="56"/>
                </a:lnTo>
                <a:lnTo>
                  <a:pt x="40" y="56"/>
                </a:lnTo>
                <a:lnTo>
                  <a:pt x="40" y="52"/>
                </a:lnTo>
                <a:lnTo>
                  <a:pt x="40" y="52"/>
                </a:lnTo>
                <a:lnTo>
                  <a:pt x="40" y="52"/>
                </a:lnTo>
                <a:lnTo>
                  <a:pt x="40" y="52"/>
                </a:lnTo>
                <a:lnTo>
                  <a:pt x="40" y="48"/>
                </a:lnTo>
                <a:lnTo>
                  <a:pt x="40" y="48"/>
                </a:lnTo>
                <a:lnTo>
                  <a:pt x="40" y="48"/>
                </a:lnTo>
                <a:lnTo>
                  <a:pt x="36" y="48"/>
                </a:lnTo>
                <a:lnTo>
                  <a:pt x="40" y="48"/>
                </a:lnTo>
                <a:lnTo>
                  <a:pt x="40" y="48"/>
                </a:lnTo>
                <a:lnTo>
                  <a:pt x="40" y="48"/>
                </a:lnTo>
                <a:lnTo>
                  <a:pt x="36" y="44"/>
                </a:lnTo>
                <a:lnTo>
                  <a:pt x="36" y="44"/>
                </a:lnTo>
                <a:lnTo>
                  <a:pt x="36" y="44"/>
                </a:lnTo>
                <a:lnTo>
                  <a:pt x="36" y="44"/>
                </a:lnTo>
                <a:lnTo>
                  <a:pt x="36" y="40"/>
                </a:lnTo>
                <a:lnTo>
                  <a:pt x="36" y="40"/>
                </a:lnTo>
                <a:lnTo>
                  <a:pt x="32" y="40"/>
                </a:lnTo>
                <a:lnTo>
                  <a:pt x="32" y="44"/>
                </a:lnTo>
                <a:lnTo>
                  <a:pt x="32" y="44"/>
                </a:lnTo>
                <a:lnTo>
                  <a:pt x="36" y="44"/>
                </a:lnTo>
                <a:lnTo>
                  <a:pt x="36" y="44"/>
                </a:lnTo>
                <a:lnTo>
                  <a:pt x="36" y="44"/>
                </a:lnTo>
                <a:lnTo>
                  <a:pt x="36" y="44"/>
                </a:lnTo>
                <a:lnTo>
                  <a:pt x="36" y="44"/>
                </a:lnTo>
                <a:lnTo>
                  <a:pt x="36" y="48"/>
                </a:lnTo>
                <a:lnTo>
                  <a:pt x="36" y="48"/>
                </a:lnTo>
                <a:lnTo>
                  <a:pt x="36" y="48"/>
                </a:lnTo>
                <a:lnTo>
                  <a:pt x="36" y="48"/>
                </a:lnTo>
                <a:lnTo>
                  <a:pt x="36" y="48"/>
                </a:lnTo>
                <a:lnTo>
                  <a:pt x="36" y="48"/>
                </a:lnTo>
                <a:lnTo>
                  <a:pt x="36" y="48"/>
                </a:lnTo>
                <a:lnTo>
                  <a:pt x="32" y="48"/>
                </a:lnTo>
                <a:lnTo>
                  <a:pt x="32" y="48"/>
                </a:lnTo>
                <a:lnTo>
                  <a:pt x="32" y="48"/>
                </a:lnTo>
                <a:lnTo>
                  <a:pt x="32" y="48"/>
                </a:lnTo>
                <a:lnTo>
                  <a:pt x="28" y="44"/>
                </a:lnTo>
                <a:lnTo>
                  <a:pt x="28" y="44"/>
                </a:lnTo>
                <a:lnTo>
                  <a:pt x="28" y="44"/>
                </a:lnTo>
                <a:lnTo>
                  <a:pt x="28" y="44"/>
                </a:lnTo>
                <a:lnTo>
                  <a:pt x="28" y="44"/>
                </a:lnTo>
                <a:lnTo>
                  <a:pt x="32" y="40"/>
                </a:lnTo>
                <a:lnTo>
                  <a:pt x="32" y="40"/>
                </a:lnTo>
                <a:lnTo>
                  <a:pt x="32" y="38"/>
                </a:lnTo>
                <a:lnTo>
                  <a:pt x="32" y="38"/>
                </a:lnTo>
                <a:lnTo>
                  <a:pt x="28" y="38"/>
                </a:lnTo>
                <a:lnTo>
                  <a:pt x="28" y="38"/>
                </a:lnTo>
                <a:lnTo>
                  <a:pt x="28" y="34"/>
                </a:lnTo>
                <a:lnTo>
                  <a:pt x="26" y="34"/>
                </a:lnTo>
                <a:lnTo>
                  <a:pt x="26" y="34"/>
                </a:lnTo>
                <a:lnTo>
                  <a:pt x="26" y="34"/>
                </a:lnTo>
                <a:lnTo>
                  <a:pt x="26" y="30"/>
                </a:lnTo>
                <a:lnTo>
                  <a:pt x="26" y="30"/>
                </a:lnTo>
                <a:lnTo>
                  <a:pt x="26" y="30"/>
                </a:lnTo>
                <a:lnTo>
                  <a:pt x="22" y="30"/>
                </a:lnTo>
                <a:lnTo>
                  <a:pt x="22" y="30"/>
                </a:lnTo>
                <a:lnTo>
                  <a:pt x="18" y="30"/>
                </a:lnTo>
                <a:lnTo>
                  <a:pt x="18" y="30"/>
                </a:lnTo>
                <a:lnTo>
                  <a:pt x="18" y="30"/>
                </a:lnTo>
                <a:lnTo>
                  <a:pt x="18" y="26"/>
                </a:lnTo>
                <a:lnTo>
                  <a:pt x="18" y="26"/>
                </a:lnTo>
                <a:lnTo>
                  <a:pt x="18" y="26"/>
                </a:lnTo>
                <a:lnTo>
                  <a:pt x="18" y="26"/>
                </a:lnTo>
                <a:lnTo>
                  <a:pt x="18" y="26"/>
                </a:lnTo>
                <a:lnTo>
                  <a:pt x="18" y="26"/>
                </a:lnTo>
                <a:lnTo>
                  <a:pt x="18" y="22"/>
                </a:lnTo>
                <a:lnTo>
                  <a:pt x="14" y="22"/>
                </a:lnTo>
                <a:lnTo>
                  <a:pt x="14" y="22"/>
                </a:lnTo>
                <a:lnTo>
                  <a:pt x="14" y="22"/>
                </a:lnTo>
                <a:lnTo>
                  <a:pt x="14" y="22"/>
                </a:lnTo>
                <a:lnTo>
                  <a:pt x="14" y="18"/>
                </a:lnTo>
                <a:lnTo>
                  <a:pt x="10" y="18"/>
                </a:lnTo>
                <a:lnTo>
                  <a:pt x="10" y="18"/>
                </a:lnTo>
                <a:lnTo>
                  <a:pt x="10" y="18"/>
                </a:lnTo>
                <a:lnTo>
                  <a:pt x="10" y="18"/>
                </a:lnTo>
                <a:lnTo>
                  <a:pt x="10" y="18"/>
                </a:lnTo>
                <a:lnTo>
                  <a:pt x="10" y="18"/>
                </a:lnTo>
                <a:lnTo>
                  <a:pt x="10" y="18"/>
                </a:lnTo>
                <a:lnTo>
                  <a:pt x="10" y="18"/>
                </a:lnTo>
                <a:lnTo>
                  <a:pt x="10" y="18"/>
                </a:lnTo>
                <a:lnTo>
                  <a:pt x="10" y="22"/>
                </a:lnTo>
                <a:lnTo>
                  <a:pt x="10" y="22"/>
                </a:lnTo>
                <a:lnTo>
                  <a:pt x="14" y="22"/>
                </a:lnTo>
                <a:lnTo>
                  <a:pt x="14" y="22"/>
                </a:lnTo>
                <a:lnTo>
                  <a:pt x="14" y="26"/>
                </a:lnTo>
                <a:lnTo>
                  <a:pt x="10" y="26"/>
                </a:lnTo>
                <a:lnTo>
                  <a:pt x="10" y="26"/>
                </a:lnTo>
                <a:lnTo>
                  <a:pt x="10" y="26"/>
                </a:lnTo>
                <a:lnTo>
                  <a:pt x="10" y="26"/>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63" name="Freeform 70"/>
          <p:cNvSpPr>
            <a:spLocks noEditPoints="1"/>
          </p:cNvSpPr>
          <p:nvPr/>
        </p:nvSpPr>
        <p:spPr bwMode="auto">
          <a:xfrm>
            <a:off x="2828925" y="3221831"/>
            <a:ext cx="183356" cy="69056"/>
          </a:xfrm>
          <a:custGeom>
            <a:avLst/>
            <a:gdLst>
              <a:gd name="T0" fmla="*/ 82 w 154"/>
              <a:gd name="T1" fmla="*/ 30 h 58"/>
              <a:gd name="T2" fmla="*/ 68 w 154"/>
              <a:gd name="T3" fmla="*/ 26 h 58"/>
              <a:gd name="T4" fmla="*/ 60 w 154"/>
              <a:gd name="T5" fmla="*/ 18 h 58"/>
              <a:gd name="T6" fmla="*/ 44 w 154"/>
              <a:gd name="T7" fmla="*/ 14 h 58"/>
              <a:gd name="T8" fmla="*/ 38 w 154"/>
              <a:gd name="T9" fmla="*/ 14 h 58"/>
              <a:gd name="T10" fmla="*/ 44 w 154"/>
              <a:gd name="T11" fmla="*/ 8 h 58"/>
              <a:gd name="T12" fmla="*/ 30 w 154"/>
              <a:gd name="T13" fmla="*/ 8 h 58"/>
              <a:gd name="T14" fmla="*/ 22 w 154"/>
              <a:gd name="T15" fmla="*/ 14 h 58"/>
              <a:gd name="T16" fmla="*/ 14 w 154"/>
              <a:gd name="T17" fmla="*/ 18 h 58"/>
              <a:gd name="T18" fmla="*/ 8 w 154"/>
              <a:gd name="T19" fmla="*/ 26 h 58"/>
              <a:gd name="T20" fmla="*/ 4 w 154"/>
              <a:gd name="T21" fmla="*/ 18 h 58"/>
              <a:gd name="T22" fmla="*/ 10 w 154"/>
              <a:gd name="T23" fmla="*/ 8 h 58"/>
              <a:gd name="T24" fmla="*/ 26 w 154"/>
              <a:gd name="T25" fmla="*/ 4 h 58"/>
              <a:gd name="T26" fmla="*/ 40 w 154"/>
              <a:gd name="T27" fmla="*/ 0 h 58"/>
              <a:gd name="T28" fmla="*/ 52 w 154"/>
              <a:gd name="T29" fmla="*/ 4 h 58"/>
              <a:gd name="T30" fmla="*/ 60 w 154"/>
              <a:gd name="T31" fmla="*/ 4 h 58"/>
              <a:gd name="T32" fmla="*/ 70 w 154"/>
              <a:gd name="T33" fmla="*/ 8 h 58"/>
              <a:gd name="T34" fmla="*/ 78 w 154"/>
              <a:gd name="T35" fmla="*/ 14 h 58"/>
              <a:gd name="T36" fmla="*/ 94 w 154"/>
              <a:gd name="T37" fmla="*/ 18 h 58"/>
              <a:gd name="T38" fmla="*/ 100 w 154"/>
              <a:gd name="T39" fmla="*/ 26 h 58"/>
              <a:gd name="T40" fmla="*/ 104 w 154"/>
              <a:gd name="T41" fmla="*/ 22 h 58"/>
              <a:gd name="T42" fmla="*/ 104 w 154"/>
              <a:gd name="T43" fmla="*/ 26 h 58"/>
              <a:gd name="T44" fmla="*/ 112 w 154"/>
              <a:gd name="T45" fmla="*/ 30 h 58"/>
              <a:gd name="T46" fmla="*/ 120 w 154"/>
              <a:gd name="T47" fmla="*/ 34 h 58"/>
              <a:gd name="T48" fmla="*/ 130 w 154"/>
              <a:gd name="T49" fmla="*/ 38 h 58"/>
              <a:gd name="T50" fmla="*/ 130 w 154"/>
              <a:gd name="T51" fmla="*/ 44 h 58"/>
              <a:gd name="T52" fmla="*/ 138 w 154"/>
              <a:gd name="T53" fmla="*/ 44 h 58"/>
              <a:gd name="T54" fmla="*/ 150 w 154"/>
              <a:gd name="T55" fmla="*/ 50 h 58"/>
              <a:gd name="T56" fmla="*/ 146 w 154"/>
              <a:gd name="T57" fmla="*/ 54 h 58"/>
              <a:gd name="T58" fmla="*/ 130 w 154"/>
              <a:gd name="T59" fmla="*/ 58 h 58"/>
              <a:gd name="T60" fmla="*/ 120 w 154"/>
              <a:gd name="T61" fmla="*/ 54 h 58"/>
              <a:gd name="T62" fmla="*/ 112 w 154"/>
              <a:gd name="T63" fmla="*/ 54 h 58"/>
              <a:gd name="T64" fmla="*/ 104 w 154"/>
              <a:gd name="T65" fmla="*/ 58 h 58"/>
              <a:gd name="T66" fmla="*/ 104 w 154"/>
              <a:gd name="T67" fmla="*/ 50 h 58"/>
              <a:gd name="T68" fmla="*/ 108 w 154"/>
              <a:gd name="T69" fmla="*/ 44 h 58"/>
              <a:gd name="T70" fmla="*/ 98 w 154"/>
              <a:gd name="T71" fmla="*/ 40 h 58"/>
              <a:gd name="T72" fmla="*/ 90 w 154"/>
              <a:gd name="T73" fmla="*/ 38 h 58"/>
              <a:gd name="T74" fmla="*/ 90 w 154"/>
              <a:gd name="T75" fmla="*/ 30 h 58"/>
              <a:gd name="T76" fmla="*/ 78 w 154"/>
              <a:gd name="T77" fmla="*/ 8 h 58"/>
              <a:gd name="T78" fmla="*/ 90 w 154"/>
              <a:gd name="T79" fmla="*/ 14 h 58"/>
              <a:gd name="T80" fmla="*/ 90 w 154"/>
              <a:gd name="T81" fmla="*/ 10 h 58"/>
              <a:gd name="T82" fmla="*/ 90 w 154"/>
              <a:gd name="T83" fmla="*/ 14 h 58"/>
              <a:gd name="T84" fmla="*/ 94 w 154"/>
              <a:gd name="T85" fmla="*/ 10 h 58"/>
              <a:gd name="T86" fmla="*/ 98 w 154"/>
              <a:gd name="T87" fmla="*/ 14 h 58"/>
              <a:gd name="T88" fmla="*/ 100 w 154"/>
              <a:gd name="T89" fmla="*/ 14 h 58"/>
              <a:gd name="T90" fmla="*/ 100 w 154"/>
              <a:gd name="T91" fmla="*/ 22 h 58"/>
              <a:gd name="T92" fmla="*/ 100 w 154"/>
              <a:gd name="T93" fmla="*/ 22 h 58"/>
              <a:gd name="T94" fmla="*/ 22 w 154"/>
              <a:gd name="T95" fmla="*/ 26 h 58"/>
              <a:gd name="T96" fmla="*/ 26 w 154"/>
              <a:gd name="T97" fmla="*/ 22 h 58"/>
              <a:gd name="T98" fmla="*/ 34 w 154"/>
              <a:gd name="T99" fmla="*/ 30 h 58"/>
              <a:gd name="T100" fmla="*/ 26 w 154"/>
              <a:gd name="T101" fmla="*/ 3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4" h="58">
                <a:moveTo>
                  <a:pt x="90" y="30"/>
                </a:moveTo>
                <a:lnTo>
                  <a:pt x="86" y="26"/>
                </a:lnTo>
                <a:lnTo>
                  <a:pt x="82" y="26"/>
                </a:lnTo>
                <a:lnTo>
                  <a:pt x="82" y="30"/>
                </a:lnTo>
                <a:lnTo>
                  <a:pt x="78" y="30"/>
                </a:lnTo>
                <a:lnTo>
                  <a:pt x="74" y="26"/>
                </a:lnTo>
                <a:lnTo>
                  <a:pt x="70" y="26"/>
                </a:lnTo>
                <a:lnTo>
                  <a:pt x="68" y="26"/>
                </a:lnTo>
                <a:lnTo>
                  <a:pt x="68" y="22"/>
                </a:lnTo>
                <a:lnTo>
                  <a:pt x="64" y="22"/>
                </a:lnTo>
                <a:lnTo>
                  <a:pt x="64" y="18"/>
                </a:lnTo>
                <a:lnTo>
                  <a:pt x="60" y="18"/>
                </a:lnTo>
                <a:lnTo>
                  <a:pt x="56" y="18"/>
                </a:lnTo>
                <a:lnTo>
                  <a:pt x="52" y="18"/>
                </a:lnTo>
                <a:lnTo>
                  <a:pt x="48" y="18"/>
                </a:lnTo>
                <a:lnTo>
                  <a:pt x="44" y="14"/>
                </a:lnTo>
                <a:lnTo>
                  <a:pt x="44" y="18"/>
                </a:lnTo>
                <a:lnTo>
                  <a:pt x="40" y="18"/>
                </a:lnTo>
                <a:lnTo>
                  <a:pt x="40" y="14"/>
                </a:lnTo>
                <a:lnTo>
                  <a:pt x="38" y="14"/>
                </a:lnTo>
                <a:lnTo>
                  <a:pt x="38" y="10"/>
                </a:lnTo>
                <a:lnTo>
                  <a:pt x="40" y="10"/>
                </a:lnTo>
                <a:lnTo>
                  <a:pt x="44" y="10"/>
                </a:lnTo>
                <a:lnTo>
                  <a:pt x="44" y="8"/>
                </a:lnTo>
                <a:lnTo>
                  <a:pt x="40" y="8"/>
                </a:lnTo>
                <a:lnTo>
                  <a:pt x="38" y="8"/>
                </a:lnTo>
                <a:lnTo>
                  <a:pt x="34" y="8"/>
                </a:lnTo>
                <a:lnTo>
                  <a:pt x="30" y="8"/>
                </a:lnTo>
                <a:lnTo>
                  <a:pt x="30" y="10"/>
                </a:lnTo>
                <a:lnTo>
                  <a:pt x="26" y="10"/>
                </a:lnTo>
                <a:lnTo>
                  <a:pt x="26" y="14"/>
                </a:lnTo>
                <a:lnTo>
                  <a:pt x="22" y="14"/>
                </a:lnTo>
                <a:lnTo>
                  <a:pt x="22" y="18"/>
                </a:lnTo>
                <a:lnTo>
                  <a:pt x="18" y="18"/>
                </a:lnTo>
                <a:lnTo>
                  <a:pt x="18" y="14"/>
                </a:lnTo>
                <a:lnTo>
                  <a:pt x="14" y="18"/>
                </a:lnTo>
                <a:lnTo>
                  <a:pt x="10" y="18"/>
                </a:lnTo>
                <a:lnTo>
                  <a:pt x="10" y="22"/>
                </a:lnTo>
                <a:lnTo>
                  <a:pt x="8" y="22"/>
                </a:lnTo>
                <a:lnTo>
                  <a:pt x="8" y="26"/>
                </a:lnTo>
                <a:lnTo>
                  <a:pt x="4" y="26"/>
                </a:lnTo>
                <a:lnTo>
                  <a:pt x="4" y="22"/>
                </a:lnTo>
                <a:lnTo>
                  <a:pt x="0" y="22"/>
                </a:lnTo>
                <a:lnTo>
                  <a:pt x="4" y="18"/>
                </a:lnTo>
                <a:lnTo>
                  <a:pt x="8" y="18"/>
                </a:lnTo>
                <a:lnTo>
                  <a:pt x="8" y="14"/>
                </a:lnTo>
                <a:lnTo>
                  <a:pt x="8" y="10"/>
                </a:lnTo>
                <a:lnTo>
                  <a:pt x="10" y="8"/>
                </a:lnTo>
                <a:lnTo>
                  <a:pt x="14" y="8"/>
                </a:lnTo>
                <a:lnTo>
                  <a:pt x="18" y="4"/>
                </a:lnTo>
                <a:lnTo>
                  <a:pt x="22" y="4"/>
                </a:lnTo>
                <a:lnTo>
                  <a:pt x="26" y="4"/>
                </a:lnTo>
                <a:lnTo>
                  <a:pt x="30" y="4"/>
                </a:lnTo>
                <a:lnTo>
                  <a:pt x="34" y="0"/>
                </a:lnTo>
                <a:lnTo>
                  <a:pt x="38" y="0"/>
                </a:lnTo>
                <a:lnTo>
                  <a:pt x="40" y="0"/>
                </a:lnTo>
                <a:lnTo>
                  <a:pt x="44" y="0"/>
                </a:lnTo>
                <a:lnTo>
                  <a:pt x="48" y="0"/>
                </a:lnTo>
                <a:lnTo>
                  <a:pt x="52" y="0"/>
                </a:lnTo>
                <a:lnTo>
                  <a:pt x="52" y="4"/>
                </a:lnTo>
                <a:lnTo>
                  <a:pt x="52" y="0"/>
                </a:lnTo>
                <a:lnTo>
                  <a:pt x="56" y="0"/>
                </a:lnTo>
                <a:lnTo>
                  <a:pt x="60" y="0"/>
                </a:lnTo>
                <a:lnTo>
                  <a:pt x="60" y="4"/>
                </a:lnTo>
                <a:lnTo>
                  <a:pt x="64" y="4"/>
                </a:lnTo>
                <a:lnTo>
                  <a:pt x="68" y="4"/>
                </a:lnTo>
                <a:lnTo>
                  <a:pt x="70" y="4"/>
                </a:lnTo>
                <a:lnTo>
                  <a:pt x="70" y="8"/>
                </a:lnTo>
                <a:lnTo>
                  <a:pt x="74" y="8"/>
                </a:lnTo>
                <a:lnTo>
                  <a:pt x="74" y="10"/>
                </a:lnTo>
                <a:lnTo>
                  <a:pt x="78" y="10"/>
                </a:lnTo>
                <a:lnTo>
                  <a:pt x="78" y="14"/>
                </a:lnTo>
                <a:lnTo>
                  <a:pt x="82" y="14"/>
                </a:lnTo>
                <a:lnTo>
                  <a:pt x="86" y="14"/>
                </a:lnTo>
                <a:lnTo>
                  <a:pt x="90" y="14"/>
                </a:lnTo>
                <a:lnTo>
                  <a:pt x="94" y="18"/>
                </a:lnTo>
                <a:lnTo>
                  <a:pt x="98" y="18"/>
                </a:lnTo>
                <a:lnTo>
                  <a:pt x="98" y="22"/>
                </a:lnTo>
                <a:lnTo>
                  <a:pt x="100" y="22"/>
                </a:lnTo>
                <a:lnTo>
                  <a:pt x="100" y="26"/>
                </a:lnTo>
                <a:lnTo>
                  <a:pt x="104" y="26"/>
                </a:lnTo>
                <a:lnTo>
                  <a:pt x="108" y="26"/>
                </a:lnTo>
                <a:lnTo>
                  <a:pt x="104" y="26"/>
                </a:lnTo>
                <a:lnTo>
                  <a:pt x="104" y="22"/>
                </a:lnTo>
                <a:lnTo>
                  <a:pt x="100" y="22"/>
                </a:lnTo>
                <a:lnTo>
                  <a:pt x="104" y="22"/>
                </a:lnTo>
                <a:lnTo>
                  <a:pt x="108" y="26"/>
                </a:lnTo>
                <a:lnTo>
                  <a:pt x="104" y="26"/>
                </a:lnTo>
                <a:lnTo>
                  <a:pt x="108" y="30"/>
                </a:lnTo>
                <a:lnTo>
                  <a:pt x="108" y="26"/>
                </a:lnTo>
                <a:lnTo>
                  <a:pt x="112" y="26"/>
                </a:lnTo>
                <a:lnTo>
                  <a:pt x="112" y="30"/>
                </a:lnTo>
                <a:lnTo>
                  <a:pt x="112" y="34"/>
                </a:lnTo>
                <a:lnTo>
                  <a:pt x="116" y="30"/>
                </a:lnTo>
                <a:lnTo>
                  <a:pt x="116" y="34"/>
                </a:lnTo>
                <a:lnTo>
                  <a:pt x="120" y="34"/>
                </a:lnTo>
                <a:lnTo>
                  <a:pt x="124" y="34"/>
                </a:lnTo>
                <a:lnTo>
                  <a:pt x="124" y="38"/>
                </a:lnTo>
                <a:lnTo>
                  <a:pt x="128" y="38"/>
                </a:lnTo>
                <a:lnTo>
                  <a:pt x="130" y="38"/>
                </a:lnTo>
                <a:lnTo>
                  <a:pt x="130" y="40"/>
                </a:lnTo>
                <a:lnTo>
                  <a:pt x="128" y="40"/>
                </a:lnTo>
                <a:lnTo>
                  <a:pt x="128" y="44"/>
                </a:lnTo>
                <a:lnTo>
                  <a:pt x="130" y="44"/>
                </a:lnTo>
                <a:lnTo>
                  <a:pt x="134" y="44"/>
                </a:lnTo>
                <a:lnTo>
                  <a:pt x="134" y="40"/>
                </a:lnTo>
                <a:lnTo>
                  <a:pt x="134" y="44"/>
                </a:lnTo>
                <a:lnTo>
                  <a:pt x="138" y="44"/>
                </a:lnTo>
                <a:lnTo>
                  <a:pt x="142" y="44"/>
                </a:lnTo>
                <a:lnTo>
                  <a:pt x="146" y="44"/>
                </a:lnTo>
                <a:lnTo>
                  <a:pt x="146" y="48"/>
                </a:lnTo>
                <a:lnTo>
                  <a:pt x="150" y="50"/>
                </a:lnTo>
                <a:lnTo>
                  <a:pt x="150" y="48"/>
                </a:lnTo>
                <a:lnTo>
                  <a:pt x="154" y="50"/>
                </a:lnTo>
                <a:lnTo>
                  <a:pt x="150" y="54"/>
                </a:lnTo>
                <a:lnTo>
                  <a:pt x="146" y="54"/>
                </a:lnTo>
                <a:lnTo>
                  <a:pt x="142" y="54"/>
                </a:lnTo>
                <a:lnTo>
                  <a:pt x="138" y="54"/>
                </a:lnTo>
                <a:lnTo>
                  <a:pt x="134" y="58"/>
                </a:lnTo>
                <a:lnTo>
                  <a:pt x="130" y="58"/>
                </a:lnTo>
                <a:lnTo>
                  <a:pt x="130" y="54"/>
                </a:lnTo>
                <a:lnTo>
                  <a:pt x="128" y="54"/>
                </a:lnTo>
                <a:lnTo>
                  <a:pt x="124" y="54"/>
                </a:lnTo>
                <a:lnTo>
                  <a:pt x="120" y="54"/>
                </a:lnTo>
                <a:lnTo>
                  <a:pt x="116" y="54"/>
                </a:lnTo>
                <a:lnTo>
                  <a:pt x="112" y="54"/>
                </a:lnTo>
                <a:lnTo>
                  <a:pt x="112" y="58"/>
                </a:lnTo>
                <a:lnTo>
                  <a:pt x="112" y="54"/>
                </a:lnTo>
                <a:lnTo>
                  <a:pt x="112" y="58"/>
                </a:lnTo>
                <a:lnTo>
                  <a:pt x="108" y="54"/>
                </a:lnTo>
                <a:lnTo>
                  <a:pt x="108" y="58"/>
                </a:lnTo>
                <a:lnTo>
                  <a:pt x="104" y="58"/>
                </a:lnTo>
                <a:lnTo>
                  <a:pt x="100" y="58"/>
                </a:lnTo>
                <a:lnTo>
                  <a:pt x="100" y="54"/>
                </a:lnTo>
                <a:lnTo>
                  <a:pt x="104" y="54"/>
                </a:lnTo>
                <a:lnTo>
                  <a:pt x="104" y="50"/>
                </a:lnTo>
                <a:lnTo>
                  <a:pt x="108" y="50"/>
                </a:lnTo>
                <a:lnTo>
                  <a:pt x="108" y="48"/>
                </a:lnTo>
                <a:lnTo>
                  <a:pt x="112" y="48"/>
                </a:lnTo>
                <a:lnTo>
                  <a:pt x="108" y="44"/>
                </a:lnTo>
                <a:lnTo>
                  <a:pt x="104" y="44"/>
                </a:lnTo>
                <a:lnTo>
                  <a:pt x="100" y="44"/>
                </a:lnTo>
                <a:lnTo>
                  <a:pt x="100" y="40"/>
                </a:lnTo>
                <a:lnTo>
                  <a:pt x="98" y="40"/>
                </a:lnTo>
                <a:lnTo>
                  <a:pt x="98" y="44"/>
                </a:lnTo>
                <a:lnTo>
                  <a:pt x="94" y="40"/>
                </a:lnTo>
                <a:lnTo>
                  <a:pt x="94" y="38"/>
                </a:lnTo>
                <a:lnTo>
                  <a:pt x="90" y="38"/>
                </a:lnTo>
                <a:lnTo>
                  <a:pt x="90" y="34"/>
                </a:lnTo>
                <a:lnTo>
                  <a:pt x="90" y="30"/>
                </a:lnTo>
                <a:lnTo>
                  <a:pt x="90" y="30"/>
                </a:lnTo>
                <a:lnTo>
                  <a:pt x="90" y="30"/>
                </a:lnTo>
                <a:close/>
                <a:moveTo>
                  <a:pt x="78" y="10"/>
                </a:moveTo>
                <a:lnTo>
                  <a:pt x="78" y="8"/>
                </a:lnTo>
                <a:lnTo>
                  <a:pt x="74" y="8"/>
                </a:lnTo>
                <a:lnTo>
                  <a:pt x="78" y="8"/>
                </a:lnTo>
                <a:lnTo>
                  <a:pt x="78" y="10"/>
                </a:lnTo>
                <a:lnTo>
                  <a:pt x="78" y="10"/>
                </a:lnTo>
                <a:lnTo>
                  <a:pt x="78" y="10"/>
                </a:lnTo>
                <a:close/>
                <a:moveTo>
                  <a:pt x="90" y="14"/>
                </a:moveTo>
                <a:lnTo>
                  <a:pt x="94" y="10"/>
                </a:lnTo>
                <a:lnTo>
                  <a:pt x="90" y="10"/>
                </a:lnTo>
                <a:lnTo>
                  <a:pt x="86" y="10"/>
                </a:lnTo>
                <a:lnTo>
                  <a:pt x="90" y="10"/>
                </a:lnTo>
                <a:lnTo>
                  <a:pt x="94" y="10"/>
                </a:lnTo>
                <a:lnTo>
                  <a:pt x="90" y="10"/>
                </a:lnTo>
                <a:lnTo>
                  <a:pt x="90" y="14"/>
                </a:lnTo>
                <a:lnTo>
                  <a:pt x="90" y="14"/>
                </a:lnTo>
                <a:lnTo>
                  <a:pt x="90" y="14"/>
                </a:lnTo>
                <a:close/>
                <a:moveTo>
                  <a:pt x="98" y="14"/>
                </a:moveTo>
                <a:lnTo>
                  <a:pt x="94" y="14"/>
                </a:lnTo>
                <a:lnTo>
                  <a:pt x="94" y="10"/>
                </a:lnTo>
                <a:lnTo>
                  <a:pt x="98" y="10"/>
                </a:lnTo>
                <a:lnTo>
                  <a:pt x="98" y="14"/>
                </a:lnTo>
                <a:lnTo>
                  <a:pt x="98" y="14"/>
                </a:lnTo>
                <a:lnTo>
                  <a:pt x="98" y="14"/>
                </a:lnTo>
                <a:close/>
                <a:moveTo>
                  <a:pt x="100" y="18"/>
                </a:moveTo>
                <a:lnTo>
                  <a:pt x="98" y="18"/>
                </a:lnTo>
                <a:lnTo>
                  <a:pt x="98" y="14"/>
                </a:lnTo>
                <a:lnTo>
                  <a:pt x="100" y="14"/>
                </a:lnTo>
                <a:lnTo>
                  <a:pt x="100" y="18"/>
                </a:lnTo>
                <a:lnTo>
                  <a:pt x="100" y="18"/>
                </a:lnTo>
                <a:lnTo>
                  <a:pt x="100" y="18"/>
                </a:lnTo>
                <a:close/>
                <a:moveTo>
                  <a:pt x="100" y="22"/>
                </a:moveTo>
                <a:lnTo>
                  <a:pt x="98" y="18"/>
                </a:lnTo>
                <a:lnTo>
                  <a:pt x="100" y="18"/>
                </a:lnTo>
                <a:lnTo>
                  <a:pt x="100" y="22"/>
                </a:lnTo>
                <a:lnTo>
                  <a:pt x="100" y="22"/>
                </a:lnTo>
                <a:lnTo>
                  <a:pt x="100" y="22"/>
                </a:lnTo>
                <a:close/>
                <a:moveTo>
                  <a:pt x="26" y="30"/>
                </a:moveTo>
                <a:lnTo>
                  <a:pt x="22" y="30"/>
                </a:lnTo>
                <a:lnTo>
                  <a:pt x="22" y="26"/>
                </a:lnTo>
                <a:lnTo>
                  <a:pt x="26" y="26"/>
                </a:lnTo>
                <a:lnTo>
                  <a:pt x="26" y="30"/>
                </a:lnTo>
                <a:lnTo>
                  <a:pt x="26" y="26"/>
                </a:lnTo>
                <a:lnTo>
                  <a:pt x="26" y="22"/>
                </a:lnTo>
                <a:lnTo>
                  <a:pt x="30" y="22"/>
                </a:lnTo>
                <a:lnTo>
                  <a:pt x="30" y="26"/>
                </a:lnTo>
                <a:lnTo>
                  <a:pt x="34" y="26"/>
                </a:lnTo>
                <a:lnTo>
                  <a:pt x="34" y="30"/>
                </a:lnTo>
                <a:lnTo>
                  <a:pt x="30" y="30"/>
                </a:lnTo>
                <a:lnTo>
                  <a:pt x="26" y="30"/>
                </a:lnTo>
                <a:lnTo>
                  <a:pt x="26" y="30"/>
                </a:lnTo>
                <a:lnTo>
                  <a:pt x="26" y="30"/>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64" name="Freeform 71"/>
          <p:cNvSpPr>
            <a:spLocks noEditPoints="1"/>
          </p:cNvSpPr>
          <p:nvPr/>
        </p:nvSpPr>
        <p:spPr bwMode="auto">
          <a:xfrm>
            <a:off x="3048000" y="3286125"/>
            <a:ext cx="59531" cy="50006"/>
          </a:xfrm>
          <a:custGeom>
            <a:avLst/>
            <a:gdLst>
              <a:gd name="T0" fmla="*/ 24 w 50"/>
              <a:gd name="T1" fmla="*/ 30 h 42"/>
              <a:gd name="T2" fmla="*/ 22 w 50"/>
              <a:gd name="T3" fmla="*/ 30 h 42"/>
              <a:gd name="T4" fmla="*/ 18 w 50"/>
              <a:gd name="T5" fmla="*/ 30 h 42"/>
              <a:gd name="T6" fmla="*/ 18 w 50"/>
              <a:gd name="T7" fmla="*/ 30 h 42"/>
              <a:gd name="T8" fmla="*/ 18 w 50"/>
              <a:gd name="T9" fmla="*/ 26 h 42"/>
              <a:gd name="T10" fmla="*/ 18 w 50"/>
              <a:gd name="T11" fmla="*/ 30 h 42"/>
              <a:gd name="T12" fmla="*/ 14 w 50"/>
              <a:gd name="T13" fmla="*/ 30 h 42"/>
              <a:gd name="T14" fmla="*/ 10 w 50"/>
              <a:gd name="T15" fmla="*/ 30 h 42"/>
              <a:gd name="T16" fmla="*/ 10 w 50"/>
              <a:gd name="T17" fmla="*/ 34 h 42"/>
              <a:gd name="T18" fmla="*/ 10 w 50"/>
              <a:gd name="T19" fmla="*/ 38 h 42"/>
              <a:gd name="T20" fmla="*/ 2 w 50"/>
              <a:gd name="T21" fmla="*/ 38 h 42"/>
              <a:gd name="T22" fmla="*/ 2 w 50"/>
              <a:gd name="T23" fmla="*/ 34 h 42"/>
              <a:gd name="T24" fmla="*/ 2 w 50"/>
              <a:gd name="T25" fmla="*/ 30 h 42"/>
              <a:gd name="T26" fmla="*/ 0 w 50"/>
              <a:gd name="T27" fmla="*/ 26 h 42"/>
              <a:gd name="T28" fmla="*/ 0 w 50"/>
              <a:gd name="T29" fmla="*/ 26 h 42"/>
              <a:gd name="T30" fmla="*/ 0 w 50"/>
              <a:gd name="T31" fmla="*/ 26 h 42"/>
              <a:gd name="T32" fmla="*/ 2 w 50"/>
              <a:gd name="T33" fmla="*/ 24 h 42"/>
              <a:gd name="T34" fmla="*/ 2 w 50"/>
              <a:gd name="T35" fmla="*/ 24 h 42"/>
              <a:gd name="T36" fmla="*/ 2 w 50"/>
              <a:gd name="T37" fmla="*/ 16 h 42"/>
              <a:gd name="T38" fmla="*/ 2 w 50"/>
              <a:gd name="T39" fmla="*/ 16 h 42"/>
              <a:gd name="T40" fmla="*/ 2 w 50"/>
              <a:gd name="T41" fmla="*/ 8 h 42"/>
              <a:gd name="T42" fmla="*/ 2 w 50"/>
              <a:gd name="T43" fmla="*/ 8 h 42"/>
              <a:gd name="T44" fmla="*/ 2 w 50"/>
              <a:gd name="T45" fmla="*/ 4 h 42"/>
              <a:gd name="T46" fmla="*/ 2 w 50"/>
              <a:gd name="T47" fmla="*/ 4 h 42"/>
              <a:gd name="T48" fmla="*/ 6 w 50"/>
              <a:gd name="T49" fmla="*/ 0 h 42"/>
              <a:gd name="T50" fmla="*/ 10 w 50"/>
              <a:gd name="T51" fmla="*/ 4 h 42"/>
              <a:gd name="T52" fmla="*/ 10 w 50"/>
              <a:gd name="T53" fmla="*/ 0 h 42"/>
              <a:gd name="T54" fmla="*/ 14 w 50"/>
              <a:gd name="T55" fmla="*/ 0 h 42"/>
              <a:gd name="T56" fmla="*/ 18 w 50"/>
              <a:gd name="T57" fmla="*/ 4 h 42"/>
              <a:gd name="T58" fmla="*/ 22 w 50"/>
              <a:gd name="T59" fmla="*/ 4 h 42"/>
              <a:gd name="T60" fmla="*/ 24 w 50"/>
              <a:gd name="T61" fmla="*/ 8 h 42"/>
              <a:gd name="T62" fmla="*/ 24 w 50"/>
              <a:gd name="T63" fmla="*/ 4 h 42"/>
              <a:gd name="T64" fmla="*/ 28 w 50"/>
              <a:gd name="T65" fmla="*/ 8 h 42"/>
              <a:gd name="T66" fmla="*/ 28 w 50"/>
              <a:gd name="T67" fmla="*/ 12 h 42"/>
              <a:gd name="T68" fmla="*/ 28 w 50"/>
              <a:gd name="T69" fmla="*/ 12 h 42"/>
              <a:gd name="T70" fmla="*/ 36 w 50"/>
              <a:gd name="T71" fmla="*/ 12 h 42"/>
              <a:gd name="T72" fmla="*/ 40 w 50"/>
              <a:gd name="T73" fmla="*/ 12 h 42"/>
              <a:gd name="T74" fmla="*/ 32 w 50"/>
              <a:gd name="T75" fmla="*/ 16 h 42"/>
              <a:gd name="T76" fmla="*/ 32 w 50"/>
              <a:gd name="T77" fmla="*/ 16 h 42"/>
              <a:gd name="T78" fmla="*/ 36 w 50"/>
              <a:gd name="T79" fmla="*/ 16 h 42"/>
              <a:gd name="T80" fmla="*/ 36 w 50"/>
              <a:gd name="T81" fmla="*/ 16 h 42"/>
              <a:gd name="T82" fmla="*/ 40 w 50"/>
              <a:gd name="T83" fmla="*/ 20 h 42"/>
              <a:gd name="T84" fmla="*/ 44 w 50"/>
              <a:gd name="T85" fmla="*/ 20 h 42"/>
              <a:gd name="T86" fmla="*/ 48 w 50"/>
              <a:gd name="T87" fmla="*/ 24 h 42"/>
              <a:gd name="T88" fmla="*/ 50 w 50"/>
              <a:gd name="T89" fmla="*/ 26 h 42"/>
              <a:gd name="T90" fmla="*/ 48 w 50"/>
              <a:gd name="T91" fmla="*/ 30 h 42"/>
              <a:gd name="T92" fmla="*/ 48 w 50"/>
              <a:gd name="T93" fmla="*/ 30 h 42"/>
              <a:gd name="T94" fmla="*/ 44 w 50"/>
              <a:gd name="T95" fmla="*/ 30 h 42"/>
              <a:gd name="T96" fmla="*/ 44 w 50"/>
              <a:gd name="T97" fmla="*/ 30 h 42"/>
              <a:gd name="T98" fmla="*/ 40 w 50"/>
              <a:gd name="T99" fmla="*/ 30 h 42"/>
              <a:gd name="T100" fmla="*/ 32 w 50"/>
              <a:gd name="T101" fmla="*/ 26 h 42"/>
              <a:gd name="T102" fmla="*/ 28 w 50"/>
              <a:gd name="T103" fmla="*/ 26 h 42"/>
              <a:gd name="T104" fmla="*/ 24 w 50"/>
              <a:gd name="T105" fmla="*/ 26 h 42"/>
              <a:gd name="T106" fmla="*/ 44 w 50"/>
              <a:gd name="T107" fmla="*/ 34 h 42"/>
              <a:gd name="T108" fmla="*/ 44 w 50"/>
              <a:gd name="T109" fmla="*/ 34 h 42"/>
              <a:gd name="T110" fmla="*/ 48 w 50"/>
              <a:gd name="T111" fmla="*/ 3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0" h="42">
                <a:moveTo>
                  <a:pt x="24" y="26"/>
                </a:moveTo>
                <a:lnTo>
                  <a:pt x="24" y="26"/>
                </a:lnTo>
                <a:lnTo>
                  <a:pt x="24" y="26"/>
                </a:lnTo>
                <a:lnTo>
                  <a:pt x="24" y="30"/>
                </a:lnTo>
                <a:lnTo>
                  <a:pt x="24" y="30"/>
                </a:lnTo>
                <a:lnTo>
                  <a:pt x="24" y="30"/>
                </a:lnTo>
                <a:lnTo>
                  <a:pt x="24" y="30"/>
                </a:lnTo>
                <a:lnTo>
                  <a:pt x="24" y="30"/>
                </a:lnTo>
                <a:lnTo>
                  <a:pt x="24" y="30"/>
                </a:lnTo>
                <a:lnTo>
                  <a:pt x="22" y="30"/>
                </a:lnTo>
                <a:lnTo>
                  <a:pt x="22" y="30"/>
                </a:lnTo>
                <a:lnTo>
                  <a:pt x="22" y="30"/>
                </a:lnTo>
                <a:lnTo>
                  <a:pt x="22" y="30"/>
                </a:lnTo>
                <a:lnTo>
                  <a:pt x="22" y="30"/>
                </a:lnTo>
                <a:lnTo>
                  <a:pt x="22" y="30"/>
                </a:lnTo>
                <a:lnTo>
                  <a:pt x="22" y="30"/>
                </a:lnTo>
                <a:lnTo>
                  <a:pt x="22" y="30"/>
                </a:lnTo>
                <a:lnTo>
                  <a:pt x="18" y="30"/>
                </a:lnTo>
                <a:lnTo>
                  <a:pt x="18" y="30"/>
                </a:lnTo>
                <a:lnTo>
                  <a:pt x="18" y="30"/>
                </a:lnTo>
                <a:lnTo>
                  <a:pt x="18" y="30"/>
                </a:lnTo>
                <a:lnTo>
                  <a:pt x="18" y="30"/>
                </a:lnTo>
                <a:lnTo>
                  <a:pt x="18" y="30"/>
                </a:lnTo>
                <a:lnTo>
                  <a:pt x="18" y="30"/>
                </a:lnTo>
                <a:lnTo>
                  <a:pt x="18" y="30"/>
                </a:lnTo>
                <a:lnTo>
                  <a:pt x="18" y="26"/>
                </a:lnTo>
                <a:lnTo>
                  <a:pt x="18" y="26"/>
                </a:lnTo>
                <a:lnTo>
                  <a:pt x="18" y="26"/>
                </a:lnTo>
                <a:lnTo>
                  <a:pt x="18" y="26"/>
                </a:lnTo>
                <a:lnTo>
                  <a:pt x="18" y="26"/>
                </a:lnTo>
                <a:lnTo>
                  <a:pt x="18" y="26"/>
                </a:lnTo>
                <a:lnTo>
                  <a:pt x="18" y="26"/>
                </a:lnTo>
                <a:lnTo>
                  <a:pt x="18" y="26"/>
                </a:lnTo>
                <a:lnTo>
                  <a:pt x="18" y="30"/>
                </a:lnTo>
                <a:lnTo>
                  <a:pt x="18" y="30"/>
                </a:lnTo>
                <a:lnTo>
                  <a:pt x="18" y="30"/>
                </a:lnTo>
                <a:lnTo>
                  <a:pt x="18" y="30"/>
                </a:lnTo>
                <a:lnTo>
                  <a:pt x="18" y="30"/>
                </a:lnTo>
                <a:lnTo>
                  <a:pt x="18" y="30"/>
                </a:lnTo>
                <a:lnTo>
                  <a:pt x="14" y="30"/>
                </a:lnTo>
                <a:lnTo>
                  <a:pt x="14" y="30"/>
                </a:lnTo>
                <a:lnTo>
                  <a:pt x="14" y="30"/>
                </a:lnTo>
                <a:lnTo>
                  <a:pt x="10" y="30"/>
                </a:lnTo>
                <a:lnTo>
                  <a:pt x="10" y="30"/>
                </a:lnTo>
                <a:lnTo>
                  <a:pt x="10" y="30"/>
                </a:lnTo>
                <a:lnTo>
                  <a:pt x="10" y="30"/>
                </a:lnTo>
                <a:lnTo>
                  <a:pt x="10" y="30"/>
                </a:lnTo>
                <a:lnTo>
                  <a:pt x="10" y="30"/>
                </a:lnTo>
                <a:lnTo>
                  <a:pt x="10" y="30"/>
                </a:lnTo>
                <a:lnTo>
                  <a:pt x="10" y="30"/>
                </a:lnTo>
                <a:lnTo>
                  <a:pt x="10" y="30"/>
                </a:lnTo>
                <a:lnTo>
                  <a:pt x="10" y="34"/>
                </a:lnTo>
                <a:lnTo>
                  <a:pt x="10" y="34"/>
                </a:lnTo>
                <a:lnTo>
                  <a:pt x="10" y="34"/>
                </a:lnTo>
                <a:lnTo>
                  <a:pt x="10" y="34"/>
                </a:lnTo>
                <a:lnTo>
                  <a:pt x="10" y="38"/>
                </a:lnTo>
                <a:lnTo>
                  <a:pt x="10" y="38"/>
                </a:lnTo>
                <a:lnTo>
                  <a:pt x="10" y="38"/>
                </a:lnTo>
                <a:lnTo>
                  <a:pt x="10" y="38"/>
                </a:lnTo>
                <a:lnTo>
                  <a:pt x="10" y="38"/>
                </a:lnTo>
                <a:lnTo>
                  <a:pt x="10" y="38"/>
                </a:lnTo>
                <a:lnTo>
                  <a:pt x="6" y="42"/>
                </a:lnTo>
                <a:lnTo>
                  <a:pt x="6" y="42"/>
                </a:lnTo>
                <a:lnTo>
                  <a:pt x="6" y="42"/>
                </a:lnTo>
                <a:lnTo>
                  <a:pt x="2" y="38"/>
                </a:lnTo>
                <a:lnTo>
                  <a:pt x="2" y="38"/>
                </a:lnTo>
                <a:lnTo>
                  <a:pt x="2" y="38"/>
                </a:lnTo>
                <a:lnTo>
                  <a:pt x="2" y="34"/>
                </a:lnTo>
                <a:lnTo>
                  <a:pt x="2" y="34"/>
                </a:lnTo>
                <a:lnTo>
                  <a:pt x="2" y="34"/>
                </a:lnTo>
                <a:lnTo>
                  <a:pt x="2" y="34"/>
                </a:lnTo>
                <a:lnTo>
                  <a:pt x="2" y="34"/>
                </a:lnTo>
                <a:lnTo>
                  <a:pt x="2" y="34"/>
                </a:lnTo>
                <a:lnTo>
                  <a:pt x="2" y="34"/>
                </a:lnTo>
                <a:lnTo>
                  <a:pt x="2" y="34"/>
                </a:lnTo>
                <a:lnTo>
                  <a:pt x="2" y="30"/>
                </a:lnTo>
                <a:lnTo>
                  <a:pt x="2" y="30"/>
                </a:lnTo>
                <a:lnTo>
                  <a:pt x="2" y="30"/>
                </a:lnTo>
                <a:lnTo>
                  <a:pt x="2" y="30"/>
                </a:lnTo>
                <a:lnTo>
                  <a:pt x="2" y="30"/>
                </a:lnTo>
                <a:lnTo>
                  <a:pt x="2" y="30"/>
                </a:lnTo>
                <a:lnTo>
                  <a:pt x="2" y="30"/>
                </a:lnTo>
                <a:lnTo>
                  <a:pt x="0" y="30"/>
                </a:lnTo>
                <a:lnTo>
                  <a:pt x="0" y="26"/>
                </a:lnTo>
                <a:lnTo>
                  <a:pt x="0" y="26"/>
                </a:lnTo>
                <a:lnTo>
                  <a:pt x="0" y="26"/>
                </a:lnTo>
                <a:lnTo>
                  <a:pt x="0" y="26"/>
                </a:lnTo>
                <a:lnTo>
                  <a:pt x="0" y="26"/>
                </a:lnTo>
                <a:lnTo>
                  <a:pt x="0" y="26"/>
                </a:lnTo>
                <a:lnTo>
                  <a:pt x="0" y="26"/>
                </a:lnTo>
                <a:lnTo>
                  <a:pt x="0" y="26"/>
                </a:lnTo>
                <a:lnTo>
                  <a:pt x="0" y="24"/>
                </a:lnTo>
                <a:lnTo>
                  <a:pt x="0" y="24"/>
                </a:lnTo>
                <a:lnTo>
                  <a:pt x="0" y="24"/>
                </a:lnTo>
                <a:lnTo>
                  <a:pt x="0" y="24"/>
                </a:lnTo>
                <a:lnTo>
                  <a:pt x="0" y="26"/>
                </a:lnTo>
                <a:lnTo>
                  <a:pt x="0" y="24"/>
                </a:lnTo>
                <a:lnTo>
                  <a:pt x="0" y="24"/>
                </a:lnTo>
                <a:lnTo>
                  <a:pt x="0" y="24"/>
                </a:lnTo>
                <a:lnTo>
                  <a:pt x="2" y="24"/>
                </a:lnTo>
                <a:lnTo>
                  <a:pt x="2" y="24"/>
                </a:lnTo>
                <a:lnTo>
                  <a:pt x="2" y="24"/>
                </a:lnTo>
                <a:lnTo>
                  <a:pt x="2" y="24"/>
                </a:lnTo>
                <a:lnTo>
                  <a:pt x="2" y="24"/>
                </a:lnTo>
                <a:lnTo>
                  <a:pt x="2" y="24"/>
                </a:lnTo>
                <a:lnTo>
                  <a:pt x="2" y="24"/>
                </a:lnTo>
                <a:lnTo>
                  <a:pt x="2" y="24"/>
                </a:lnTo>
                <a:lnTo>
                  <a:pt x="2" y="24"/>
                </a:lnTo>
                <a:lnTo>
                  <a:pt x="2" y="24"/>
                </a:lnTo>
                <a:lnTo>
                  <a:pt x="2" y="20"/>
                </a:lnTo>
                <a:lnTo>
                  <a:pt x="2" y="20"/>
                </a:lnTo>
                <a:lnTo>
                  <a:pt x="2" y="20"/>
                </a:lnTo>
                <a:lnTo>
                  <a:pt x="2" y="16"/>
                </a:lnTo>
                <a:lnTo>
                  <a:pt x="2" y="16"/>
                </a:lnTo>
                <a:lnTo>
                  <a:pt x="2" y="16"/>
                </a:lnTo>
                <a:lnTo>
                  <a:pt x="2" y="16"/>
                </a:lnTo>
                <a:lnTo>
                  <a:pt x="2" y="16"/>
                </a:lnTo>
                <a:lnTo>
                  <a:pt x="2" y="16"/>
                </a:lnTo>
                <a:lnTo>
                  <a:pt x="2" y="16"/>
                </a:lnTo>
                <a:lnTo>
                  <a:pt x="2" y="16"/>
                </a:lnTo>
                <a:lnTo>
                  <a:pt x="2" y="16"/>
                </a:lnTo>
                <a:lnTo>
                  <a:pt x="2" y="12"/>
                </a:lnTo>
                <a:lnTo>
                  <a:pt x="2" y="12"/>
                </a:lnTo>
                <a:lnTo>
                  <a:pt x="2" y="12"/>
                </a:lnTo>
                <a:lnTo>
                  <a:pt x="2" y="12"/>
                </a:lnTo>
                <a:lnTo>
                  <a:pt x="2" y="8"/>
                </a:lnTo>
                <a:lnTo>
                  <a:pt x="2" y="8"/>
                </a:lnTo>
                <a:lnTo>
                  <a:pt x="2" y="8"/>
                </a:lnTo>
                <a:lnTo>
                  <a:pt x="2" y="8"/>
                </a:lnTo>
                <a:lnTo>
                  <a:pt x="2" y="8"/>
                </a:lnTo>
                <a:lnTo>
                  <a:pt x="2" y="8"/>
                </a:lnTo>
                <a:lnTo>
                  <a:pt x="2" y="8"/>
                </a:lnTo>
                <a:lnTo>
                  <a:pt x="2" y="8"/>
                </a:lnTo>
                <a:lnTo>
                  <a:pt x="2" y="8"/>
                </a:lnTo>
                <a:lnTo>
                  <a:pt x="2" y="8"/>
                </a:lnTo>
                <a:lnTo>
                  <a:pt x="2" y="4"/>
                </a:lnTo>
                <a:lnTo>
                  <a:pt x="2" y="4"/>
                </a:lnTo>
                <a:lnTo>
                  <a:pt x="2" y="4"/>
                </a:lnTo>
                <a:lnTo>
                  <a:pt x="2" y="4"/>
                </a:lnTo>
                <a:lnTo>
                  <a:pt x="2" y="4"/>
                </a:lnTo>
                <a:lnTo>
                  <a:pt x="2" y="4"/>
                </a:lnTo>
                <a:lnTo>
                  <a:pt x="2" y="4"/>
                </a:lnTo>
                <a:lnTo>
                  <a:pt x="2" y="4"/>
                </a:lnTo>
                <a:lnTo>
                  <a:pt x="2" y="4"/>
                </a:lnTo>
                <a:lnTo>
                  <a:pt x="2" y="4"/>
                </a:lnTo>
                <a:lnTo>
                  <a:pt x="2" y="0"/>
                </a:lnTo>
                <a:lnTo>
                  <a:pt x="2" y="0"/>
                </a:lnTo>
                <a:lnTo>
                  <a:pt x="2" y="0"/>
                </a:lnTo>
                <a:lnTo>
                  <a:pt x="6" y="0"/>
                </a:lnTo>
                <a:lnTo>
                  <a:pt x="6" y="0"/>
                </a:lnTo>
                <a:lnTo>
                  <a:pt x="6" y="0"/>
                </a:lnTo>
                <a:lnTo>
                  <a:pt x="6" y="0"/>
                </a:lnTo>
                <a:lnTo>
                  <a:pt x="6" y="4"/>
                </a:lnTo>
                <a:lnTo>
                  <a:pt x="6" y="4"/>
                </a:lnTo>
                <a:lnTo>
                  <a:pt x="6" y="4"/>
                </a:lnTo>
                <a:lnTo>
                  <a:pt x="10" y="4"/>
                </a:lnTo>
                <a:lnTo>
                  <a:pt x="10" y="4"/>
                </a:lnTo>
                <a:lnTo>
                  <a:pt x="10" y="4"/>
                </a:lnTo>
                <a:lnTo>
                  <a:pt x="10" y="4"/>
                </a:lnTo>
                <a:lnTo>
                  <a:pt x="10" y="4"/>
                </a:lnTo>
                <a:lnTo>
                  <a:pt x="10" y="0"/>
                </a:lnTo>
                <a:lnTo>
                  <a:pt x="10" y="0"/>
                </a:lnTo>
                <a:lnTo>
                  <a:pt x="10" y="0"/>
                </a:lnTo>
                <a:lnTo>
                  <a:pt x="10" y="0"/>
                </a:lnTo>
                <a:lnTo>
                  <a:pt x="14" y="0"/>
                </a:lnTo>
                <a:lnTo>
                  <a:pt x="14" y="0"/>
                </a:lnTo>
                <a:lnTo>
                  <a:pt x="14" y="0"/>
                </a:lnTo>
                <a:lnTo>
                  <a:pt x="14" y="0"/>
                </a:lnTo>
                <a:lnTo>
                  <a:pt x="14" y="4"/>
                </a:lnTo>
                <a:lnTo>
                  <a:pt x="14" y="4"/>
                </a:lnTo>
                <a:lnTo>
                  <a:pt x="18" y="4"/>
                </a:lnTo>
                <a:lnTo>
                  <a:pt x="18" y="4"/>
                </a:lnTo>
                <a:lnTo>
                  <a:pt x="18" y="4"/>
                </a:lnTo>
                <a:lnTo>
                  <a:pt x="18" y="4"/>
                </a:lnTo>
                <a:lnTo>
                  <a:pt x="22" y="4"/>
                </a:lnTo>
                <a:lnTo>
                  <a:pt x="22" y="4"/>
                </a:lnTo>
                <a:lnTo>
                  <a:pt x="22" y="4"/>
                </a:lnTo>
                <a:lnTo>
                  <a:pt x="22" y="4"/>
                </a:lnTo>
                <a:lnTo>
                  <a:pt x="22" y="4"/>
                </a:lnTo>
                <a:lnTo>
                  <a:pt x="22" y="4"/>
                </a:lnTo>
                <a:lnTo>
                  <a:pt x="22" y="8"/>
                </a:lnTo>
                <a:lnTo>
                  <a:pt x="22" y="8"/>
                </a:lnTo>
                <a:lnTo>
                  <a:pt x="22" y="8"/>
                </a:lnTo>
                <a:lnTo>
                  <a:pt x="22" y="8"/>
                </a:lnTo>
                <a:lnTo>
                  <a:pt x="24" y="8"/>
                </a:lnTo>
                <a:lnTo>
                  <a:pt x="24" y="8"/>
                </a:lnTo>
                <a:lnTo>
                  <a:pt x="24" y="8"/>
                </a:lnTo>
                <a:lnTo>
                  <a:pt x="24" y="8"/>
                </a:lnTo>
                <a:lnTo>
                  <a:pt x="24" y="8"/>
                </a:lnTo>
                <a:lnTo>
                  <a:pt x="24" y="8"/>
                </a:lnTo>
                <a:lnTo>
                  <a:pt x="24" y="8"/>
                </a:lnTo>
                <a:lnTo>
                  <a:pt x="24" y="4"/>
                </a:lnTo>
                <a:lnTo>
                  <a:pt x="24" y="4"/>
                </a:lnTo>
                <a:lnTo>
                  <a:pt x="24" y="4"/>
                </a:lnTo>
                <a:lnTo>
                  <a:pt x="28" y="4"/>
                </a:lnTo>
                <a:lnTo>
                  <a:pt x="28" y="4"/>
                </a:lnTo>
                <a:lnTo>
                  <a:pt x="28" y="8"/>
                </a:lnTo>
                <a:lnTo>
                  <a:pt x="28" y="8"/>
                </a:lnTo>
                <a:lnTo>
                  <a:pt x="28" y="8"/>
                </a:lnTo>
                <a:lnTo>
                  <a:pt x="28" y="8"/>
                </a:lnTo>
                <a:lnTo>
                  <a:pt x="28" y="8"/>
                </a:lnTo>
                <a:lnTo>
                  <a:pt x="28" y="12"/>
                </a:lnTo>
                <a:lnTo>
                  <a:pt x="28" y="12"/>
                </a:lnTo>
                <a:lnTo>
                  <a:pt x="28" y="12"/>
                </a:lnTo>
                <a:lnTo>
                  <a:pt x="28" y="12"/>
                </a:lnTo>
                <a:lnTo>
                  <a:pt x="28" y="12"/>
                </a:lnTo>
                <a:lnTo>
                  <a:pt x="28" y="12"/>
                </a:lnTo>
                <a:lnTo>
                  <a:pt x="28" y="12"/>
                </a:lnTo>
                <a:lnTo>
                  <a:pt x="28" y="12"/>
                </a:lnTo>
                <a:lnTo>
                  <a:pt x="28" y="12"/>
                </a:lnTo>
                <a:lnTo>
                  <a:pt x="28" y="12"/>
                </a:lnTo>
                <a:lnTo>
                  <a:pt x="32" y="12"/>
                </a:lnTo>
                <a:lnTo>
                  <a:pt x="32" y="12"/>
                </a:lnTo>
                <a:lnTo>
                  <a:pt x="32" y="12"/>
                </a:lnTo>
                <a:lnTo>
                  <a:pt x="32" y="12"/>
                </a:lnTo>
                <a:lnTo>
                  <a:pt x="36" y="12"/>
                </a:lnTo>
                <a:lnTo>
                  <a:pt x="36" y="12"/>
                </a:lnTo>
                <a:lnTo>
                  <a:pt x="36" y="12"/>
                </a:lnTo>
                <a:lnTo>
                  <a:pt x="36" y="12"/>
                </a:lnTo>
                <a:lnTo>
                  <a:pt x="36" y="12"/>
                </a:lnTo>
                <a:lnTo>
                  <a:pt x="40" y="12"/>
                </a:lnTo>
                <a:lnTo>
                  <a:pt x="40" y="12"/>
                </a:lnTo>
                <a:lnTo>
                  <a:pt x="40" y="12"/>
                </a:lnTo>
                <a:lnTo>
                  <a:pt x="36" y="16"/>
                </a:lnTo>
                <a:lnTo>
                  <a:pt x="36" y="16"/>
                </a:lnTo>
                <a:lnTo>
                  <a:pt x="36" y="16"/>
                </a:lnTo>
                <a:lnTo>
                  <a:pt x="36" y="16"/>
                </a:lnTo>
                <a:lnTo>
                  <a:pt x="32" y="16"/>
                </a:lnTo>
                <a:lnTo>
                  <a:pt x="32" y="16"/>
                </a:lnTo>
                <a:lnTo>
                  <a:pt x="32" y="16"/>
                </a:lnTo>
                <a:lnTo>
                  <a:pt x="32" y="16"/>
                </a:lnTo>
                <a:lnTo>
                  <a:pt x="32" y="16"/>
                </a:lnTo>
                <a:lnTo>
                  <a:pt x="32" y="16"/>
                </a:lnTo>
                <a:lnTo>
                  <a:pt x="32" y="16"/>
                </a:lnTo>
                <a:lnTo>
                  <a:pt x="32" y="16"/>
                </a:lnTo>
                <a:lnTo>
                  <a:pt x="32" y="16"/>
                </a:lnTo>
                <a:lnTo>
                  <a:pt x="32" y="16"/>
                </a:lnTo>
                <a:lnTo>
                  <a:pt x="32" y="16"/>
                </a:lnTo>
                <a:lnTo>
                  <a:pt x="32" y="16"/>
                </a:lnTo>
                <a:lnTo>
                  <a:pt x="36" y="16"/>
                </a:lnTo>
                <a:lnTo>
                  <a:pt x="36" y="16"/>
                </a:lnTo>
                <a:lnTo>
                  <a:pt x="36" y="16"/>
                </a:lnTo>
                <a:lnTo>
                  <a:pt x="36" y="16"/>
                </a:lnTo>
                <a:lnTo>
                  <a:pt x="36" y="16"/>
                </a:lnTo>
                <a:lnTo>
                  <a:pt x="36" y="16"/>
                </a:lnTo>
                <a:lnTo>
                  <a:pt x="36" y="16"/>
                </a:lnTo>
                <a:lnTo>
                  <a:pt x="36" y="16"/>
                </a:lnTo>
                <a:lnTo>
                  <a:pt x="36" y="16"/>
                </a:lnTo>
                <a:lnTo>
                  <a:pt x="36" y="20"/>
                </a:lnTo>
                <a:lnTo>
                  <a:pt x="36" y="20"/>
                </a:lnTo>
                <a:lnTo>
                  <a:pt x="36" y="20"/>
                </a:lnTo>
                <a:lnTo>
                  <a:pt x="40" y="20"/>
                </a:lnTo>
                <a:lnTo>
                  <a:pt x="40" y="20"/>
                </a:lnTo>
                <a:lnTo>
                  <a:pt x="40" y="20"/>
                </a:lnTo>
                <a:lnTo>
                  <a:pt x="44" y="20"/>
                </a:lnTo>
                <a:lnTo>
                  <a:pt x="44" y="20"/>
                </a:lnTo>
                <a:lnTo>
                  <a:pt x="44" y="20"/>
                </a:lnTo>
                <a:lnTo>
                  <a:pt x="44" y="20"/>
                </a:lnTo>
                <a:lnTo>
                  <a:pt x="44" y="20"/>
                </a:lnTo>
                <a:lnTo>
                  <a:pt x="44" y="20"/>
                </a:lnTo>
                <a:lnTo>
                  <a:pt x="44" y="20"/>
                </a:lnTo>
                <a:lnTo>
                  <a:pt x="48" y="24"/>
                </a:lnTo>
                <a:lnTo>
                  <a:pt x="48" y="24"/>
                </a:lnTo>
                <a:lnTo>
                  <a:pt x="48" y="24"/>
                </a:lnTo>
                <a:lnTo>
                  <a:pt x="48" y="24"/>
                </a:lnTo>
                <a:lnTo>
                  <a:pt x="50" y="24"/>
                </a:lnTo>
                <a:lnTo>
                  <a:pt x="50" y="24"/>
                </a:lnTo>
                <a:lnTo>
                  <a:pt x="50" y="24"/>
                </a:lnTo>
                <a:lnTo>
                  <a:pt x="50" y="26"/>
                </a:lnTo>
                <a:lnTo>
                  <a:pt x="50" y="26"/>
                </a:lnTo>
                <a:lnTo>
                  <a:pt x="48" y="30"/>
                </a:lnTo>
                <a:lnTo>
                  <a:pt x="48" y="30"/>
                </a:lnTo>
                <a:lnTo>
                  <a:pt x="48" y="30"/>
                </a:lnTo>
                <a:lnTo>
                  <a:pt x="48" y="30"/>
                </a:lnTo>
                <a:lnTo>
                  <a:pt x="48" y="30"/>
                </a:lnTo>
                <a:lnTo>
                  <a:pt x="48" y="30"/>
                </a:lnTo>
                <a:lnTo>
                  <a:pt x="48" y="30"/>
                </a:lnTo>
                <a:lnTo>
                  <a:pt x="48" y="30"/>
                </a:lnTo>
                <a:lnTo>
                  <a:pt x="48" y="30"/>
                </a:lnTo>
                <a:lnTo>
                  <a:pt x="48" y="30"/>
                </a:lnTo>
                <a:lnTo>
                  <a:pt x="48" y="30"/>
                </a:lnTo>
                <a:lnTo>
                  <a:pt x="48" y="30"/>
                </a:lnTo>
                <a:lnTo>
                  <a:pt x="44" y="30"/>
                </a:lnTo>
                <a:lnTo>
                  <a:pt x="44" y="30"/>
                </a:lnTo>
                <a:lnTo>
                  <a:pt x="44" y="30"/>
                </a:lnTo>
                <a:lnTo>
                  <a:pt x="44" y="30"/>
                </a:lnTo>
                <a:lnTo>
                  <a:pt x="44" y="30"/>
                </a:lnTo>
                <a:lnTo>
                  <a:pt x="44" y="30"/>
                </a:lnTo>
                <a:lnTo>
                  <a:pt x="44" y="30"/>
                </a:lnTo>
                <a:lnTo>
                  <a:pt x="44" y="30"/>
                </a:lnTo>
                <a:lnTo>
                  <a:pt x="44" y="30"/>
                </a:lnTo>
                <a:lnTo>
                  <a:pt x="44" y="30"/>
                </a:lnTo>
                <a:lnTo>
                  <a:pt x="44" y="30"/>
                </a:lnTo>
                <a:lnTo>
                  <a:pt x="44" y="30"/>
                </a:lnTo>
                <a:lnTo>
                  <a:pt x="44" y="26"/>
                </a:lnTo>
                <a:lnTo>
                  <a:pt x="44" y="26"/>
                </a:lnTo>
                <a:lnTo>
                  <a:pt x="40" y="26"/>
                </a:lnTo>
                <a:lnTo>
                  <a:pt x="40" y="26"/>
                </a:lnTo>
                <a:lnTo>
                  <a:pt x="40" y="30"/>
                </a:lnTo>
                <a:lnTo>
                  <a:pt x="40" y="30"/>
                </a:lnTo>
                <a:lnTo>
                  <a:pt x="40" y="30"/>
                </a:lnTo>
                <a:lnTo>
                  <a:pt x="40" y="26"/>
                </a:lnTo>
                <a:lnTo>
                  <a:pt x="36" y="26"/>
                </a:lnTo>
                <a:lnTo>
                  <a:pt x="36" y="26"/>
                </a:lnTo>
                <a:lnTo>
                  <a:pt x="32" y="26"/>
                </a:lnTo>
                <a:lnTo>
                  <a:pt x="32" y="26"/>
                </a:lnTo>
                <a:lnTo>
                  <a:pt x="32" y="26"/>
                </a:lnTo>
                <a:lnTo>
                  <a:pt x="32" y="26"/>
                </a:lnTo>
                <a:lnTo>
                  <a:pt x="28" y="26"/>
                </a:lnTo>
                <a:lnTo>
                  <a:pt x="28" y="26"/>
                </a:lnTo>
                <a:lnTo>
                  <a:pt x="28" y="26"/>
                </a:lnTo>
                <a:lnTo>
                  <a:pt x="28" y="26"/>
                </a:lnTo>
                <a:lnTo>
                  <a:pt x="28" y="26"/>
                </a:lnTo>
                <a:lnTo>
                  <a:pt x="28" y="26"/>
                </a:lnTo>
                <a:lnTo>
                  <a:pt x="28" y="26"/>
                </a:lnTo>
                <a:lnTo>
                  <a:pt x="24" y="26"/>
                </a:lnTo>
                <a:lnTo>
                  <a:pt x="24" y="26"/>
                </a:lnTo>
                <a:lnTo>
                  <a:pt x="24" y="26"/>
                </a:lnTo>
                <a:close/>
                <a:moveTo>
                  <a:pt x="48" y="34"/>
                </a:moveTo>
                <a:lnTo>
                  <a:pt x="48" y="34"/>
                </a:lnTo>
                <a:lnTo>
                  <a:pt x="48" y="34"/>
                </a:lnTo>
                <a:lnTo>
                  <a:pt x="48" y="34"/>
                </a:lnTo>
                <a:lnTo>
                  <a:pt x="44" y="34"/>
                </a:lnTo>
                <a:lnTo>
                  <a:pt x="44" y="34"/>
                </a:lnTo>
                <a:lnTo>
                  <a:pt x="44" y="34"/>
                </a:lnTo>
                <a:lnTo>
                  <a:pt x="44" y="34"/>
                </a:lnTo>
                <a:lnTo>
                  <a:pt x="44" y="34"/>
                </a:lnTo>
                <a:lnTo>
                  <a:pt x="44" y="34"/>
                </a:lnTo>
                <a:lnTo>
                  <a:pt x="44" y="34"/>
                </a:lnTo>
                <a:lnTo>
                  <a:pt x="44" y="34"/>
                </a:lnTo>
                <a:lnTo>
                  <a:pt x="44" y="30"/>
                </a:lnTo>
                <a:lnTo>
                  <a:pt x="48" y="34"/>
                </a:lnTo>
                <a:lnTo>
                  <a:pt x="48" y="34"/>
                </a:lnTo>
                <a:lnTo>
                  <a:pt x="48" y="34"/>
                </a:lnTo>
                <a:lnTo>
                  <a:pt x="48" y="34"/>
                </a:lnTo>
                <a:lnTo>
                  <a:pt x="48" y="34"/>
                </a:lnTo>
                <a:lnTo>
                  <a:pt x="48" y="34"/>
                </a:lnTo>
                <a:lnTo>
                  <a:pt x="48" y="34"/>
                </a:lnTo>
                <a:lnTo>
                  <a:pt x="48" y="34"/>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65" name="Freeform 72"/>
          <p:cNvSpPr>
            <a:spLocks/>
          </p:cNvSpPr>
          <p:nvPr/>
        </p:nvSpPr>
        <p:spPr bwMode="auto">
          <a:xfrm>
            <a:off x="2740818" y="3402806"/>
            <a:ext cx="38100" cy="26194"/>
          </a:xfrm>
          <a:custGeom>
            <a:avLst/>
            <a:gdLst>
              <a:gd name="T0" fmla="*/ 32 w 32"/>
              <a:gd name="T1" fmla="*/ 16 h 22"/>
              <a:gd name="T2" fmla="*/ 32 w 32"/>
              <a:gd name="T3" fmla="*/ 16 h 22"/>
              <a:gd name="T4" fmla="*/ 32 w 32"/>
              <a:gd name="T5" fmla="*/ 18 h 22"/>
              <a:gd name="T6" fmla="*/ 32 w 32"/>
              <a:gd name="T7" fmla="*/ 18 h 22"/>
              <a:gd name="T8" fmla="*/ 32 w 32"/>
              <a:gd name="T9" fmla="*/ 18 h 22"/>
              <a:gd name="T10" fmla="*/ 32 w 32"/>
              <a:gd name="T11" fmla="*/ 22 h 22"/>
              <a:gd name="T12" fmla="*/ 28 w 32"/>
              <a:gd name="T13" fmla="*/ 22 h 22"/>
              <a:gd name="T14" fmla="*/ 28 w 32"/>
              <a:gd name="T15" fmla="*/ 22 h 22"/>
              <a:gd name="T16" fmla="*/ 22 w 32"/>
              <a:gd name="T17" fmla="*/ 22 h 22"/>
              <a:gd name="T18" fmla="*/ 22 w 32"/>
              <a:gd name="T19" fmla="*/ 18 h 22"/>
              <a:gd name="T20" fmla="*/ 22 w 32"/>
              <a:gd name="T21" fmla="*/ 18 h 22"/>
              <a:gd name="T22" fmla="*/ 22 w 32"/>
              <a:gd name="T23" fmla="*/ 22 h 22"/>
              <a:gd name="T24" fmla="*/ 18 w 32"/>
              <a:gd name="T25" fmla="*/ 22 h 22"/>
              <a:gd name="T26" fmla="*/ 18 w 32"/>
              <a:gd name="T27" fmla="*/ 18 h 22"/>
              <a:gd name="T28" fmla="*/ 14 w 32"/>
              <a:gd name="T29" fmla="*/ 18 h 22"/>
              <a:gd name="T30" fmla="*/ 14 w 32"/>
              <a:gd name="T31" fmla="*/ 18 h 22"/>
              <a:gd name="T32" fmla="*/ 10 w 32"/>
              <a:gd name="T33" fmla="*/ 16 h 22"/>
              <a:gd name="T34" fmla="*/ 8 w 32"/>
              <a:gd name="T35" fmla="*/ 16 h 22"/>
              <a:gd name="T36" fmla="*/ 4 w 32"/>
              <a:gd name="T37" fmla="*/ 16 h 22"/>
              <a:gd name="T38" fmla="*/ 4 w 32"/>
              <a:gd name="T39" fmla="*/ 16 h 22"/>
              <a:gd name="T40" fmla="*/ 4 w 32"/>
              <a:gd name="T41" fmla="*/ 16 h 22"/>
              <a:gd name="T42" fmla="*/ 0 w 32"/>
              <a:gd name="T43" fmla="*/ 12 h 22"/>
              <a:gd name="T44" fmla="*/ 0 w 32"/>
              <a:gd name="T45" fmla="*/ 8 h 22"/>
              <a:gd name="T46" fmla="*/ 4 w 32"/>
              <a:gd name="T47" fmla="*/ 8 h 22"/>
              <a:gd name="T48" fmla="*/ 8 w 32"/>
              <a:gd name="T49" fmla="*/ 4 h 22"/>
              <a:gd name="T50" fmla="*/ 8 w 32"/>
              <a:gd name="T51" fmla="*/ 4 h 22"/>
              <a:gd name="T52" fmla="*/ 8 w 32"/>
              <a:gd name="T53" fmla="*/ 4 h 22"/>
              <a:gd name="T54" fmla="*/ 8 w 32"/>
              <a:gd name="T55" fmla="*/ 4 h 22"/>
              <a:gd name="T56" fmla="*/ 8 w 32"/>
              <a:gd name="T57" fmla="*/ 0 h 22"/>
              <a:gd name="T58" fmla="*/ 10 w 32"/>
              <a:gd name="T59" fmla="*/ 0 h 22"/>
              <a:gd name="T60" fmla="*/ 10 w 32"/>
              <a:gd name="T61" fmla="*/ 0 h 22"/>
              <a:gd name="T62" fmla="*/ 14 w 32"/>
              <a:gd name="T63" fmla="*/ 0 h 22"/>
              <a:gd name="T64" fmla="*/ 14 w 32"/>
              <a:gd name="T65" fmla="*/ 4 h 22"/>
              <a:gd name="T66" fmla="*/ 14 w 32"/>
              <a:gd name="T67" fmla="*/ 4 h 22"/>
              <a:gd name="T68" fmla="*/ 18 w 32"/>
              <a:gd name="T69" fmla="*/ 4 h 22"/>
              <a:gd name="T70" fmla="*/ 18 w 32"/>
              <a:gd name="T71" fmla="*/ 4 h 22"/>
              <a:gd name="T72" fmla="*/ 18 w 32"/>
              <a:gd name="T73" fmla="*/ 8 h 22"/>
              <a:gd name="T74" fmla="*/ 18 w 32"/>
              <a:gd name="T75" fmla="*/ 8 h 22"/>
              <a:gd name="T76" fmla="*/ 22 w 32"/>
              <a:gd name="T77" fmla="*/ 8 h 22"/>
              <a:gd name="T78" fmla="*/ 22 w 32"/>
              <a:gd name="T79" fmla="*/ 8 h 22"/>
              <a:gd name="T80" fmla="*/ 22 w 32"/>
              <a:gd name="T81" fmla="*/ 12 h 22"/>
              <a:gd name="T82" fmla="*/ 24 w 32"/>
              <a:gd name="T83" fmla="*/ 12 h 22"/>
              <a:gd name="T84" fmla="*/ 24 w 32"/>
              <a:gd name="T85" fmla="*/ 12 h 22"/>
              <a:gd name="T86" fmla="*/ 24 w 32"/>
              <a:gd name="T87" fmla="*/ 8 h 22"/>
              <a:gd name="T88" fmla="*/ 28 w 32"/>
              <a:gd name="T89" fmla="*/ 8 h 22"/>
              <a:gd name="T90" fmla="*/ 28 w 32"/>
              <a:gd name="T91" fmla="*/ 12 h 22"/>
              <a:gd name="T92" fmla="*/ 28 w 32"/>
              <a:gd name="T93" fmla="*/ 12 h 22"/>
              <a:gd name="T94" fmla="*/ 32 w 32"/>
              <a:gd name="T95" fmla="*/ 12 h 22"/>
              <a:gd name="T96" fmla="*/ 32 w 32"/>
              <a:gd name="T97"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 h="22">
                <a:moveTo>
                  <a:pt x="32" y="12"/>
                </a:moveTo>
                <a:lnTo>
                  <a:pt x="32" y="12"/>
                </a:lnTo>
                <a:lnTo>
                  <a:pt x="32" y="16"/>
                </a:lnTo>
                <a:lnTo>
                  <a:pt x="32" y="16"/>
                </a:lnTo>
                <a:lnTo>
                  <a:pt x="32" y="16"/>
                </a:lnTo>
                <a:lnTo>
                  <a:pt x="32" y="16"/>
                </a:lnTo>
                <a:lnTo>
                  <a:pt x="32" y="16"/>
                </a:lnTo>
                <a:lnTo>
                  <a:pt x="32" y="18"/>
                </a:lnTo>
                <a:lnTo>
                  <a:pt x="32" y="18"/>
                </a:lnTo>
                <a:lnTo>
                  <a:pt x="32" y="18"/>
                </a:lnTo>
                <a:lnTo>
                  <a:pt x="32" y="18"/>
                </a:lnTo>
                <a:lnTo>
                  <a:pt x="32" y="18"/>
                </a:lnTo>
                <a:lnTo>
                  <a:pt x="32" y="18"/>
                </a:lnTo>
                <a:lnTo>
                  <a:pt x="32" y="18"/>
                </a:lnTo>
                <a:lnTo>
                  <a:pt x="32" y="18"/>
                </a:lnTo>
                <a:lnTo>
                  <a:pt x="32" y="18"/>
                </a:lnTo>
                <a:lnTo>
                  <a:pt x="32" y="18"/>
                </a:lnTo>
                <a:lnTo>
                  <a:pt x="32" y="22"/>
                </a:lnTo>
                <a:lnTo>
                  <a:pt x="28" y="22"/>
                </a:lnTo>
                <a:lnTo>
                  <a:pt x="28" y="22"/>
                </a:lnTo>
                <a:lnTo>
                  <a:pt x="28" y="22"/>
                </a:lnTo>
                <a:lnTo>
                  <a:pt x="28" y="22"/>
                </a:lnTo>
                <a:lnTo>
                  <a:pt x="28" y="22"/>
                </a:lnTo>
                <a:lnTo>
                  <a:pt x="28" y="22"/>
                </a:lnTo>
                <a:lnTo>
                  <a:pt x="24" y="22"/>
                </a:lnTo>
                <a:lnTo>
                  <a:pt x="24" y="22"/>
                </a:lnTo>
                <a:lnTo>
                  <a:pt x="22" y="22"/>
                </a:lnTo>
                <a:lnTo>
                  <a:pt x="22" y="22"/>
                </a:lnTo>
                <a:lnTo>
                  <a:pt x="22" y="18"/>
                </a:lnTo>
                <a:lnTo>
                  <a:pt x="22" y="18"/>
                </a:lnTo>
                <a:lnTo>
                  <a:pt x="18" y="18"/>
                </a:lnTo>
                <a:lnTo>
                  <a:pt x="22" y="22"/>
                </a:lnTo>
                <a:lnTo>
                  <a:pt x="22" y="18"/>
                </a:lnTo>
                <a:lnTo>
                  <a:pt x="22" y="18"/>
                </a:lnTo>
                <a:lnTo>
                  <a:pt x="22" y="22"/>
                </a:lnTo>
                <a:lnTo>
                  <a:pt x="22" y="22"/>
                </a:lnTo>
                <a:lnTo>
                  <a:pt x="22" y="22"/>
                </a:lnTo>
                <a:lnTo>
                  <a:pt x="22" y="22"/>
                </a:lnTo>
                <a:lnTo>
                  <a:pt x="18" y="22"/>
                </a:lnTo>
                <a:lnTo>
                  <a:pt x="18" y="22"/>
                </a:lnTo>
                <a:lnTo>
                  <a:pt x="18" y="22"/>
                </a:lnTo>
                <a:lnTo>
                  <a:pt x="18" y="18"/>
                </a:lnTo>
                <a:lnTo>
                  <a:pt x="18" y="18"/>
                </a:lnTo>
                <a:lnTo>
                  <a:pt x="18" y="18"/>
                </a:lnTo>
                <a:lnTo>
                  <a:pt x="14" y="18"/>
                </a:lnTo>
                <a:lnTo>
                  <a:pt x="14" y="18"/>
                </a:lnTo>
                <a:lnTo>
                  <a:pt x="14" y="18"/>
                </a:lnTo>
                <a:lnTo>
                  <a:pt x="14" y="18"/>
                </a:lnTo>
                <a:lnTo>
                  <a:pt x="14" y="18"/>
                </a:lnTo>
                <a:lnTo>
                  <a:pt x="10" y="18"/>
                </a:lnTo>
                <a:lnTo>
                  <a:pt x="10" y="16"/>
                </a:lnTo>
                <a:lnTo>
                  <a:pt x="10" y="16"/>
                </a:lnTo>
                <a:lnTo>
                  <a:pt x="8" y="16"/>
                </a:lnTo>
                <a:lnTo>
                  <a:pt x="8" y="16"/>
                </a:lnTo>
                <a:lnTo>
                  <a:pt x="8" y="16"/>
                </a:lnTo>
                <a:lnTo>
                  <a:pt x="8" y="16"/>
                </a:lnTo>
                <a:lnTo>
                  <a:pt x="4" y="16"/>
                </a:lnTo>
                <a:lnTo>
                  <a:pt x="4" y="16"/>
                </a:lnTo>
                <a:lnTo>
                  <a:pt x="4" y="16"/>
                </a:lnTo>
                <a:lnTo>
                  <a:pt x="4" y="16"/>
                </a:lnTo>
                <a:lnTo>
                  <a:pt x="4" y="16"/>
                </a:lnTo>
                <a:lnTo>
                  <a:pt x="4" y="16"/>
                </a:lnTo>
                <a:lnTo>
                  <a:pt x="4" y="16"/>
                </a:lnTo>
                <a:lnTo>
                  <a:pt x="0" y="12"/>
                </a:lnTo>
                <a:lnTo>
                  <a:pt x="0" y="12"/>
                </a:lnTo>
                <a:lnTo>
                  <a:pt x="0" y="12"/>
                </a:lnTo>
                <a:lnTo>
                  <a:pt x="0" y="12"/>
                </a:lnTo>
                <a:lnTo>
                  <a:pt x="0" y="12"/>
                </a:lnTo>
                <a:lnTo>
                  <a:pt x="0" y="8"/>
                </a:lnTo>
                <a:lnTo>
                  <a:pt x="4" y="8"/>
                </a:lnTo>
                <a:lnTo>
                  <a:pt x="4" y="8"/>
                </a:lnTo>
                <a:lnTo>
                  <a:pt x="4" y="8"/>
                </a:lnTo>
                <a:lnTo>
                  <a:pt x="4" y="8"/>
                </a:lnTo>
                <a:lnTo>
                  <a:pt x="4" y="8"/>
                </a:lnTo>
                <a:lnTo>
                  <a:pt x="8" y="4"/>
                </a:lnTo>
                <a:lnTo>
                  <a:pt x="8" y="4"/>
                </a:lnTo>
                <a:lnTo>
                  <a:pt x="8" y="4"/>
                </a:lnTo>
                <a:lnTo>
                  <a:pt x="8" y="4"/>
                </a:lnTo>
                <a:lnTo>
                  <a:pt x="8" y="4"/>
                </a:lnTo>
                <a:lnTo>
                  <a:pt x="8" y="4"/>
                </a:lnTo>
                <a:lnTo>
                  <a:pt x="8" y="4"/>
                </a:lnTo>
                <a:lnTo>
                  <a:pt x="8" y="4"/>
                </a:lnTo>
                <a:lnTo>
                  <a:pt x="8" y="4"/>
                </a:lnTo>
                <a:lnTo>
                  <a:pt x="8" y="4"/>
                </a:lnTo>
                <a:lnTo>
                  <a:pt x="8" y="4"/>
                </a:lnTo>
                <a:lnTo>
                  <a:pt x="8" y="0"/>
                </a:lnTo>
                <a:lnTo>
                  <a:pt x="8" y="0"/>
                </a:lnTo>
                <a:lnTo>
                  <a:pt x="8" y="0"/>
                </a:lnTo>
                <a:lnTo>
                  <a:pt x="8" y="0"/>
                </a:lnTo>
                <a:lnTo>
                  <a:pt x="10" y="0"/>
                </a:lnTo>
                <a:lnTo>
                  <a:pt x="10" y="0"/>
                </a:lnTo>
                <a:lnTo>
                  <a:pt x="10" y="0"/>
                </a:lnTo>
                <a:lnTo>
                  <a:pt x="10" y="0"/>
                </a:lnTo>
                <a:lnTo>
                  <a:pt x="10" y="0"/>
                </a:lnTo>
                <a:lnTo>
                  <a:pt x="10" y="0"/>
                </a:lnTo>
                <a:lnTo>
                  <a:pt x="14" y="0"/>
                </a:lnTo>
                <a:lnTo>
                  <a:pt x="14" y="4"/>
                </a:lnTo>
                <a:lnTo>
                  <a:pt x="14" y="0"/>
                </a:lnTo>
                <a:lnTo>
                  <a:pt x="14" y="4"/>
                </a:lnTo>
                <a:lnTo>
                  <a:pt x="14" y="4"/>
                </a:lnTo>
                <a:lnTo>
                  <a:pt x="14" y="4"/>
                </a:lnTo>
                <a:lnTo>
                  <a:pt x="14" y="4"/>
                </a:lnTo>
                <a:lnTo>
                  <a:pt x="14" y="4"/>
                </a:lnTo>
                <a:lnTo>
                  <a:pt x="18" y="4"/>
                </a:lnTo>
                <a:lnTo>
                  <a:pt x="18" y="4"/>
                </a:lnTo>
                <a:lnTo>
                  <a:pt x="18" y="4"/>
                </a:lnTo>
                <a:lnTo>
                  <a:pt x="18" y="4"/>
                </a:lnTo>
                <a:lnTo>
                  <a:pt x="18" y="4"/>
                </a:lnTo>
                <a:lnTo>
                  <a:pt x="18" y="8"/>
                </a:lnTo>
                <a:lnTo>
                  <a:pt x="18" y="8"/>
                </a:lnTo>
                <a:lnTo>
                  <a:pt x="18" y="8"/>
                </a:lnTo>
                <a:lnTo>
                  <a:pt x="18" y="4"/>
                </a:lnTo>
                <a:lnTo>
                  <a:pt x="18" y="4"/>
                </a:lnTo>
                <a:lnTo>
                  <a:pt x="18" y="8"/>
                </a:lnTo>
                <a:lnTo>
                  <a:pt x="18" y="8"/>
                </a:lnTo>
                <a:lnTo>
                  <a:pt x="18" y="8"/>
                </a:lnTo>
                <a:lnTo>
                  <a:pt x="22" y="8"/>
                </a:lnTo>
                <a:lnTo>
                  <a:pt x="22" y="8"/>
                </a:lnTo>
                <a:lnTo>
                  <a:pt x="22" y="8"/>
                </a:lnTo>
                <a:lnTo>
                  <a:pt x="22" y="8"/>
                </a:lnTo>
                <a:lnTo>
                  <a:pt x="22" y="8"/>
                </a:lnTo>
                <a:lnTo>
                  <a:pt x="22" y="12"/>
                </a:lnTo>
                <a:lnTo>
                  <a:pt x="22" y="12"/>
                </a:lnTo>
                <a:lnTo>
                  <a:pt x="22" y="12"/>
                </a:lnTo>
                <a:lnTo>
                  <a:pt x="24" y="12"/>
                </a:lnTo>
                <a:lnTo>
                  <a:pt x="24" y="12"/>
                </a:lnTo>
                <a:lnTo>
                  <a:pt x="24" y="12"/>
                </a:lnTo>
                <a:lnTo>
                  <a:pt x="24" y="12"/>
                </a:lnTo>
                <a:lnTo>
                  <a:pt x="24" y="12"/>
                </a:lnTo>
                <a:lnTo>
                  <a:pt x="24" y="8"/>
                </a:lnTo>
                <a:lnTo>
                  <a:pt x="24" y="8"/>
                </a:lnTo>
                <a:lnTo>
                  <a:pt x="24" y="8"/>
                </a:lnTo>
                <a:lnTo>
                  <a:pt x="24" y="8"/>
                </a:lnTo>
                <a:lnTo>
                  <a:pt x="28" y="8"/>
                </a:lnTo>
                <a:lnTo>
                  <a:pt x="28" y="8"/>
                </a:lnTo>
                <a:lnTo>
                  <a:pt x="28" y="8"/>
                </a:lnTo>
                <a:lnTo>
                  <a:pt x="28" y="12"/>
                </a:lnTo>
                <a:lnTo>
                  <a:pt x="28" y="12"/>
                </a:lnTo>
                <a:lnTo>
                  <a:pt x="28" y="12"/>
                </a:lnTo>
                <a:lnTo>
                  <a:pt x="28" y="12"/>
                </a:lnTo>
                <a:lnTo>
                  <a:pt x="28" y="12"/>
                </a:lnTo>
                <a:lnTo>
                  <a:pt x="32" y="12"/>
                </a:lnTo>
                <a:lnTo>
                  <a:pt x="32" y="12"/>
                </a:lnTo>
                <a:lnTo>
                  <a:pt x="32" y="12"/>
                </a:lnTo>
                <a:lnTo>
                  <a:pt x="32" y="12"/>
                </a:lnTo>
                <a:lnTo>
                  <a:pt x="32" y="12"/>
                </a:lnTo>
                <a:lnTo>
                  <a:pt x="32" y="12"/>
                </a:lnTo>
                <a:lnTo>
                  <a:pt x="32" y="12"/>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66" name="Freeform 73"/>
          <p:cNvSpPr>
            <a:spLocks noEditPoints="1"/>
          </p:cNvSpPr>
          <p:nvPr/>
        </p:nvSpPr>
        <p:spPr bwMode="auto">
          <a:xfrm>
            <a:off x="3028949" y="1614487"/>
            <a:ext cx="1023938" cy="745331"/>
          </a:xfrm>
          <a:custGeom>
            <a:avLst/>
            <a:gdLst>
              <a:gd name="T0" fmla="*/ 472 w 860"/>
              <a:gd name="T1" fmla="*/ 18 h 626"/>
              <a:gd name="T2" fmla="*/ 342 w 860"/>
              <a:gd name="T3" fmla="*/ 34 h 626"/>
              <a:gd name="T4" fmla="*/ 738 w 860"/>
              <a:gd name="T5" fmla="*/ 60 h 626"/>
              <a:gd name="T6" fmla="*/ 764 w 860"/>
              <a:gd name="T7" fmla="*/ 160 h 626"/>
              <a:gd name="T8" fmla="*/ 734 w 860"/>
              <a:gd name="T9" fmla="*/ 204 h 626"/>
              <a:gd name="T10" fmla="*/ 742 w 860"/>
              <a:gd name="T11" fmla="*/ 256 h 626"/>
              <a:gd name="T12" fmla="*/ 234 w 860"/>
              <a:gd name="T13" fmla="*/ 284 h 626"/>
              <a:gd name="T14" fmla="*/ 246 w 860"/>
              <a:gd name="T15" fmla="*/ 294 h 626"/>
              <a:gd name="T16" fmla="*/ 252 w 860"/>
              <a:gd name="T17" fmla="*/ 314 h 626"/>
              <a:gd name="T18" fmla="*/ 506 w 860"/>
              <a:gd name="T19" fmla="*/ 484 h 626"/>
              <a:gd name="T20" fmla="*/ 332 w 860"/>
              <a:gd name="T21" fmla="*/ 578 h 626"/>
              <a:gd name="T22" fmla="*/ 418 w 860"/>
              <a:gd name="T23" fmla="*/ 622 h 626"/>
              <a:gd name="T24" fmla="*/ 308 w 860"/>
              <a:gd name="T25" fmla="*/ 398 h 626"/>
              <a:gd name="T26" fmla="*/ 312 w 860"/>
              <a:gd name="T27" fmla="*/ 366 h 626"/>
              <a:gd name="T28" fmla="*/ 268 w 860"/>
              <a:gd name="T29" fmla="*/ 320 h 626"/>
              <a:gd name="T30" fmla="*/ 256 w 860"/>
              <a:gd name="T31" fmla="*/ 306 h 626"/>
              <a:gd name="T32" fmla="*/ 200 w 860"/>
              <a:gd name="T33" fmla="*/ 238 h 626"/>
              <a:gd name="T34" fmla="*/ 86 w 860"/>
              <a:gd name="T35" fmla="*/ 216 h 626"/>
              <a:gd name="T36" fmla="*/ 86 w 860"/>
              <a:gd name="T37" fmla="*/ 190 h 626"/>
              <a:gd name="T38" fmla="*/ 30 w 860"/>
              <a:gd name="T39" fmla="*/ 172 h 626"/>
              <a:gd name="T40" fmla="*/ 122 w 860"/>
              <a:gd name="T41" fmla="*/ 104 h 626"/>
              <a:gd name="T42" fmla="*/ 178 w 860"/>
              <a:gd name="T43" fmla="*/ 52 h 626"/>
              <a:gd name="T44" fmla="*/ 276 w 860"/>
              <a:gd name="T45" fmla="*/ 60 h 626"/>
              <a:gd name="T46" fmla="*/ 406 w 860"/>
              <a:gd name="T47" fmla="*/ 56 h 626"/>
              <a:gd name="T48" fmla="*/ 464 w 860"/>
              <a:gd name="T49" fmla="*/ 26 h 626"/>
              <a:gd name="T50" fmla="*/ 418 w 860"/>
              <a:gd name="T51" fmla="*/ 12 h 626"/>
              <a:gd name="T52" fmla="*/ 524 w 860"/>
              <a:gd name="T53" fmla="*/ 4 h 626"/>
              <a:gd name="T54" fmla="*/ 584 w 860"/>
              <a:gd name="T55" fmla="*/ 18 h 626"/>
              <a:gd name="T56" fmla="*/ 678 w 860"/>
              <a:gd name="T57" fmla="*/ 16 h 626"/>
              <a:gd name="T58" fmla="*/ 606 w 860"/>
              <a:gd name="T59" fmla="*/ 44 h 626"/>
              <a:gd name="T60" fmla="*/ 692 w 860"/>
              <a:gd name="T61" fmla="*/ 48 h 626"/>
              <a:gd name="T62" fmla="*/ 786 w 860"/>
              <a:gd name="T63" fmla="*/ 52 h 626"/>
              <a:gd name="T64" fmla="*/ 748 w 860"/>
              <a:gd name="T65" fmla="*/ 90 h 626"/>
              <a:gd name="T66" fmla="*/ 756 w 860"/>
              <a:gd name="T67" fmla="*/ 124 h 626"/>
              <a:gd name="T68" fmla="*/ 744 w 860"/>
              <a:gd name="T69" fmla="*/ 178 h 626"/>
              <a:gd name="T70" fmla="*/ 726 w 860"/>
              <a:gd name="T71" fmla="*/ 208 h 626"/>
              <a:gd name="T72" fmla="*/ 734 w 860"/>
              <a:gd name="T73" fmla="*/ 238 h 626"/>
              <a:gd name="T74" fmla="*/ 738 w 860"/>
              <a:gd name="T75" fmla="*/ 280 h 626"/>
              <a:gd name="T76" fmla="*/ 660 w 860"/>
              <a:gd name="T77" fmla="*/ 294 h 626"/>
              <a:gd name="T78" fmla="*/ 704 w 860"/>
              <a:gd name="T79" fmla="*/ 328 h 626"/>
              <a:gd name="T80" fmla="*/ 688 w 860"/>
              <a:gd name="T81" fmla="*/ 358 h 626"/>
              <a:gd name="T82" fmla="*/ 632 w 860"/>
              <a:gd name="T83" fmla="*/ 358 h 626"/>
              <a:gd name="T84" fmla="*/ 704 w 860"/>
              <a:gd name="T85" fmla="*/ 388 h 626"/>
              <a:gd name="T86" fmla="*/ 580 w 860"/>
              <a:gd name="T87" fmla="*/ 426 h 626"/>
              <a:gd name="T88" fmla="*/ 502 w 860"/>
              <a:gd name="T89" fmla="*/ 484 h 626"/>
              <a:gd name="T90" fmla="*/ 458 w 860"/>
              <a:gd name="T91" fmla="*/ 530 h 626"/>
              <a:gd name="T92" fmla="*/ 436 w 860"/>
              <a:gd name="T93" fmla="*/ 578 h 626"/>
              <a:gd name="T94" fmla="*/ 420 w 860"/>
              <a:gd name="T95" fmla="*/ 618 h 626"/>
              <a:gd name="T96" fmla="*/ 388 w 860"/>
              <a:gd name="T97" fmla="*/ 596 h 626"/>
              <a:gd name="T98" fmla="*/ 332 w 860"/>
              <a:gd name="T99" fmla="*/ 578 h 626"/>
              <a:gd name="T100" fmla="*/ 306 w 860"/>
              <a:gd name="T101" fmla="*/ 534 h 626"/>
              <a:gd name="T102" fmla="*/ 302 w 860"/>
              <a:gd name="T103" fmla="*/ 518 h 626"/>
              <a:gd name="T104" fmla="*/ 286 w 860"/>
              <a:gd name="T105" fmla="*/ 482 h 626"/>
              <a:gd name="T106" fmla="*/ 278 w 860"/>
              <a:gd name="T107" fmla="*/ 462 h 626"/>
              <a:gd name="T108" fmla="*/ 290 w 860"/>
              <a:gd name="T109" fmla="*/ 436 h 626"/>
              <a:gd name="T110" fmla="*/ 278 w 860"/>
              <a:gd name="T111" fmla="*/ 432 h 626"/>
              <a:gd name="T112" fmla="*/ 306 w 860"/>
              <a:gd name="T113" fmla="*/ 418 h 626"/>
              <a:gd name="T114" fmla="*/ 768 w 860"/>
              <a:gd name="T115" fmla="*/ 216 h 626"/>
              <a:gd name="T116" fmla="*/ 712 w 860"/>
              <a:gd name="T117" fmla="*/ 310 h 626"/>
              <a:gd name="T118" fmla="*/ 648 w 860"/>
              <a:gd name="T119" fmla="*/ 358 h 626"/>
              <a:gd name="T120" fmla="*/ 264 w 860"/>
              <a:gd name="T121" fmla="*/ 380 h 626"/>
              <a:gd name="T122" fmla="*/ 610 w 860"/>
              <a:gd name="T123" fmla="*/ 426 h 626"/>
              <a:gd name="T124" fmla="*/ 462 w 860"/>
              <a:gd name="T125" fmla="*/ 518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60" h="626">
                <a:moveTo>
                  <a:pt x="472" y="8"/>
                </a:moveTo>
                <a:lnTo>
                  <a:pt x="476" y="8"/>
                </a:lnTo>
                <a:lnTo>
                  <a:pt x="480" y="8"/>
                </a:lnTo>
                <a:lnTo>
                  <a:pt x="480" y="12"/>
                </a:lnTo>
                <a:lnTo>
                  <a:pt x="476" y="12"/>
                </a:lnTo>
                <a:lnTo>
                  <a:pt x="472" y="8"/>
                </a:lnTo>
                <a:lnTo>
                  <a:pt x="472" y="8"/>
                </a:lnTo>
                <a:lnTo>
                  <a:pt x="472" y="8"/>
                </a:lnTo>
                <a:close/>
                <a:moveTo>
                  <a:pt x="480" y="16"/>
                </a:moveTo>
                <a:lnTo>
                  <a:pt x="476" y="16"/>
                </a:lnTo>
                <a:lnTo>
                  <a:pt x="472" y="16"/>
                </a:lnTo>
                <a:lnTo>
                  <a:pt x="468" y="16"/>
                </a:lnTo>
                <a:lnTo>
                  <a:pt x="468" y="12"/>
                </a:lnTo>
                <a:lnTo>
                  <a:pt x="464" y="12"/>
                </a:lnTo>
                <a:lnTo>
                  <a:pt x="462" y="12"/>
                </a:lnTo>
                <a:lnTo>
                  <a:pt x="458" y="12"/>
                </a:lnTo>
                <a:lnTo>
                  <a:pt x="458" y="8"/>
                </a:lnTo>
                <a:lnTo>
                  <a:pt x="462" y="8"/>
                </a:lnTo>
                <a:lnTo>
                  <a:pt x="464" y="12"/>
                </a:lnTo>
                <a:lnTo>
                  <a:pt x="468" y="12"/>
                </a:lnTo>
                <a:lnTo>
                  <a:pt x="472" y="12"/>
                </a:lnTo>
                <a:lnTo>
                  <a:pt x="476" y="12"/>
                </a:lnTo>
                <a:lnTo>
                  <a:pt x="476" y="16"/>
                </a:lnTo>
                <a:lnTo>
                  <a:pt x="480" y="16"/>
                </a:lnTo>
                <a:lnTo>
                  <a:pt x="484" y="16"/>
                </a:lnTo>
                <a:lnTo>
                  <a:pt x="480" y="16"/>
                </a:lnTo>
                <a:lnTo>
                  <a:pt x="480" y="16"/>
                </a:lnTo>
                <a:lnTo>
                  <a:pt x="480" y="16"/>
                </a:lnTo>
                <a:close/>
                <a:moveTo>
                  <a:pt x="446" y="12"/>
                </a:moveTo>
                <a:lnTo>
                  <a:pt x="442" y="12"/>
                </a:lnTo>
                <a:lnTo>
                  <a:pt x="446" y="8"/>
                </a:lnTo>
                <a:lnTo>
                  <a:pt x="450" y="12"/>
                </a:lnTo>
                <a:lnTo>
                  <a:pt x="446" y="12"/>
                </a:lnTo>
                <a:lnTo>
                  <a:pt x="446" y="12"/>
                </a:lnTo>
                <a:lnTo>
                  <a:pt x="446" y="12"/>
                </a:lnTo>
                <a:close/>
                <a:moveTo>
                  <a:pt x="432" y="12"/>
                </a:moveTo>
                <a:lnTo>
                  <a:pt x="436" y="12"/>
                </a:lnTo>
                <a:lnTo>
                  <a:pt x="440" y="12"/>
                </a:lnTo>
                <a:lnTo>
                  <a:pt x="436" y="12"/>
                </a:lnTo>
                <a:lnTo>
                  <a:pt x="432" y="12"/>
                </a:lnTo>
                <a:lnTo>
                  <a:pt x="432" y="12"/>
                </a:lnTo>
                <a:lnTo>
                  <a:pt x="432" y="12"/>
                </a:lnTo>
                <a:close/>
                <a:moveTo>
                  <a:pt x="442" y="12"/>
                </a:moveTo>
                <a:lnTo>
                  <a:pt x="446" y="12"/>
                </a:lnTo>
                <a:lnTo>
                  <a:pt x="450" y="12"/>
                </a:lnTo>
                <a:lnTo>
                  <a:pt x="446" y="12"/>
                </a:lnTo>
                <a:lnTo>
                  <a:pt x="442" y="12"/>
                </a:lnTo>
                <a:lnTo>
                  <a:pt x="442" y="12"/>
                </a:lnTo>
                <a:lnTo>
                  <a:pt x="442" y="12"/>
                </a:lnTo>
                <a:close/>
                <a:moveTo>
                  <a:pt x="488" y="16"/>
                </a:moveTo>
                <a:lnTo>
                  <a:pt x="484" y="16"/>
                </a:lnTo>
                <a:lnTo>
                  <a:pt x="488" y="16"/>
                </a:lnTo>
                <a:lnTo>
                  <a:pt x="490" y="16"/>
                </a:lnTo>
                <a:lnTo>
                  <a:pt x="494" y="16"/>
                </a:lnTo>
                <a:lnTo>
                  <a:pt x="490" y="16"/>
                </a:lnTo>
                <a:lnTo>
                  <a:pt x="488" y="16"/>
                </a:lnTo>
                <a:lnTo>
                  <a:pt x="488" y="16"/>
                </a:lnTo>
                <a:lnTo>
                  <a:pt x="488" y="16"/>
                </a:lnTo>
                <a:close/>
                <a:moveTo>
                  <a:pt x="468" y="18"/>
                </a:moveTo>
                <a:lnTo>
                  <a:pt x="464" y="18"/>
                </a:lnTo>
                <a:lnTo>
                  <a:pt x="462" y="18"/>
                </a:lnTo>
                <a:lnTo>
                  <a:pt x="458" y="18"/>
                </a:lnTo>
                <a:lnTo>
                  <a:pt x="454" y="18"/>
                </a:lnTo>
                <a:lnTo>
                  <a:pt x="450" y="16"/>
                </a:lnTo>
                <a:lnTo>
                  <a:pt x="446" y="16"/>
                </a:lnTo>
                <a:lnTo>
                  <a:pt x="450" y="16"/>
                </a:lnTo>
                <a:lnTo>
                  <a:pt x="454" y="16"/>
                </a:lnTo>
                <a:lnTo>
                  <a:pt x="458" y="16"/>
                </a:lnTo>
                <a:lnTo>
                  <a:pt x="462" y="18"/>
                </a:lnTo>
                <a:lnTo>
                  <a:pt x="464" y="18"/>
                </a:lnTo>
                <a:lnTo>
                  <a:pt x="468" y="18"/>
                </a:lnTo>
                <a:lnTo>
                  <a:pt x="468" y="18"/>
                </a:lnTo>
                <a:lnTo>
                  <a:pt x="468" y="18"/>
                </a:lnTo>
                <a:close/>
                <a:moveTo>
                  <a:pt x="472" y="18"/>
                </a:moveTo>
                <a:lnTo>
                  <a:pt x="468" y="18"/>
                </a:lnTo>
                <a:lnTo>
                  <a:pt x="464" y="18"/>
                </a:lnTo>
                <a:lnTo>
                  <a:pt x="464" y="16"/>
                </a:lnTo>
                <a:lnTo>
                  <a:pt x="462" y="16"/>
                </a:lnTo>
                <a:lnTo>
                  <a:pt x="458" y="16"/>
                </a:lnTo>
                <a:lnTo>
                  <a:pt x="462" y="16"/>
                </a:lnTo>
                <a:lnTo>
                  <a:pt x="464" y="16"/>
                </a:lnTo>
                <a:lnTo>
                  <a:pt x="468" y="16"/>
                </a:lnTo>
                <a:lnTo>
                  <a:pt x="472" y="16"/>
                </a:lnTo>
                <a:lnTo>
                  <a:pt x="476" y="16"/>
                </a:lnTo>
                <a:lnTo>
                  <a:pt x="476" y="18"/>
                </a:lnTo>
                <a:lnTo>
                  <a:pt x="472" y="18"/>
                </a:lnTo>
                <a:lnTo>
                  <a:pt x="472" y="18"/>
                </a:lnTo>
                <a:lnTo>
                  <a:pt x="472" y="18"/>
                </a:lnTo>
                <a:close/>
                <a:moveTo>
                  <a:pt x="368" y="22"/>
                </a:moveTo>
                <a:lnTo>
                  <a:pt x="364" y="22"/>
                </a:lnTo>
                <a:lnTo>
                  <a:pt x="368" y="22"/>
                </a:lnTo>
                <a:lnTo>
                  <a:pt x="372" y="22"/>
                </a:lnTo>
                <a:lnTo>
                  <a:pt x="376" y="22"/>
                </a:lnTo>
                <a:lnTo>
                  <a:pt x="372" y="22"/>
                </a:lnTo>
                <a:lnTo>
                  <a:pt x="368" y="22"/>
                </a:lnTo>
                <a:lnTo>
                  <a:pt x="368" y="22"/>
                </a:lnTo>
                <a:lnTo>
                  <a:pt x="368" y="22"/>
                </a:lnTo>
                <a:close/>
                <a:moveTo>
                  <a:pt x="350" y="26"/>
                </a:moveTo>
                <a:lnTo>
                  <a:pt x="346" y="26"/>
                </a:lnTo>
                <a:lnTo>
                  <a:pt x="346" y="22"/>
                </a:lnTo>
                <a:lnTo>
                  <a:pt x="350" y="22"/>
                </a:lnTo>
                <a:lnTo>
                  <a:pt x="354" y="22"/>
                </a:lnTo>
                <a:lnTo>
                  <a:pt x="358" y="22"/>
                </a:lnTo>
                <a:lnTo>
                  <a:pt x="362" y="22"/>
                </a:lnTo>
                <a:lnTo>
                  <a:pt x="362" y="26"/>
                </a:lnTo>
                <a:lnTo>
                  <a:pt x="358" y="26"/>
                </a:lnTo>
                <a:lnTo>
                  <a:pt x="354" y="26"/>
                </a:lnTo>
                <a:lnTo>
                  <a:pt x="350" y="26"/>
                </a:lnTo>
                <a:lnTo>
                  <a:pt x="350" y="26"/>
                </a:lnTo>
                <a:lnTo>
                  <a:pt x="350" y="26"/>
                </a:lnTo>
                <a:close/>
                <a:moveTo>
                  <a:pt x="394" y="48"/>
                </a:moveTo>
                <a:lnTo>
                  <a:pt x="392" y="44"/>
                </a:lnTo>
                <a:lnTo>
                  <a:pt x="388" y="44"/>
                </a:lnTo>
                <a:lnTo>
                  <a:pt x="388" y="42"/>
                </a:lnTo>
                <a:lnTo>
                  <a:pt x="384" y="42"/>
                </a:lnTo>
                <a:lnTo>
                  <a:pt x="380" y="42"/>
                </a:lnTo>
                <a:lnTo>
                  <a:pt x="376" y="42"/>
                </a:lnTo>
                <a:lnTo>
                  <a:pt x="372" y="42"/>
                </a:lnTo>
                <a:lnTo>
                  <a:pt x="368" y="38"/>
                </a:lnTo>
                <a:lnTo>
                  <a:pt x="364" y="38"/>
                </a:lnTo>
                <a:lnTo>
                  <a:pt x="364" y="34"/>
                </a:lnTo>
                <a:lnTo>
                  <a:pt x="362" y="34"/>
                </a:lnTo>
                <a:lnTo>
                  <a:pt x="362" y="30"/>
                </a:lnTo>
                <a:lnTo>
                  <a:pt x="358" y="30"/>
                </a:lnTo>
                <a:lnTo>
                  <a:pt x="362" y="30"/>
                </a:lnTo>
                <a:lnTo>
                  <a:pt x="364" y="30"/>
                </a:lnTo>
                <a:lnTo>
                  <a:pt x="368" y="30"/>
                </a:lnTo>
                <a:lnTo>
                  <a:pt x="372" y="30"/>
                </a:lnTo>
                <a:lnTo>
                  <a:pt x="376" y="30"/>
                </a:lnTo>
                <a:lnTo>
                  <a:pt x="380" y="30"/>
                </a:lnTo>
                <a:lnTo>
                  <a:pt x="384" y="30"/>
                </a:lnTo>
                <a:lnTo>
                  <a:pt x="392" y="34"/>
                </a:lnTo>
                <a:lnTo>
                  <a:pt x="394" y="34"/>
                </a:lnTo>
                <a:lnTo>
                  <a:pt x="398" y="34"/>
                </a:lnTo>
                <a:lnTo>
                  <a:pt x="398" y="38"/>
                </a:lnTo>
                <a:lnTo>
                  <a:pt x="402" y="38"/>
                </a:lnTo>
                <a:lnTo>
                  <a:pt x="402" y="42"/>
                </a:lnTo>
                <a:lnTo>
                  <a:pt x="398" y="42"/>
                </a:lnTo>
                <a:lnTo>
                  <a:pt x="394" y="42"/>
                </a:lnTo>
                <a:lnTo>
                  <a:pt x="394" y="44"/>
                </a:lnTo>
                <a:lnTo>
                  <a:pt x="398" y="44"/>
                </a:lnTo>
                <a:lnTo>
                  <a:pt x="398" y="48"/>
                </a:lnTo>
                <a:lnTo>
                  <a:pt x="394" y="48"/>
                </a:lnTo>
                <a:lnTo>
                  <a:pt x="394" y="48"/>
                </a:lnTo>
                <a:lnTo>
                  <a:pt x="394" y="48"/>
                </a:lnTo>
                <a:close/>
                <a:moveTo>
                  <a:pt x="350" y="38"/>
                </a:moveTo>
                <a:lnTo>
                  <a:pt x="346" y="34"/>
                </a:lnTo>
                <a:lnTo>
                  <a:pt x="342" y="34"/>
                </a:lnTo>
                <a:lnTo>
                  <a:pt x="346" y="34"/>
                </a:lnTo>
                <a:lnTo>
                  <a:pt x="350" y="34"/>
                </a:lnTo>
                <a:lnTo>
                  <a:pt x="354" y="34"/>
                </a:lnTo>
                <a:lnTo>
                  <a:pt x="350" y="38"/>
                </a:lnTo>
                <a:lnTo>
                  <a:pt x="350" y="38"/>
                </a:lnTo>
                <a:lnTo>
                  <a:pt x="350" y="38"/>
                </a:lnTo>
                <a:close/>
                <a:moveTo>
                  <a:pt x="308" y="48"/>
                </a:moveTo>
                <a:lnTo>
                  <a:pt x="306" y="48"/>
                </a:lnTo>
                <a:lnTo>
                  <a:pt x="302" y="48"/>
                </a:lnTo>
                <a:lnTo>
                  <a:pt x="298" y="48"/>
                </a:lnTo>
                <a:lnTo>
                  <a:pt x="294" y="48"/>
                </a:lnTo>
                <a:lnTo>
                  <a:pt x="290" y="48"/>
                </a:lnTo>
                <a:lnTo>
                  <a:pt x="286" y="48"/>
                </a:lnTo>
                <a:lnTo>
                  <a:pt x="282" y="48"/>
                </a:lnTo>
                <a:lnTo>
                  <a:pt x="282" y="44"/>
                </a:lnTo>
                <a:lnTo>
                  <a:pt x="278" y="44"/>
                </a:lnTo>
                <a:lnTo>
                  <a:pt x="278" y="42"/>
                </a:lnTo>
                <a:lnTo>
                  <a:pt x="282" y="42"/>
                </a:lnTo>
                <a:lnTo>
                  <a:pt x="286" y="42"/>
                </a:lnTo>
                <a:lnTo>
                  <a:pt x="290" y="42"/>
                </a:lnTo>
                <a:lnTo>
                  <a:pt x="286" y="42"/>
                </a:lnTo>
                <a:lnTo>
                  <a:pt x="290" y="42"/>
                </a:lnTo>
                <a:lnTo>
                  <a:pt x="290" y="44"/>
                </a:lnTo>
                <a:lnTo>
                  <a:pt x="294" y="44"/>
                </a:lnTo>
                <a:lnTo>
                  <a:pt x="298" y="44"/>
                </a:lnTo>
                <a:lnTo>
                  <a:pt x="306" y="48"/>
                </a:lnTo>
                <a:lnTo>
                  <a:pt x="308" y="48"/>
                </a:lnTo>
                <a:lnTo>
                  <a:pt x="308" y="48"/>
                </a:lnTo>
                <a:lnTo>
                  <a:pt x="308" y="48"/>
                </a:lnTo>
                <a:close/>
                <a:moveTo>
                  <a:pt x="294" y="42"/>
                </a:moveTo>
                <a:lnTo>
                  <a:pt x="298" y="42"/>
                </a:lnTo>
                <a:lnTo>
                  <a:pt x="298" y="44"/>
                </a:lnTo>
                <a:lnTo>
                  <a:pt x="294" y="44"/>
                </a:lnTo>
                <a:lnTo>
                  <a:pt x="294" y="42"/>
                </a:lnTo>
                <a:lnTo>
                  <a:pt x="294" y="42"/>
                </a:lnTo>
                <a:lnTo>
                  <a:pt x="294" y="42"/>
                </a:lnTo>
                <a:close/>
                <a:moveTo>
                  <a:pt x="764" y="48"/>
                </a:moveTo>
                <a:lnTo>
                  <a:pt x="760" y="44"/>
                </a:lnTo>
                <a:lnTo>
                  <a:pt x="756" y="44"/>
                </a:lnTo>
                <a:lnTo>
                  <a:pt x="756" y="42"/>
                </a:lnTo>
                <a:lnTo>
                  <a:pt x="760" y="42"/>
                </a:lnTo>
                <a:lnTo>
                  <a:pt x="760" y="44"/>
                </a:lnTo>
                <a:lnTo>
                  <a:pt x="764" y="48"/>
                </a:lnTo>
                <a:lnTo>
                  <a:pt x="768" y="48"/>
                </a:lnTo>
                <a:lnTo>
                  <a:pt x="764" y="48"/>
                </a:lnTo>
                <a:lnTo>
                  <a:pt x="764" y="48"/>
                </a:lnTo>
                <a:lnTo>
                  <a:pt x="764" y="48"/>
                </a:lnTo>
                <a:close/>
                <a:moveTo>
                  <a:pt x="744" y="52"/>
                </a:moveTo>
                <a:lnTo>
                  <a:pt x="742" y="48"/>
                </a:lnTo>
                <a:lnTo>
                  <a:pt x="738" y="48"/>
                </a:lnTo>
                <a:lnTo>
                  <a:pt x="738" y="44"/>
                </a:lnTo>
                <a:lnTo>
                  <a:pt x="742" y="44"/>
                </a:lnTo>
                <a:lnTo>
                  <a:pt x="744" y="44"/>
                </a:lnTo>
                <a:lnTo>
                  <a:pt x="744" y="48"/>
                </a:lnTo>
                <a:lnTo>
                  <a:pt x="748" y="48"/>
                </a:lnTo>
                <a:lnTo>
                  <a:pt x="752" y="48"/>
                </a:lnTo>
                <a:lnTo>
                  <a:pt x="752" y="52"/>
                </a:lnTo>
                <a:lnTo>
                  <a:pt x="748" y="52"/>
                </a:lnTo>
                <a:lnTo>
                  <a:pt x="744" y="52"/>
                </a:lnTo>
                <a:lnTo>
                  <a:pt x="744" y="52"/>
                </a:lnTo>
                <a:lnTo>
                  <a:pt x="744" y="52"/>
                </a:lnTo>
                <a:close/>
                <a:moveTo>
                  <a:pt x="768" y="60"/>
                </a:moveTo>
                <a:lnTo>
                  <a:pt x="764" y="60"/>
                </a:lnTo>
                <a:lnTo>
                  <a:pt x="760" y="56"/>
                </a:lnTo>
                <a:lnTo>
                  <a:pt x="764" y="56"/>
                </a:lnTo>
                <a:lnTo>
                  <a:pt x="768" y="56"/>
                </a:lnTo>
                <a:lnTo>
                  <a:pt x="770" y="56"/>
                </a:lnTo>
                <a:lnTo>
                  <a:pt x="770" y="60"/>
                </a:lnTo>
                <a:lnTo>
                  <a:pt x="774" y="60"/>
                </a:lnTo>
                <a:lnTo>
                  <a:pt x="770" y="60"/>
                </a:lnTo>
                <a:lnTo>
                  <a:pt x="768" y="60"/>
                </a:lnTo>
                <a:lnTo>
                  <a:pt x="768" y="60"/>
                </a:lnTo>
                <a:lnTo>
                  <a:pt x="768" y="60"/>
                </a:lnTo>
                <a:close/>
                <a:moveTo>
                  <a:pt x="738" y="60"/>
                </a:moveTo>
                <a:lnTo>
                  <a:pt x="734" y="56"/>
                </a:lnTo>
                <a:lnTo>
                  <a:pt x="738" y="56"/>
                </a:lnTo>
                <a:lnTo>
                  <a:pt x="742" y="60"/>
                </a:lnTo>
                <a:lnTo>
                  <a:pt x="744" y="60"/>
                </a:lnTo>
                <a:lnTo>
                  <a:pt x="742" y="60"/>
                </a:lnTo>
                <a:lnTo>
                  <a:pt x="738" y="60"/>
                </a:lnTo>
                <a:lnTo>
                  <a:pt x="738" y="60"/>
                </a:lnTo>
                <a:lnTo>
                  <a:pt x="738" y="60"/>
                </a:lnTo>
                <a:close/>
                <a:moveTo>
                  <a:pt x="86" y="90"/>
                </a:moveTo>
                <a:lnTo>
                  <a:pt x="90" y="90"/>
                </a:lnTo>
                <a:lnTo>
                  <a:pt x="94" y="90"/>
                </a:lnTo>
                <a:lnTo>
                  <a:pt x="90" y="90"/>
                </a:lnTo>
                <a:lnTo>
                  <a:pt x="86" y="90"/>
                </a:lnTo>
                <a:lnTo>
                  <a:pt x="86" y="90"/>
                </a:lnTo>
                <a:lnTo>
                  <a:pt x="86" y="90"/>
                </a:lnTo>
                <a:close/>
                <a:moveTo>
                  <a:pt x="760" y="130"/>
                </a:moveTo>
                <a:lnTo>
                  <a:pt x="760" y="134"/>
                </a:lnTo>
                <a:lnTo>
                  <a:pt x="756" y="134"/>
                </a:lnTo>
                <a:lnTo>
                  <a:pt x="756" y="130"/>
                </a:lnTo>
                <a:lnTo>
                  <a:pt x="760" y="130"/>
                </a:lnTo>
                <a:lnTo>
                  <a:pt x="760" y="130"/>
                </a:lnTo>
                <a:lnTo>
                  <a:pt x="760" y="130"/>
                </a:lnTo>
                <a:close/>
                <a:moveTo>
                  <a:pt x="782" y="130"/>
                </a:moveTo>
                <a:lnTo>
                  <a:pt x="782" y="134"/>
                </a:lnTo>
                <a:lnTo>
                  <a:pt x="778" y="134"/>
                </a:lnTo>
                <a:lnTo>
                  <a:pt x="778" y="138"/>
                </a:lnTo>
                <a:lnTo>
                  <a:pt x="774" y="138"/>
                </a:lnTo>
                <a:lnTo>
                  <a:pt x="774" y="134"/>
                </a:lnTo>
                <a:lnTo>
                  <a:pt x="778" y="130"/>
                </a:lnTo>
                <a:lnTo>
                  <a:pt x="782" y="130"/>
                </a:lnTo>
                <a:lnTo>
                  <a:pt x="782" y="130"/>
                </a:lnTo>
                <a:lnTo>
                  <a:pt x="782" y="130"/>
                </a:lnTo>
                <a:close/>
                <a:moveTo>
                  <a:pt x="774" y="146"/>
                </a:moveTo>
                <a:lnTo>
                  <a:pt x="770" y="142"/>
                </a:lnTo>
                <a:lnTo>
                  <a:pt x="774" y="142"/>
                </a:lnTo>
                <a:lnTo>
                  <a:pt x="774" y="146"/>
                </a:lnTo>
                <a:lnTo>
                  <a:pt x="774" y="146"/>
                </a:lnTo>
                <a:lnTo>
                  <a:pt x="774" y="146"/>
                </a:lnTo>
                <a:close/>
                <a:moveTo>
                  <a:pt x="770" y="146"/>
                </a:moveTo>
                <a:lnTo>
                  <a:pt x="770" y="150"/>
                </a:lnTo>
                <a:lnTo>
                  <a:pt x="768" y="150"/>
                </a:lnTo>
                <a:lnTo>
                  <a:pt x="768" y="146"/>
                </a:lnTo>
                <a:lnTo>
                  <a:pt x="770" y="146"/>
                </a:lnTo>
                <a:lnTo>
                  <a:pt x="770" y="146"/>
                </a:lnTo>
                <a:lnTo>
                  <a:pt x="770" y="146"/>
                </a:lnTo>
                <a:close/>
                <a:moveTo>
                  <a:pt x="760" y="154"/>
                </a:moveTo>
                <a:lnTo>
                  <a:pt x="764" y="158"/>
                </a:lnTo>
                <a:lnTo>
                  <a:pt x="760" y="158"/>
                </a:lnTo>
                <a:lnTo>
                  <a:pt x="756" y="158"/>
                </a:lnTo>
                <a:lnTo>
                  <a:pt x="756" y="154"/>
                </a:lnTo>
                <a:lnTo>
                  <a:pt x="760" y="154"/>
                </a:lnTo>
                <a:lnTo>
                  <a:pt x="760" y="154"/>
                </a:lnTo>
                <a:lnTo>
                  <a:pt x="760" y="154"/>
                </a:lnTo>
                <a:close/>
                <a:moveTo>
                  <a:pt x="756" y="158"/>
                </a:moveTo>
                <a:lnTo>
                  <a:pt x="752" y="158"/>
                </a:lnTo>
                <a:lnTo>
                  <a:pt x="752" y="154"/>
                </a:lnTo>
                <a:lnTo>
                  <a:pt x="756" y="154"/>
                </a:lnTo>
                <a:lnTo>
                  <a:pt x="756" y="158"/>
                </a:lnTo>
                <a:lnTo>
                  <a:pt x="756" y="158"/>
                </a:lnTo>
                <a:lnTo>
                  <a:pt x="756" y="158"/>
                </a:lnTo>
                <a:close/>
                <a:moveTo>
                  <a:pt x="760" y="160"/>
                </a:moveTo>
                <a:lnTo>
                  <a:pt x="760" y="158"/>
                </a:lnTo>
                <a:lnTo>
                  <a:pt x="764" y="158"/>
                </a:lnTo>
                <a:lnTo>
                  <a:pt x="760" y="160"/>
                </a:lnTo>
                <a:lnTo>
                  <a:pt x="760" y="160"/>
                </a:lnTo>
                <a:lnTo>
                  <a:pt x="760" y="160"/>
                </a:lnTo>
                <a:close/>
                <a:moveTo>
                  <a:pt x="744" y="160"/>
                </a:moveTo>
                <a:lnTo>
                  <a:pt x="742" y="160"/>
                </a:lnTo>
                <a:lnTo>
                  <a:pt x="738" y="160"/>
                </a:lnTo>
                <a:lnTo>
                  <a:pt x="742" y="160"/>
                </a:lnTo>
                <a:lnTo>
                  <a:pt x="744" y="160"/>
                </a:lnTo>
                <a:lnTo>
                  <a:pt x="744" y="160"/>
                </a:lnTo>
                <a:lnTo>
                  <a:pt x="744" y="160"/>
                </a:lnTo>
                <a:close/>
                <a:moveTo>
                  <a:pt x="764" y="160"/>
                </a:moveTo>
                <a:lnTo>
                  <a:pt x="764" y="164"/>
                </a:lnTo>
                <a:lnTo>
                  <a:pt x="760" y="164"/>
                </a:lnTo>
                <a:lnTo>
                  <a:pt x="760" y="160"/>
                </a:lnTo>
                <a:lnTo>
                  <a:pt x="764" y="160"/>
                </a:lnTo>
                <a:lnTo>
                  <a:pt x="768" y="160"/>
                </a:lnTo>
                <a:lnTo>
                  <a:pt x="764" y="160"/>
                </a:lnTo>
                <a:lnTo>
                  <a:pt x="764" y="160"/>
                </a:lnTo>
                <a:lnTo>
                  <a:pt x="764" y="160"/>
                </a:lnTo>
                <a:close/>
                <a:moveTo>
                  <a:pt x="734" y="164"/>
                </a:moveTo>
                <a:lnTo>
                  <a:pt x="734" y="168"/>
                </a:lnTo>
                <a:lnTo>
                  <a:pt x="730" y="168"/>
                </a:lnTo>
                <a:lnTo>
                  <a:pt x="730" y="164"/>
                </a:lnTo>
                <a:lnTo>
                  <a:pt x="734" y="164"/>
                </a:lnTo>
                <a:lnTo>
                  <a:pt x="734" y="164"/>
                </a:lnTo>
                <a:lnTo>
                  <a:pt x="734" y="164"/>
                </a:lnTo>
                <a:close/>
                <a:moveTo>
                  <a:pt x="748" y="174"/>
                </a:moveTo>
                <a:lnTo>
                  <a:pt x="748" y="178"/>
                </a:lnTo>
                <a:lnTo>
                  <a:pt x="744" y="174"/>
                </a:lnTo>
                <a:lnTo>
                  <a:pt x="742" y="174"/>
                </a:lnTo>
                <a:lnTo>
                  <a:pt x="744" y="174"/>
                </a:lnTo>
                <a:lnTo>
                  <a:pt x="748" y="174"/>
                </a:lnTo>
                <a:lnTo>
                  <a:pt x="748" y="174"/>
                </a:lnTo>
                <a:lnTo>
                  <a:pt x="748" y="174"/>
                </a:lnTo>
                <a:close/>
                <a:moveTo>
                  <a:pt x="752" y="178"/>
                </a:moveTo>
                <a:lnTo>
                  <a:pt x="748" y="178"/>
                </a:lnTo>
                <a:lnTo>
                  <a:pt x="752" y="178"/>
                </a:lnTo>
                <a:lnTo>
                  <a:pt x="752" y="178"/>
                </a:lnTo>
                <a:lnTo>
                  <a:pt x="752" y="178"/>
                </a:lnTo>
                <a:close/>
                <a:moveTo>
                  <a:pt x="96" y="178"/>
                </a:moveTo>
                <a:lnTo>
                  <a:pt x="94" y="178"/>
                </a:lnTo>
                <a:lnTo>
                  <a:pt x="90" y="178"/>
                </a:lnTo>
                <a:lnTo>
                  <a:pt x="94" y="178"/>
                </a:lnTo>
                <a:lnTo>
                  <a:pt x="96" y="178"/>
                </a:lnTo>
                <a:lnTo>
                  <a:pt x="96" y="178"/>
                </a:lnTo>
                <a:lnTo>
                  <a:pt x="96" y="178"/>
                </a:lnTo>
                <a:close/>
                <a:moveTo>
                  <a:pt x="26" y="182"/>
                </a:moveTo>
                <a:lnTo>
                  <a:pt x="26" y="178"/>
                </a:lnTo>
                <a:lnTo>
                  <a:pt x="30" y="178"/>
                </a:lnTo>
                <a:lnTo>
                  <a:pt x="34" y="178"/>
                </a:lnTo>
                <a:lnTo>
                  <a:pt x="34" y="182"/>
                </a:lnTo>
                <a:lnTo>
                  <a:pt x="38" y="182"/>
                </a:lnTo>
                <a:lnTo>
                  <a:pt x="40" y="182"/>
                </a:lnTo>
                <a:lnTo>
                  <a:pt x="38" y="182"/>
                </a:lnTo>
                <a:lnTo>
                  <a:pt x="34" y="182"/>
                </a:lnTo>
                <a:lnTo>
                  <a:pt x="30" y="182"/>
                </a:lnTo>
                <a:lnTo>
                  <a:pt x="26" y="182"/>
                </a:lnTo>
                <a:lnTo>
                  <a:pt x="22" y="182"/>
                </a:lnTo>
                <a:lnTo>
                  <a:pt x="26" y="182"/>
                </a:lnTo>
                <a:lnTo>
                  <a:pt x="26" y="182"/>
                </a:lnTo>
                <a:lnTo>
                  <a:pt x="26" y="182"/>
                </a:lnTo>
                <a:close/>
                <a:moveTo>
                  <a:pt x="10" y="182"/>
                </a:moveTo>
                <a:lnTo>
                  <a:pt x="14" y="182"/>
                </a:lnTo>
                <a:lnTo>
                  <a:pt x="18" y="182"/>
                </a:lnTo>
                <a:lnTo>
                  <a:pt x="22" y="182"/>
                </a:lnTo>
                <a:lnTo>
                  <a:pt x="18" y="186"/>
                </a:lnTo>
                <a:lnTo>
                  <a:pt x="14" y="186"/>
                </a:lnTo>
                <a:lnTo>
                  <a:pt x="10" y="186"/>
                </a:lnTo>
                <a:lnTo>
                  <a:pt x="10" y="182"/>
                </a:lnTo>
                <a:lnTo>
                  <a:pt x="8" y="182"/>
                </a:lnTo>
                <a:lnTo>
                  <a:pt x="10" y="182"/>
                </a:lnTo>
                <a:lnTo>
                  <a:pt x="10" y="182"/>
                </a:lnTo>
                <a:lnTo>
                  <a:pt x="10" y="182"/>
                </a:lnTo>
                <a:close/>
                <a:moveTo>
                  <a:pt x="752" y="198"/>
                </a:moveTo>
                <a:lnTo>
                  <a:pt x="756" y="198"/>
                </a:lnTo>
                <a:lnTo>
                  <a:pt x="752" y="200"/>
                </a:lnTo>
                <a:lnTo>
                  <a:pt x="752" y="198"/>
                </a:lnTo>
                <a:lnTo>
                  <a:pt x="752" y="198"/>
                </a:lnTo>
                <a:lnTo>
                  <a:pt x="752" y="198"/>
                </a:lnTo>
                <a:close/>
                <a:moveTo>
                  <a:pt x="752" y="200"/>
                </a:moveTo>
                <a:lnTo>
                  <a:pt x="756" y="200"/>
                </a:lnTo>
                <a:lnTo>
                  <a:pt x="752" y="200"/>
                </a:lnTo>
                <a:lnTo>
                  <a:pt x="752" y="200"/>
                </a:lnTo>
                <a:lnTo>
                  <a:pt x="752" y="200"/>
                </a:lnTo>
                <a:close/>
                <a:moveTo>
                  <a:pt x="734" y="204"/>
                </a:moveTo>
                <a:lnTo>
                  <a:pt x="730" y="204"/>
                </a:lnTo>
                <a:lnTo>
                  <a:pt x="726" y="204"/>
                </a:lnTo>
                <a:lnTo>
                  <a:pt x="730" y="204"/>
                </a:lnTo>
                <a:lnTo>
                  <a:pt x="734" y="204"/>
                </a:lnTo>
                <a:lnTo>
                  <a:pt x="734" y="204"/>
                </a:lnTo>
                <a:lnTo>
                  <a:pt x="734" y="204"/>
                </a:lnTo>
                <a:close/>
                <a:moveTo>
                  <a:pt x="48" y="204"/>
                </a:moveTo>
                <a:lnTo>
                  <a:pt x="44" y="204"/>
                </a:lnTo>
                <a:lnTo>
                  <a:pt x="40" y="204"/>
                </a:lnTo>
                <a:lnTo>
                  <a:pt x="44" y="204"/>
                </a:lnTo>
                <a:lnTo>
                  <a:pt x="48" y="204"/>
                </a:lnTo>
                <a:lnTo>
                  <a:pt x="48" y="204"/>
                </a:lnTo>
                <a:lnTo>
                  <a:pt x="48" y="204"/>
                </a:lnTo>
                <a:close/>
                <a:moveTo>
                  <a:pt x="738" y="208"/>
                </a:moveTo>
                <a:lnTo>
                  <a:pt x="738" y="212"/>
                </a:lnTo>
                <a:lnTo>
                  <a:pt x="738" y="208"/>
                </a:lnTo>
                <a:lnTo>
                  <a:pt x="734" y="208"/>
                </a:lnTo>
                <a:lnTo>
                  <a:pt x="738" y="208"/>
                </a:lnTo>
                <a:lnTo>
                  <a:pt x="738" y="204"/>
                </a:lnTo>
                <a:lnTo>
                  <a:pt x="738" y="208"/>
                </a:lnTo>
                <a:lnTo>
                  <a:pt x="738" y="208"/>
                </a:lnTo>
                <a:lnTo>
                  <a:pt x="738" y="208"/>
                </a:lnTo>
                <a:close/>
                <a:moveTo>
                  <a:pt x="40" y="208"/>
                </a:moveTo>
                <a:lnTo>
                  <a:pt x="44" y="208"/>
                </a:lnTo>
                <a:lnTo>
                  <a:pt x="40" y="208"/>
                </a:lnTo>
                <a:lnTo>
                  <a:pt x="40" y="208"/>
                </a:lnTo>
                <a:lnTo>
                  <a:pt x="40" y="208"/>
                </a:lnTo>
                <a:close/>
                <a:moveTo>
                  <a:pt x="744" y="208"/>
                </a:moveTo>
                <a:lnTo>
                  <a:pt x="748" y="208"/>
                </a:lnTo>
                <a:lnTo>
                  <a:pt x="748" y="212"/>
                </a:lnTo>
                <a:lnTo>
                  <a:pt x="744" y="212"/>
                </a:lnTo>
                <a:lnTo>
                  <a:pt x="744" y="208"/>
                </a:lnTo>
                <a:lnTo>
                  <a:pt x="742" y="212"/>
                </a:lnTo>
                <a:lnTo>
                  <a:pt x="742" y="208"/>
                </a:lnTo>
                <a:lnTo>
                  <a:pt x="744" y="208"/>
                </a:lnTo>
                <a:lnTo>
                  <a:pt x="744" y="208"/>
                </a:lnTo>
                <a:lnTo>
                  <a:pt x="744" y="208"/>
                </a:lnTo>
                <a:close/>
                <a:moveTo>
                  <a:pt x="734" y="212"/>
                </a:moveTo>
                <a:lnTo>
                  <a:pt x="738" y="212"/>
                </a:lnTo>
                <a:lnTo>
                  <a:pt x="742" y="212"/>
                </a:lnTo>
                <a:lnTo>
                  <a:pt x="742" y="216"/>
                </a:lnTo>
                <a:lnTo>
                  <a:pt x="742" y="212"/>
                </a:lnTo>
                <a:lnTo>
                  <a:pt x="738" y="212"/>
                </a:lnTo>
                <a:lnTo>
                  <a:pt x="734" y="212"/>
                </a:lnTo>
                <a:lnTo>
                  <a:pt x="734" y="212"/>
                </a:lnTo>
                <a:lnTo>
                  <a:pt x="734" y="212"/>
                </a:lnTo>
                <a:close/>
                <a:moveTo>
                  <a:pt x="744" y="212"/>
                </a:moveTo>
                <a:lnTo>
                  <a:pt x="742" y="212"/>
                </a:lnTo>
                <a:lnTo>
                  <a:pt x="744" y="212"/>
                </a:lnTo>
                <a:lnTo>
                  <a:pt x="748" y="212"/>
                </a:lnTo>
                <a:lnTo>
                  <a:pt x="744" y="212"/>
                </a:lnTo>
                <a:lnTo>
                  <a:pt x="744" y="212"/>
                </a:lnTo>
                <a:lnTo>
                  <a:pt x="744" y="212"/>
                </a:lnTo>
                <a:close/>
                <a:moveTo>
                  <a:pt x="110" y="220"/>
                </a:moveTo>
                <a:lnTo>
                  <a:pt x="114" y="220"/>
                </a:lnTo>
                <a:lnTo>
                  <a:pt x="110" y="220"/>
                </a:lnTo>
                <a:lnTo>
                  <a:pt x="108" y="220"/>
                </a:lnTo>
                <a:lnTo>
                  <a:pt x="110" y="220"/>
                </a:lnTo>
                <a:lnTo>
                  <a:pt x="110" y="220"/>
                </a:lnTo>
                <a:lnTo>
                  <a:pt x="110" y="220"/>
                </a:lnTo>
                <a:close/>
                <a:moveTo>
                  <a:pt x="748" y="224"/>
                </a:moveTo>
                <a:lnTo>
                  <a:pt x="744" y="224"/>
                </a:lnTo>
                <a:lnTo>
                  <a:pt x="748" y="220"/>
                </a:lnTo>
                <a:lnTo>
                  <a:pt x="748" y="224"/>
                </a:lnTo>
                <a:lnTo>
                  <a:pt x="748" y="224"/>
                </a:lnTo>
                <a:lnTo>
                  <a:pt x="748" y="224"/>
                </a:lnTo>
                <a:close/>
                <a:moveTo>
                  <a:pt x="744" y="246"/>
                </a:moveTo>
                <a:lnTo>
                  <a:pt x="748" y="250"/>
                </a:lnTo>
                <a:lnTo>
                  <a:pt x="744" y="250"/>
                </a:lnTo>
                <a:lnTo>
                  <a:pt x="748" y="250"/>
                </a:lnTo>
                <a:lnTo>
                  <a:pt x="752" y="254"/>
                </a:lnTo>
                <a:lnTo>
                  <a:pt x="748" y="256"/>
                </a:lnTo>
                <a:lnTo>
                  <a:pt x="744" y="256"/>
                </a:lnTo>
                <a:lnTo>
                  <a:pt x="742" y="256"/>
                </a:lnTo>
                <a:lnTo>
                  <a:pt x="742" y="254"/>
                </a:lnTo>
                <a:lnTo>
                  <a:pt x="742" y="250"/>
                </a:lnTo>
                <a:lnTo>
                  <a:pt x="742" y="246"/>
                </a:lnTo>
                <a:lnTo>
                  <a:pt x="744" y="246"/>
                </a:lnTo>
                <a:lnTo>
                  <a:pt x="744" y="246"/>
                </a:lnTo>
                <a:lnTo>
                  <a:pt x="744" y="246"/>
                </a:lnTo>
                <a:close/>
                <a:moveTo>
                  <a:pt x="770" y="256"/>
                </a:moveTo>
                <a:lnTo>
                  <a:pt x="768" y="256"/>
                </a:lnTo>
                <a:lnTo>
                  <a:pt x="770" y="256"/>
                </a:lnTo>
                <a:lnTo>
                  <a:pt x="774" y="256"/>
                </a:lnTo>
                <a:lnTo>
                  <a:pt x="770" y="256"/>
                </a:lnTo>
                <a:lnTo>
                  <a:pt x="770" y="256"/>
                </a:lnTo>
                <a:lnTo>
                  <a:pt x="770" y="256"/>
                </a:lnTo>
                <a:close/>
                <a:moveTo>
                  <a:pt x="768" y="260"/>
                </a:moveTo>
                <a:lnTo>
                  <a:pt x="764" y="260"/>
                </a:lnTo>
                <a:lnTo>
                  <a:pt x="760" y="260"/>
                </a:lnTo>
                <a:lnTo>
                  <a:pt x="764" y="256"/>
                </a:lnTo>
                <a:lnTo>
                  <a:pt x="768" y="256"/>
                </a:lnTo>
                <a:lnTo>
                  <a:pt x="768" y="260"/>
                </a:lnTo>
                <a:lnTo>
                  <a:pt x="768" y="260"/>
                </a:lnTo>
                <a:lnTo>
                  <a:pt x="768" y="260"/>
                </a:lnTo>
                <a:close/>
                <a:moveTo>
                  <a:pt x="226" y="260"/>
                </a:moveTo>
                <a:lnTo>
                  <a:pt x="222" y="260"/>
                </a:lnTo>
                <a:lnTo>
                  <a:pt x="226" y="260"/>
                </a:lnTo>
                <a:lnTo>
                  <a:pt x="226" y="260"/>
                </a:lnTo>
                <a:lnTo>
                  <a:pt x="226" y="260"/>
                </a:lnTo>
                <a:close/>
                <a:moveTo>
                  <a:pt x="220" y="260"/>
                </a:moveTo>
                <a:lnTo>
                  <a:pt x="222" y="260"/>
                </a:lnTo>
                <a:lnTo>
                  <a:pt x="226" y="260"/>
                </a:lnTo>
                <a:lnTo>
                  <a:pt x="230" y="260"/>
                </a:lnTo>
                <a:lnTo>
                  <a:pt x="234" y="260"/>
                </a:lnTo>
                <a:lnTo>
                  <a:pt x="230" y="260"/>
                </a:lnTo>
                <a:lnTo>
                  <a:pt x="226" y="260"/>
                </a:lnTo>
                <a:lnTo>
                  <a:pt x="222" y="264"/>
                </a:lnTo>
                <a:lnTo>
                  <a:pt x="220" y="260"/>
                </a:lnTo>
                <a:lnTo>
                  <a:pt x="220" y="260"/>
                </a:lnTo>
                <a:lnTo>
                  <a:pt x="220" y="260"/>
                </a:lnTo>
                <a:close/>
                <a:moveTo>
                  <a:pt x="734" y="264"/>
                </a:moveTo>
                <a:lnTo>
                  <a:pt x="738" y="264"/>
                </a:lnTo>
                <a:lnTo>
                  <a:pt x="742" y="264"/>
                </a:lnTo>
                <a:lnTo>
                  <a:pt x="742" y="268"/>
                </a:lnTo>
                <a:lnTo>
                  <a:pt x="744" y="268"/>
                </a:lnTo>
                <a:lnTo>
                  <a:pt x="748" y="268"/>
                </a:lnTo>
                <a:lnTo>
                  <a:pt x="748" y="272"/>
                </a:lnTo>
                <a:lnTo>
                  <a:pt x="744" y="272"/>
                </a:lnTo>
                <a:lnTo>
                  <a:pt x="742" y="272"/>
                </a:lnTo>
                <a:lnTo>
                  <a:pt x="738" y="272"/>
                </a:lnTo>
                <a:lnTo>
                  <a:pt x="734" y="272"/>
                </a:lnTo>
                <a:lnTo>
                  <a:pt x="730" y="272"/>
                </a:lnTo>
                <a:lnTo>
                  <a:pt x="726" y="272"/>
                </a:lnTo>
                <a:lnTo>
                  <a:pt x="722" y="272"/>
                </a:lnTo>
                <a:lnTo>
                  <a:pt x="722" y="268"/>
                </a:lnTo>
                <a:lnTo>
                  <a:pt x="722" y="264"/>
                </a:lnTo>
                <a:lnTo>
                  <a:pt x="726" y="264"/>
                </a:lnTo>
                <a:lnTo>
                  <a:pt x="730" y="264"/>
                </a:lnTo>
                <a:lnTo>
                  <a:pt x="734" y="264"/>
                </a:lnTo>
                <a:lnTo>
                  <a:pt x="734" y="264"/>
                </a:lnTo>
                <a:lnTo>
                  <a:pt x="734" y="264"/>
                </a:lnTo>
                <a:close/>
                <a:moveTo>
                  <a:pt x="234" y="280"/>
                </a:moveTo>
                <a:lnTo>
                  <a:pt x="230" y="280"/>
                </a:lnTo>
                <a:lnTo>
                  <a:pt x="234" y="280"/>
                </a:lnTo>
                <a:lnTo>
                  <a:pt x="238" y="280"/>
                </a:lnTo>
                <a:lnTo>
                  <a:pt x="242" y="280"/>
                </a:lnTo>
                <a:lnTo>
                  <a:pt x="238" y="280"/>
                </a:lnTo>
                <a:lnTo>
                  <a:pt x="234" y="280"/>
                </a:lnTo>
                <a:lnTo>
                  <a:pt x="234" y="280"/>
                </a:lnTo>
                <a:lnTo>
                  <a:pt x="234" y="280"/>
                </a:lnTo>
                <a:close/>
                <a:moveTo>
                  <a:pt x="234" y="284"/>
                </a:moveTo>
                <a:lnTo>
                  <a:pt x="230" y="286"/>
                </a:lnTo>
                <a:lnTo>
                  <a:pt x="226" y="286"/>
                </a:lnTo>
                <a:lnTo>
                  <a:pt x="226" y="284"/>
                </a:lnTo>
                <a:lnTo>
                  <a:pt x="230" y="284"/>
                </a:lnTo>
                <a:lnTo>
                  <a:pt x="234" y="284"/>
                </a:lnTo>
                <a:lnTo>
                  <a:pt x="234" y="284"/>
                </a:lnTo>
                <a:lnTo>
                  <a:pt x="234" y="284"/>
                </a:lnTo>
                <a:close/>
                <a:moveTo>
                  <a:pt x="234" y="286"/>
                </a:moveTo>
                <a:lnTo>
                  <a:pt x="230" y="286"/>
                </a:lnTo>
                <a:lnTo>
                  <a:pt x="234" y="286"/>
                </a:lnTo>
                <a:lnTo>
                  <a:pt x="234" y="284"/>
                </a:lnTo>
                <a:lnTo>
                  <a:pt x="238" y="284"/>
                </a:lnTo>
                <a:lnTo>
                  <a:pt x="238" y="286"/>
                </a:lnTo>
                <a:lnTo>
                  <a:pt x="234" y="286"/>
                </a:lnTo>
                <a:lnTo>
                  <a:pt x="234" y="286"/>
                </a:lnTo>
                <a:lnTo>
                  <a:pt x="234" y="286"/>
                </a:lnTo>
                <a:close/>
                <a:moveTo>
                  <a:pt x="242" y="286"/>
                </a:moveTo>
                <a:lnTo>
                  <a:pt x="246" y="286"/>
                </a:lnTo>
                <a:lnTo>
                  <a:pt x="246" y="290"/>
                </a:lnTo>
                <a:lnTo>
                  <a:pt x="242" y="290"/>
                </a:lnTo>
                <a:lnTo>
                  <a:pt x="246" y="290"/>
                </a:lnTo>
                <a:lnTo>
                  <a:pt x="242" y="290"/>
                </a:lnTo>
                <a:lnTo>
                  <a:pt x="238" y="286"/>
                </a:lnTo>
                <a:lnTo>
                  <a:pt x="242" y="286"/>
                </a:lnTo>
                <a:lnTo>
                  <a:pt x="242" y="286"/>
                </a:lnTo>
                <a:lnTo>
                  <a:pt x="242" y="286"/>
                </a:lnTo>
                <a:close/>
                <a:moveTo>
                  <a:pt x="242" y="290"/>
                </a:moveTo>
                <a:lnTo>
                  <a:pt x="238" y="290"/>
                </a:lnTo>
                <a:lnTo>
                  <a:pt x="242" y="290"/>
                </a:lnTo>
                <a:lnTo>
                  <a:pt x="242" y="290"/>
                </a:lnTo>
                <a:lnTo>
                  <a:pt x="242" y="290"/>
                </a:lnTo>
                <a:close/>
                <a:moveTo>
                  <a:pt x="686" y="290"/>
                </a:moveTo>
                <a:lnTo>
                  <a:pt x="688" y="290"/>
                </a:lnTo>
                <a:lnTo>
                  <a:pt x="692" y="294"/>
                </a:lnTo>
                <a:lnTo>
                  <a:pt x="696" y="294"/>
                </a:lnTo>
                <a:lnTo>
                  <a:pt x="700" y="294"/>
                </a:lnTo>
                <a:lnTo>
                  <a:pt x="704" y="294"/>
                </a:lnTo>
                <a:lnTo>
                  <a:pt x="704" y="298"/>
                </a:lnTo>
                <a:lnTo>
                  <a:pt x="696" y="298"/>
                </a:lnTo>
                <a:lnTo>
                  <a:pt x="696" y="294"/>
                </a:lnTo>
                <a:lnTo>
                  <a:pt x="692" y="294"/>
                </a:lnTo>
                <a:lnTo>
                  <a:pt x="688" y="294"/>
                </a:lnTo>
                <a:lnTo>
                  <a:pt x="686" y="294"/>
                </a:lnTo>
                <a:lnTo>
                  <a:pt x="682" y="294"/>
                </a:lnTo>
                <a:lnTo>
                  <a:pt x="678" y="294"/>
                </a:lnTo>
                <a:lnTo>
                  <a:pt x="682" y="294"/>
                </a:lnTo>
                <a:lnTo>
                  <a:pt x="686" y="294"/>
                </a:lnTo>
                <a:lnTo>
                  <a:pt x="688" y="294"/>
                </a:lnTo>
                <a:lnTo>
                  <a:pt x="692" y="294"/>
                </a:lnTo>
                <a:lnTo>
                  <a:pt x="692" y="298"/>
                </a:lnTo>
                <a:lnTo>
                  <a:pt x="696" y="298"/>
                </a:lnTo>
                <a:lnTo>
                  <a:pt x="700" y="298"/>
                </a:lnTo>
                <a:lnTo>
                  <a:pt x="704" y="298"/>
                </a:lnTo>
                <a:lnTo>
                  <a:pt x="708" y="298"/>
                </a:lnTo>
                <a:lnTo>
                  <a:pt x="704" y="298"/>
                </a:lnTo>
                <a:lnTo>
                  <a:pt x="700" y="298"/>
                </a:lnTo>
                <a:lnTo>
                  <a:pt x="700" y="302"/>
                </a:lnTo>
                <a:lnTo>
                  <a:pt x="696" y="302"/>
                </a:lnTo>
                <a:lnTo>
                  <a:pt x="692" y="302"/>
                </a:lnTo>
                <a:lnTo>
                  <a:pt x="688" y="302"/>
                </a:lnTo>
                <a:lnTo>
                  <a:pt x="686" y="302"/>
                </a:lnTo>
                <a:lnTo>
                  <a:pt x="682" y="302"/>
                </a:lnTo>
                <a:lnTo>
                  <a:pt x="678" y="298"/>
                </a:lnTo>
                <a:lnTo>
                  <a:pt x="674" y="298"/>
                </a:lnTo>
                <a:lnTo>
                  <a:pt x="670" y="298"/>
                </a:lnTo>
                <a:lnTo>
                  <a:pt x="666" y="298"/>
                </a:lnTo>
                <a:lnTo>
                  <a:pt x="670" y="294"/>
                </a:lnTo>
                <a:lnTo>
                  <a:pt x="674" y="294"/>
                </a:lnTo>
                <a:lnTo>
                  <a:pt x="674" y="290"/>
                </a:lnTo>
                <a:lnTo>
                  <a:pt x="678" y="290"/>
                </a:lnTo>
                <a:lnTo>
                  <a:pt x="682" y="290"/>
                </a:lnTo>
                <a:lnTo>
                  <a:pt x="686" y="290"/>
                </a:lnTo>
                <a:lnTo>
                  <a:pt x="686" y="290"/>
                </a:lnTo>
                <a:lnTo>
                  <a:pt x="686" y="290"/>
                </a:lnTo>
                <a:close/>
                <a:moveTo>
                  <a:pt x="246" y="294"/>
                </a:moveTo>
                <a:lnTo>
                  <a:pt x="250" y="290"/>
                </a:lnTo>
                <a:lnTo>
                  <a:pt x="250" y="294"/>
                </a:lnTo>
                <a:lnTo>
                  <a:pt x="246" y="294"/>
                </a:lnTo>
                <a:lnTo>
                  <a:pt x="246" y="294"/>
                </a:lnTo>
                <a:lnTo>
                  <a:pt x="246" y="294"/>
                </a:lnTo>
                <a:close/>
                <a:moveTo>
                  <a:pt x="242" y="290"/>
                </a:moveTo>
                <a:lnTo>
                  <a:pt x="242" y="294"/>
                </a:lnTo>
                <a:lnTo>
                  <a:pt x="238" y="294"/>
                </a:lnTo>
                <a:lnTo>
                  <a:pt x="238" y="290"/>
                </a:lnTo>
                <a:lnTo>
                  <a:pt x="242" y="290"/>
                </a:lnTo>
                <a:lnTo>
                  <a:pt x="242" y="290"/>
                </a:lnTo>
                <a:lnTo>
                  <a:pt x="242" y="290"/>
                </a:lnTo>
                <a:close/>
                <a:moveTo>
                  <a:pt x="246" y="294"/>
                </a:moveTo>
                <a:lnTo>
                  <a:pt x="242" y="294"/>
                </a:lnTo>
                <a:lnTo>
                  <a:pt x="246" y="294"/>
                </a:lnTo>
                <a:lnTo>
                  <a:pt x="246" y="294"/>
                </a:lnTo>
                <a:lnTo>
                  <a:pt x="246" y="294"/>
                </a:lnTo>
                <a:close/>
                <a:moveTo>
                  <a:pt x="242" y="294"/>
                </a:moveTo>
                <a:lnTo>
                  <a:pt x="242" y="298"/>
                </a:lnTo>
                <a:lnTo>
                  <a:pt x="238" y="298"/>
                </a:lnTo>
                <a:lnTo>
                  <a:pt x="238" y="294"/>
                </a:lnTo>
                <a:lnTo>
                  <a:pt x="242" y="294"/>
                </a:lnTo>
                <a:lnTo>
                  <a:pt x="242" y="294"/>
                </a:lnTo>
                <a:lnTo>
                  <a:pt x="242" y="294"/>
                </a:lnTo>
                <a:close/>
                <a:moveTo>
                  <a:pt x="250" y="306"/>
                </a:moveTo>
                <a:lnTo>
                  <a:pt x="250" y="302"/>
                </a:lnTo>
                <a:lnTo>
                  <a:pt x="246" y="302"/>
                </a:lnTo>
                <a:lnTo>
                  <a:pt x="250" y="302"/>
                </a:lnTo>
                <a:lnTo>
                  <a:pt x="252" y="302"/>
                </a:lnTo>
                <a:lnTo>
                  <a:pt x="252" y="306"/>
                </a:lnTo>
                <a:lnTo>
                  <a:pt x="250" y="306"/>
                </a:lnTo>
                <a:lnTo>
                  <a:pt x="250" y="306"/>
                </a:lnTo>
                <a:lnTo>
                  <a:pt x="250" y="306"/>
                </a:lnTo>
                <a:close/>
                <a:moveTo>
                  <a:pt x="682" y="306"/>
                </a:moveTo>
                <a:lnTo>
                  <a:pt x="682" y="310"/>
                </a:lnTo>
                <a:lnTo>
                  <a:pt x="678" y="310"/>
                </a:lnTo>
                <a:lnTo>
                  <a:pt x="674" y="306"/>
                </a:lnTo>
                <a:lnTo>
                  <a:pt x="678" y="306"/>
                </a:lnTo>
                <a:lnTo>
                  <a:pt x="682" y="306"/>
                </a:lnTo>
                <a:lnTo>
                  <a:pt x="682" y="306"/>
                </a:lnTo>
                <a:lnTo>
                  <a:pt x="682" y="306"/>
                </a:lnTo>
                <a:close/>
                <a:moveTo>
                  <a:pt x="246" y="306"/>
                </a:moveTo>
                <a:lnTo>
                  <a:pt x="250" y="306"/>
                </a:lnTo>
                <a:lnTo>
                  <a:pt x="246" y="306"/>
                </a:lnTo>
                <a:lnTo>
                  <a:pt x="246" y="306"/>
                </a:lnTo>
                <a:lnTo>
                  <a:pt x="246" y="306"/>
                </a:lnTo>
                <a:close/>
                <a:moveTo>
                  <a:pt x="252" y="306"/>
                </a:moveTo>
                <a:lnTo>
                  <a:pt x="252" y="310"/>
                </a:lnTo>
                <a:lnTo>
                  <a:pt x="250" y="310"/>
                </a:lnTo>
                <a:lnTo>
                  <a:pt x="250" y="314"/>
                </a:lnTo>
                <a:lnTo>
                  <a:pt x="246" y="314"/>
                </a:lnTo>
                <a:lnTo>
                  <a:pt x="242" y="314"/>
                </a:lnTo>
                <a:lnTo>
                  <a:pt x="246" y="310"/>
                </a:lnTo>
                <a:lnTo>
                  <a:pt x="250" y="310"/>
                </a:lnTo>
                <a:lnTo>
                  <a:pt x="250" y="306"/>
                </a:lnTo>
                <a:lnTo>
                  <a:pt x="252" y="306"/>
                </a:lnTo>
                <a:lnTo>
                  <a:pt x="252" y="306"/>
                </a:lnTo>
                <a:lnTo>
                  <a:pt x="252" y="306"/>
                </a:lnTo>
                <a:close/>
                <a:moveTo>
                  <a:pt x="246" y="310"/>
                </a:moveTo>
                <a:lnTo>
                  <a:pt x="242" y="310"/>
                </a:lnTo>
                <a:lnTo>
                  <a:pt x="238" y="314"/>
                </a:lnTo>
                <a:lnTo>
                  <a:pt x="238" y="310"/>
                </a:lnTo>
                <a:lnTo>
                  <a:pt x="242" y="310"/>
                </a:lnTo>
                <a:lnTo>
                  <a:pt x="246" y="310"/>
                </a:lnTo>
                <a:lnTo>
                  <a:pt x="246" y="310"/>
                </a:lnTo>
                <a:lnTo>
                  <a:pt x="246" y="310"/>
                </a:lnTo>
                <a:close/>
                <a:moveTo>
                  <a:pt x="252" y="310"/>
                </a:moveTo>
                <a:lnTo>
                  <a:pt x="256" y="310"/>
                </a:lnTo>
                <a:lnTo>
                  <a:pt x="252" y="310"/>
                </a:lnTo>
                <a:lnTo>
                  <a:pt x="252" y="310"/>
                </a:lnTo>
                <a:lnTo>
                  <a:pt x="252" y="310"/>
                </a:lnTo>
                <a:close/>
                <a:moveTo>
                  <a:pt x="252" y="310"/>
                </a:moveTo>
                <a:lnTo>
                  <a:pt x="252" y="314"/>
                </a:lnTo>
                <a:lnTo>
                  <a:pt x="250" y="314"/>
                </a:lnTo>
                <a:lnTo>
                  <a:pt x="250" y="310"/>
                </a:lnTo>
                <a:lnTo>
                  <a:pt x="252" y="310"/>
                </a:lnTo>
                <a:lnTo>
                  <a:pt x="252" y="310"/>
                </a:lnTo>
                <a:lnTo>
                  <a:pt x="252" y="310"/>
                </a:lnTo>
                <a:close/>
                <a:moveTo>
                  <a:pt x="252" y="314"/>
                </a:moveTo>
                <a:lnTo>
                  <a:pt x="250" y="314"/>
                </a:lnTo>
                <a:lnTo>
                  <a:pt x="252" y="314"/>
                </a:lnTo>
                <a:lnTo>
                  <a:pt x="252" y="314"/>
                </a:lnTo>
                <a:lnTo>
                  <a:pt x="252" y="314"/>
                </a:lnTo>
                <a:close/>
                <a:moveTo>
                  <a:pt x="252" y="316"/>
                </a:moveTo>
                <a:lnTo>
                  <a:pt x="252" y="320"/>
                </a:lnTo>
                <a:lnTo>
                  <a:pt x="250" y="320"/>
                </a:lnTo>
                <a:lnTo>
                  <a:pt x="250" y="324"/>
                </a:lnTo>
                <a:lnTo>
                  <a:pt x="246" y="324"/>
                </a:lnTo>
                <a:lnTo>
                  <a:pt x="246" y="320"/>
                </a:lnTo>
                <a:lnTo>
                  <a:pt x="250" y="320"/>
                </a:lnTo>
                <a:lnTo>
                  <a:pt x="252" y="320"/>
                </a:lnTo>
                <a:lnTo>
                  <a:pt x="252" y="316"/>
                </a:lnTo>
                <a:lnTo>
                  <a:pt x="252" y="316"/>
                </a:lnTo>
                <a:lnTo>
                  <a:pt x="252" y="316"/>
                </a:lnTo>
                <a:close/>
                <a:moveTo>
                  <a:pt x="670" y="350"/>
                </a:moveTo>
                <a:lnTo>
                  <a:pt x="674" y="354"/>
                </a:lnTo>
                <a:lnTo>
                  <a:pt x="670" y="350"/>
                </a:lnTo>
                <a:lnTo>
                  <a:pt x="670" y="350"/>
                </a:lnTo>
                <a:lnTo>
                  <a:pt x="670" y="350"/>
                </a:lnTo>
                <a:close/>
                <a:moveTo>
                  <a:pt x="308" y="370"/>
                </a:moveTo>
                <a:lnTo>
                  <a:pt x="306" y="370"/>
                </a:lnTo>
                <a:lnTo>
                  <a:pt x="306" y="366"/>
                </a:lnTo>
                <a:lnTo>
                  <a:pt x="302" y="366"/>
                </a:lnTo>
                <a:lnTo>
                  <a:pt x="306" y="366"/>
                </a:lnTo>
                <a:lnTo>
                  <a:pt x="308" y="370"/>
                </a:lnTo>
                <a:lnTo>
                  <a:pt x="308" y="370"/>
                </a:lnTo>
                <a:lnTo>
                  <a:pt x="308" y="370"/>
                </a:lnTo>
                <a:close/>
                <a:moveTo>
                  <a:pt x="704" y="388"/>
                </a:moveTo>
                <a:lnTo>
                  <a:pt x="700" y="388"/>
                </a:lnTo>
                <a:lnTo>
                  <a:pt x="696" y="388"/>
                </a:lnTo>
                <a:lnTo>
                  <a:pt x="700" y="388"/>
                </a:lnTo>
                <a:lnTo>
                  <a:pt x="704" y="388"/>
                </a:lnTo>
                <a:lnTo>
                  <a:pt x="704" y="388"/>
                </a:lnTo>
                <a:lnTo>
                  <a:pt x="704" y="388"/>
                </a:lnTo>
                <a:close/>
                <a:moveTo>
                  <a:pt x="298" y="414"/>
                </a:moveTo>
                <a:lnTo>
                  <a:pt x="294" y="418"/>
                </a:lnTo>
                <a:lnTo>
                  <a:pt x="290" y="418"/>
                </a:lnTo>
                <a:lnTo>
                  <a:pt x="290" y="414"/>
                </a:lnTo>
                <a:lnTo>
                  <a:pt x="294" y="414"/>
                </a:lnTo>
                <a:lnTo>
                  <a:pt x="298" y="414"/>
                </a:lnTo>
                <a:lnTo>
                  <a:pt x="294" y="414"/>
                </a:lnTo>
                <a:lnTo>
                  <a:pt x="294" y="418"/>
                </a:lnTo>
                <a:lnTo>
                  <a:pt x="298" y="414"/>
                </a:lnTo>
                <a:lnTo>
                  <a:pt x="298" y="414"/>
                </a:lnTo>
                <a:lnTo>
                  <a:pt x="298" y="414"/>
                </a:lnTo>
                <a:close/>
                <a:moveTo>
                  <a:pt x="282" y="418"/>
                </a:moveTo>
                <a:lnTo>
                  <a:pt x="282" y="422"/>
                </a:lnTo>
                <a:lnTo>
                  <a:pt x="278" y="422"/>
                </a:lnTo>
                <a:lnTo>
                  <a:pt x="282" y="418"/>
                </a:lnTo>
                <a:lnTo>
                  <a:pt x="282" y="418"/>
                </a:lnTo>
                <a:lnTo>
                  <a:pt x="282" y="418"/>
                </a:lnTo>
                <a:close/>
                <a:moveTo>
                  <a:pt x="584" y="426"/>
                </a:moveTo>
                <a:lnTo>
                  <a:pt x="580" y="426"/>
                </a:lnTo>
                <a:lnTo>
                  <a:pt x="584" y="426"/>
                </a:lnTo>
                <a:lnTo>
                  <a:pt x="580" y="426"/>
                </a:lnTo>
                <a:lnTo>
                  <a:pt x="584" y="426"/>
                </a:lnTo>
                <a:lnTo>
                  <a:pt x="584" y="426"/>
                </a:lnTo>
                <a:lnTo>
                  <a:pt x="584" y="426"/>
                </a:lnTo>
                <a:close/>
                <a:moveTo>
                  <a:pt x="282" y="458"/>
                </a:moveTo>
                <a:lnTo>
                  <a:pt x="278" y="458"/>
                </a:lnTo>
                <a:lnTo>
                  <a:pt x="276" y="458"/>
                </a:lnTo>
                <a:lnTo>
                  <a:pt x="278" y="458"/>
                </a:lnTo>
                <a:lnTo>
                  <a:pt x="282" y="458"/>
                </a:lnTo>
                <a:lnTo>
                  <a:pt x="282" y="458"/>
                </a:lnTo>
                <a:lnTo>
                  <a:pt x="282" y="458"/>
                </a:lnTo>
                <a:close/>
                <a:moveTo>
                  <a:pt x="510" y="484"/>
                </a:moveTo>
                <a:lnTo>
                  <a:pt x="510" y="482"/>
                </a:lnTo>
                <a:lnTo>
                  <a:pt x="510" y="484"/>
                </a:lnTo>
                <a:lnTo>
                  <a:pt x="510" y="484"/>
                </a:lnTo>
                <a:lnTo>
                  <a:pt x="510" y="484"/>
                </a:lnTo>
                <a:close/>
                <a:moveTo>
                  <a:pt x="510" y="488"/>
                </a:moveTo>
                <a:lnTo>
                  <a:pt x="506" y="488"/>
                </a:lnTo>
                <a:lnTo>
                  <a:pt x="506" y="484"/>
                </a:lnTo>
                <a:lnTo>
                  <a:pt x="510" y="488"/>
                </a:lnTo>
                <a:lnTo>
                  <a:pt x="510" y="488"/>
                </a:lnTo>
                <a:lnTo>
                  <a:pt x="510" y="488"/>
                </a:lnTo>
                <a:close/>
                <a:moveTo>
                  <a:pt x="278" y="488"/>
                </a:moveTo>
                <a:lnTo>
                  <a:pt x="282" y="488"/>
                </a:lnTo>
                <a:lnTo>
                  <a:pt x="282" y="492"/>
                </a:lnTo>
                <a:lnTo>
                  <a:pt x="278" y="488"/>
                </a:lnTo>
                <a:lnTo>
                  <a:pt x="278" y="488"/>
                </a:lnTo>
                <a:lnTo>
                  <a:pt x="278" y="488"/>
                </a:lnTo>
                <a:close/>
                <a:moveTo>
                  <a:pt x="450" y="522"/>
                </a:moveTo>
                <a:lnTo>
                  <a:pt x="454" y="522"/>
                </a:lnTo>
                <a:lnTo>
                  <a:pt x="458" y="522"/>
                </a:lnTo>
                <a:lnTo>
                  <a:pt x="454" y="522"/>
                </a:lnTo>
                <a:lnTo>
                  <a:pt x="450" y="522"/>
                </a:lnTo>
                <a:lnTo>
                  <a:pt x="450" y="522"/>
                </a:lnTo>
                <a:lnTo>
                  <a:pt x="450" y="522"/>
                </a:lnTo>
                <a:close/>
                <a:moveTo>
                  <a:pt x="450" y="548"/>
                </a:moveTo>
                <a:lnTo>
                  <a:pt x="450" y="544"/>
                </a:lnTo>
                <a:lnTo>
                  <a:pt x="446" y="544"/>
                </a:lnTo>
                <a:lnTo>
                  <a:pt x="442" y="544"/>
                </a:lnTo>
                <a:lnTo>
                  <a:pt x="442" y="540"/>
                </a:lnTo>
                <a:lnTo>
                  <a:pt x="440" y="540"/>
                </a:lnTo>
                <a:lnTo>
                  <a:pt x="442" y="540"/>
                </a:lnTo>
                <a:lnTo>
                  <a:pt x="446" y="540"/>
                </a:lnTo>
                <a:lnTo>
                  <a:pt x="446" y="544"/>
                </a:lnTo>
                <a:lnTo>
                  <a:pt x="450" y="544"/>
                </a:lnTo>
                <a:lnTo>
                  <a:pt x="450" y="548"/>
                </a:lnTo>
                <a:lnTo>
                  <a:pt x="450" y="548"/>
                </a:lnTo>
                <a:lnTo>
                  <a:pt x="450" y="548"/>
                </a:lnTo>
                <a:close/>
                <a:moveTo>
                  <a:pt x="450" y="548"/>
                </a:moveTo>
                <a:lnTo>
                  <a:pt x="446" y="548"/>
                </a:lnTo>
                <a:lnTo>
                  <a:pt x="450" y="548"/>
                </a:lnTo>
                <a:lnTo>
                  <a:pt x="450" y="548"/>
                </a:lnTo>
                <a:lnTo>
                  <a:pt x="450" y="548"/>
                </a:lnTo>
                <a:close/>
                <a:moveTo>
                  <a:pt x="312" y="548"/>
                </a:moveTo>
                <a:lnTo>
                  <a:pt x="316" y="548"/>
                </a:lnTo>
                <a:lnTo>
                  <a:pt x="312" y="548"/>
                </a:lnTo>
                <a:lnTo>
                  <a:pt x="312" y="548"/>
                </a:lnTo>
                <a:lnTo>
                  <a:pt x="312" y="548"/>
                </a:lnTo>
                <a:close/>
                <a:moveTo>
                  <a:pt x="446" y="548"/>
                </a:moveTo>
                <a:lnTo>
                  <a:pt x="442" y="548"/>
                </a:lnTo>
                <a:lnTo>
                  <a:pt x="446" y="548"/>
                </a:lnTo>
                <a:lnTo>
                  <a:pt x="446" y="552"/>
                </a:lnTo>
                <a:lnTo>
                  <a:pt x="446" y="548"/>
                </a:lnTo>
                <a:lnTo>
                  <a:pt x="446" y="548"/>
                </a:lnTo>
                <a:lnTo>
                  <a:pt x="446" y="548"/>
                </a:lnTo>
                <a:close/>
                <a:moveTo>
                  <a:pt x="442" y="556"/>
                </a:moveTo>
                <a:lnTo>
                  <a:pt x="442" y="552"/>
                </a:lnTo>
                <a:lnTo>
                  <a:pt x="446" y="552"/>
                </a:lnTo>
                <a:lnTo>
                  <a:pt x="442" y="556"/>
                </a:lnTo>
                <a:lnTo>
                  <a:pt x="442" y="556"/>
                </a:lnTo>
                <a:lnTo>
                  <a:pt x="442" y="556"/>
                </a:lnTo>
                <a:close/>
                <a:moveTo>
                  <a:pt x="432" y="560"/>
                </a:moveTo>
                <a:lnTo>
                  <a:pt x="432" y="556"/>
                </a:lnTo>
                <a:lnTo>
                  <a:pt x="436" y="556"/>
                </a:lnTo>
                <a:lnTo>
                  <a:pt x="440" y="556"/>
                </a:lnTo>
                <a:lnTo>
                  <a:pt x="440" y="560"/>
                </a:lnTo>
                <a:lnTo>
                  <a:pt x="440" y="556"/>
                </a:lnTo>
                <a:lnTo>
                  <a:pt x="436" y="556"/>
                </a:lnTo>
                <a:lnTo>
                  <a:pt x="436" y="560"/>
                </a:lnTo>
                <a:lnTo>
                  <a:pt x="440" y="560"/>
                </a:lnTo>
                <a:lnTo>
                  <a:pt x="436" y="560"/>
                </a:lnTo>
                <a:lnTo>
                  <a:pt x="432" y="560"/>
                </a:lnTo>
                <a:lnTo>
                  <a:pt x="432" y="560"/>
                </a:lnTo>
                <a:lnTo>
                  <a:pt x="432" y="560"/>
                </a:lnTo>
                <a:close/>
                <a:moveTo>
                  <a:pt x="436" y="564"/>
                </a:moveTo>
                <a:lnTo>
                  <a:pt x="432" y="564"/>
                </a:lnTo>
                <a:lnTo>
                  <a:pt x="436" y="560"/>
                </a:lnTo>
                <a:lnTo>
                  <a:pt x="436" y="564"/>
                </a:lnTo>
                <a:lnTo>
                  <a:pt x="436" y="564"/>
                </a:lnTo>
                <a:lnTo>
                  <a:pt x="436" y="564"/>
                </a:lnTo>
                <a:close/>
                <a:moveTo>
                  <a:pt x="332" y="578"/>
                </a:moveTo>
                <a:lnTo>
                  <a:pt x="332" y="574"/>
                </a:lnTo>
                <a:lnTo>
                  <a:pt x="332" y="578"/>
                </a:lnTo>
                <a:lnTo>
                  <a:pt x="332" y="578"/>
                </a:lnTo>
                <a:lnTo>
                  <a:pt x="332" y="578"/>
                </a:lnTo>
                <a:close/>
                <a:moveTo>
                  <a:pt x="436" y="582"/>
                </a:moveTo>
                <a:lnTo>
                  <a:pt x="436" y="578"/>
                </a:lnTo>
                <a:lnTo>
                  <a:pt x="436" y="582"/>
                </a:lnTo>
                <a:lnTo>
                  <a:pt x="436" y="582"/>
                </a:lnTo>
                <a:lnTo>
                  <a:pt x="436" y="582"/>
                </a:lnTo>
                <a:close/>
                <a:moveTo>
                  <a:pt x="346" y="588"/>
                </a:moveTo>
                <a:lnTo>
                  <a:pt x="342" y="588"/>
                </a:lnTo>
                <a:lnTo>
                  <a:pt x="346" y="588"/>
                </a:lnTo>
                <a:lnTo>
                  <a:pt x="346" y="588"/>
                </a:lnTo>
                <a:lnTo>
                  <a:pt x="346" y="588"/>
                </a:lnTo>
                <a:close/>
                <a:moveTo>
                  <a:pt x="350" y="596"/>
                </a:moveTo>
                <a:lnTo>
                  <a:pt x="354" y="596"/>
                </a:lnTo>
                <a:lnTo>
                  <a:pt x="350" y="596"/>
                </a:lnTo>
                <a:lnTo>
                  <a:pt x="346" y="596"/>
                </a:lnTo>
                <a:lnTo>
                  <a:pt x="350" y="596"/>
                </a:lnTo>
                <a:lnTo>
                  <a:pt x="350" y="596"/>
                </a:lnTo>
                <a:lnTo>
                  <a:pt x="350" y="596"/>
                </a:lnTo>
                <a:close/>
                <a:moveTo>
                  <a:pt x="380" y="600"/>
                </a:moveTo>
                <a:lnTo>
                  <a:pt x="376" y="600"/>
                </a:lnTo>
                <a:lnTo>
                  <a:pt x="376" y="604"/>
                </a:lnTo>
                <a:lnTo>
                  <a:pt x="372" y="604"/>
                </a:lnTo>
                <a:lnTo>
                  <a:pt x="368" y="604"/>
                </a:lnTo>
                <a:lnTo>
                  <a:pt x="372" y="604"/>
                </a:lnTo>
                <a:lnTo>
                  <a:pt x="372" y="600"/>
                </a:lnTo>
                <a:lnTo>
                  <a:pt x="376" y="600"/>
                </a:lnTo>
                <a:lnTo>
                  <a:pt x="380" y="600"/>
                </a:lnTo>
                <a:lnTo>
                  <a:pt x="380" y="600"/>
                </a:lnTo>
                <a:lnTo>
                  <a:pt x="380" y="600"/>
                </a:lnTo>
                <a:close/>
                <a:moveTo>
                  <a:pt x="424" y="600"/>
                </a:moveTo>
                <a:lnTo>
                  <a:pt x="428" y="600"/>
                </a:lnTo>
                <a:lnTo>
                  <a:pt x="424" y="600"/>
                </a:lnTo>
                <a:lnTo>
                  <a:pt x="424" y="600"/>
                </a:lnTo>
                <a:lnTo>
                  <a:pt x="424" y="600"/>
                </a:lnTo>
                <a:close/>
                <a:moveTo>
                  <a:pt x="358" y="604"/>
                </a:moveTo>
                <a:lnTo>
                  <a:pt x="354" y="604"/>
                </a:lnTo>
                <a:lnTo>
                  <a:pt x="350" y="604"/>
                </a:lnTo>
                <a:lnTo>
                  <a:pt x="354" y="600"/>
                </a:lnTo>
                <a:lnTo>
                  <a:pt x="358" y="600"/>
                </a:lnTo>
                <a:lnTo>
                  <a:pt x="358" y="604"/>
                </a:lnTo>
                <a:lnTo>
                  <a:pt x="358" y="604"/>
                </a:lnTo>
                <a:lnTo>
                  <a:pt x="358" y="604"/>
                </a:lnTo>
                <a:close/>
                <a:moveTo>
                  <a:pt x="384" y="604"/>
                </a:moveTo>
                <a:lnTo>
                  <a:pt x="380" y="604"/>
                </a:lnTo>
                <a:lnTo>
                  <a:pt x="380" y="608"/>
                </a:lnTo>
                <a:lnTo>
                  <a:pt x="380" y="604"/>
                </a:lnTo>
                <a:lnTo>
                  <a:pt x="384" y="604"/>
                </a:lnTo>
                <a:lnTo>
                  <a:pt x="384" y="604"/>
                </a:lnTo>
                <a:lnTo>
                  <a:pt x="384" y="604"/>
                </a:lnTo>
                <a:close/>
                <a:moveTo>
                  <a:pt x="384" y="604"/>
                </a:moveTo>
                <a:lnTo>
                  <a:pt x="384" y="608"/>
                </a:lnTo>
                <a:lnTo>
                  <a:pt x="380" y="608"/>
                </a:lnTo>
                <a:lnTo>
                  <a:pt x="384" y="604"/>
                </a:lnTo>
                <a:lnTo>
                  <a:pt x="384" y="604"/>
                </a:lnTo>
                <a:lnTo>
                  <a:pt x="384" y="604"/>
                </a:lnTo>
                <a:close/>
                <a:moveTo>
                  <a:pt x="394" y="612"/>
                </a:moveTo>
                <a:lnTo>
                  <a:pt x="394" y="614"/>
                </a:lnTo>
                <a:lnTo>
                  <a:pt x="392" y="614"/>
                </a:lnTo>
                <a:lnTo>
                  <a:pt x="392" y="612"/>
                </a:lnTo>
                <a:lnTo>
                  <a:pt x="394" y="612"/>
                </a:lnTo>
                <a:lnTo>
                  <a:pt x="394" y="612"/>
                </a:lnTo>
                <a:lnTo>
                  <a:pt x="394" y="612"/>
                </a:lnTo>
                <a:close/>
                <a:moveTo>
                  <a:pt x="418" y="622"/>
                </a:moveTo>
                <a:lnTo>
                  <a:pt x="414" y="622"/>
                </a:lnTo>
                <a:lnTo>
                  <a:pt x="410" y="618"/>
                </a:lnTo>
                <a:lnTo>
                  <a:pt x="410" y="614"/>
                </a:lnTo>
                <a:lnTo>
                  <a:pt x="414" y="618"/>
                </a:lnTo>
                <a:lnTo>
                  <a:pt x="418" y="618"/>
                </a:lnTo>
                <a:lnTo>
                  <a:pt x="420" y="618"/>
                </a:lnTo>
                <a:lnTo>
                  <a:pt x="420" y="622"/>
                </a:lnTo>
                <a:lnTo>
                  <a:pt x="420" y="618"/>
                </a:lnTo>
                <a:lnTo>
                  <a:pt x="418" y="618"/>
                </a:lnTo>
                <a:lnTo>
                  <a:pt x="418" y="622"/>
                </a:lnTo>
                <a:lnTo>
                  <a:pt x="418" y="622"/>
                </a:lnTo>
                <a:lnTo>
                  <a:pt x="418" y="622"/>
                </a:lnTo>
                <a:close/>
                <a:moveTo>
                  <a:pt x="406" y="614"/>
                </a:moveTo>
                <a:lnTo>
                  <a:pt x="406" y="618"/>
                </a:lnTo>
                <a:lnTo>
                  <a:pt x="410" y="618"/>
                </a:lnTo>
                <a:lnTo>
                  <a:pt x="406" y="618"/>
                </a:lnTo>
                <a:lnTo>
                  <a:pt x="406" y="614"/>
                </a:lnTo>
                <a:lnTo>
                  <a:pt x="406" y="614"/>
                </a:lnTo>
                <a:lnTo>
                  <a:pt x="406" y="614"/>
                </a:lnTo>
                <a:close/>
                <a:moveTo>
                  <a:pt x="406" y="618"/>
                </a:moveTo>
                <a:lnTo>
                  <a:pt x="406" y="622"/>
                </a:lnTo>
                <a:lnTo>
                  <a:pt x="402" y="622"/>
                </a:lnTo>
                <a:lnTo>
                  <a:pt x="402" y="618"/>
                </a:lnTo>
                <a:lnTo>
                  <a:pt x="406" y="618"/>
                </a:lnTo>
                <a:lnTo>
                  <a:pt x="406" y="618"/>
                </a:lnTo>
                <a:lnTo>
                  <a:pt x="406" y="618"/>
                </a:lnTo>
                <a:close/>
                <a:moveTo>
                  <a:pt x="418" y="622"/>
                </a:moveTo>
                <a:lnTo>
                  <a:pt x="418" y="618"/>
                </a:lnTo>
                <a:lnTo>
                  <a:pt x="420" y="618"/>
                </a:lnTo>
                <a:lnTo>
                  <a:pt x="418" y="622"/>
                </a:lnTo>
                <a:lnTo>
                  <a:pt x="418" y="622"/>
                </a:lnTo>
                <a:lnTo>
                  <a:pt x="418" y="622"/>
                </a:lnTo>
                <a:close/>
                <a:moveTo>
                  <a:pt x="406" y="622"/>
                </a:moveTo>
                <a:lnTo>
                  <a:pt x="406" y="618"/>
                </a:lnTo>
                <a:lnTo>
                  <a:pt x="410" y="618"/>
                </a:lnTo>
                <a:lnTo>
                  <a:pt x="410" y="622"/>
                </a:lnTo>
                <a:lnTo>
                  <a:pt x="406" y="622"/>
                </a:lnTo>
                <a:lnTo>
                  <a:pt x="406" y="622"/>
                </a:lnTo>
                <a:lnTo>
                  <a:pt x="406" y="622"/>
                </a:lnTo>
                <a:close/>
                <a:moveTo>
                  <a:pt x="410" y="626"/>
                </a:moveTo>
                <a:lnTo>
                  <a:pt x="410" y="622"/>
                </a:lnTo>
                <a:lnTo>
                  <a:pt x="414" y="622"/>
                </a:lnTo>
                <a:lnTo>
                  <a:pt x="414" y="626"/>
                </a:lnTo>
                <a:lnTo>
                  <a:pt x="410" y="626"/>
                </a:lnTo>
                <a:lnTo>
                  <a:pt x="410" y="626"/>
                </a:lnTo>
                <a:lnTo>
                  <a:pt x="410" y="626"/>
                </a:lnTo>
                <a:close/>
                <a:moveTo>
                  <a:pt x="312" y="414"/>
                </a:moveTo>
                <a:lnTo>
                  <a:pt x="312" y="410"/>
                </a:lnTo>
                <a:lnTo>
                  <a:pt x="316" y="410"/>
                </a:lnTo>
                <a:lnTo>
                  <a:pt x="312" y="410"/>
                </a:lnTo>
                <a:lnTo>
                  <a:pt x="308" y="410"/>
                </a:lnTo>
                <a:lnTo>
                  <a:pt x="308" y="414"/>
                </a:lnTo>
                <a:lnTo>
                  <a:pt x="308" y="410"/>
                </a:lnTo>
                <a:lnTo>
                  <a:pt x="306" y="410"/>
                </a:lnTo>
                <a:lnTo>
                  <a:pt x="308" y="410"/>
                </a:lnTo>
                <a:lnTo>
                  <a:pt x="312" y="406"/>
                </a:lnTo>
                <a:lnTo>
                  <a:pt x="308" y="406"/>
                </a:lnTo>
                <a:lnTo>
                  <a:pt x="308" y="402"/>
                </a:lnTo>
                <a:lnTo>
                  <a:pt x="312" y="402"/>
                </a:lnTo>
                <a:lnTo>
                  <a:pt x="312" y="406"/>
                </a:lnTo>
                <a:lnTo>
                  <a:pt x="312" y="402"/>
                </a:lnTo>
                <a:lnTo>
                  <a:pt x="316" y="402"/>
                </a:lnTo>
                <a:lnTo>
                  <a:pt x="316" y="406"/>
                </a:lnTo>
                <a:lnTo>
                  <a:pt x="320" y="406"/>
                </a:lnTo>
                <a:lnTo>
                  <a:pt x="316" y="406"/>
                </a:lnTo>
                <a:lnTo>
                  <a:pt x="320" y="406"/>
                </a:lnTo>
                <a:lnTo>
                  <a:pt x="320" y="402"/>
                </a:lnTo>
                <a:lnTo>
                  <a:pt x="320" y="406"/>
                </a:lnTo>
                <a:lnTo>
                  <a:pt x="324" y="406"/>
                </a:lnTo>
                <a:lnTo>
                  <a:pt x="324" y="402"/>
                </a:lnTo>
                <a:lnTo>
                  <a:pt x="320" y="402"/>
                </a:lnTo>
                <a:lnTo>
                  <a:pt x="316" y="402"/>
                </a:lnTo>
                <a:lnTo>
                  <a:pt x="320" y="402"/>
                </a:lnTo>
                <a:lnTo>
                  <a:pt x="324" y="402"/>
                </a:lnTo>
                <a:lnTo>
                  <a:pt x="324" y="398"/>
                </a:lnTo>
                <a:lnTo>
                  <a:pt x="320" y="398"/>
                </a:lnTo>
                <a:lnTo>
                  <a:pt x="316" y="398"/>
                </a:lnTo>
                <a:lnTo>
                  <a:pt x="320" y="398"/>
                </a:lnTo>
                <a:lnTo>
                  <a:pt x="320" y="396"/>
                </a:lnTo>
                <a:lnTo>
                  <a:pt x="316" y="396"/>
                </a:lnTo>
                <a:lnTo>
                  <a:pt x="316" y="398"/>
                </a:lnTo>
                <a:lnTo>
                  <a:pt x="312" y="402"/>
                </a:lnTo>
                <a:lnTo>
                  <a:pt x="308" y="402"/>
                </a:lnTo>
                <a:lnTo>
                  <a:pt x="308" y="398"/>
                </a:lnTo>
                <a:lnTo>
                  <a:pt x="312" y="398"/>
                </a:lnTo>
                <a:lnTo>
                  <a:pt x="312" y="396"/>
                </a:lnTo>
                <a:lnTo>
                  <a:pt x="316" y="392"/>
                </a:lnTo>
                <a:lnTo>
                  <a:pt x="320" y="392"/>
                </a:lnTo>
                <a:lnTo>
                  <a:pt x="316" y="392"/>
                </a:lnTo>
                <a:lnTo>
                  <a:pt x="312" y="392"/>
                </a:lnTo>
                <a:lnTo>
                  <a:pt x="312" y="388"/>
                </a:lnTo>
                <a:lnTo>
                  <a:pt x="316" y="388"/>
                </a:lnTo>
                <a:lnTo>
                  <a:pt x="316" y="392"/>
                </a:lnTo>
                <a:lnTo>
                  <a:pt x="320" y="392"/>
                </a:lnTo>
                <a:lnTo>
                  <a:pt x="320" y="388"/>
                </a:lnTo>
                <a:lnTo>
                  <a:pt x="316" y="388"/>
                </a:lnTo>
                <a:lnTo>
                  <a:pt x="312" y="388"/>
                </a:lnTo>
                <a:lnTo>
                  <a:pt x="316" y="388"/>
                </a:lnTo>
                <a:lnTo>
                  <a:pt x="316" y="384"/>
                </a:lnTo>
                <a:lnTo>
                  <a:pt x="320" y="388"/>
                </a:lnTo>
                <a:lnTo>
                  <a:pt x="324" y="388"/>
                </a:lnTo>
                <a:lnTo>
                  <a:pt x="320" y="384"/>
                </a:lnTo>
                <a:lnTo>
                  <a:pt x="316" y="384"/>
                </a:lnTo>
                <a:lnTo>
                  <a:pt x="316" y="380"/>
                </a:lnTo>
                <a:lnTo>
                  <a:pt x="320" y="380"/>
                </a:lnTo>
                <a:lnTo>
                  <a:pt x="316" y="380"/>
                </a:lnTo>
                <a:lnTo>
                  <a:pt x="312" y="380"/>
                </a:lnTo>
                <a:lnTo>
                  <a:pt x="308" y="380"/>
                </a:lnTo>
                <a:lnTo>
                  <a:pt x="306" y="380"/>
                </a:lnTo>
                <a:lnTo>
                  <a:pt x="308" y="380"/>
                </a:lnTo>
                <a:lnTo>
                  <a:pt x="312" y="380"/>
                </a:lnTo>
                <a:lnTo>
                  <a:pt x="308" y="376"/>
                </a:lnTo>
                <a:lnTo>
                  <a:pt x="306" y="376"/>
                </a:lnTo>
                <a:lnTo>
                  <a:pt x="306" y="380"/>
                </a:lnTo>
                <a:lnTo>
                  <a:pt x="302" y="380"/>
                </a:lnTo>
                <a:lnTo>
                  <a:pt x="298" y="380"/>
                </a:lnTo>
                <a:lnTo>
                  <a:pt x="294" y="380"/>
                </a:lnTo>
                <a:lnTo>
                  <a:pt x="290" y="380"/>
                </a:lnTo>
                <a:lnTo>
                  <a:pt x="290" y="376"/>
                </a:lnTo>
                <a:lnTo>
                  <a:pt x="286" y="376"/>
                </a:lnTo>
                <a:lnTo>
                  <a:pt x="286" y="372"/>
                </a:lnTo>
                <a:lnTo>
                  <a:pt x="282" y="372"/>
                </a:lnTo>
                <a:lnTo>
                  <a:pt x="278" y="372"/>
                </a:lnTo>
                <a:lnTo>
                  <a:pt x="276" y="370"/>
                </a:lnTo>
                <a:lnTo>
                  <a:pt x="272" y="370"/>
                </a:lnTo>
                <a:lnTo>
                  <a:pt x="268" y="370"/>
                </a:lnTo>
                <a:lnTo>
                  <a:pt x="264" y="370"/>
                </a:lnTo>
                <a:lnTo>
                  <a:pt x="264" y="366"/>
                </a:lnTo>
                <a:lnTo>
                  <a:pt x="260" y="362"/>
                </a:lnTo>
                <a:lnTo>
                  <a:pt x="264" y="362"/>
                </a:lnTo>
                <a:lnTo>
                  <a:pt x="264" y="358"/>
                </a:lnTo>
                <a:lnTo>
                  <a:pt x="268" y="358"/>
                </a:lnTo>
                <a:lnTo>
                  <a:pt x="272" y="358"/>
                </a:lnTo>
                <a:lnTo>
                  <a:pt x="276" y="362"/>
                </a:lnTo>
                <a:lnTo>
                  <a:pt x="278" y="362"/>
                </a:lnTo>
                <a:lnTo>
                  <a:pt x="282" y="362"/>
                </a:lnTo>
                <a:lnTo>
                  <a:pt x="286" y="362"/>
                </a:lnTo>
                <a:lnTo>
                  <a:pt x="290" y="362"/>
                </a:lnTo>
                <a:lnTo>
                  <a:pt x="294" y="366"/>
                </a:lnTo>
                <a:lnTo>
                  <a:pt x="298" y="366"/>
                </a:lnTo>
                <a:lnTo>
                  <a:pt x="302" y="370"/>
                </a:lnTo>
                <a:lnTo>
                  <a:pt x="306" y="370"/>
                </a:lnTo>
                <a:lnTo>
                  <a:pt x="308" y="370"/>
                </a:lnTo>
                <a:lnTo>
                  <a:pt x="312" y="370"/>
                </a:lnTo>
                <a:lnTo>
                  <a:pt x="312" y="372"/>
                </a:lnTo>
                <a:lnTo>
                  <a:pt x="316" y="372"/>
                </a:lnTo>
                <a:lnTo>
                  <a:pt x="316" y="370"/>
                </a:lnTo>
                <a:lnTo>
                  <a:pt x="316" y="366"/>
                </a:lnTo>
                <a:lnTo>
                  <a:pt x="316" y="370"/>
                </a:lnTo>
                <a:lnTo>
                  <a:pt x="312" y="370"/>
                </a:lnTo>
                <a:lnTo>
                  <a:pt x="308" y="370"/>
                </a:lnTo>
                <a:lnTo>
                  <a:pt x="312" y="370"/>
                </a:lnTo>
                <a:lnTo>
                  <a:pt x="308" y="366"/>
                </a:lnTo>
                <a:lnTo>
                  <a:pt x="306" y="366"/>
                </a:lnTo>
                <a:lnTo>
                  <a:pt x="308" y="366"/>
                </a:lnTo>
                <a:lnTo>
                  <a:pt x="312" y="366"/>
                </a:lnTo>
                <a:lnTo>
                  <a:pt x="312" y="362"/>
                </a:lnTo>
                <a:lnTo>
                  <a:pt x="312" y="366"/>
                </a:lnTo>
                <a:lnTo>
                  <a:pt x="316" y="366"/>
                </a:lnTo>
                <a:lnTo>
                  <a:pt x="312" y="362"/>
                </a:lnTo>
                <a:lnTo>
                  <a:pt x="308" y="362"/>
                </a:lnTo>
                <a:lnTo>
                  <a:pt x="306" y="362"/>
                </a:lnTo>
                <a:lnTo>
                  <a:pt x="306" y="358"/>
                </a:lnTo>
                <a:lnTo>
                  <a:pt x="308" y="358"/>
                </a:lnTo>
                <a:lnTo>
                  <a:pt x="312" y="362"/>
                </a:lnTo>
                <a:lnTo>
                  <a:pt x="316" y="362"/>
                </a:lnTo>
                <a:lnTo>
                  <a:pt x="312" y="362"/>
                </a:lnTo>
                <a:lnTo>
                  <a:pt x="312" y="358"/>
                </a:lnTo>
                <a:lnTo>
                  <a:pt x="308" y="358"/>
                </a:lnTo>
                <a:lnTo>
                  <a:pt x="306" y="358"/>
                </a:lnTo>
                <a:lnTo>
                  <a:pt x="302" y="358"/>
                </a:lnTo>
                <a:lnTo>
                  <a:pt x="302" y="354"/>
                </a:lnTo>
                <a:lnTo>
                  <a:pt x="298" y="354"/>
                </a:lnTo>
                <a:lnTo>
                  <a:pt x="302" y="354"/>
                </a:lnTo>
                <a:lnTo>
                  <a:pt x="306" y="354"/>
                </a:lnTo>
                <a:lnTo>
                  <a:pt x="308" y="354"/>
                </a:lnTo>
                <a:lnTo>
                  <a:pt x="312" y="354"/>
                </a:lnTo>
                <a:lnTo>
                  <a:pt x="308" y="354"/>
                </a:lnTo>
                <a:lnTo>
                  <a:pt x="306" y="354"/>
                </a:lnTo>
                <a:lnTo>
                  <a:pt x="306" y="350"/>
                </a:lnTo>
                <a:lnTo>
                  <a:pt x="308" y="350"/>
                </a:lnTo>
                <a:lnTo>
                  <a:pt x="306" y="350"/>
                </a:lnTo>
                <a:lnTo>
                  <a:pt x="302" y="350"/>
                </a:lnTo>
                <a:lnTo>
                  <a:pt x="298" y="350"/>
                </a:lnTo>
                <a:lnTo>
                  <a:pt x="294" y="350"/>
                </a:lnTo>
                <a:lnTo>
                  <a:pt x="298" y="350"/>
                </a:lnTo>
                <a:lnTo>
                  <a:pt x="298" y="346"/>
                </a:lnTo>
                <a:lnTo>
                  <a:pt x="302" y="346"/>
                </a:lnTo>
                <a:lnTo>
                  <a:pt x="298" y="346"/>
                </a:lnTo>
                <a:lnTo>
                  <a:pt x="294" y="346"/>
                </a:lnTo>
                <a:lnTo>
                  <a:pt x="294" y="350"/>
                </a:lnTo>
                <a:lnTo>
                  <a:pt x="290" y="350"/>
                </a:lnTo>
                <a:lnTo>
                  <a:pt x="290" y="346"/>
                </a:lnTo>
                <a:lnTo>
                  <a:pt x="294" y="346"/>
                </a:lnTo>
                <a:lnTo>
                  <a:pt x="294" y="342"/>
                </a:lnTo>
                <a:lnTo>
                  <a:pt x="298" y="342"/>
                </a:lnTo>
                <a:lnTo>
                  <a:pt x="302" y="342"/>
                </a:lnTo>
                <a:lnTo>
                  <a:pt x="306" y="342"/>
                </a:lnTo>
                <a:lnTo>
                  <a:pt x="302" y="342"/>
                </a:lnTo>
                <a:lnTo>
                  <a:pt x="298" y="342"/>
                </a:lnTo>
                <a:lnTo>
                  <a:pt x="294" y="342"/>
                </a:lnTo>
                <a:lnTo>
                  <a:pt x="290" y="342"/>
                </a:lnTo>
                <a:lnTo>
                  <a:pt x="286" y="342"/>
                </a:lnTo>
                <a:lnTo>
                  <a:pt x="282" y="342"/>
                </a:lnTo>
                <a:lnTo>
                  <a:pt x="286" y="342"/>
                </a:lnTo>
                <a:lnTo>
                  <a:pt x="286" y="340"/>
                </a:lnTo>
                <a:lnTo>
                  <a:pt x="290" y="340"/>
                </a:lnTo>
                <a:lnTo>
                  <a:pt x="294" y="340"/>
                </a:lnTo>
                <a:lnTo>
                  <a:pt x="298" y="340"/>
                </a:lnTo>
                <a:lnTo>
                  <a:pt x="302" y="340"/>
                </a:lnTo>
                <a:lnTo>
                  <a:pt x="302" y="336"/>
                </a:lnTo>
                <a:lnTo>
                  <a:pt x="298" y="336"/>
                </a:lnTo>
                <a:lnTo>
                  <a:pt x="298" y="340"/>
                </a:lnTo>
                <a:lnTo>
                  <a:pt x="294" y="340"/>
                </a:lnTo>
                <a:lnTo>
                  <a:pt x="290" y="340"/>
                </a:lnTo>
                <a:lnTo>
                  <a:pt x="286" y="340"/>
                </a:lnTo>
                <a:lnTo>
                  <a:pt x="286" y="336"/>
                </a:lnTo>
                <a:lnTo>
                  <a:pt x="282" y="336"/>
                </a:lnTo>
                <a:lnTo>
                  <a:pt x="278" y="336"/>
                </a:lnTo>
                <a:lnTo>
                  <a:pt x="282" y="336"/>
                </a:lnTo>
                <a:lnTo>
                  <a:pt x="282" y="332"/>
                </a:lnTo>
                <a:lnTo>
                  <a:pt x="286" y="328"/>
                </a:lnTo>
                <a:lnTo>
                  <a:pt x="282" y="332"/>
                </a:lnTo>
                <a:lnTo>
                  <a:pt x="278" y="332"/>
                </a:lnTo>
                <a:lnTo>
                  <a:pt x="276" y="332"/>
                </a:lnTo>
                <a:lnTo>
                  <a:pt x="276" y="328"/>
                </a:lnTo>
                <a:lnTo>
                  <a:pt x="276" y="324"/>
                </a:lnTo>
                <a:lnTo>
                  <a:pt x="272" y="324"/>
                </a:lnTo>
                <a:lnTo>
                  <a:pt x="272" y="320"/>
                </a:lnTo>
                <a:lnTo>
                  <a:pt x="276" y="320"/>
                </a:lnTo>
                <a:lnTo>
                  <a:pt x="272" y="320"/>
                </a:lnTo>
                <a:lnTo>
                  <a:pt x="268" y="320"/>
                </a:lnTo>
                <a:lnTo>
                  <a:pt x="272" y="324"/>
                </a:lnTo>
                <a:lnTo>
                  <a:pt x="272" y="328"/>
                </a:lnTo>
                <a:lnTo>
                  <a:pt x="276" y="328"/>
                </a:lnTo>
                <a:lnTo>
                  <a:pt x="276" y="332"/>
                </a:lnTo>
                <a:lnTo>
                  <a:pt x="276" y="336"/>
                </a:lnTo>
                <a:lnTo>
                  <a:pt x="272" y="336"/>
                </a:lnTo>
                <a:lnTo>
                  <a:pt x="268" y="336"/>
                </a:lnTo>
                <a:lnTo>
                  <a:pt x="272" y="336"/>
                </a:lnTo>
                <a:lnTo>
                  <a:pt x="272" y="340"/>
                </a:lnTo>
                <a:lnTo>
                  <a:pt x="268" y="340"/>
                </a:lnTo>
                <a:lnTo>
                  <a:pt x="268" y="336"/>
                </a:lnTo>
                <a:lnTo>
                  <a:pt x="268" y="340"/>
                </a:lnTo>
                <a:lnTo>
                  <a:pt x="272" y="340"/>
                </a:lnTo>
                <a:lnTo>
                  <a:pt x="272" y="342"/>
                </a:lnTo>
                <a:lnTo>
                  <a:pt x="268" y="342"/>
                </a:lnTo>
                <a:lnTo>
                  <a:pt x="264" y="342"/>
                </a:lnTo>
                <a:lnTo>
                  <a:pt x="264" y="346"/>
                </a:lnTo>
                <a:lnTo>
                  <a:pt x="260" y="346"/>
                </a:lnTo>
                <a:lnTo>
                  <a:pt x="256" y="346"/>
                </a:lnTo>
                <a:lnTo>
                  <a:pt x="252" y="342"/>
                </a:lnTo>
                <a:lnTo>
                  <a:pt x="250" y="342"/>
                </a:lnTo>
                <a:lnTo>
                  <a:pt x="252" y="342"/>
                </a:lnTo>
                <a:lnTo>
                  <a:pt x="250" y="342"/>
                </a:lnTo>
                <a:lnTo>
                  <a:pt x="246" y="342"/>
                </a:lnTo>
                <a:lnTo>
                  <a:pt x="246" y="340"/>
                </a:lnTo>
                <a:lnTo>
                  <a:pt x="242" y="336"/>
                </a:lnTo>
                <a:lnTo>
                  <a:pt x="246" y="336"/>
                </a:lnTo>
                <a:lnTo>
                  <a:pt x="250" y="336"/>
                </a:lnTo>
                <a:lnTo>
                  <a:pt x="250" y="332"/>
                </a:lnTo>
                <a:lnTo>
                  <a:pt x="252" y="332"/>
                </a:lnTo>
                <a:lnTo>
                  <a:pt x="256" y="332"/>
                </a:lnTo>
                <a:lnTo>
                  <a:pt x="260" y="328"/>
                </a:lnTo>
                <a:lnTo>
                  <a:pt x="260" y="324"/>
                </a:lnTo>
                <a:lnTo>
                  <a:pt x="264" y="324"/>
                </a:lnTo>
                <a:lnTo>
                  <a:pt x="260" y="324"/>
                </a:lnTo>
                <a:lnTo>
                  <a:pt x="260" y="328"/>
                </a:lnTo>
                <a:lnTo>
                  <a:pt x="256" y="328"/>
                </a:lnTo>
                <a:lnTo>
                  <a:pt x="256" y="332"/>
                </a:lnTo>
                <a:lnTo>
                  <a:pt x="252" y="332"/>
                </a:lnTo>
                <a:lnTo>
                  <a:pt x="250" y="332"/>
                </a:lnTo>
                <a:lnTo>
                  <a:pt x="250" y="328"/>
                </a:lnTo>
                <a:lnTo>
                  <a:pt x="246" y="328"/>
                </a:lnTo>
                <a:lnTo>
                  <a:pt x="250" y="328"/>
                </a:lnTo>
                <a:lnTo>
                  <a:pt x="250" y="324"/>
                </a:lnTo>
                <a:lnTo>
                  <a:pt x="256" y="320"/>
                </a:lnTo>
                <a:lnTo>
                  <a:pt x="252" y="320"/>
                </a:lnTo>
                <a:lnTo>
                  <a:pt x="256" y="320"/>
                </a:lnTo>
                <a:lnTo>
                  <a:pt x="256" y="316"/>
                </a:lnTo>
                <a:lnTo>
                  <a:pt x="252" y="316"/>
                </a:lnTo>
                <a:lnTo>
                  <a:pt x="256" y="316"/>
                </a:lnTo>
                <a:lnTo>
                  <a:pt x="252" y="316"/>
                </a:lnTo>
                <a:lnTo>
                  <a:pt x="250" y="320"/>
                </a:lnTo>
                <a:lnTo>
                  <a:pt x="250" y="316"/>
                </a:lnTo>
                <a:lnTo>
                  <a:pt x="246" y="316"/>
                </a:lnTo>
                <a:lnTo>
                  <a:pt x="246" y="314"/>
                </a:lnTo>
                <a:lnTo>
                  <a:pt x="250" y="314"/>
                </a:lnTo>
                <a:lnTo>
                  <a:pt x="250" y="316"/>
                </a:lnTo>
                <a:lnTo>
                  <a:pt x="252" y="316"/>
                </a:lnTo>
                <a:lnTo>
                  <a:pt x="260" y="316"/>
                </a:lnTo>
                <a:lnTo>
                  <a:pt x="264" y="316"/>
                </a:lnTo>
                <a:lnTo>
                  <a:pt x="260" y="316"/>
                </a:lnTo>
                <a:lnTo>
                  <a:pt x="256" y="316"/>
                </a:lnTo>
                <a:lnTo>
                  <a:pt x="256" y="314"/>
                </a:lnTo>
                <a:lnTo>
                  <a:pt x="252" y="316"/>
                </a:lnTo>
                <a:lnTo>
                  <a:pt x="252" y="314"/>
                </a:lnTo>
                <a:lnTo>
                  <a:pt x="256" y="314"/>
                </a:lnTo>
                <a:lnTo>
                  <a:pt x="260" y="314"/>
                </a:lnTo>
                <a:lnTo>
                  <a:pt x="256" y="314"/>
                </a:lnTo>
                <a:lnTo>
                  <a:pt x="256" y="310"/>
                </a:lnTo>
                <a:lnTo>
                  <a:pt x="260" y="310"/>
                </a:lnTo>
                <a:lnTo>
                  <a:pt x="256" y="310"/>
                </a:lnTo>
                <a:lnTo>
                  <a:pt x="256" y="306"/>
                </a:lnTo>
                <a:lnTo>
                  <a:pt x="260" y="306"/>
                </a:lnTo>
                <a:lnTo>
                  <a:pt x="256" y="306"/>
                </a:lnTo>
                <a:lnTo>
                  <a:pt x="256" y="302"/>
                </a:lnTo>
                <a:lnTo>
                  <a:pt x="252" y="302"/>
                </a:lnTo>
                <a:lnTo>
                  <a:pt x="250" y="302"/>
                </a:lnTo>
                <a:lnTo>
                  <a:pt x="246" y="302"/>
                </a:lnTo>
                <a:lnTo>
                  <a:pt x="246" y="298"/>
                </a:lnTo>
                <a:lnTo>
                  <a:pt x="250" y="298"/>
                </a:lnTo>
                <a:lnTo>
                  <a:pt x="252" y="298"/>
                </a:lnTo>
                <a:lnTo>
                  <a:pt x="250" y="294"/>
                </a:lnTo>
                <a:lnTo>
                  <a:pt x="250" y="290"/>
                </a:lnTo>
                <a:lnTo>
                  <a:pt x="252" y="290"/>
                </a:lnTo>
                <a:lnTo>
                  <a:pt x="252" y="294"/>
                </a:lnTo>
                <a:lnTo>
                  <a:pt x="252" y="290"/>
                </a:lnTo>
                <a:lnTo>
                  <a:pt x="250" y="290"/>
                </a:lnTo>
                <a:lnTo>
                  <a:pt x="246" y="290"/>
                </a:lnTo>
                <a:lnTo>
                  <a:pt x="246" y="286"/>
                </a:lnTo>
                <a:lnTo>
                  <a:pt x="242" y="286"/>
                </a:lnTo>
                <a:lnTo>
                  <a:pt x="238" y="286"/>
                </a:lnTo>
                <a:lnTo>
                  <a:pt x="238" y="284"/>
                </a:lnTo>
                <a:lnTo>
                  <a:pt x="242" y="284"/>
                </a:lnTo>
                <a:lnTo>
                  <a:pt x="238" y="284"/>
                </a:lnTo>
                <a:lnTo>
                  <a:pt x="242" y="284"/>
                </a:lnTo>
                <a:lnTo>
                  <a:pt x="246" y="284"/>
                </a:lnTo>
                <a:lnTo>
                  <a:pt x="242" y="284"/>
                </a:lnTo>
                <a:lnTo>
                  <a:pt x="242" y="280"/>
                </a:lnTo>
                <a:lnTo>
                  <a:pt x="246" y="280"/>
                </a:lnTo>
                <a:lnTo>
                  <a:pt x="242" y="280"/>
                </a:lnTo>
                <a:lnTo>
                  <a:pt x="242" y="276"/>
                </a:lnTo>
                <a:lnTo>
                  <a:pt x="238" y="276"/>
                </a:lnTo>
                <a:lnTo>
                  <a:pt x="242" y="276"/>
                </a:lnTo>
                <a:lnTo>
                  <a:pt x="238" y="276"/>
                </a:lnTo>
                <a:lnTo>
                  <a:pt x="234" y="276"/>
                </a:lnTo>
                <a:lnTo>
                  <a:pt x="234" y="272"/>
                </a:lnTo>
                <a:lnTo>
                  <a:pt x="238" y="272"/>
                </a:lnTo>
                <a:lnTo>
                  <a:pt x="238" y="268"/>
                </a:lnTo>
                <a:lnTo>
                  <a:pt x="234" y="268"/>
                </a:lnTo>
                <a:lnTo>
                  <a:pt x="230" y="272"/>
                </a:lnTo>
                <a:lnTo>
                  <a:pt x="226" y="272"/>
                </a:lnTo>
                <a:lnTo>
                  <a:pt x="222" y="272"/>
                </a:lnTo>
                <a:lnTo>
                  <a:pt x="220" y="272"/>
                </a:lnTo>
                <a:lnTo>
                  <a:pt x="222" y="272"/>
                </a:lnTo>
                <a:lnTo>
                  <a:pt x="226" y="272"/>
                </a:lnTo>
                <a:lnTo>
                  <a:pt x="230" y="272"/>
                </a:lnTo>
                <a:lnTo>
                  <a:pt x="230" y="268"/>
                </a:lnTo>
                <a:lnTo>
                  <a:pt x="234" y="268"/>
                </a:lnTo>
                <a:lnTo>
                  <a:pt x="230" y="268"/>
                </a:lnTo>
                <a:lnTo>
                  <a:pt x="230" y="264"/>
                </a:lnTo>
                <a:lnTo>
                  <a:pt x="234" y="264"/>
                </a:lnTo>
                <a:lnTo>
                  <a:pt x="238" y="264"/>
                </a:lnTo>
                <a:lnTo>
                  <a:pt x="234" y="264"/>
                </a:lnTo>
                <a:lnTo>
                  <a:pt x="230" y="264"/>
                </a:lnTo>
                <a:lnTo>
                  <a:pt x="226" y="264"/>
                </a:lnTo>
                <a:lnTo>
                  <a:pt x="230" y="264"/>
                </a:lnTo>
                <a:lnTo>
                  <a:pt x="234" y="264"/>
                </a:lnTo>
                <a:lnTo>
                  <a:pt x="238" y="260"/>
                </a:lnTo>
                <a:lnTo>
                  <a:pt x="234" y="260"/>
                </a:lnTo>
                <a:lnTo>
                  <a:pt x="230" y="260"/>
                </a:lnTo>
                <a:lnTo>
                  <a:pt x="230" y="256"/>
                </a:lnTo>
                <a:lnTo>
                  <a:pt x="226" y="256"/>
                </a:lnTo>
                <a:lnTo>
                  <a:pt x="222" y="256"/>
                </a:lnTo>
                <a:lnTo>
                  <a:pt x="222" y="254"/>
                </a:lnTo>
                <a:lnTo>
                  <a:pt x="226" y="254"/>
                </a:lnTo>
                <a:lnTo>
                  <a:pt x="226" y="250"/>
                </a:lnTo>
                <a:lnTo>
                  <a:pt x="222" y="250"/>
                </a:lnTo>
                <a:lnTo>
                  <a:pt x="220" y="250"/>
                </a:lnTo>
                <a:lnTo>
                  <a:pt x="216" y="250"/>
                </a:lnTo>
                <a:lnTo>
                  <a:pt x="212" y="250"/>
                </a:lnTo>
                <a:lnTo>
                  <a:pt x="212" y="246"/>
                </a:lnTo>
                <a:lnTo>
                  <a:pt x="208" y="246"/>
                </a:lnTo>
                <a:lnTo>
                  <a:pt x="212" y="246"/>
                </a:lnTo>
                <a:lnTo>
                  <a:pt x="212" y="242"/>
                </a:lnTo>
                <a:lnTo>
                  <a:pt x="208" y="242"/>
                </a:lnTo>
                <a:lnTo>
                  <a:pt x="208" y="238"/>
                </a:lnTo>
                <a:lnTo>
                  <a:pt x="204" y="238"/>
                </a:lnTo>
                <a:lnTo>
                  <a:pt x="200" y="238"/>
                </a:lnTo>
                <a:lnTo>
                  <a:pt x="204" y="238"/>
                </a:lnTo>
                <a:lnTo>
                  <a:pt x="208" y="238"/>
                </a:lnTo>
                <a:lnTo>
                  <a:pt x="208" y="234"/>
                </a:lnTo>
                <a:lnTo>
                  <a:pt x="204" y="234"/>
                </a:lnTo>
                <a:lnTo>
                  <a:pt x="204" y="230"/>
                </a:lnTo>
                <a:lnTo>
                  <a:pt x="208" y="230"/>
                </a:lnTo>
                <a:lnTo>
                  <a:pt x="204" y="230"/>
                </a:lnTo>
                <a:lnTo>
                  <a:pt x="204" y="228"/>
                </a:lnTo>
                <a:lnTo>
                  <a:pt x="200" y="228"/>
                </a:lnTo>
                <a:lnTo>
                  <a:pt x="200" y="230"/>
                </a:lnTo>
                <a:lnTo>
                  <a:pt x="196" y="230"/>
                </a:lnTo>
                <a:lnTo>
                  <a:pt x="194" y="228"/>
                </a:lnTo>
                <a:lnTo>
                  <a:pt x="196" y="228"/>
                </a:lnTo>
                <a:lnTo>
                  <a:pt x="196" y="224"/>
                </a:lnTo>
                <a:lnTo>
                  <a:pt x="194" y="224"/>
                </a:lnTo>
                <a:lnTo>
                  <a:pt x="190" y="224"/>
                </a:lnTo>
                <a:lnTo>
                  <a:pt x="190" y="228"/>
                </a:lnTo>
                <a:lnTo>
                  <a:pt x="186" y="228"/>
                </a:lnTo>
                <a:lnTo>
                  <a:pt x="186" y="224"/>
                </a:lnTo>
                <a:lnTo>
                  <a:pt x="190" y="224"/>
                </a:lnTo>
                <a:lnTo>
                  <a:pt x="186" y="224"/>
                </a:lnTo>
                <a:lnTo>
                  <a:pt x="182" y="224"/>
                </a:lnTo>
                <a:lnTo>
                  <a:pt x="182" y="220"/>
                </a:lnTo>
                <a:lnTo>
                  <a:pt x="178" y="220"/>
                </a:lnTo>
                <a:lnTo>
                  <a:pt x="174" y="220"/>
                </a:lnTo>
                <a:lnTo>
                  <a:pt x="170" y="220"/>
                </a:lnTo>
                <a:lnTo>
                  <a:pt x="170" y="216"/>
                </a:lnTo>
                <a:lnTo>
                  <a:pt x="164" y="216"/>
                </a:lnTo>
                <a:lnTo>
                  <a:pt x="160" y="216"/>
                </a:lnTo>
                <a:lnTo>
                  <a:pt x="156" y="216"/>
                </a:lnTo>
                <a:lnTo>
                  <a:pt x="152" y="216"/>
                </a:lnTo>
                <a:lnTo>
                  <a:pt x="152" y="212"/>
                </a:lnTo>
                <a:lnTo>
                  <a:pt x="148" y="212"/>
                </a:lnTo>
                <a:lnTo>
                  <a:pt x="148" y="216"/>
                </a:lnTo>
                <a:lnTo>
                  <a:pt x="148" y="212"/>
                </a:lnTo>
                <a:lnTo>
                  <a:pt x="144" y="212"/>
                </a:lnTo>
                <a:lnTo>
                  <a:pt x="144" y="216"/>
                </a:lnTo>
                <a:lnTo>
                  <a:pt x="140" y="216"/>
                </a:lnTo>
                <a:lnTo>
                  <a:pt x="144" y="212"/>
                </a:lnTo>
                <a:lnTo>
                  <a:pt x="140" y="212"/>
                </a:lnTo>
                <a:lnTo>
                  <a:pt x="136" y="212"/>
                </a:lnTo>
                <a:lnTo>
                  <a:pt x="134" y="212"/>
                </a:lnTo>
                <a:lnTo>
                  <a:pt x="130" y="216"/>
                </a:lnTo>
                <a:lnTo>
                  <a:pt x="126" y="216"/>
                </a:lnTo>
                <a:lnTo>
                  <a:pt x="122" y="216"/>
                </a:lnTo>
                <a:lnTo>
                  <a:pt x="122" y="212"/>
                </a:lnTo>
                <a:lnTo>
                  <a:pt x="118" y="216"/>
                </a:lnTo>
                <a:lnTo>
                  <a:pt x="118" y="212"/>
                </a:lnTo>
                <a:lnTo>
                  <a:pt x="118" y="216"/>
                </a:lnTo>
                <a:lnTo>
                  <a:pt x="114" y="216"/>
                </a:lnTo>
                <a:lnTo>
                  <a:pt x="118" y="216"/>
                </a:lnTo>
                <a:lnTo>
                  <a:pt x="118" y="220"/>
                </a:lnTo>
                <a:lnTo>
                  <a:pt x="114" y="220"/>
                </a:lnTo>
                <a:lnTo>
                  <a:pt x="114" y="216"/>
                </a:lnTo>
                <a:lnTo>
                  <a:pt x="110" y="216"/>
                </a:lnTo>
                <a:lnTo>
                  <a:pt x="110" y="220"/>
                </a:lnTo>
                <a:lnTo>
                  <a:pt x="110" y="216"/>
                </a:lnTo>
                <a:lnTo>
                  <a:pt x="108" y="216"/>
                </a:lnTo>
                <a:lnTo>
                  <a:pt x="110" y="216"/>
                </a:lnTo>
                <a:lnTo>
                  <a:pt x="108" y="216"/>
                </a:lnTo>
                <a:lnTo>
                  <a:pt x="108" y="220"/>
                </a:lnTo>
                <a:lnTo>
                  <a:pt x="104" y="220"/>
                </a:lnTo>
                <a:lnTo>
                  <a:pt x="100" y="220"/>
                </a:lnTo>
                <a:lnTo>
                  <a:pt x="100" y="216"/>
                </a:lnTo>
                <a:lnTo>
                  <a:pt x="104" y="216"/>
                </a:lnTo>
                <a:lnTo>
                  <a:pt x="100" y="216"/>
                </a:lnTo>
                <a:lnTo>
                  <a:pt x="104" y="216"/>
                </a:lnTo>
                <a:lnTo>
                  <a:pt x="104" y="212"/>
                </a:lnTo>
                <a:lnTo>
                  <a:pt x="100" y="212"/>
                </a:lnTo>
                <a:lnTo>
                  <a:pt x="96" y="212"/>
                </a:lnTo>
                <a:lnTo>
                  <a:pt x="94" y="216"/>
                </a:lnTo>
                <a:lnTo>
                  <a:pt x="94" y="220"/>
                </a:lnTo>
                <a:lnTo>
                  <a:pt x="90" y="216"/>
                </a:lnTo>
                <a:lnTo>
                  <a:pt x="86" y="216"/>
                </a:lnTo>
                <a:lnTo>
                  <a:pt x="86" y="212"/>
                </a:lnTo>
                <a:lnTo>
                  <a:pt x="82" y="216"/>
                </a:lnTo>
                <a:lnTo>
                  <a:pt x="86" y="216"/>
                </a:lnTo>
                <a:lnTo>
                  <a:pt x="86" y="220"/>
                </a:lnTo>
                <a:lnTo>
                  <a:pt x="90" y="220"/>
                </a:lnTo>
                <a:lnTo>
                  <a:pt x="94" y="224"/>
                </a:lnTo>
                <a:lnTo>
                  <a:pt x="90" y="224"/>
                </a:lnTo>
                <a:lnTo>
                  <a:pt x="86" y="224"/>
                </a:lnTo>
                <a:lnTo>
                  <a:pt x="82" y="220"/>
                </a:lnTo>
                <a:lnTo>
                  <a:pt x="78" y="220"/>
                </a:lnTo>
                <a:lnTo>
                  <a:pt x="74" y="220"/>
                </a:lnTo>
                <a:lnTo>
                  <a:pt x="70" y="220"/>
                </a:lnTo>
                <a:lnTo>
                  <a:pt x="66" y="220"/>
                </a:lnTo>
                <a:lnTo>
                  <a:pt x="64" y="220"/>
                </a:lnTo>
                <a:lnTo>
                  <a:pt x="64" y="216"/>
                </a:lnTo>
                <a:lnTo>
                  <a:pt x="60" y="216"/>
                </a:lnTo>
                <a:lnTo>
                  <a:pt x="56" y="216"/>
                </a:lnTo>
                <a:lnTo>
                  <a:pt x="56" y="212"/>
                </a:lnTo>
                <a:lnTo>
                  <a:pt x="52" y="212"/>
                </a:lnTo>
                <a:lnTo>
                  <a:pt x="48" y="212"/>
                </a:lnTo>
                <a:lnTo>
                  <a:pt x="48" y="208"/>
                </a:lnTo>
                <a:lnTo>
                  <a:pt x="52" y="208"/>
                </a:lnTo>
                <a:lnTo>
                  <a:pt x="56" y="208"/>
                </a:lnTo>
                <a:lnTo>
                  <a:pt x="60" y="204"/>
                </a:lnTo>
                <a:lnTo>
                  <a:pt x="64" y="204"/>
                </a:lnTo>
                <a:lnTo>
                  <a:pt x="70" y="204"/>
                </a:lnTo>
                <a:lnTo>
                  <a:pt x="70" y="200"/>
                </a:lnTo>
                <a:lnTo>
                  <a:pt x="66" y="200"/>
                </a:lnTo>
                <a:lnTo>
                  <a:pt x="64" y="200"/>
                </a:lnTo>
                <a:lnTo>
                  <a:pt x="64" y="204"/>
                </a:lnTo>
                <a:lnTo>
                  <a:pt x="60" y="204"/>
                </a:lnTo>
                <a:lnTo>
                  <a:pt x="60" y="200"/>
                </a:lnTo>
                <a:lnTo>
                  <a:pt x="56" y="200"/>
                </a:lnTo>
                <a:lnTo>
                  <a:pt x="52" y="200"/>
                </a:lnTo>
                <a:lnTo>
                  <a:pt x="48" y="200"/>
                </a:lnTo>
                <a:lnTo>
                  <a:pt x="44" y="200"/>
                </a:lnTo>
                <a:lnTo>
                  <a:pt x="40" y="200"/>
                </a:lnTo>
                <a:lnTo>
                  <a:pt x="40" y="198"/>
                </a:lnTo>
                <a:lnTo>
                  <a:pt x="44" y="198"/>
                </a:lnTo>
                <a:lnTo>
                  <a:pt x="44" y="194"/>
                </a:lnTo>
                <a:lnTo>
                  <a:pt x="48" y="194"/>
                </a:lnTo>
                <a:lnTo>
                  <a:pt x="44" y="194"/>
                </a:lnTo>
                <a:lnTo>
                  <a:pt x="40" y="198"/>
                </a:lnTo>
                <a:lnTo>
                  <a:pt x="38" y="198"/>
                </a:lnTo>
                <a:lnTo>
                  <a:pt x="38" y="200"/>
                </a:lnTo>
                <a:lnTo>
                  <a:pt x="34" y="200"/>
                </a:lnTo>
                <a:lnTo>
                  <a:pt x="34" y="198"/>
                </a:lnTo>
                <a:lnTo>
                  <a:pt x="30" y="198"/>
                </a:lnTo>
                <a:lnTo>
                  <a:pt x="34" y="194"/>
                </a:lnTo>
                <a:lnTo>
                  <a:pt x="30" y="198"/>
                </a:lnTo>
                <a:lnTo>
                  <a:pt x="30" y="194"/>
                </a:lnTo>
                <a:lnTo>
                  <a:pt x="26" y="194"/>
                </a:lnTo>
                <a:lnTo>
                  <a:pt x="22" y="194"/>
                </a:lnTo>
                <a:lnTo>
                  <a:pt x="22" y="190"/>
                </a:lnTo>
                <a:lnTo>
                  <a:pt x="26" y="190"/>
                </a:lnTo>
                <a:lnTo>
                  <a:pt x="30" y="190"/>
                </a:lnTo>
                <a:lnTo>
                  <a:pt x="34" y="186"/>
                </a:lnTo>
                <a:lnTo>
                  <a:pt x="38" y="186"/>
                </a:lnTo>
                <a:lnTo>
                  <a:pt x="40" y="186"/>
                </a:lnTo>
                <a:lnTo>
                  <a:pt x="44" y="186"/>
                </a:lnTo>
                <a:lnTo>
                  <a:pt x="48" y="186"/>
                </a:lnTo>
                <a:lnTo>
                  <a:pt x="52" y="186"/>
                </a:lnTo>
                <a:lnTo>
                  <a:pt x="56" y="186"/>
                </a:lnTo>
                <a:lnTo>
                  <a:pt x="56" y="190"/>
                </a:lnTo>
                <a:lnTo>
                  <a:pt x="60" y="190"/>
                </a:lnTo>
                <a:lnTo>
                  <a:pt x="64" y="190"/>
                </a:lnTo>
                <a:lnTo>
                  <a:pt x="66" y="190"/>
                </a:lnTo>
                <a:lnTo>
                  <a:pt x="70" y="190"/>
                </a:lnTo>
                <a:lnTo>
                  <a:pt x="70" y="186"/>
                </a:lnTo>
                <a:lnTo>
                  <a:pt x="74" y="186"/>
                </a:lnTo>
                <a:lnTo>
                  <a:pt x="74" y="190"/>
                </a:lnTo>
                <a:lnTo>
                  <a:pt x="78" y="190"/>
                </a:lnTo>
                <a:lnTo>
                  <a:pt x="82" y="190"/>
                </a:lnTo>
                <a:lnTo>
                  <a:pt x="86" y="190"/>
                </a:lnTo>
                <a:lnTo>
                  <a:pt x="90" y="190"/>
                </a:lnTo>
                <a:lnTo>
                  <a:pt x="94" y="190"/>
                </a:lnTo>
                <a:lnTo>
                  <a:pt x="96" y="190"/>
                </a:lnTo>
                <a:lnTo>
                  <a:pt x="96" y="186"/>
                </a:lnTo>
                <a:lnTo>
                  <a:pt x="94" y="190"/>
                </a:lnTo>
                <a:lnTo>
                  <a:pt x="90" y="190"/>
                </a:lnTo>
                <a:lnTo>
                  <a:pt x="86" y="190"/>
                </a:lnTo>
                <a:lnTo>
                  <a:pt x="82" y="190"/>
                </a:lnTo>
                <a:lnTo>
                  <a:pt x="78" y="190"/>
                </a:lnTo>
                <a:lnTo>
                  <a:pt x="78" y="186"/>
                </a:lnTo>
                <a:lnTo>
                  <a:pt x="74" y="186"/>
                </a:lnTo>
                <a:lnTo>
                  <a:pt x="70" y="186"/>
                </a:lnTo>
                <a:lnTo>
                  <a:pt x="66" y="186"/>
                </a:lnTo>
                <a:lnTo>
                  <a:pt x="64" y="186"/>
                </a:lnTo>
                <a:lnTo>
                  <a:pt x="60" y="186"/>
                </a:lnTo>
                <a:lnTo>
                  <a:pt x="56" y="186"/>
                </a:lnTo>
                <a:lnTo>
                  <a:pt x="60" y="186"/>
                </a:lnTo>
                <a:lnTo>
                  <a:pt x="64" y="182"/>
                </a:lnTo>
                <a:lnTo>
                  <a:pt x="66" y="182"/>
                </a:lnTo>
                <a:lnTo>
                  <a:pt x="70" y="182"/>
                </a:lnTo>
                <a:lnTo>
                  <a:pt x="74" y="182"/>
                </a:lnTo>
                <a:lnTo>
                  <a:pt x="78" y="182"/>
                </a:lnTo>
                <a:lnTo>
                  <a:pt x="82" y="182"/>
                </a:lnTo>
                <a:lnTo>
                  <a:pt x="86" y="182"/>
                </a:lnTo>
                <a:lnTo>
                  <a:pt x="90" y="182"/>
                </a:lnTo>
                <a:lnTo>
                  <a:pt x="90" y="186"/>
                </a:lnTo>
                <a:lnTo>
                  <a:pt x="94" y="186"/>
                </a:lnTo>
                <a:lnTo>
                  <a:pt x="96" y="186"/>
                </a:lnTo>
                <a:lnTo>
                  <a:pt x="94" y="186"/>
                </a:lnTo>
                <a:lnTo>
                  <a:pt x="90" y="182"/>
                </a:lnTo>
                <a:lnTo>
                  <a:pt x="94" y="182"/>
                </a:lnTo>
                <a:lnTo>
                  <a:pt x="96" y="182"/>
                </a:lnTo>
                <a:lnTo>
                  <a:pt x="96" y="178"/>
                </a:lnTo>
                <a:lnTo>
                  <a:pt x="96" y="174"/>
                </a:lnTo>
                <a:lnTo>
                  <a:pt x="94" y="174"/>
                </a:lnTo>
                <a:lnTo>
                  <a:pt x="90" y="174"/>
                </a:lnTo>
                <a:lnTo>
                  <a:pt x="86" y="174"/>
                </a:lnTo>
                <a:lnTo>
                  <a:pt x="82" y="174"/>
                </a:lnTo>
                <a:lnTo>
                  <a:pt x="82" y="178"/>
                </a:lnTo>
                <a:lnTo>
                  <a:pt x="78" y="178"/>
                </a:lnTo>
                <a:lnTo>
                  <a:pt x="74" y="178"/>
                </a:lnTo>
                <a:lnTo>
                  <a:pt x="70" y="178"/>
                </a:lnTo>
                <a:lnTo>
                  <a:pt x="66" y="178"/>
                </a:lnTo>
                <a:lnTo>
                  <a:pt x="64" y="178"/>
                </a:lnTo>
                <a:lnTo>
                  <a:pt x="66" y="178"/>
                </a:lnTo>
                <a:lnTo>
                  <a:pt x="64" y="178"/>
                </a:lnTo>
                <a:lnTo>
                  <a:pt x="64" y="174"/>
                </a:lnTo>
                <a:lnTo>
                  <a:pt x="60" y="174"/>
                </a:lnTo>
                <a:lnTo>
                  <a:pt x="60" y="178"/>
                </a:lnTo>
                <a:lnTo>
                  <a:pt x="64" y="178"/>
                </a:lnTo>
                <a:lnTo>
                  <a:pt x="60" y="178"/>
                </a:lnTo>
                <a:lnTo>
                  <a:pt x="56" y="178"/>
                </a:lnTo>
                <a:lnTo>
                  <a:pt x="56" y="182"/>
                </a:lnTo>
                <a:lnTo>
                  <a:pt x="52" y="182"/>
                </a:lnTo>
                <a:lnTo>
                  <a:pt x="52" y="178"/>
                </a:lnTo>
                <a:lnTo>
                  <a:pt x="48" y="178"/>
                </a:lnTo>
                <a:lnTo>
                  <a:pt x="44" y="178"/>
                </a:lnTo>
                <a:lnTo>
                  <a:pt x="40" y="178"/>
                </a:lnTo>
                <a:lnTo>
                  <a:pt x="38" y="178"/>
                </a:lnTo>
                <a:lnTo>
                  <a:pt x="40" y="174"/>
                </a:lnTo>
                <a:lnTo>
                  <a:pt x="44" y="174"/>
                </a:lnTo>
                <a:lnTo>
                  <a:pt x="48" y="174"/>
                </a:lnTo>
                <a:lnTo>
                  <a:pt x="48" y="172"/>
                </a:lnTo>
                <a:lnTo>
                  <a:pt x="48" y="174"/>
                </a:lnTo>
                <a:lnTo>
                  <a:pt x="44" y="174"/>
                </a:lnTo>
                <a:lnTo>
                  <a:pt x="40" y="174"/>
                </a:lnTo>
                <a:lnTo>
                  <a:pt x="38" y="174"/>
                </a:lnTo>
                <a:lnTo>
                  <a:pt x="34" y="174"/>
                </a:lnTo>
                <a:lnTo>
                  <a:pt x="34" y="172"/>
                </a:lnTo>
                <a:lnTo>
                  <a:pt x="38" y="172"/>
                </a:lnTo>
                <a:lnTo>
                  <a:pt x="40" y="172"/>
                </a:lnTo>
                <a:lnTo>
                  <a:pt x="38" y="172"/>
                </a:lnTo>
                <a:lnTo>
                  <a:pt x="34" y="172"/>
                </a:lnTo>
                <a:lnTo>
                  <a:pt x="30" y="172"/>
                </a:lnTo>
                <a:lnTo>
                  <a:pt x="26" y="172"/>
                </a:lnTo>
                <a:lnTo>
                  <a:pt x="22" y="172"/>
                </a:lnTo>
                <a:lnTo>
                  <a:pt x="26" y="172"/>
                </a:lnTo>
                <a:lnTo>
                  <a:pt x="26" y="168"/>
                </a:lnTo>
                <a:lnTo>
                  <a:pt x="22" y="168"/>
                </a:lnTo>
                <a:lnTo>
                  <a:pt x="22" y="172"/>
                </a:lnTo>
                <a:lnTo>
                  <a:pt x="18" y="172"/>
                </a:lnTo>
                <a:lnTo>
                  <a:pt x="18" y="168"/>
                </a:lnTo>
                <a:lnTo>
                  <a:pt x="14" y="168"/>
                </a:lnTo>
                <a:lnTo>
                  <a:pt x="10" y="168"/>
                </a:lnTo>
                <a:lnTo>
                  <a:pt x="8" y="164"/>
                </a:lnTo>
                <a:lnTo>
                  <a:pt x="10" y="164"/>
                </a:lnTo>
                <a:lnTo>
                  <a:pt x="8" y="164"/>
                </a:lnTo>
                <a:lnTo>
                  <a:pt x="4" y="164"/>
                </a:lnTo>
                <a:lnTo>
                  <a:pt x="0" y="160"/>
                </a:lnTo>
                <a:lnTo>
                  <a:pt x="4" y="160"/>
                </a:lnTo>
                <a:lnTo>
                  <a:pt x="4" y="158"/>
                </a:lnTo>
                <a:lnTo>
                  <a:pt x="8" y="158"/>
                </a:lnTo>
                <a:lnTo>
                  <a:pt x="4" y="158"/>
                </a:lnTo>
                <a:lnTo>
                  <a:pt x="4" y="154"/>
                </a:lnTo>
                <a:lnTo>
                  <a:pt x="8" y="154"/>
                </a:lnTo>
                <a:lnTo>
                  <a:pt x="4" y="154"/>
                </a:lnTo>
                <a:lnTo>
                  <a:pt x="8" y="150"/>
                </a:lnTo>
                <a:lnTo>
                  <a:pt x="10" y="150"/>
                </a:lnTo>
                <a:lnTo>
                  <a:pt x="14" y="150"/>
                </a:lnTo>
                <a:lnTo>
                  <a:pt x="18" y="150"/>
                </a:lnTo>
                <a:lnTo>
                  <a:pt x="22" y="150"/>
                </a:lnTo>
                <a:lnTo>
                  <a:pt x="26" y="150"/>
                </a:lnTo>
                <a:lnTo>
                  <a:pt x="30" y="150"/>
                </a:lnTo>
                <a:lnTo>
                  <a:pt x="30" y="146"/>
                </a:lnTo>
                <a:lnTo>
                  <a:pt x="34" y="146"/>
                </a:lnTo>
                <a:lnTo>
                  <a:pt x="38" y="146"/>
                </a:lnTo>
                <a:lnTo>
                  <a:pt x="40" y="146"/>
                </a:lnTo>
                <a:lnTo>
                  <a:pt x="44" y="146"/>
                </a:lnTo>
                <a:lnTo>
                  <a:pt x="40" y="146"/>
                </a:lnTo>
                <a:lnTo>
                  <a:pt x="40" y="142"/>
                </a:lnTo>
                <a:lnTo>
                  <a:pt x="44" y="142"/>
                </a:lnTo>
                <a:lnTo>
                  <a:pt x="48" y="142"/>
                </a:lnTo>
                <a:lnTo>
                  <a:pt x="52" y="142"/>
                </a:lnTo>
                <a:lnTo>
                  <a:pt x="56" y="142"/>
                </a:lnTo>
                <a:lnTo>
                  <a:pt x="60" y="142"/>
                </a:lnTo>
                <a:lnTo>
                  <a:pt x="56" y="142"/>
                </a:lnTo>
                <a:lnTo>
                  <a:pt x="56" y="138"/>
                </a:lnTo>
                <a:lnTo>
                  <a:pt x="60" y="138"/>
                </a:lnTo>
                <a:lnTo>
                  <a:pt x="66" y="134"/>
                </a:lnTo>
                <a:lnTo>
                  <a:pt x="70" y="134"/>
                </a:lnTo>
                <a:lnTo>
                  <a:pt x="74" y="138"/>
                </a:lnTo>
                <a:lnTo>
                  <a:pt x="74" y="134"/>
                </a:lnTo>
                <a:lnTo>
                  <a:pt x="78" y="134"/>
                </a:lnTo>
                <a:lnTo>
                  <a:pt x="82" y="134"/>
                </a:lnTo>
                <a:lnTo>
                  <a:pt x="86" y="134"/>
                </a:lnTo>
                <a:lnTo>
                  <a:pt x="90" y="134"/>
                </a:lnTo>
                <a:lnTo>
                  <a:pt x="94" y="134"/>
                </a:lnTo>
                <a:lnTo>
                  <a:pt x="96" y="134"/>
                </a:lnTo>
                <a:lnTo>
                  <a:pt x="100" y="134"/>
                </a:lnTo>
                <a:lnTo>
                  <a:pt x="104" y="130"/>
                </a:lnTo>
                <a:lnTo>
                  <a:pt x="108" y="128"/>
                </a:lnTo>
                <a:lnTo>
                  <a:pt x="110" y="128"/>
                </a:lnTo>
                <a:lnTo>
                  <a:pt x="110" y="124"/>
                </a:lnTo>
                <a:lnTo>
                  <a:pt x="114" y="124"/>
                </a:lnTo>
                <a:lnTo>
                  <a:pt x="114" y="120"/>
                </a:lnTo>
                <a:lnTo>
                  <a:pt x="110" y="120"/>
                </a:lnTo>
                <a:lnTo>
                  <a:pt x="110" y="116"/>
                </a:lnTo>
                <a:lnTo>
                  <a:pt x="110" y="112"/>
                </a:lnTo>
                <a:lnTo>
                  <a:pt x="110" y="108"/>
                </a:lnTo>
                <a:lnTo>
                  <a:pt x="114" y="108"/>
                </a:lnTo>
                <a:lnTo>
                  <a:pt x="122" y="108"/>
                </a:lnTo>
                <a:lnTo>
                  <a:pt x="122" y="104"/>
                </a:lnTo>
                <a:lnTo>
                  <a:pt x="126" y="104"/>
                </a:lnTo>
                <a:lnTo>
                  <a:pt x="130" y="104"/>
                </a:lnTo>
                <a:lnTo>
                  <a:pt x="126" y="104"/>
                </a:lnTo>
                <a:lnTo>
                  <a:pt x="122" y="104"/>
                </a:lnTo>
                <a:lnTo>
                  <a:pt x="122" y="100"/>
                </a:lnTo>
                <a:lnTo>
                  <a:pt x="122" y="104"/>
                </a:lnTo>
                <a:lnTo>
                  <a:pt x="118" y="104"/>
                </a:lnTo>
                <a:lnTo>
                  <a:pt x="114" y="104"/>
                </a:lnTo>
                <a:lnTo>
                  <a:pt x="114" y="108"/>
                </a:lnTo>
                <a:lnTo>
                  <a:pt x="110" y="108"/>
                </a:lnTo>
                <a:lnTo>
                  <a:pt x="110" y="104"/>
                </a:lnTo>
                <a:lnTo>
                  <a:pt x="108" y="104"/>
                </a:lnTo>
                <a:lnTo>
                  <a:pt x="108" y="108"/>
                </a:lnTo>
                <a:lnTo>
                  <a:pt x="104" y="108"/>
                </a:lnTo>
                <a:lnTo>
                  <a:pt x="100" y="108"/>
                </a:lnTo>
                <a:lnTo>
                  <a:pt x="96" y="108"/>
                </a:lnTo>
                <a:lnTo>
                  <a:pt x="96" y="104"/>
                </a:lnTo>
                <a:lnTo>
                  <a:pt x="94" y="104"/>
                </a:lnTo>
                <a:lnTo>
                  <a:pt x="90" y="104"/>
                </a:lnTo>
                <a:lnTo>
                  <a:pt x="90" y="108"/>
                </a:lnTo>
                <a:lnTo>
                  <a:pt x="86" y="108"/>
                </a:lnTo>
                <a:lnTo>
                  <a:pt x="82" y="108"/>
                </a:lnTo>
                <a:lnTo>
                  <a:pt x="82" y="104"/>
                </a:lnTo>
                <a:lnTo>
                  <a:pt x="78" y="104"/>
                </a:lnTo>
                <a:lnTo>
                  <a:pt x="78" y="100"/>
                </a:lnTo>
                <a:lnTo>
                  <a:pt x="78" y="98"/>
                </a:lnTo>
                <a:lnTo>
                  <a:pt x="82" y="98"/>
                </a:lnTo>
                <a:lnTo>
                  <a:pt x="86" y="98"/>
                </a:lnTo>
                <a:lnTo>
                  <a:pt x="90" y="94"/>
                </a:lnTo>
                <a:lnTo>
                  <a:pt x="94" y="94"/>
                </a:lnTo>
                <a:lnTo>
                  <a:pt x="94" y="90"/>
                </a:lnTo>
                <a:lnTo>
                  <a:pt x="96" y="90"/>
                </a:lnTo>
                <a:lnTo>
                  <a:pt x="100" y="90"/>
                </a:lnTo>
                <a:lnTo>
                  <a:pt x="104" y="90"/>
                </a:lnTo>
                <a:lnTo>
                  <a:pt x="104" y="86"/>
                </a:lnTo>
                <a:lnTo>
                  <a:pt x="108" y="86"/>
                </a:lnTo>
                <a:lnTo>
                  <a:pt x="110" y="86"/>
                </a:lnTo>
                <a:lnTo>
                  <a:pt x="110" y="82"/>
                </a:lnTo>
                <a:lnTo>
                  <a:pt x="114" y="82"/>
                </a:lnTo>
                <a:lnTo>
                  <a:pt x="114" y="78"/>
                </a:lnTo>
                <a:lnTo>
                  <a:pt x="118" y="78"/>
                </a:lnTo>
                <a:lnTo>
                  <a:pt x="122" y="78"/>
                </a:lnTo>
                <a:lnTo>
                  <a:pt x="126" y="78"/>
                </a:lnTo>
                <a:lnTo>
                  <a:pt x="130" y="78"/>
                </a:lnTo>
                <a:lnTo>
                  <a:pt x="130" y="74"/>
                </a:lnTo>
                <a:lnTo>
                  <a:pt x="134" y="74"/>
                </a:lnTo>
                <a:lnTo>
                  <a:pt x="134" y="78"/>
                </a:lnTo>
                <a:lnTo>
                  <a:pt x="136" y="82"/>
                </a:lnTo>
                <a:lnTo>
                  <a:pt x="140" y="86"/>
                </a:lnTo>
                <a:lnTo>
                  <a:pt x="144" y="86"/>
                </a:lnTo>
                <a:lnTo>
                  <a:pt x="140" y="86"/>
                </a:lnTo>
                <a:lnTo>
                  <a:pt x="140" y="82"/>
                </a:lnTo>
                <a:lnTo>
                  <a:pt x="136" y="82"/>
                </a:lnTo>
                <a:lnTo>
                  <a:pt x="136" y="78"/>
                </a:lnTo>
                <a:lnTo>
                  <a:pt x="136" y="74"/>
                </a:lnTo>
                <a:lnTo>
                  <a:pt x="140" y="72"/>
                </a:lnTo>
                <a:lnTo>
                  <a:pt x="144" y="72"/>
                </a:lnTo>
                <a:lnTo>
                  <a:pt x="144" y="74"/>
                </a:lnTo>
                <a:lnTo>
                  <a:pt x="148" y="74"/>
                </a:lnTo>
                <a:lnTo>
                  <a:pt x="152" y="74"/>
                </a:lnTo>
                <a:lnTo>
                  <a:pt x="156" y="74"/>
                </a:lnTo>
                <a:lnTo>
                  <a:pt x="160" y="78"/>
                </a:lnTo>
                <a:lnTo>
                  <a:pt x="164" y="78"/>
                </a:lnTo>
                <a:lnTo>
                  <a:pt x="164" y="74"/>
                </a:lnTo>
                <a:lnTo>
                  <a:pt x="166" y="74"/>
                </a:lnTo>
                <a:lnTo>
                  <a:pt x="170" y="74"/>
                </a:lnTo>
                <a:lnTo>
                  <a:pt x="166" y="74"/>
                </a:lnTo>
                <a:lnTo>
                  <a:pt x="166" y="72"/>
                </a:lnTo>
                <a:lnTo>
                  <a:pt x="164" y="68"/>
                </a:lnTo>
                <a:lnTo>
                  <a:pt x="166" y="68"/>
                </a:lnTo>
                <a:lnTo>
                  <a:pt x="170" y="68"/>
                </a:lnTo>
                <a:lnTo>
                  <a:pt x="170" y="64"/>
                </a:lnTo>
                <a:lnTo>
                  <a:pt x="166" y="64"/>
                </a:lnTo>
                <a:lnTo>
                  <a:pt x="166" y="60"/>
                </a:lnTo>
                <a:lnTo>
                  <a:pt x="164" y="60"/>
                </a:lnTo>
                <a:lnTo>
                  <a:pt x="164" y="56"/>
                </a:lnTo>
                <a:lnTo>
                  <a:pt x="166" y="56"/>
                </a:lnTo>
                <a:lnTo>
                  <a:pt x="170" y="52"/>
                </a:lnTo>
                <a:lnTo>
                  <a:pt x="174" y="52"/>
                </a:lnTo>
                <a:lnTo>
                  <a:pt x="178" y="52"/>
                </a:lnTo>
                <a:lnTo>
                  <a:pt x="182" y="52"/>
                </a:lnTo>
                <a:lnTo>
                  <a:pt x="186" y="52"/>
                </a:lnTo>
                <a:lnTo>
                  <a:pt x="190" y="52"/>
                </a:lnTo>
                <a:lnTo>
                  <a:pt x="194" y="52"/>
                </a:lnTo>
                <a:lnTo>
                  <a:pt x="196" y="52"/>
                </a:lnTo>
                <a:lnTo>
                  <a:pt x="200" y="52"/>
                </a:lnTo>
                <a:lnTo>
                  <a:pt x="200" y="56"/>
                </a:lnTo>
                <a:lnTo>
                  <a:pt x="200" y="60"/>
                </a:lnTo>
                <a:lnTo>
                  <a:pt x="204" y="60"/>
                </a:lnTo>
                <a:lnTo>
                  <a:pt x="212" y="60"/>
                </a:lnTo>
                <a:lnTo>
                  <a:pt x="212" y="64"/>
                </a:lnTo>
                <a:lnTo>
                  <a:pt x="216" y="64"/>
                </a:lnTo>
                <a:lnTo>
                  <a:pt x="216" y="60"/>
                </a:lnTo>
                <a:lnTo>
                  <a:pt x="216" y="64"/>
                </a:lnTo>
                <a:lnTo>
                  <a:pt x="220" y="64"/>
                </a:lnTo>
                <a:lnTo>
                  <a:pt x="222" y="64"/>
                </a:lnTo>
                <a:lnTo>
                  <a:pt x="222" y="68"/>
                </a:lnTo>
                <a:lnTo>
                  <a:pt x="226" y="68"/>
                </a:lnTo>
                <a:lnTo>
                  <a:pt x="230" y="68"/>
                </a:lnTo>
                <a:lnTo>
                  <a:pt x="230" y="72"/>
                </a:lnTo>
                <a:lnTo>
                  <a:pt x="234" y="72"/>
                </a:lnTo>
                <a:lnTo>
                  <a:pt x="234" y="68"/>
                </a:lnTo>
                <a:lnTo>
                  <a:pt x="230" y="68"/>
                </a:lnTo>
                <a:lnTo>
                  <a:pt x="226" y="68"/>
                </a:lnTo>
                <a:lnTo>
                  <a:pt x="222" y="68"/>
                </a:lnTo>
                <a:lnTo>
                  <a:pt x="222" y="64"/>
                </a:lnTo>
                <a:lnTo>
                  <a:pt x="220" y="64"/>
                </a:lnTo>
                <a:lnTo>
                  <a:pt x="216" y="60"/>
                </a:lnTo>
                <a:lnTo>
                  <a:pt x="212" y="60"/>
                </a:lnTo>
                <a:lnTo>
                  <a:pt x="208" y="60"/>
                </a:lnTo>
                <a:lnTo>
                  <a:pt x="208" y="56"/>
                </a:lnTo>
                <a:lnTo>
                  <a:pt x="204" y="52"/>
                </a:lnTo>
                <a:lnTo>
                  <a:pt x="200" y="52"/>
                </a:lnTo>
                <a:lnTo>
                  <a:pt x="196" y="52"/>
                </a:lnTo>
                <a:lnTo>
                  <a:pt x="194" y="52"/>
                </a:lnTo>
                <a:lnTo>
                  <a:pt x="194" y="48"/>
                </a:lnTo>
                <a:lnTo>
                  <a:pt x="190" y="48"/>
                </a:lnTo>
                <a:lnTo>
                  <a:pt x="194" y="48"/>
                </a:lnTo>
                <a:lnTo>
                  <a:pt x="196" y="48"/>
                </a:lnTo>
                <a:lnTo>
                  <a:pt x="200" y="44"/>
                </a:lnTo>
                <a:lnTo>
                  <a:pt x="204" y="44"/>
                </a:lnTo>
                <a:lnTo>
                  <a:pt x="208" y="44"/>
                </a:lnTo>
                <a:lnTo>
                  <a:pt x="212" y="44"/>
                </a:lnTo>
                <a:lnTo>
                  <a:pt x="216" y="44"/>
                </a:lnTo>
                <a:lnTo>
                  <a:pt x="220" y="44"/>
                </a:lnTo>
                <a:lnTo>
                  <a:pt x="222" y="44"/>
                </a:lnTo>
                <a:lnTo>
                  <a:pt x="226" y="44"/>
                </a:lnTo>
                <a:lnTo>
                  <a:pt x="230" y="42"/>
                </a:lnTo>
                <a:lnTo>
                  <a:pt x="234" y="42"/>
                </a:lnTo>
                <a:lnTo>
                  <a:pt x="234" y="44"/>
                </a:lnTo>
                <a:lnTo>
                  <a:pt x="238" y="44"/>
                </a:lnTo>
                <a:lnTo>
                  <a:pt x="238" y="42"/>
                </a:lnTo>
                <a:lnTo>
                  <a:pt x="242" y="42"/>
                </a:lnTo>
                <a:lnTo>
                  <a:pt x="246" y="42"/>
                </a:lnTo>
                <a:lnTo>
                  <a:pt x="250" y="42"/>
                </a:lnTo>
                <a:lnTo>
                  <a:pt x="250" y="44"/>
                </a:lnTo>
                <a:lnTo>
                  <a:pt x="252" y="44"/>
                </a:lnTo>
                <a:lnTo>
                  <a:pt x="252" y="42"/>
                </a:lnTo>
                <a:lnTo>
                  <a:pt x="250" y="42"/>
                </a:lnTo>
                <a:lnTo>
                  <a:pt x="246" y="42"/>
                </a:lnTo>
                <a:lnTo>
                  <a:pt x="252" y="42"/>
                </a:lnTo>
                <a:lnTo>
                  <a:pt x="256" y="38"/>
                </a:lnTo>
                <a:lnTo>
                  <a:pt x="260" y="38"/>
                </a:lnTo>
                <a:lnTo>
                  <a:pt x="264" y="38"/>
                </a:lnTo>
                <a:lnTo>
                  <a:pt x="268" y="42"/>
                </a:lnTo>
                <a:lnTo>
                  <a:pt x="272" y="42"/>
                </a:lnTo>
                <a:lnTo>
                  <a:pt x="276" y="44"/>
                </a:lnTo>
                <a:lnTo>
                  <a:pt x="276" y="52"/>
                </a:lnTo>
                <a:lnTo>
                  <a:pt x="276" y="56"/>
                </a:lnTo>
                <a:lnTo>
                  <a:pt x="272" y="56"/>
                </a:lnTo>
                <a:lnTo>
                  <a:pt x="272" y="60"/>
                </a:lnTo>
                <a:lnTo>
                  <a:pt x="272" y="64"/>
                </a:lnTo>
                <a:lnTo>
                  <a:pt x="276" y="64"/>
                </a:lnTo>
                <a:lnTo>
                  <a:pt x="276" y="60"/>
                </a:lnTo>
                <a:lnTo>
                  <a:pt x="278" y="56"/>
                </a:lnTo>
                <a:lnTo>
                  <a:pt x="282" y="56"/>
                </a:lnTo>
                <a:lnTo>
                  <a:pt x="282" y="52"/>
                </a:lnTo>
                <a:lnTo>
                  <a:pt x="282" y="48"/>
                </a:lnTo>
                <a:lnTo>
                  <a:pt x="286" y="48"/>
                </a:lnTo>
                <a:lnTo>
                  <a:pt x="290" y="48"/>
                </a:lnTo>
                <a:lnTo>
                  <a:pt x="298" y="52"/>
                </a:lnTo>
                <a:lnTo>
                  <a:pt x="302" y="52"/>
                </a:lnTo>
                <a:lnTo>
                  <a:pt x="306" y="52"/>
                </a:lnTo>
                <a:lnTo>
                  <a:pt x="308" y="52"/>
                </a:lnTo>
                <a:lnTo>
                  <a:pt x="312" y="56"/>
                </a:lnTo>
                <a:lnTo>
                  <a:pt x="316" y="56"/>
                </a:lnTo>
                <a:lnTo>
                  <a:pt x="320" y="56"/>
                </a:lnTo>
                <a:lnTo>
                  <a:pt x="320" y="60"/>
                </a:lnTo>
                <a:lnTo>
                  <a:pt x="324" y="60"/>
                </a:lnTo>
                <a:lnTo>
                  <a:pt x="328" y="60"/>
                </a:lnTo>
                <a:lnTo>
                  <a:pt x="332" y="60"/>
                </a:lnTo>
                <a:lnTo>
                  <a:pt x="328" y="60"/>
                </a:lnTo>
                <a:lnTo>
                  <a:pt x="324" y="56"/>
                </a:lnTo>
                <a:lnTo>
                  <a:pt x="320" y="56"/>
                </a:lnTo>
                <a:lnTo>
                  <a:pt x="316" y="56"/>
                </a:lnTo>
                <a:lnTo>
                  <a:pt x="316" y="52"/>
                </a:lnTo>
                <a:lnTo>
                  <a:pt x="312" y="52"/>
                </a:lnTo>
                <a:lnTo>
                  <a:pt x="308" y="52"/>
                </a:lnTo>
                <a:lnTo>
                  <a:pt x="312" y="52"/>
                </a:lnTo>
                <a:lnTo>
                  <a:pt x="316" y="52"/>
                </a:lnTo>
                <a:lnTo>
                  <a:pt x="320" y="52"/>
                </a:lnTo>
                <a:lnTo>
                  <a:pt x="324" y="52"/>
                </a:lnTo>
                <a:lnTo>
                  <a:pt x="328" y="52"/>
                </a:lnTo>
                <a:lnTo>
                  <a:pt x="332" y="52"/>
                </a:lnTo>
                <a:lnTo>
                  <a:pt x="328" y="48"/>
                </a:lnTo>
                <a:lnTo>
                  <a:pt x="324" y="48"/>
                </a:lnTo>
                <a:lnTo>
                  <a:pt x="320" y="48"/>
                </a:lnTo>
                <a:lnTo>
                  <a:pt x="320" y="44"/>
                </a:lnTo>
                <a:lnTo>
                  <a:pt x="316" y="44"/>
                </a:lnTo>
                <a:lnTo>
                  <a:pt x="312" y="44"/>
                </a:lnTo>
                <a:lnTo>
                  <a:pt x="312" y="42"/>
                </a:lnTo>
                <a:lnTo>
                  <a:pt x="312" y="38"/>
                </a:lnTo>
                <a:lnTo>
                  <a:pt x="308" y="38"/>
                </a:lnTo>
                <a:lnTo>
                  <a:pt x="308" y="34"/>
                </a:lnTo>
                <a:lnTo>
                  <a:pt x="312" y="34"/>
                </a:lnTo>
                <a:lnTo>
                  <a:pt x="316" y="34"/>
                </a:lnTo>
                <a:lnTo>
                  <a:pt x="320" y="34"/>
                </a:lnTo>
                <a:lnTo>
                  <a:pt x="324" y="34"/>
                </a:lnTo>
                <a:lnTo>
                  <a:pt x="328" y="34"/>
                </a:lnTo>
                <a:lnTo>
                  <a:pt x="332" y="34"/>
                </a:lnTo>
                <a:lnTo>
                  <a:pt x="334" y="34"/>
                </a:lnTo>
                <a:lnTo>
                  <a:pt x="338" y="34"/>
                </a:lnTo>
                <a:lnTo>
                  <a:pt x="338" y="38"/>
                </a:lnTo>
                <a:lnTo>
                  <a:pt x="342" y="38"/>
                </a:lnTo>
                <a:lnTo>
                  <a:pt x="346" y="38"/>
                </a:lnTo>
                <a:lnTo>
                  <a:pt x="346" y="42"/>
                </a:lnTo>
                <a:lnTo>
                  <a:pt x="350" y="42"/>
                </a:lnTo>
                <a:lnTo>
                  <a:pt x="354" y="42"/>
                </a:lnTo>
                <a:lnTo>
                  <a:pt x="358" y="42"/>
                </a:lnTo>
                <a:lnTo>
                  <a:pt x="362" y="42"/>
                </a:lnTo>
                <a:lnTo>
                  <a:pt x="362" y="44"/>
                </a:lnTo>
                <a:lnTo>
                  <a:pt x="364" y="44"/>
                </a:lnTo>
                <a:lnTo>
                  <a:pt x="368" y="44"/>
                </a:lnTo>
                <a:lnTo>
                  <a:pt x="372" y="44"/>
                </a:lnTo>
                <a:lnTo>
                  <a:pt x="376" y="44"/>
                </a:lnTo>
                <a:lnTo>
                  <a:pt x="376" y="48"/>
                </a:lnTo>
                <a:lnTo>
                  <a:pt x="380" y="48"/>
                </a:lnTo>
                <a:lnTo>
                  <a:pt x="384" y="48"/>
                </a:lnTo>
                <a:lnTo>
                  <a:pt x="384" y="52"/>
                </a:lnTo>
                <a:lnTo>
                  <a:pt x="380" y="52"/>
                </a:lnTo>
                <a:lnTo>
                  <a:pt x="384" y="52"/>
                </a:lnTo>
                <a:lnTo>
                  <a:pt x="388" y="52"/>
                </a:lnTo>
                <a:lnTo>
                  <a:pt x="392" y="52"/>
                </a:lnTo>
                <a:lnTo>
                  <a:pt x="392" y="56"/>
                </a:lnTo>
                <a:lnTo>
                  <a:pt x="394" y="56"/>
                </a:lnTo>
                <a:lnTo>
                  <a:pt x="398" y="56"/>
                </a:lnTo>
                <a:lnTo>
                  <a:pt x="402" y="56"/>
                </a:lnTo>
                <a:lnTo>
                  <a:pt x="406" y="56"/>
                </a:lnTo>
                <a:lnTo>
                  <a:pt x="406" y="52"/>
                </a:lnTo>
                <a:lnTo>
                  <a:pt x="402" y="52"/>
                </a:lnTo>
                <a:lnTo>
                  <a:pt x="398" y="52"/>
                </a:lnTo>
                <a:lnTo>
                  <a:pt x="402" y="52"/>
                </a:lnTo>
                <a:lnTo>
                  <a:pt x="402" y="48"/>
                </a:lnTo>
                <a:lnTo>
                  <a:pt x="398" y="48"/>
                </a:lnTo>
                <a:lnTo>
                  <a:pt x="394" y="48"/>
                </a:lnTo>
                <a:lnTo>
                  <a:pt x="398" y="48"/>
                </a:lnTo>
                <a:lnTo>
                  <a:pt x="402" y="48"/>
                </a:lnTo>
                <a:lnTo>
                  <a:pt x="402" y="44"/>
                </a:lnTo>
                <a:lnTo>
                  <a:pt x="398" y="44"/>
                </a:lnTo>
                <a:lnTo>
                  <a:pt x="398" y="42"/>
                </a:lnTo>
                <a:lnTo>
                  <a:pt x="402" y="42"/>
                </a:lnTo>
                <a:lnTo>
                  <a:pt x="406" y="42"/>
                </a:lnTo>
                <a:lnTo>
                  <a:pt x="410" y="42"/>
                </a:lnTo>
                <a:lnTo>
                  <a:pt x="414" y="42"/>
                </a:lnTo>
                <a:lnTo>
                  <a:pt x="418" y="42"/>
                </a:lnTo>
                <a:lnTo>
                  <a:pt x="420" y="42"/>
                </a:lnTo>
                <a:lnTo>
                  <a:pt x="424" y="42"/>
                </a:lnTo>
                <a:lnTo>
                  <a:pt x="428" y="42"/>
                </a:lnTo>
                <a:lnTo>
                  <a:pt x="432" y="42"/>
                </a:lnTo>
                <a:lnTo>
                  <a:pt x="428" y="42"/>
                </a:lnTo>
                <a:lnTo>
                  <a:pt x="424" y="42"/>
                </a:lnTo>
                <a:lnTo>
                  <a:pt x="420" y="42"/>
                </a:lnTo>
                <a:lnTo>
                  <a:pt x="418" y="42"/>
                </a:lnTo>
                <a:lnTo>
                  <a:pt x="414" y="42"/>
                </a:lnTo>
                <a:lnTo>
                  <a:pt x="414" y="38"/>
                </a:lnTo>
                <a:lnTo>
                  <a:pt x="410" y="38"/>
                </a:lnTo>
                <a:lnTo>
                  <a:pt x="414" y="38"/>
                </a:lnTo>
                <a:lnTo>
                  <a:pt x="410" y="38"/>
                </a:lnTo>
                <a:lnTo>
                  <a:pt x="406" y="34"/>
                </a:lnTo>
                <a:lnTo>
                  <a:pt x="402" y="34"/>
                </a:lnTo>
                <a:lnTo>
                  <a:pt x="398" y="34"/>
                </a:lnTo>
                <a:lnTo>
                  <a:pt x="398" y="30"/>
                </a:lnTo>
                <a:lnTo>
                  <a:pt x="394" y="30"/>
                </a:lnTo>
                <a:lnTo>
                  <a:pt x="392" y="30"/>
                </a:lnTo>
                <a:lnTo>
                  <a:pt x="388" y="26"/>
                </a:lnTo>
                <a:lnTo>
                  <a:pt x="384" y="26"/>
                </a:lnTo>
                <a:lnTo>
                  <a:pt x="388" y="26"/>
                </a:lnTo>
                <a:lnTo>
                  <a:pt x="392" y="26"/>
                </a:lnTo>
                <a:lnTo>
                  <a:pt x="394" y="26"/>
                </a:lnTo>
                <a:lnTo>
                  <a:pt x="398" y="26"/>
                </a:lnTo>
                <a:lnTo>
                  <a:pt x="402" y="26"/>
                </a:lnTo>
                <a:lnTo>
                  <a:pt x="406" y="26"/>
                </a:lnTo>
                <a:lnTo>
                  <a:pt x="410" y="26"/>
                </a:lnTo>
                <a:lnTo>
                  <a:pt x="414" y="26"/>
                </a:lnTo>
                <a:lnTo>
                  <a:pt x="418" y="26"/>
                </a:lnTo>
                <a:lnTo>
                  <a:pt x="420" y="26"/>
                </a:lnTo>
                <a:lnTo>
                  <a:pt x="424" y="26"/>
                </a:lnTo>
                <a:lnTo>
                  <a:pt x="428" y="26"/>
                </a:lnTo>
                <a:lnTo>
                  <a:pt x="432" y="26"/>
                </a:lnTo>
                <a:lnTo>
                  <a:pt x="436" y="26"/>
                </a:lnTo>
                <a:lnTo>
                  <a:pt x="436" y="30"/>
                </a:lnTo>
                <a:lnTo>
                  <a:pt x="440" y="30"/>
                </a:lnTo>
                <a:lnTo>
                  <a:pt x="440" y="34"/>
                </a:lnTo>
                <a:lnTo>
                  <a:pt x="442" y="34"/>
                </a:lnTo>
                <a:lnTo>
                  <a:pt x="442" y="30"/>
                </a:lnTo>
                <a:lnTo>
                  <a:pt x="440" y="26"/>
                </a:lnTo>
                <a:lnTo>
                  <a:pt x="442" y="26"/>
                </a:lnTo>
                <a:lnTo>
                  <a:pt x="446" y="26"/>
                </a:lnTo>
                <a:lnTo>
                  <a:pt x="446" y="30"/>
                </a:lnTo>
                <a:lnTo>
                  <a:pt x="454" y="30"/>
                </a:lnTo>
                <a:lnTo>
                  <a:pt x="458" y="30"/>
                </a:lnTo>
                <a:lnTo>
                  <a:pt x="458" y="34"/>
                </a:lnTo>
                <a:lnTo>
                  <a:pt x="462" y="34"/>
                </a:lnTo>
                <a:lnTo>
                  <a:pt x="464" y="34"/>
                </a:lnTo>
                <a:lnTo>
                  <a:pt x="464" y="38"/>
                </a:lnTo>
                <a:lnTo>
                  <a:pt x="468" y="38"/>
                </a:lnTo>
                <a:lnTo>
                  <a:pt x="468" y="34"/>
                </a:lnTo>
                <a:lnTo>
                  <a:pt x="464" y="34"/>
                </a:lnTo>
                <a:lnTo>
                  <a:pt x="464" y="30"/>
                </a:lnTo>
                <a:lnTo>
                  <a:pt x="468" y="30"/>
                </a:lnTo>
                <a:lnTo>
                  <a:pt x="464" y="30"/>
                </a:lnTo>
                <a:lnTo>
                  <a:pt x="464" y="26"/>
                </a:lnTo>
                <a:lnTo>
                  <a:pt x="462" y="26"/>
                </a:lnTo>
                <a:lnTo>
                  <a:pt x="458" y="26"/>
                </a:lnTo>
                <a:lnTo>
                  <a:pt x="454" y="26"/>
                </a:lnTo>
                <a:lnTo>
                  <a:pt x="450" y="26"/>
                </a:lnTo>
                <a:lnTo>
                  <a:pt x="446" y="26"/>
                </a:lnTo>
                <a:lnTo>
                  <a:pt x="442" y="26"/>
                </a:lnTo>
                <a:lnTo>
                  <a:pt x="442" y="22"/>
                </a:lnTo>
                <a:lnTo>
                  <a:pt x="436" y="22"/>
                </a:lnTo>
                <a:lnTo>
                  <a:pt x="432" y="22"/>
                </a:lnTo>
                <a:lnTo>
                  <a:pt x="428" y="22"/>
                </a:lnTo>
                <a:lnTo>
                  <a:pt x="424" y="22"/>
                </a:lnTo>
                <a:lnTo>
                  <a:pt x="418" y="22"/>
                </a:lnTo>
                <a:lnTo>
                  <a:pt x="414" y="22"/>
                </a:lnTo>
                <a:lnTo>
                  <a:pt x="410" y="22"/>
                </a:lnTo>
                <a:lnTo>
                  <a:pt x="406" y="22"/>
                </a:lnTo>
                <a:lnTo>
                  <a:pt x="402" y="22"/>
                </a:lnTo>
                <a:lnTo>
                  <a:pt x="398" y="22"/>
                </a:lnTo>
                <a:lnTo>
                  <a:pt x="394" y="22"/>
                </a:lnTo>
                <a:lnTo>
                  <a:pt x="398" y="22"/>
                </a:lnTo>
                <a:lnTo>
                  <a:pt x="394" y="22"/>
                </a:lnTo>
                <a:lnTo>
                  <a:pt x="392" y="22"/>
                </a:lnTo>
                <a:lnTo>
                  <a:pt x="388" y="22"/>
                </a:lnTo>
                <a:lnTo>
                  <a:pt x="384" y="22"/>
                </a:lnTo>
                <a:lnTo>
                  <a:pt x="380" y="22"/>
                </a:lnTo>
                <a:lnTo>
                  <a:pt x="376" y="22"/>
                </a:lnTo>
                <a:lnTo>
                  <a:pt x="372" y="22"/>
                </a:lnTo>
                <a:lnTo>
                  <a:pt x="368" y="18"/>
                </a:lnTo>
                <a:lnTo>
                  <a:pt x="376" y="18"/>
                </a:lnTo>
                <a:lnTo>
                  <a:pt x="380" y="22"/>
                </a:lnTo>
                <a:lnTo>
                  <a:pt x="380" y="18"/>
                </a:lnTo>
                <a:lnTo>
                  <a:pt x="376" y="18"/>
                </a:lnTo>
                <a:lnTo>
                  <a:pt x="372" y="18"/>
                </a:lnTo>
                <a:lnTo>
                  <a:pt x="376" y="18"/>
                </a:lnTo>
                <a:lnTo>
                  <a:pt x="380" y="18"/>
                </a:lnTo>
                <a:lnTo>
                  <a:pt x="380" y="16"/>
                </a:lnTo>
                <a:lnTo>
                  <a:pt x="384" y="16"/>
                </a:lnTo>
                <a:lnTo>
                  <a:pt x="384" y="18"/>
                </a:lnTo>
                <a:lnTo>
                  <a:pt x="388" y="18"/>
                </a:lnTo>
                <a:lnTo>
                  <a:pt x="392" y="18"/>
                </a:lnTo>
                <a:lnTo>
                  <a:pt x="394" y="18"/>
                </a:lnTo>
                <a:lnTo>
                  <a:pt x="394" y="22"/>
                </a:lnTo>
                <a:lnTo>
                  <a:pt x="398" y="22"/>
                </a:lnTo>
                <a:lnTo>
                  <a:pt x="398" y="18"/>
                </a:lnTo>
                <a:lnTo>
                  <a:pt x="402" y="18"/>
                </a:lnTo>
                <a:lnTo>
                  <a:pt x="402" y="22"/>
                </a:lnTo>
                <a:lnTo>
                  <a:pt x="410" y="22"/>
                </a:lnTo>
                <a:lnTo>
                  <a:pt x="414" y="22"/>
                </a:lnTo>
                <a:lnTo>
                  <a:pt x="418" y="22"/>
                </a:lnTo>
                <a:lnTo>
                  <a:pt x="414" y="22"/>
                </a:lnTo>
                <a:lnTo>
                  <a:pt x="410" y="22"/>
                </a:lnTo>
                <a:lnTo>
                  <a:pt x="406" y="22"/>
                </a:lnTo>
                <a:lnTo>
                  <a:pt x="406" y="18"/>
                </a:lnTo>
                <a:lnTo>
                  <a:pt x="402" y="18"/>
                </a:lnTo>
                <a:lnTo>
                  <a:pt x="398" y="18"/>
                </a:lnTo>
                <a:lnTo>
                  <a:pt x="394" y="18"/>
                </a:lnTo>
                <a:lnTo>
                  <a:pt x="392" y="18"/>
                </a:lnTo>
                <a:lnTo>
                  <a:pt x="388" y="16"/>
                </a:lnTo>
                <a:lnTo>
                  <a:pt x="392" y="16"/>
                </a:lnTo>
                <a:lnTo>
                  <a:pt x="394" y="16"/>
                </a:lnTo>
                <a:lnTo>
                  <a:pt x="398" y="16"/>
                </a:lnTo>
                <a:lnTo>
                  <a:pt x="402" y="16"/>
                </a:lnTo>
                <a:lnTo>
                  <a:pt x="406" y="16"/>
                </a:lnTo>
                <a:lnTo>
                  <a:pt x="410" y="16"/>
                </a:lnTo>
                <a:lnTo>
                  <a:pt x="414" y="16"/>
                </a:lnTo>
                <a:lnTo>
                  <a:pt x="418" y="16"/>
                </a:lnTo>
                <a:lnTo>
                  <a:pt x="420" y="16"/>
                </a:lnTo>
                <a:lnTo>
                  <a:pt x="424" y="16"/>
                </a:lnTo>
                <a:lnTo>
                  <a:pt x="420" y="16"/>
                </a:lnTo>
                <a:lnTo>
                  <a:pt x="418" y="16"/>
                </a:lnTo>
                <a:lnTo>
                  <a:pt x="414" y="16"/>
                </a:lnTo>
                <a:lnTo>
                  <a:pt x="410" y="16"/>
                </a:lnTo>
                <a:lnTo>
                  <a:pt x="410" y="12"/>
                </a:lnTo>
                <a:lnTo>
                  <a:pt x="414" y="12"/>
                </a:lnTo>
                <a:lnTo>
                  <a:pt x="418" y="12"/>
                </a:lnTo>
                <a:lnTo>
                  <a:pt x="420" y="12"/>
                </a:lnTo>
                <a:lnTo>
                  <a:pt x="424" y="12"/>
                </a:lnTo>
                <a:lnTo>
                  <a:pt x="420" y="12"/>
                </a:lnTo>
                <a:lnTo>
                  <a:pt x="424" y="12"/>
                </a:lnTo>
                <a:lnTo>
                  <a:pt x="428" y="12"/>
                </a:lnTo>
                <a:lnTo>
                  <a:pt x="432" y="12"/>
                </a:lnTo>
                <a:lnTo>
                  <a:pt x="436" y="12"/>
                </a:lnTo>
                <a:lnTo>
                  <a:pt x="440" y="12"/>
                </a:lnTo>
                <a:lnTo>
                  <a:pt x="442" y="16"/>
                </a:lnTo>
                <a:lnTo>
                  <a:pt x="440" y="16"/>
                </a:lnTo>
                <a:lnTo>
                  <a:pt x="442" y="16"/>
                </a:lnTo>
                <a:lnTo>
                  <a:pt x="446" y="16"/>
                </a:lnTo>
                <a:lnTo>
                  <a:pt x="450" y="16"/>
                </a:lnTo>
                <a:lnTo>
                  <a:pt x="450" y="18"/>
                </a:lnTo>
                <a:lnTo>
                  <a:pt x="454" y="18"/>
                </a:lnTo>
                <a:lnTo>
                  <a:pt x="458" y="18"/>
                </a:lnTo>
                <a:lnTo>
                  <a:pt x="464" y="18"/>
                </a:lnTo>
                <a:lnTo>
                  <a:pt x="468" y="18"/>
                </a:lnTo>
                <a:lnTo>
                  <a:pt x="472" y="18"/>
                </a:lnTo>
                <a:lnTo>
                  <a:pt x="480" y="22"/>
                </a:lnTo>
                <a:lnTo>
                  <a:pt x="480" y="26"/>
                </a:lnTo>
                <a:lnTo>
                  <a:pt x="484" y="26"/>
                </a:lnTo>
                <a:lnTo>
                  <a:pt x="488" y="26"/>
                </a:lnTo>
                <a:lnTo>
                  <a:pt x="484" y="26"/>
                </a:lnTo>
                <a:lnTo>
                  <a:pt x="484" y="22"/>
                </a:lnTo>
                <a:lnTo>
                  <a:pt x="480" y="22"/>
                </a:lnTo>
                <a:lnTo>
                  <a:pt x="476" y="18"/>
                </a:lnTo>
                <a:lnTo>
                  <a:pt x="480" y="18"/>
                </a:lnTo>
                <a:lnTo>
                  <a:pt x="484" y="18"/>
                </a:lnTo>
                <a:lnTo>
                  <a:pt x="488" y="18"/>
                </a:lnTo>
                <a:lnTo>
                  <a:pt x="490" y="18"/>
                </a:lnTo>
                <a:lnTo>
                  <a:pt x="498" y="18"/>
                </a:lnTo>
                <a:lnTo>
                  <a:pt x="502" y="18"/>
                </a:lnTo>
                <a:lnTo>
                  <a:pt x="506" y="18"/>
                </a:lnTo>
                <a:lnTo>
                  <a:pt x="502" y="18"/>
                </a:lnTo>
                <a:lnTo>
                  <a:pt x="498" y="18"/>
                </a:lnTo>
                <a:lnTo>
                  <a:pt x="490" y="18"/>
                </a:lnTo>
                <a:lnTo>
                  <a:pt x="488" y="18"/>
                </a:lnTo>
                <a:lnTo>
                  <a:pt x="484" y="18"/>
                </a:lnTo>
                <a:lnTo>
                  <a:pt x="484" y="16"/>
                </a:lnTo>
                <a:lnTo>
                  <a:pt x="488" y="16"/>
                </a:lnTo>
                <a:lnTo>
                  <a:pt x="490" y="16"/>
                </a:lnTo>
                <a:lnTo>
                  <a:pt x="494" y="16"/>
                </a:lnTo>
                <a:lnTo>
                  <a:pt x="498" y="16"/>
                </a:lnTo>
                <a:lnTo>
                  <a:pt x="502" y="16"/>
                </a:lnTo>
                <a:lnTo>
                  <a:pt x="506" y="16"/>
                </a:lnTo>
                <a:lnTo>
                  <a:pt x="510" y="16"/>
                </a:lnTo>
                <a:lnTo>
                  <a:pt x="506" y="16"/>
                </a:lnTo>
                <a:lnTo>
                  <a:pt x="502" y="16"/>
                </a:lnTo>
                <a:lnTo>
                  <a:pt x="498" y="16"/>
                </a:lnTo>
                <a:lnTo>
                  <a:pt x="494" y="12"/>
                </a:lnTo>
                <a:lnTo>
                  <a:pt x="490" y="12"/>
                </a:lnTo>
                <a:lnTo>
                  <a:pt x="488" y="12"/>
                </a:lnTo>
                <a:lnTo>
                  <a:pt x="484" y="12"/>
                </a:lnTo>
                <a:lnTo>
                  <a:pt x="484" y="8"/>
                </a:lnTo>
                <a:lnTo>
                  <a:pt x="488" y="8"/>
                </a:lnTo>
                <a:lnTo>
                  <a:pt x="490" y="8"/>
                </a:lnTo>
                <a:lnTo>
                  <a:pt x="494" y="8"/>
                </a:lnTo>
                <a:lnTo>
                  <a:pt x="498" y="8"/>
                </a:lnTo>
                <a:lnTo>
                  <a:pt x="494" y="8"/>
                </a:lnTo>
                <a:lnTo>
                  <a:pt x="494" y="4"/>
                </a:lnTo>
                <a:lnTo>
                  <a:pt x="498" y="4"/>
                </a:lnTo>
                <a:lnTo>
                  <a:pt x="502" y="4"/>
                </a:lnTo>
                <a:lnTo>
                  <a:pt x="506" y="4"/>
                </a:lnTo>
                <a:lnTo>
                  <a:pt x="510" y="8"/>
                </a:lnTo>
                <a:lnTo>
                  <a:pt x="514" y="8"/>
                </a:lnTo>
                <a:lnTo>
                  <a:pt x="518" y="8"/>
                </a:lnTo>
                <a:lnTo>
                  <a:pt x="514" y="8"/>
                </a:lnTo>
                <a:lnTo>
                  <a:pt x="514" y="4"/>
                </a:lnTo>
                <a:lnTo>
                  <a:pt x="510" y="4"/>
                </a:lnTo>
                <a:lnTo>
                  <a:pt x="514" y="4"/>
                </a:lnTo>
                <a:lnTo>
                  <a:pt x="518" y="4"/>
                </a:lnTo>
                <a:lnTo>
                  <a:pt x="520" y="4"/>
                </a:lnTo>
                <a:lnTo>
                  <a:pt x="524" y="4"/>
                </a:lnTo>
                <a:lnTo>
                  <a:pt x="528" y="4"/>
                </a:lnTo>
                <a:lnTo>
                  <a:pt x="532" y="4"/>
                </a:lnTo>
                <a:lnTo>
                  <a:pt x="536" y="0"/>
                </a:lnTo>
                <a:lnTo>
                  <a:pt x="540" y="0"/>
                </a:lnTo>
                <a:lnTo>
                  <a:pt x="544" y="0"/>
                </a:lnTo>
                <a:lnTo>
                  <a:pt x="544" y="4"/>
                </a:lnTo>
                <a:lnTo>
                  <a:pt x="544" y="0"/>
                </a:lnTo>
                <a:lnTo>
                  <a:pt x="546" y="0"/>
                </a:lnTo>
                <a:lnTo>
                  <a:pt x="546" y="4"/>
                </a:lnTo>
                <a:lnTo>
                  <a:pt x="550" y="4"/>
                </a:lnTo>
                <a:lnTo>
                  <a:pt x="554" y="4"/>
                </a:lnTo>
                <a:lnTo>
                  <a:pt x="550" y="4"/>
                </a:lnTo>
                <a:lnTo>
                  <a:pt x="550" y="0"/>
                </a:lnTo>
                <a:lnTo>
                  <a:pt x="554" y="0"/>
                </a:lnTo>
                <a:lnTo>
                  <a:pt x="558" y="0"/>
                </a:lnTo>
                <a:lnTo>
                  <a:pt x="562" y="0"/>
                </a:lnTo>
                <a:lnTo>
                  <a:pt x="566" y="0"/>
                </a:lnTo>
                <a:lnTo>
                  <a:pt x="570" y="0"/>
                </a:lnTo>
                <a:lnTo>
                  <a:pt x="574" y="0"/>
                </a:lnTo>
                <a:lnTo>
                  <a:pt x="576" y="0"/>
                </a:lnTo>
                <a:lnTo>
                  <a:pt x="574" y="0"/>
                </a:lnTo>
                <a:lnTo>
                  <a:pt x="576" y="0"/>
                </a:lnTo>
                <a:lnTo>
                  <a:pt x="580" y="0"/>
                </a:lnTo>
                <a:lnTo>
                  <a:pt x="584" y="0"/>
                </a:lnTo>
                <a:lnTo>
                  <a:pt x="588" y="0"/>
                </a:lnTo>
                <a:lnTo>
                  <a:pt x="592" y="0"/>
                </a:lnTo>
                <a:lnTo>
                  <a:pt x="596" y="0"/>
                </a:lnTo>
                <a:lnTo>
                  <a:pt x="600" y="0"/>
                </a:lnTo>
                <a:lnTo>
                  <a:pt x="604" y="0"/>
                </a:lnTo>
                <a:lnTo>
                  <a:pt x="610" y="0"/>
                </a:lnTo>
                <a:lnTo>
                  <a:pt x="614" y="4"/>
                </a:lnTo>
                <a:lnTo>
                  <a:pt x="618" y="4"/>
                </a:lnTo>
                <a:lnTo>
                  <a:pt x="622" y="4"/>
                </a:lnTo>
                <a:lnTo>
                  <a:pt x="626" y="4"/>
                </a:lnTo>
                <a:lnTo>
                  <a:pt x="630" y="4"/>
                </a:lnTo>
                <a:lnTo>
                  <a:pt x="626" y="4"/>
                </a:lnTo>
                <a:lnTo>
                  <a:pt x="622" y="4"/>
                </a:lnTo>
                <a:lnTo>
                  <a:pt x="626" y="8"/>
                </a:lnTo>
                <a:lnTo>
                  <a:pt x="630" y="8"/>
                </a:lnTo>
                <a:lnTo>
                  <a:pt x="632" y="8"/>
                </a:lnTo>
                <a:lnTo>
                  <a:pt x="630" y="4"/>
                </a:lnTo>
                <a:lnTo>
                  <a:pt x="632" y="4"/>
                </a:lnTo>
                <a:lnTo>
                  <a:pt x="636" y="4"/>
                </a:lnTo>
                <a:lnTo>
                  <a:pt x="640" y="4"/>
                </a:lnTo>
                <a:lnTo>
                  <a:pt x="644" y="4"/>
                </a:lnTo>
                <a:lnTo>
                  <a:pt x="648" y="4"/>
                </a:lnTo>
                <a:lnTo>
                  <a:pt x="652" y="8"/>
                </a:lnTo>
                <a:lnTo>
                  <a:pt x="660" y="8"/>
                </a:lnTo>
                <a:lnTo>
                  <a:pt x="662" y="8"/>
                </a:lnTo>
                <a:lnTo>
                  <a:pt x="666" y="8"/>
                </a:lnTo>
                <a:lnTo>
                  <a:pt x="670" y="12"/>
                </a:lnTo>
                <a:lnTo>
                  <a:pt x="666" y="12"/>
                </a:lnTo>
                <a:lnTo>
                  <a:pt x="662" y="12"/>
                </a:lnTo>
                <a:lnTo>
                  <a:pt x="660" y="12"/>
                </a:lnTo>
                <a:lnTo>
                  <a:pt x="656" y="16"/>
                </a:lnTo>
                <a:lnTo>
                  <a:pt x="652" y="16"/>
                </a:lnTo>
                <a:lnTo>
                  <a:pt x="648" y="16"/>
                </a:lnTo>
                <a:lnTo>
                  <a:pt x="644" y="16"/>
                </a:lnTo>
                <a:lnTo>
                  <a:pt x="640" y="16"/>
                </a:lnTo>
                <a:lnTo>
                  <a:pt x="636" y="16"/>
                </a:lnTo>
                <a:lnTo>
                  <a:pt x="632" y="16"/>
                </a:lnTo>
                <a:lnTo>
                  <a:pt x="630" y="16"/>
                </a:lnTo>
                <a:lnTo>
                  <a:pt x="626" y="16"/>
                </a:lnTo>
                <a:lnTo>
                  <a:pt x="618" y="16"/>
                </a:lnTo>
                <a:lnTo>
                  <a:pt x="614" y="16"/>
                </a:lnTo>
                <a:lnTo>
                  <a:pt x="610" y="16"/>
                </a:lnTo>
                <a:lnTo>
                  <a:pt x="606" y="16"/>
                </a:lnTo>
                <a:lnTo>
                  <a:pt x="604" y="16"/>
                </a:lnTo>
                <a:lnTo>
                  <a:pt x="600" y="16"/>
                </a:lnTo>
                <a:lnTo>
                  <a:pt x="596" y="16"/>
                </a:lnTo>
                <a:lnTo>
                  <a:pt x="592" y="16"/>
                </a:lnTo>
                <a:lnTo>
                  <a:pt x="588" y="16"/>
                </a:lnTo>
                <a:lnTo>
                  <a:pt x="584" y="16"/>
                </a:lnTo>
                <a:lnTo>
                  <a:pt x="584" y="18"/>
                </a:lnTo>
                <a:lnTo>
                  <a:pt x="580" y="18"/>
                </a:lnTo>
                <a:lnTo>
                  <a:pt x="576" y="18"/>
                </a:lnTo>
                <a:lnTo>
                  <a:pt x="574" y="16"/>
                </a:lnTo>
                <a:lnTo>
                  <a:pt x="570" y="16"/>
                </a:lnTo>
                <a:lnTo>
                  <a:pt x="562" y="16"/>
                </a:lnTo>
                <a:lnTo>
                  <a:pt x="558" y="16"/>
                </a:lnTo>
                <a:lnTo>
                  <a:pt x="562" y="16"/>
                </a:lnTo>
                <a:lnTo>
                  <a:pt x="566" y="16"/>
                </a:lnTo>
                <a:lnTo>
                  <a:pt x="570" y="16"/>
                </a:lnTo>
                <a:lnTo>
                  <a:pt x="574" y="18"/>
                </a:lnTo>
                <a:lnTo>
                  <a:pt x="570" y="18"/>
                </a:lnTo>
                <a:lnTo>
                  <a:pt x="566" y="18"/>
                </a:lnTo>
                <a:lnTo>
                  <a:pt x="562" y="18"/>
                </a:lnTo>
                <a:lnTo>
                  <a:pt x="558" y="18"/>
                </a:lnTo>
                <a:lnTo>
                  <a:pt x="554" y="18"/>
                </a:lnTo>
                <a:lnTo>
                  <a:pt x="550" y="22"/>
                </a:lnTo>
                <a:lnTo>
                  <a:pt x="546" y="22"/>
                </a:lnTo>
                <a:lnTo>
                  <a:pt x="544" y="22"/>
                </a:lnTo>
                <a:lnTo>
                  <a:pt x="540" y="22"/>
                </a:lnTo>
                <a:lnTo>
                  <a:pt x="536" y="22"/>
                </a:lnTo>
                <a:lnTo>
                  <a:pt x="532" y="22"/>
                </a:lnTo>
                <a:lnTo>
                  <a:pt x="528" y="22"/>
                </a:lnTo>
                <a:lnTo>
                  <a:pt x="532" y="22"/>
                </a:lnTo>
                <a:lnTo>
                  <a:pt x="528" y="26"/>
                </a:lnTo>
                <a:lnTo>
                  <a:pt x="532" y="26"/>
                </a:lnTo>
                <a:lnTo>
                  <a:pt x="532" y="22"/>
                </a:lnTo>
                <a:lnTo>
                  <a:pt x="536" y="22"/>
                </a:lnTo>
                <a:lnTo>
                  <a:pt x="540" y="22"/>
                </a:lnTo>
                <a:lnTo>
                  <a:pt x="544" y="22"/>
                </a:lnTo>
                <a:lnTo>
                  <a:pt x="546" y="22"/>
                </a:lnTo>
                <a:lnTo>
                  <a:pt x="550" y="22"/>
                </a:lnTo>
                <a:lnTo>
                  <a:pt x="554" y="22"/>
                </a:lnTo>
                <a:lnTo>
                  <a:pt x="554" y="26"/>
                </a:lnTo>
                <a:lnTo>
                  <a:pt x="550" y="26"/>
                </a:lnTo>
                <a:lnTo>
                  <a:pt x="554" y="26"/>
                </a:lnTo>
                <a:lnTo>
                  <a:pt x="554" y="22"/>
                </a:lnTo>
                <a:lnTo>
                  <a:pt x="558" y="22"/>
                </a:lnTo>
                <a:lnTo>
                  <a:pt x="558" y="18"/>
                </a:lnTo>
                <a:lnTo>
                  <a:pt x="562" y="18"/>
                </a:lnTo>
                <a:lnTo>
                  <a:pt x="566" y="18"/>
                </a:lnTo>
                <a:lnTo>
                  <a:pt x="574" y="18"/>
                </a:lnTo>
                <a:lnTo>
                  <a:pt x="576" y="18"/>
                </a:lnTo>
                <a:lnTo>
                  <a:pt x="580" y="18"/>
                </a:lnTo>
                <a:lnTo>
                  <a:pt x="584" y="18"/>
                </a:lnTo>
                <a:lnTo>
                  <a:pt x="584" y="22"/>
                </a:lnTo>
                <a:lnTo>
                  <a:pt x="584" y="18"/>
                </a:lnTo>
                <a:lnTo>
                  <a:pt x="588" y="18"/>
                </a:lnTo>
                <a:lnTo>
                  <a:pt x="592" y="18"/>
                </a:lnTo>
                <a:lnTo>
                  <a:pt x="596" y="18"/>
                </a:lnTo>
                <a:lnTo>
                  <a:pt x="596" y="16"/>
                </a:lnTo>
                <a:lnTo>
                  <a:pt x="600" y="16"/>
                </a:lnTo>
                <a:lnTo>
                  <a:pt x="604" y="16"/>
                </a:lnTo>
                <a:lnTo>
                  <a:pt x="606" y="16"/>
                </a:lnTo>
                <a:lnTo>
                  <a:pt x="610" y="16"/>
                </a:lnTo>
                <a:lnTo>
                  <a:pt x="614" y="16"/>
                </a:lnTo>
                <a:lnTo>
                  <a:pt x="618" y="16"/>
                </a:lnTo>
                <a:lnTo>
                  <a:pt x="622" y="16"/>
                </a:lnTo>
                <a:lnTo>
                  <a:pt x="626" y="16"/>
                </a:lnTo>
                <a:lnTo>
                  <a:pt x="630" y="16"/>
                </a:lnTo>
                <a:lnTo>
                  <a:pt x="632" y="18"/>
                </a:lnTo>
                <a:lnTo>
                  <a:pt x="636" y="18"/>
                </a:lnTo>
                <a:lnTo>
                  <a:pt x="636" y="16"/>
                </a:lnTo>
                <a:lnTo>
                  <a:pt x="640" y="18"/>
                </a:lnTo>
                <a:lnTo>
                  <a:pt x="648" y="18"/>
                </a:lnTo>
                <a:lnTo>
                  <a:pt x="656" y="18"/>
                </a:lnTo>
                <a:lnTo>
                  <a:pt x="656" y="16"/>
                </a:lnTo>
                <a:lnTo>
                  <a:pt x="660" y="16"/>
                </a:lnTo>
                <a:lnTo>
                  <a:pt x="662" y="16"/>
                </a:lnTo>
                <a:lnTo>
                  <a:pt x="666" y="16"/>
                </a:lnTo>
                <a:lnTo>
                  <a:pt x="670" y="16"/>
                </a:lnTo>
                <a:lnTo>
                  <a:pt x="674" y="16"/>
                </a:lnTo>
                <a:lnTo>
                  <a:pt x="678" y="16"/>
                </a:lnTo>
                <a:lnTo>
                  <a:pt x="682" y="16"/>
                </a:lnTo>
                <a:lnTo>
                  <a:pt x="678" y="16"/>
                </a:lnTo>
                <a:lnTo>
                  <a:pt x="678" y="18"/>
                </a:lnTo>
                <a:lnTo>
                  <a:pt x="682" y="18"/>
                </a:lnTo>
                <a:lnTo>
                  <a:pt x="678" y="22"/>
                </a:lnTo>
                <a:lnTo>
                  <a:pt x="674" y="22"/>
                </a:lnTo>
                <a:lnTo>
                  <a:pt x="670" y="26"/>
                </a:lnTo>
                <a:lnTo>
                  <a:pt x="666" y="26"/>
                </a:lnTo>
                <a:lnTo>
                  <a:pt x="670" y="26"/>
                </a:lnTo>
                <a:lnTo>
                  <a:pt x="674" y="26"/>
                </a:lnTo>
                <a:lnTo>
                  <a:pt x="678" y="26"/>
                </a:lnTo>
                <a:lnTo>
                  <a:pt x="678" y="22"/>
                </a:lnTo>
                <a:lnTo>
                  <a:pt x="682" y="22"/>
                </a:lnTo>
                <a:lnTo>
                  <a:pt x="686" y="22"/>
                </a:lnTo>
                <a:lnTo>
                  <a:pt x="688" y="22"/>
                </a:lnTo>
                <a:lnTo>
                  <a:pt x="692" y="22"/>
                </a:lnTo>
                <a:lnTo>
                  <a:pt x="696" y="22"/>
                </a:lnTo>
                <a:lnTo>
                  <a:pt x="692" y="22"/>
                </a:lnTo>
                <a:lnTo>
                  <a:pt x="692" y="26"/>
                </a:lnTo>
                <a:lnTo>
                  <a:pt x="696" y="26"/>
                </a:lnTo>
                <a:lnTo>
                  <a:pt x="696" y="22"/>
                </a:lnTo>
                <a:lnTo>
                  <a:pt x="700" y="22"/>
                </a:lnTo>
                <a:lnTo>
                  <a:pt x="704" y="22"/>
                </a:lnTo>
                <a:lnTo>
                  <a:pt x="704" y="26"/>
                </a:lnTo>
                <a:lnTo>
                  <a:pt x="708" y="26"/>
                </a:lnTo>
                <a:lnTo>
                  <a:pt x="712" y="26"/>
                </a:lnTo>
                <a:lnTo>
                  <a:pt x="716" y="26"/>
                </a:lnTo>
                <a:lnTo>
                  <a:pt x="718" y="26"/>
                </a:lnTo>
                <a:lnTo>
                  <a:pt x="722" y="30"/>
                </a:lnTo>
                <a:lnTo>
                  <a:pt x="726" y="30"/>
                </a:lnTo>
                <a:lnTo>
                  <a:pt x="730" y="30"/>
                </a:lnTo>
                <a:lnTo>
                  <a:pt x="730" y="34"/>
                </a:lnTo>
                <a:lnTo>
                  <a:pt x="722" y="34"/>
                </a:lnTo>
                <a:lnTo>
                  <a:pt x="718" y="34"/>
                </a:lnTo>
                <a:lnTo>
                  <a:pt x="718" y="38"/>
                </a:lnTo>
                <a:lnTo>
                  <a:pt x="716" y="38"/>
                </a:lnTo>
                <a:lnTo>
                  <a:pt x="718" y="38"/>
                </a:lnTo>
                <a:lnTo>
                  <a:pt x="716" y="38"/>
                </a:lnTo>
                <a:lnTo>
                  <a:pt x="716" y="42"/>
                </a:lnTo>
                <a:lnTo>
                  <a:pt x="712" y="42"/>
                </a:lnTo>
                <a:lnTo>
                  <a:pt x="708" y="42"/>
                </a:lnTo>
                <a:lnTo>
                  <a:pt x="704" y="42"/>
                </a:lnTo>
                <a:lnTo>
                  <a:pt x="700" y="42"/>
                </a:lnTo>
                <a:lnTo>
                  <a:pt x="696" y="42"/>
                </a:lnTo>
                <a:lnTo>
                  <a:pt x="688" y="42"/>
                </a:lnTo>
                <a:lnTo>
                  <a:pt x="686" y="42"/>
                </a:lnTo>
                <a:lnTo>
                  <a:pt x="686" y="44"/>
                </a:lnTo>
                <a:lnTo>
                  <a:pt x="682" y="44"/>
                </a:lnTo>
                <a:lnTo>
                  <a:pt x="678" y="44"/>
                </a:lnTo>
                <a:lnTo>
                  <a:pt x="674" y="44"/>
                </a:lnTo>
                <a:lnTo>
                  <a:pt x="666" y="44"/>
                </a:lnTo>
                <a:lnTo>
                  <a:pt x="662" y="44"/>
                </a:lnTo>
                <a:lnTo>
                  <a:pt x="656" y="44"/>
                </a:lnTo>
                <a:lnTo>
                  <a:pt x="652" y="44"/>
                </a:lnTo>
                <a:lnTo>
                  <a:pt x="648" y="44"/>
                </a:lnTo>
                <a:lnTo>
                  <a:pt x="644" y="44"/>
                </a:lnTo>
                <a:lnTo>
                  <a:pt x="640" y="44"/>
                </a:lnTo>
                <a:lnTo>
                  <a:pt x="636" y="44"/>
                </a:lnTo>
                <a:lnTo>
                  <a:pt x="632" y="44"/>
                </a:lnTo>
                <a:lnTo>
                  <a:pt x="630" y="44"/>
                </a:lnTo>
                <a:lnTo>
                  <a:pt x="626" y="44"/>
                </a:lnTo>
                <a:lnTo>
                  <a:pt x="622" y="44"/>
                </a:lnTo>
                <a:lnTo>
                  <a:pt x="618" y="44"/>
                </a:lnTo>
                <a:lnTo>
                  <a:pt x="614" y="44"/>
                </a:lnTo>
                <a:lnTo>
                  <a:pt x="610" y="44"/>
                </a:lnTo>
                <a:lnTo>
                  <a:pt x="606" y="44"/>
                </a:lnTo>
                <a:lnTo>
                  <a:pt x="604" y="44"/>
                </a:lnTo>
                <a:lnTo>
                  <a:pt x="600" y="44"/>
                </a:lnTo>
                <a:lnTo>
                  <a:pt x="596" y="44"/>
                </a:lnTo>
                <a:lnTo>
                  <a:pt x="592" y="44"/>
                </a:lnTo>
                <a:lnTo>
                  <a:pt x="588" y="44"/>
                </a:lnTo>
                <a:lnTo>
                  <a:pt x="584" y="44"/>
                </a:lnTo>
                <a:lnTo>
                  <a:pt x="588" y="44"/>
                </a:lnTo>
                <a:lnTo>
                  <a:pt x="592" y="44"/>
                </a:lnTo>
                <a:lnTo>
                  <a:pt x="600" y="44"/>
                </a:lnTo>
                <a:lnTo>
                  <a:pt x="606" y="44"/>
                </a:lnTo>
                <a:lnTo>
                  <a:pt x="610" y="44"/>
                </a:lnTo>
                <a:lnTo>
                  <a:pt x="606" y="44"/>
                </a:lnTo>
                <a:lnTo>
                  <a:pt x="604" y="48"/>
                </a:lnTo>
                <a:lnTo>
                  <a:pt x="600" y="48"/>
                </a:lnTo>
                <a:lnTo>
                  <a:pt x="596" y="48"/>
                </a:lnTo>
                <a:lnTo>
                  <a:pt x="592" y="48"/>
                </a:lnTo>
                <a:lnTo>
                  <a:pt x="588" y="48"/>
                </a:lnTo>
                <a:lnTo>
                  <a:pt x="584" y="52"/>
                </a:lnTo>
                <a:lnTo>
                  <a:pt x="580" y="52"/>
                </a:lnTo>
                <a:lnTo>
                  <a:pt x="576" y="52"/>
                </a:lnTo>
                <a:lnTo>
                  <a:pt x="574" y="52"/>
                </a:lnTo>
                <a:lnTo>
                  <a:pt x="570" y="52"/>
                </a:lnTo>
                <a:lnTo>
                  <a:pt x="566" y="52"/>
                </a:lnTo>
                <a:lnTo>
                  <a:pt x="566" y="56"/>
                </a:lnTo>
                <a:lnTo>
                  <a:pt x="562" y="56"/>
                </a:lnTo>
                <a:lnTo>
                  <a:pt x="566" y="60"/>
                </a:lnTo>
                <a:lnTo>
                  <a:pt x="570" y="60"/>
                </a:lnTo>
                <a:lnTo>
                  <a:pt x="574" y="60"/>
                </a:lnTo>
                <a:lnTo>
                  <a:pt x="574" y="56"/>
                </a:lnTo>
                <a:lnTo>
                  <a:pt x="580" y="56"/>
                </a:lnTo>
                <a:lnTo>
                  <a:pt x="584" y="56"/>
                </a:lnTo>
                <a:lnTo>
                  <a:pt x="588" y="52"/>
                </a:lnTo>
                <a:lnTo>
                  <a:pt x="592" y="52"/>
                </a:lnTo>
                <a:lnTo>
                  <a:pt x="596" y="52"/>
                </a:lnTo>
                <a:lnTo>
                  <a:pt x="600" y="52"/>
                </a:lnTo>
                <a:lnTo>
                  <a:pt x="604" y="52"/>
                </a:lnTo>
                <a:lnTo>
                  <a:pt x="610" y="52"/>
                </a:lnTo>
                <a:lnTo>
                  <a:pt x="614" y="52"/>
                </a:lnTo>
                <a:lnTo>
                  <a:pt x="622" y="48"/>
                </a:lnTo>
                <a:lnTo>
                  <a:pt x="626" y="48"/>
                </a:lnTo>
                <a:lnTo>
                  <a:pt x="630" y="48"/>
                </a:lnTo>
                <a:lnTo>
                  <a:pt x="636" y="48"/>
                </a:lnTo>
                <a:lnTo>
                  <a:pt x="640" y="48"/>
                </a:lnTo>
                <a:lnTo>
                  <a:pt x="644" y="48"/>
                </a:lnTo>
                <a:lnTo>
                  <a:pt x="648" y="48"/>
                </a:lnTo>
                <a:lnTo>
                  <a:pt x="652" y="48"/>
                </a:lnTo>
                <a:lnTo>
                  <a:pt x="656" y="48"/>
                </a:lnTo>
                <a:lnTo>
                  <a:pt x="660" y="48"/>
                </a:lnTo>
                <a:lnTo>
                  <a:pt x="662" y="48"/>
                </a:lnTo>
                <a:lnTo>
                  <a:pt x="670" y="48"/>
                </a:lnTo>
                <a:lnTo>
                  <a:pt x="674" y="48"/>
                </a:lnTo>
                <a:lnTo>
                  <a:pt x="674" y="56"/>
                </a:lnTo>
                <a:lnTo>
                  <a:pt x="670" y="56"/>
                </a:lnTo>
                <a:lnTo>
                  <a:pt x="666" y="60"/>
                </a:lnTo>
                <a:lnTo>
                  <a:pt x="662" y="60"/>
                </a:lnTo>
                <a:lnTo>
                  <a:pt x="660" y="60"/>
                </a:lnTo>
                <a:lnTo>
                  <a:pt x="656" y="60"/>
                </a:lnTo>
                <a:lnTo>
                  <a:pt x="656" y="64"/>
                </a:lnTo>
                <a:lnTo>
                  <a:pt x="652" y="64"/>
                </a:lnTo>
                <a:lnTo>
                  <a:pt x="648" y="64"/>
                </a:lnTo>
                <a:lnTo>
                  <a:pt x="644" y="64"/>
                </a:lnTo>
                <a:lnTo>
                  <a:pt x="640" y="64"/>
                </a:lnTo>
                <a:lnTo>
                  <a:pt x="644" y="68"/>
                </a:lnTo>
                <a:lnTo>
                  <a:pt x="648" y="68"/>
                </a:lnTo>
                <a:lnTo>
                  <a:pt x="644" y="68"/>
                </a:lnTo>
                <a:lnTo>
                  <a:pt x="640" y="68"/>
                </a:lnTo>
                <a:lnTo>
                  <a:pt x="644" y="68"/>
                </a:lnTo>
                <a:lnTo>
                  <a:pt x="648" y="68"/>
                </a:lnTo>
                <a:lnTo>
                  <a:pt x="652" y="68"/>
                </a:lnTo>
                <a:lnTo>
                  <a:pt x="656" y="68"/>
                </a:lnTo>
                <a:lnTo>
                  <a:pt x="656" y="64"/>
                </a:lnTo>
                <a:lnTo>
                  <a:pt x="660" y="64"/>
                </a:lnTo>
                <a:lnTo>
                  <a:pt x="662" y="64"/>
                </a:lnTo>
                <a:lnTo>
                  <a:pt x="670" y="60"/>
                </a:lnTo>
                <a:lnTo>
                  <a:pt x="674" y="60"/>
                </a:lnTo>
                <a:lnTo>
                  <a:pt x="678" y="60"/>
                </a:lnTo>
                <a:lnTo>
                  <a:pt x="682" y="60"/>
                </a:lnTo>
                <a:lnTo>
                  <a:pt x="686" y="56"/>
                </a:lnTo>
                <a:lnTo>
                  <a:pt x="688" y="60"/>
                </a:lnTo>
                <a:lnTo>
                  <a:pt x="688" y="56"/>
                </a:lnTo>
                <a:lnTo>
                  <a:pt x="692" y="56"/>
                </a:lnTo>
                <a:lnTo>
                  <a:pt x="688" y="56"/>
                </a:lnTo>
                <a:lnTo>
                  <a:pt x="688" y="52"/>
                </a:lnTo>
                <a:lnTo>
                  <a:pt x="692" y="48"/>
                </a:lnTo>
                <a:lnTo>
                  <a:pt x="696" y="48"/>
                </a:lnTo>
                <a:lnTo>
                  <a:pt x="700" y="48"/>
                </a:lnTo>
                <a:lnTo>
                  <a:pt x="704" y="48"/>
                </a:lnTo>
                <a:lnTo>
                  <a:pt x="708" y="48"/>
                </a:lnTo>
                <a:lnTo>
                  <a:pt x="712" y="48"/>
                </a:lnTo>
                <a:lnTo>
                  <a:pt x="716" y="48"/>
                </a:lnTo>
                <a:lnTo>
                  <a:pt x="718" y="48"/>
                </a:lnTo>
                <a:lnTo>
                  <a:pt x="718" y="52"/>
                </a:lnTo>
                <a:lnTo>
                  <a:pt x="722" y="56"/>
                </a:lnTo>
                <a:lnTo>
                  <a:pt x="718" y="64"/>
                </a:lnTo>
                <a:lnTo>
                  <a:pt x="716" y="68"/>
                </a:lnTo>
                <a:lnTo>
                  <a:pt x="716" y="72"/>
                </a:lnTo>
                <a:lnTo>
                  <a:pt x="712" y="72"/>
                </a:lnTo>
                <a:lnTo>
                  <a:pt x="708" y="72"/>
                </a:lnTo>
                <a:lnTo>
                  <a:pt x="712" y="72"/>
                </a:lnTo>
                <a:lnTo>
                  <a:pt x="708" y="74"/>
                </a:lnTo>
                <a:lnTo>
                  <a:pt x="704" y="74"/>
                </a:lnTo>
                <a:lnTo>
                  <a:pt x="700" y="78"/>
                </a:lnTo>
                <a:lnTo>
                  <a:pt x="696" y="78"/>
                </a:lnTo>
                <a:lnTo>
                  <a:pt x="692" y="82"/>
                </a:lnTo>
                <a:lnTo>
                  <a:pt x="696" y="82"/>
                </a:lnTo>
                <a:lnTo>
                  <a:pt x="696" y="86"/>
                </a:lnTo>
                <a:lnTo>
                  <a:pt x="692" y="86"/>
                </a:lnTo>
                <a:lnTo>
                  <a:pt x="688" y="86"/>
                </a:lnTo>
                <a:lnTo>
                  <a:pt x="686" y="90"/>
                </a:lnTo>
                <a:lnTo>
                  <a:pt x="688" y="90"/>
                </a:lnTo>
                <a:lnTo>
                  <a:pt x="692" y="90"/>
                </a:lnTo>
                <a:lnTo>
                  <a:pt x="688" y="90"/>
                </a:lnTo>
                <a:lnTo>
                  <a:pt x="686" y="94"/>
                </a:lnTo>
                <a:lnTo>
                  <a:pt x="688" y="94"/>
                </a:lnTo>
                <a:lnTo>
                  <a:pt x="688" y="90"/>
                </a:lnTo>
                <a:lnTo>
                  <a:pt x="692" y="90"/>
                </a:lnTo>
                <a:lnTo>
                  <a:pt x="696" y="90"/>
                </a:lnTo>
                <a:lnTo>
                  <a:pt x="696" y="86"/>
                </a:lnTo>
                <a:lnTo>
                  <a:pt x="700" y="86"/>
                </a:lnTo>
                <a:lnTo>
                  <a:pt x="700" y="82"/>
                </a:lnTo>
                <a:lnTo>
                  <a:pt x="704" y="82"/>
                </a:lnTo>
                <a:lnTo>
                  <a:pt x="708" y="82"/>
                </a:lnTo>
                <a:lnTo>
                  <a:pt x="712" y="78"/>
                </a:lnTo>
                <a:lnTo>
                  <a:pt x="716" y="74"/>
                </a:lnTo>
                <a:lnTo>
                  <a:pt x="718" y="74"/>
                </a:lnTo>
                <a:lnTo>
                  <a:pt x="718" y="72"/>
                </a:lnTo>
                <a:lnTo>
                  <a:pt x="722" y="72"/>
                </a:lnTo>
                <a:lnTo>
                  <a:pt x="726" y="72"/>
                </a:lnTo>
                <a:lnTo>
                  <a:pt x="730" y="68"/>
                </a:lnTo>
                <a:lnTo>
                  <a:pt x="734" y="64"/>
                </a:lnTo>
                <a:lnTo>
                  <a:pt x="738" y="64"/>
                </a:lnTo>
                <a:lnTo>
                  <a:pt x="742" y="60"/>
                </a:lnTo>
                <a:lnTo>
                  <a:pt x="744" y="60"/>
                </a:lnTo>
                <a:lnTo>
                  <a:pt x="748" y="60"/>
                </a:lnTo>
                <a:lnTo>
                  <a:pt x="744" y="60"/>
                </a:lnTo>
                <a:lnTo>
                  <a:pt x="744" y="64"/>
                </a:lnTo>
                <a:lnTo>
                  <a:pt x="744" y="68"/>
                </a:lnTo>
                <a:lnTo>
                  <a:pt x="748" y="68"/>
                </a:lnTo>
                <a:lnTo>
                  <a:pt x="748" y="64"/>
                </a:lnTo>
                <a:lnTo>
                  <a:pt x="756" y="64"/>
                </a:lnTo>
                <a:lnTo>
                  <a:pt x="760" y="64"/>
                </a:lnTo>
                <a:lnTo>
                  <a:pt x="764" y="64"/>
                </a:lnTo>
                <a:lnTo>
                  <a:pt x="768" y="64"/>
                </a:lnTo>
                <a:lnTo>
                  <a:pt x="770" y="64"/>
                </a:lnTo>
                <a:lnTo>
                  <a:pt x="770" y="68"/>
                </a:lnTo>
                <a:lnTo>
                  <a:pt x="774" y="68"/>
                </a:lnTo>
                <a:lnTo>
                  <a:pt x="778" y="64"/>
                </a:lnTo>
                <a:lnTo>
                  <a:pt x="782" y="64"/>
                </a:lnTo>
                <a:lnTo>
                  <a:pt x="782" y="60"/>
                </a:lnTo>
                <a:lnTo>
                  <a:pt x="778" y="60"/>
                </a:lnTo>
                <a:lnTo>
                  <a:pt x="778" y="56"/>
                </a:lnTo>
                <a:lnTo>
                  <a:pt x="782" y="56"/>
                </a:lnTo>
                <a:lnTo>
                  <a:pt x="782" y="60"/>
                </a:lnTo>
                <a:lnTo>
                  <a:pt x="786" y="60"/>
                </a:lnTo>
                <a:lnTo>
                  <a:pt x="786" y="56"/>
                </a:lnTo>
                <a:lnTo>
                  <a:pt x="782" y="56"/>
                </a:lnTo>
                <a:lnTo>
                  <a:pt x="782" y="52"/>
                </a:lnTo>
                <a:lnTo>
                  <a:pt x="786" y="52"/>
                </a:lnTo>
                <a:lnTo>
                  <a:pt x="786" y="56"/>
                </a:lnTo>
                <a:lnTo>
                  <a:pt x="786" y="52"/>
                </a:lnTo>
                <a:lnTo>
                  <a:pt x="788" y="52"/>
                </a:lnTo>
                <a:lnTo>
                  <a:pt x="792" y="52"/>
                </a:lnTo>
                <a:lnTo>
                  <a:pt x="796" y="52"/>
                </a:lnTo>
                <a:lnTo>
                  <a:pt x="800" y="52"/>
                </a:lnTo>
                <a:lnTo>
                  <a:pt x="804" y="52"/>
                </a:lnTo>
                <a:lnTo>
                  <a:pt x="808" y="52"/>
                </a:lnTo>
                <a:lnTo>
                  <a:pt x="812" y="52"/>
                </a:lnTo>
                <a:lnTo>
                  <a:pt x="816" y="52"/>
                </a:lnTo>
                <a:lnTo>
                  <a:pt x="818" y="52"/>
                </a:lnTo>
                <a:lnTo>
                  <a:pt x="822" y="52"/>
                </a:lnTo>
                <a:lnTo>
                  <a:pt x="826" y="52"/>
                </a:lnTo>
                <a:lnTo>
                  <a:pt x="830" y="52"/>
                </a:lnTo>
                <a:lnTo>
                  <a:pt x="834" y="52"/>
                </a:lnTo>
                <a:lnTo>
                  <a:pt x="834" y="56"/>
                </a:lnTo>
                <a:lnTo>
                  <a:pt x="838" y="56"/>
                </a:lnTo>
                <a:lnTo>
                  <a:pt x="842" y="56"/>
                </a:lnTo>
                <a:lnTo>
                  <a:pt x="844" y="56"/>
                </a:lnTo>
                <a:lnTo>
                  <a:pt x="848" y="56"/>
                </a:lnTo>
                <a:lnTo>
                  <a:pt x="852" y="56"/>
                </a:lnTo>
                <a:lnTo>
                  <a:pt x="852" y="60"/>
                </a:lnTo>
                <a:lnTo>
                  <a:pt x="856" y="60"/>
                </a:lnTo>
                <a:lnTo>
                  <a:pt x="860" y="60"/>
                </a:lnTo>
                <a:lnTo>
                  <a:pt x="856" y="64"/>
                </a:lnTo>
                <a:lnTo>
                  <a:pt x="852" y="64"/>
                </a:lnTo>
                <a:lnTo>
                  <a:pt x="852" y="68"/>
                </a:lnTo>
                <a:lnTo>
                  <a:pt x="848" y="68"/>
                </a:lnTo>
                <a:lnTo>
                  <a:pt x="844" y="68"/>
                </a:lnTo>
                <a:lnTo>
                  <a:pt x="844" y="72"/>
                </a:lnTo>
                <a:lnTo>
                  <a:pt x="842" y="72"/>
                </a:lnTo>
                <a:lnTo>
                  <a:pt x="838" y="72"/>
                </a:lnTo>
                <a:lnTo>
                  <a:pt x="834" y="74"/>
                </a:lnTo>
                <a:lnTo>
                  <a:pt x="830" y="74"/>
                </a:lnTo>
                <a:lnTo>
                  <a:pt x="826" y="74"/>
                </a:lnTo>
                <a:lnTo>
                  <a:pt x="822" y="74"/>
                </a:lnTo>
                <a:lnTo>
                  <a:pt x="818" y="74"/>
                </a:lnTo>
                <a:lnTo>
                  <a:pt x="818" y="78"/>
                </a:lnTo>
                <a:lnTo>
                  <a:pt x="822" y="78"/>
                </a:lnTo>
                <a:lnTo>
                  <a:pt x="822" y="82"/>
                </a:lnTo>
                <a:lnTo>
                  <a:pt x="818" y="82"/>
                </a:lnTo>
                <a:lnTo>
                  <a:pt x="816" y="82"/>
                </a:lnTo>
                <a:lnTo>
                  <a:pt x="812" y="82"/>
                </a:lnTo>
                <a:lnTo>
                  <a:pt x="808" y="86"/>
                </a:lnTo>
                <a:lnTo>
                  <a:pt x="804" y="86"/>
                </a:lnTo>
                <a:lnTo>
                  <a:pt x="800" y="86"/>
                </a:lnTo>
                <a:lnTo>
                  <a:pt x="796" y="86"/>
                </a:lnTo>
                <a:lnTo>
                  <a:pt x="792" y="86"/>
                </a:lnTo>
                <a:lnTo>
                  <a:pt x="788" y="86"/>
                </a:lnTo>
                <a:lnTo>
                  <a:pt x="786" y="86"/>
                </a:lnTo>
                <a:lnTo>
                  <a:pt x="782" y="86"/>
                </a:lnTo>
                <a:lnTo>
                  <a:pt x="778" y="86"/>
                </a:lnTo>
                <a:lnTo>
                  <a:pt x="774" y="86"/>
                </a:lnTo>
                <a:lnTo>
                  <a:pt x="774" y="90"/>
                </a:lnTo>
                <a:lnTo>
                  <a:pt x="770" y="90"/>
                </a:lnTo>
                <a:lnTo>
                  <a:pt x="768" y="90"/>
                </a:lnTo>
                <a:lnTo>
                  <a:pt x="764" y="90"/>
                </a:lnTo>
                <a:lnTo>
                  <a:pt x="760" y="90"/>
                </a:lnTo>
                <a:lnTo>
                  <a:pt x="756" y="90"/>
                </a:lnTo>
                <a:lnTo>
                  <a:pt x="752" y="90"/>
                </a:lnTo>
                <a:lnTo>
                  <a:pt x="748" y="90"/>
                </a:lnTo>
                <a:lnTo>
                  <a:pt x="744" y="90"/>
                </a:lnTo>
                <a:lnTo>
                  <a:pt x="742" y="90"/>
                </a:lnTo>
                <a:lnTo>
                  <a:pt x="738" y="94"/>
                </a:lnTo>
                <a:lnTo>
                  <a:pt x="734" y="94"/>
                </a:lnTo>
                <a:lnTo>
                  <a:pt x="734" y="90"/>
                </a:lnTo>
                <a:lnTo>
                  <a:pt x="730" y="90"/>
                </a:lnTo>
                <a:lnTo>
                  <a:pt x="730" y="94"/>
                </a:lnTo>
                <a:lnTo>
                  <a:pt x="734" y="94"/>
                </a:lnTo>
                <a:lnTo>
                  <a:pt x="738" y="94"/>
                </a:lnTo>
                <a:lnTo>
                  <a:pt x="742" y="94"/>
                </a:lnTo>
                <a:lnTo>
                  <a:pt x="744" y="94"/>
                </a:lnTo>
                <a:lnTo>
                  <a:pt x="744" y="90"/>
                </a:lnTo>
                <a:lnTo>
                  <a:pt x="748" y="90"/>
                </a:lnTo>
                <a:lnTo>
                  <a:pt x="752" y="90"/>
                </a:lnTo>
                <a:lnTo>
                  <a:pt x="756" y="90"/>
                </a:lnTo>
                <a:lnTo>
                  <a:pt x="760" y="90"/>
                </a:lnTo>
                <a:lnTo>
                  <a:pt x="764" y="90"/>
                </a:lnTo>
                <a:lnTo>
                  <a:pt x="768" y="94"/>
                </a:lnTo>
                <a:lnTo>
                  <a:pt x="770" y="94"/>
                </a:lnTo>
                <a:lnTo>
                  <a:pt x="774" y="94"/>
                </a:lnTo>
                <a:lnTo>
                  <a:pt x="778" y="94"/>
                </a:lnTo>
                <a:lnTo>
                  <a:pt x="782" y="90"/>
                </a:lnTo>
                <a:lnTo>
                  <a:pt x="786" y="90"/>
                </a:lnTo>
                <a:lnTo>
                  <a:pt x="788" y="90"/>
                </a:lnTo>
                <a:lnTo>
                  <a:pt x="788" y="94"/>
                </a:lnTo>
                <a:lnTo>
                  <a:pt x="792" y="94"/>
                </a:lnTo>
                <a:lnTo>
                  <a:pt x="796" y="94"/>
                </a:lnTo>
                <a:lnTo>
                  <a:pt x="800" y="94"/>
                </a:lnTo>
                <a:lnTo>
                  <a:pt x="804" y="94"/>
                </a:lnTo>
                <a:lnTo>
                  <a:pt x="800" y="94"/>
                </a:lnTo>
                <a:lnTo>
                  <a:pt x="800" y="98"/>
                </a:lnTo>
                <a:lnTo>
                  <a:pt x="796" y="98"/>
                </a:lnTo>
                <a:lnTo>
                  <a:pt x="792" y="98"/>
                </a:lnTo>
                <a:lnTo>
                  <a:pt x="796" y="98"/>
                </a:lnTo>
                <a:lnTo>
                  <a:pt x="792" y="100"/>
                </a:lnTo>
                <a:lnTo>
                  <a:pt x="788" y="100"/>
                </a:lnTo>
                <a:lnTo>
                  <a:pt x="786" y="100"/>
                </a:lnTo>
                <a:lnTo>
                  <a:pt x="782" y="100"/>
                </a:lnTo>
                <a:lnTo>
                  <a:pt x="778" y="100"/>
                </a:lnTo>
                <a:lnTo>
                  <a:pt x="774" y="100"/>
                </a:lnTo>
                <a:lnTo>
                  <a:pt x="770" y="100"/>
                </a:lnTo>
                <a:lnTo>
                  <a:pt x="768" y="100"/>
                </a:lnTo>
                <a:lnTo>
                  <a:pt x="764" y="100"/>
                </a:lnTo>
                <a:lnTo>
                  <a:pt x="760" y="100"/>
                </a:lnTo>
                <a:lnTo>
                  <a:pt x="756" y="100"/>
                </a:lnTo>
                <a:lnTo>
                  <a:pt x="752" y="100"/>
                </a:lnTo>
                <a:lnTo>
                  <a:pt x="748" y="100"/>
                </a:lnTo>
                <a:lnTo>
                  <a:pt x="748" y="104"/>
                </a:lnTo>
                <a:lnTo>
                  <a:pt x="744" y="104"/>
                </a:lnTo>
                <a:lnTo>
                  <a:pt x="742" y="104"/>
                </a:lnTo>
                <a:lnTo>
                  <a:pt x="744" y="104"/>
                </a:lnTo>
                <a:lnTo>
                  <a:pt x="742" y="108"/>
                </a:lnTo>
                <a:lnTo>
                  <a:pt x="738" y="112"/>
                </a:lnTo>
                <a:lnTo>
                  <a:pt x="742" y="112"/>
                </a:lnTo>
                <a:lnTo>
                  <a:pt x="744" y="112"/>
                </a:lnTo>
                <a:lnTo>
                  <a:pt x="744" y="116"/>
                </a:lnTo>
                <a:lnTo>
                  <a:pt x="748" y="116"/>
                </a:lnTo>
                <a:lnTo>
                  <a:pt x="748" y="112"/>
                </a:lnTo>
                <a:lnTo>
                  <a:pt x="752" y="112"/>
                </a:lnTo>
                <a:lnTo>
                  <a:pt x="748" y="112"/>
                </a:lnTo>
                <a:lnTo>
                  <a:pt x="744" y="112"/>
                </a:lnTo>
                <a:lnTo>
                  <a:pt x="748" y="108"/>
                </a:lnTo>
                <a:lnTo>
                  <a:pt x="752" y="108"/>
                </a:lnTo>
                <a:lnTo>
                  <a:pt x="756" y="108"/>
                </a:lnTo>
                <a:lnTo>
                  <a:pt x="756" y="104"/>
                </a:lnTo>
                <a:lnTo>
                  <a:pt x="760" y="104"/>
                </a:lnTo>
                <a:lnTo>
                  <a:pt x="764" y="104"/>
                </a:lnTo>
                <a:lnTo>
                  <a:pt x="768" y="104"/>
                </a:lnTo>
                <a:lnTo>
                  <a:pt x="770" y="104"/>
                </a:lnTo>
                <a:lnTo>
                  <a:pt x="774" y="104"/>
                </a:lnTo>
                <a:lnTo>
                  <a:pt x="778" y="104"/>
                </a:lnTo>
                <a:lnTo>
                  <a:pt x="782" y="104"/>
                </a:lnTo>
                <a:lnTo>
                  <a:pt x="786" y="104"/>
                </a:lnTo>
                <a:lnTo>
                  <a:pt x="786" y="108"/>
                </a:lnTo>
                <a:lnTo>
                  <a:pt x="782" y="108"/>
                </a:lnTo>
                <a:lnTo>
                  <a:pt x="778" y="112"/>
                </a:lnTo>
                <a:lnTo>
                  <a:pt x="778" y="116"/>
                </a:lnTo>
                <a:lnTo>
                  <a:pt x="774" y="116"/>
                </a:lnTo>
                <a:lnTo>
                  <a:pt x="770" y="116"/>
                </a:lnTo>
                <a:lnTo>
                  <a:pt x="768" y="116"/>
                </a:lnTo>
                <a:lnTo>
                  <a:pt x="764" y="116"/>
                </a:lnTo>
                <a:lnTo>
                  <a:pt x="760" y="116"/>
                </a:lnTo>
                <a:lnTo>
                  <a:pt x="756" y="116"/>
                </a:lnTo>
                <a:lnTo>
                  <a:pt x="756" y="120"/>
                </a:lnTo>
                <a:lnTo>
                  <a:pt x="752" y="120"/>
                </a:lnTo>
                <a:lnTo>
                  <a:pt x="756" y="120"/>
                </a:lnTo>
                <a:lnTo>
                  <a:pt x="756" y="124"/>
                </a:lnTo>
                <a:lnTo>
                  <a:pt x="752" y="124"/>
                </a:lnTo>
                <a:lnTo>
                  <a:pt x="752" y="128"/>
                </a:lnTo>
                <a:lnTo>
                  <a:pt x="752" y="130"/>
                </a:lnTo>
                <a:lnTo>
                  <a:pt x="752" y="134"/>
                </a:lnTo>
                <a:lnTo>
                  <a:pt x="752" y="130"/>
                </a:lnTo>
                <a:lnTo>
                  <a:pt x="756" y="128"/>
                </a:lnTo>
                <a:lnTo>
                  <a:pt x="760" y="128"/>
                </a:lnTo>
                <a:lnTo>
                  <a:pt x="764" y="128"/>
                </a:lnTo>
                <a:lnTo>
                  <a:pt x="764" y="130"/>
                </a:lnTo>
                <a:lnTo>
                  <a:pt x="760" y="130"/>
                </a:lnTo>
                <a:lnTo>
                  <a:pt x="764" y="130"/>
                </a:lnTo>
                <a:lnTo>
                  <a:pt x="760" y="130"/>
                </a:lnTo>
                <a:lnTo>
                  <a:pt x="756" y="130"/>
                </a:lnTo>
                <a:lnTo>
                  <a:pt x="756" y="134"/>
                </a:lnTo>
                <a:lnTo>
                  <a:pt x="752" y="134"/>
                </a:lnTo>
                <a:lnTo>
                  <a:pt x="748" y="134"/>
                </a:lnTo>
                <a:lnTo>
                  <a:pt x="748" y="138"/>
                </a:lnTo>
                <a:lnTo>
                  <a:pt x="748" y="142"/>
                </a:lnTo>
                <a:lnTo>
                  <a:pt x="744" y="142"/>
                </a:lnTo>
                <a:lnTo>
                  <a:pt x="742" y="142"/>
                </a:lnTo>
                <a:lnTo>
                  <a:pt x="738" y="142"/>
                </a:lnTo>
                <a:lnTo>
                  <a:pt x="734" y="142"/>
                </a:lnTo>
                <a:lnTo>
                  <a:pt x="734" y="146"/>
                </a:lnTo>
                <a:lnTo>
                  <a:pt x="738" y="146"/>
                </a:lnTo>
                <a:lnTo>
                  <a:pt x="734" y="146"/>
                </a:lnTo>
                <a:lnTo>
                  <a:pt x="730" y="146"/>
                </a:lnTo>
                <a:lnTo>
                  <a:pt x="730" y="150"/>
                </a:lnTo>
                <a:lnTo>
                  <a:pt x="734" y="150"/>
                </a:lnTo>
                <a:lnTo>
                  <a:pt x="734" y="146"/>
                </a:lnTo>
                <a:lnTo>
                  <a:pt x="738" y="146"/>
                </a:lnTo>
                <a:lnTo>
                  <a:pt x="738" y="150"/>
                </a:lnTo>
                <a:lnTo>
                  <a:pt x="734" y="150"/>
                </a:lnTo>
                <a:lnTo>
                  <a:pt x="734" y="154"/>
                </a:lnTo>
                <a:lnTo>
                  <a:pt x="730" y="158"/>
                </a:lnTo>
                <a:lnTo>
                  <a:pt x="730" y="160"/>
                </a:lnTo>
                <a:lnTo>
                  <a:pt x="726" y="160"/>
                </a:lnTo>
                <a:lnTo>
                  <a:pt x="722" y="160"/>
                </a:lnTo>
                <a:lnTo>
                  <a:pt x="726" y="164"/>
                </a:lnTo>
                <a:lnTo>
                  <a:pt x="730" y="164"/>
                </a:lnTo>
                <a:lnTo>
                  <a:pt x="726" y="164"/>
                </a:lnTo>
                <a:lnTo>
                  <a:pt x="722" y="168"/>
                </a:lnTo>
                <a:lnTo>
                  <a:pt x="726" y="168"/>
                </a:lnTo>
                <a:lnTo>
                  <a:pt x="722" y="172"/>
                </a:lnTo>
                <a:lnTo>
                  <a:pt x="718" y="174"/>
                </a:lnTo>
                <a:lnTo>
                  <a:pt x="722" y="174"/>
                </a:lnTo>
                <a:lnTo>
                  <a:pt x="726" y="174"/>
                </a:lnTo>
                <a:lnTo>
                  <a:pt x="730" y="174"/>
                </a:lnTo>
                <a:lnTo>
                  <a:pt x="726" y="174"/>
                </a:lnTo>
                <a:lnTo>
                  <a:pt x="726" y="178"/>
                </a:lnTo>
                <a:lnTo>
                  <a:pt x="730" y="174"/>
                </a:lnTo>
                <a:lnTo>
                  <a:pt x="730" y="172"/>
                </a:lnTo>
                <a:lnTo>
                  <a:pt x="734" y="168"/>
                </a:lnTo>
                <a:lnTo>
                  <a:pt x="738" y="164"/>
                </a:lnTo>
                <a:lnTo>
                  <a:pt x="742" y="168"/>
                </a:lnTo>
                <a:lnTo>
                  <a:pt x="744" y="168"/>
                </a:lnTo>
                <a:lnTo>
                  <a:pt x="748" y="172"/>
                </a:lnTo>
                <a:lnTo>
                  <a:pt x="752" y="172"/>
                </a:lnTo>
                <a:lnTo>
                  <a:pt x="756" y="172"/>
                </a:lnTo>
                <a:lnTo>
                  <a:pt x="760" y="172"/>
                </a:lnTo>
                <a:lnTo>
                  <a:pt x="764" y="174"/>
                </a:lnTo>
                <a:lnTo>
                  <a:pt x="760" y="174"/>
                </a:lnTo>
                <a:lnTo>
                  <a:pt x="760" y="178"/>
                </a:lnTo>
                <a:lnTo>
                  <a:pt x="756" y="174"/>
                </a:lnTo>
                <a:lnTo>
                  <a:pt x="748" y="174"/>
                </a:lnTo>
                <a:lnTo>
                  <a:pt x="748" y="172"/>
                </a:lnTo>
                <a:lnTo>
                  <a:pt x="744" y="172"/>
                </a:lnTo>
                <a:lnTo>
                  <a:pt x="744" y="174"/>
                </a:lnTo>
                <a:lnTo>
                  <a:pt x="742" y="174"/>
                </a:lnTo>
                <a:lnTo>
                  <a:pt x="738" y="174"/>
                </a:lnTo>
                <a:lnTo>
                  <a:pt x="742" y="174"/>
                </a:lnTo>
                <a:lnTo>
                  <a:pt x="744" y="174"/>
                </a:lnTo>
                <a:lnTo>
                  <a:pt x="744" y="178"/>
                </a:lnTo>
                <a:lnTo>
                  <a:pt x="742" y="178"/>
                </a:lnTo>
                <a:lnTo>
                  <a:pt x="744" y="178"/>
                </a:lnTo>
                <a:lnTo>
                  <a:pt x="742" y="178"/>
                </a:lnTo>
                <a:lnTo>
                  <a:pt x="738" y="178"/>
                </a:lnTo>
                <a:lnTo>
                  <a:pt x="734" y="178"/>
                </a:lnTo>
                <a:lnTo>
                  <a:pt x="738" y="178"/>
                </a:lnTo>
                <a:lnTo>
                  <a:pt x="742" y="178"/>
                </a:lnTo>
                <a:lnTo>
                  <a:pt x="744" y="178"/>
                </a:lnTo>
                <a:lnTo>
                  <a:pt x="748" y="182"/>
                </a:lnTo>
                <a:lnTo>
                  <a:pt x="744" y="182"/>
                </a:lnTo>
                <a:lnTo>
                  <a:pt x="742" y="182"/>
                </a:lnTo>
                <a:lnTo>
                  <a:pt x="738" y="182"/>
                </a:lnTo>
                <a:lnTo>
                  <a:pt x="742" y="182"/>
                </a:lnTo>
                <a:lnTo>
                  <a:pt x="744" y="182"/>
                </a:lnTo>
                <a:lnTo>
                  <a:pt x="748" y="182"/>
                </a:lnTo>
                <a:lnTo>
                  <a:pt x="752" y="182"/>
                </a:lnTo>
                <a:lnTo>
                  <a:pt x="756" y="182"/>
                </a:lnTo>
                <a:lnTo>
                  <a:pt x="756" y="186"/>
                </a:lnTo>
                <a:lnTo>
                  <a:pt x="760" y="186"/>
                </a:lnTo>
                <a:lnTo>
                  <a:pt x="764" y="186"/>
                </a:lnTo>
                <a:lnTo>
                  <a:pt x="764" y="182"/>
                </a:lnTo>
                <a:lnTo>
                  <a:pt x="768" y="182"/>
                </a:lnTo>
                <a:lnTo>
                  <a:pt x="770" y="182"/>
                </a:lnTo>
                <a:lnTo>
                  <a:pt x="774" y="186"/>
                </a:lnTo>
                <a:lnTo>
                  <a:pt x="774" y="190"/>
                </a:lnTo>
                <a:lnTo>
                  <a:pt x="774" y="194"/>
                </a:lnTo>
                <a:lnTo>
                  <a:pt x="774" y="198"/>
                </a:lnTo>
                <a:lnTo>
                  <a:pt x="770" y="198"/>
                </a:lnTo>
                <a:lnTo>
                  <a:pt x="770" y="200"/>
                </a:lnTo>
                <a:lnTo>
                  <a:pt x="768" y="198"/>
                </a:lnTo>
                <a:lnTo>
                  <a:pt x="764" y="198"/>
                </a:lnTo>
                <a:lnTo>
                  <a:pt x="760" y="198"/>
                </a:lnTo>
                <a:lnTo>
                  <a:pt x="756" y="198"/>
                </a:lnTo>
                <a:lnTo>
                  <a:pt x="752" y="194"/>
                </a:lnTo>
                <a:lnTo>
                  <a:pt x="748" y="194"/>
                </a:lnTo>
                <a:lnTo>
                  <a:pt x="744" y="194"/>
                </a:lnTo>
                <a:lnTo>
                  <a:pt x="738" y="194"/>
                </a:lnTo>
                <a:lnTo>
                  <a:pt x="734" y="194"/>
                </a:lnTo>
                <a:lnTo>
                  <a:pt x="738" y="194"/>
                </a:lnTo>
                <a:lnTo>
                  <a:pt x="742" y="194"/>
                </a:lnTo>
                <a:lnTo>
                  <a:pt x="742" y="198"/>
                </a:lnTo>
                <a:lnTo>
                  <a:pt x="738" y="198"/>
                </a:lnTo>
                <a:lnTo>
                  <a:pt x="734" y="198"/>
                </a:lnTo>
                <a:lnTo>
                  <a:pt x="730" y="198"/>
                </a:lnTo>
                <a:lnTo>
                  <a:pt x="726" y="198"/>
                </a:lnTo>
                <a:lnTo>
                  <a:pt x="730" y="198"/>
                </a:lnTo>
                <a:lnTo>
                  <a:pt x="734" y="198"/>
                </a:lnTo>
                <a:lnTo>
                  <a:pt x="738" y="198"/>
                </a:lnTo>
                <a:lnTo>
                  <a:pt x="734" y="198"/>
                </a:lnTo>
                <a:lnTo>
                  <a:pt x="734" y="200"/>
                </a:lnTo>
                <a:lnTo>
                  <a:pt x="734" y="198"/>
                </a:lnTo>
                <a:lnTo>
                  <a:pt x="730" y="198"/>
                </a:lnTo>
                <a:lnTo>
                  <a:pt x="730" y="200"/>
                </a:lnTo>
                <a:lnTo>
                  <a:pt x="726" y="204"/>
                </a:lnTo>
                <a:lnTo>
                  <a:pt x="722" y="204"/>
                </a:lnTo>
                <a:lnTo>
                  <a:pt x="722" y="200"/>
                </a:lnTo>
                <a:lnTo>
                  <a:pt x="718" y="198"/>
                </a:lnTo>
                <a:lnTo>
                  <a:pt x="716" y="198"/>
                </a:lnTo>
                <a:lnTo>
                  <a:pt x="716" y="200"/>
                </a:lnTo>
                <a:lnTo>
                  <a:pt x="712" y="200"/>
                </a:lnTo>
                <a:lnTo>
                  <a:pt x="716" y="204"/>
                </a:lnTo>
                <a:lnTo>
                  <a:pt x="716" y="208"/>
                </a:lnTo>
                <a:lnTo>
                  <a:pt x="716" y="204"/>
                </a:lnTo>
                <a:lnTo>
                  <a:pt x="718" y="204"/>
                </a:lnTo>
                <a:lnTo>
                  <a:pt x="722" y="204"/>
                </a:lnTo>
                <a:lnTo>
                  <a:pt x="726" y="208"/>
                </a:lnTo>
                <a:lnTo>
                  <a:pt x="722" y="208"/>
                </a:lnTo>
                <a:lnTo>
                  <a:pt x="718" y="208"/>
                </a:lnTo>
                <a:lnTo>
                  <a:pt x="722" y="208"/>
                </a:lnTo>
                <a:lnTo>
                  <a:pt x="726" y="208"/>
                </a:lnTo>
                <a:lnTo>
                  <a:pt x="722" y="208"/>
                </a:lnTo>
                <a:lnTo>
                  <a:pt x="718" y="208"/>
                </a:lnTo>
                <a:lnTo>
                  <a:pt x="716" y="208"/>
                </a:lnTo>
                <a:lnTo>
                  <a:pt x="718" y="208"/>
                </a:lnTo>
                <a:lnTo>
                  <a:pt x="722" y="208"/>
                </a:lnTo>
                <a:lnTo>
                  <a:pt x="726" y="208"/>
                </a:lnTo>
                <a:lnTo>
                  <a:pt x="726" y="212"/>
                </a:lnTo>
                <a:lnTo>
                  <a:pt x="726" y="216"/>
                </a:lnTo>
                <a:lnTo>
                  <a:pt x="730" y="212"/>
                </a:lnTo>
                <a:lnTo>
                  <a:pt x="734" y="212"/>
                </a:lnTo>
                <a:lnTo>
                  <a:pt x="734" y="216"/>
                </a:lnTo>
                <a:lnTo>
                  <a:pt x="738" y="216"/>
                </a:lnTo>
                <a:lnTo>
                  <a:pt x="742" y="216"/>
                </a:lnTo>
                <a:lnTo>
                  <a:pt x="744" y="216"/>
                </a:lnTo>
                <a:lnTo>
                  <a:pt x="742" y="216"/>
                </a:lnTo>
                <a:lnTo>
                  <a:pt x="738" y="216"/>
                </a:lnTo>
                <a:lnTo>
                  <a:pt x="734" y="212"/>
                </a:lnTo>
                <a:lnTo>
                  <a:pt x="738" y="212"/>
                </a:lnTo>
                <a:lnTo>
                  <a:pt x="742" y="212"/>
                </a:lnTo>
                <a:lnTo>
                  <a:pt x="742" y="216"/>
                </a:lnTo>
                <a:lnTo>
                  <a:pt x="744" y="216"/>
                </a:lnTo>
                <a:lnTo>
                  <a:pt x="748" y="216"/>
                </a:lnTo>
                <a:lnTo>
                  <a:pt x="748" y="212"/>
                </a:lnTo>
                <a:lnTo>
                  <a:pt x="752" y="216"/>
                </a:lnTo>
                <a:lnTo>
                  <a:pt x="752" y="220"/>
                </a:lnTo>
                <a:lnTo>
                  <a:pt x="748" y="220"/>
                </a:lnTo>
                <a:lnTo>
                  <a:pt x="744" y="220"/>
                </a:lnTo>
                <a:lnTo>
                  <a:pt x="744" y="224"/>
                </a:lnTo>
                <a:lnTo>
                  <a:pt x="742" y="224"/>
                </a:lnTo>
                <a:lnTo>
                  <a:pt x="738" y="220"/>
                </a:lnTo>
                <a:lnTo>
                  <a:pt x="730" y="220"/>
                </a:lnTo>
                <a:lnTo>
                  <a:pt x="730" y="224"/>
                </a:lnTo>
                <a:lnTo>
                  <a:pt x="726" y="224"/>
                </a:lnTo>
                <a:lnTo>
                  <a:pt x="722" y="224"/>
                </a:lnTo>
                <a:lnTo>
                  <a:pt x="722" y="220"/>
                </a:lnTo>
                <a:lnTo>
                  <a:pt x="722" y="224"/>
                </a:lnTo>
                <a:lnTo>
                  <a:pt x="726" y="224"/>
                </a:lnTo>
                <a:lnTo>
                  <a:pt x="730" y="224"/>
                </a:lnTo>
                <a:lnTo>
                  <a:pt x="734" y="224"/>
                </a:lnTo>
                <a:lnTo>
                  <a:pt x="738" y="224"/>
                </a:lnTo>
                <a:lnTo>
                  <a:pt x="742" y="224"/>
                </a:lnTo>
                <a:lnTo>
                  <a:pt x="744" y="224"/>
                </a:lnTo>
                <a:lnTo>
                  <a:pt x="748" y="224"/>
                </a:lnTo>
                <a:lnTo>
                  <a:pt x="752" y="224"/>
                </a:lnTo>
                <a:lnTo>
                  <a:pt x="756" y="228"/>
                </a:lnTo>
                <a:lnTo>
                  <a:pt x="756" y="230"/>
                </a:lnTo>
                <a:lnTo>
                  <a:pt x="756" y="234"/>
                </a:lnTo>
                <a:lnTo>
                  <a:pt x="760" y="238"/>
                </a:lnTo>
                <a:lnTo>
                  <a:pt x="756" y="238"/>
                </a:lnTo>
                <a:lnTo>
                  <a:pt x="756" y="242"/>
                </a:lnTo>
                <a:lnTo>
                  <a:pt x="756" y="246"/>
                </a:lnTo>
                <a:lnTo>
                  <a:pt x="752" y="246"/>
                </a:lnTo>
                <a:lnTo>
                  <a:pt x="748" y="246"/>
                </a:lnTo>
                <a:lnTo>
                  <a:pt x="748" y="242"/>
                </a:lnTo>
                <a:lnTo>
                  <a:pt x="748" y="238"/>
                </a:lnTo>
                <a:lnTo>
                  <a:pt x="744" y="238"/>
                </a:lnTo>
                <a:lnTo>
                  <a:pt x="742" y="238"/>
                </a:lnTo>
                <a:lnTo>
                  <a:pt x="742" y="242"/>
                </a:lnTo>
                <a:lnTo>
                  <a:pt x="738" y="242"/>
                </a:lnTo>
                <a:lnTo>
                  <a:pt x="734" y="238"/>
                </a:lnTo>
                <a:lnTo>
                  <a:pt x="730" y="234"/>
                </a:lnTo>
                <a:lnTo>
                  <a:pt x="726" y="234"/>
                </a:lnTo>
                <a:lnTo>
                  <a:pt x="726" y="230"/>
                </a:lnTo>
                <a:lnTo>
                  <a:pt x="722" y="230"/>
                </a:lnTo>
                <a:lnTo>
                  <a:pt x="718" y="230"/>
                </a:lnTo>
                <a:lnTo>
                  <a:pt x="716" y="230"/>
                </a:lnTo>
                <a:lnTo>
                  <a:pt x="718" y="230"/>
                </a:lnTo>
                <a:lnTo>
                  <a:pt x="722" y="230"/>
                </a:lnTo>
                <a:lnTo>
                  <a:pt x="722" y="234"/>
                </a:lnTo>
                <a:lnTo>
                  <a:pt x="726" y="234"/>
                </a:lnTo>
                <a:lnTo>
                  <a:pt x="730" y="234"/>
                </a:lnTo>
                <a:lnTo>
                  <a:pt x="726" y="234"/>
                </a:lnTo>
                <a:lnTo>
                  <a:pt x="722" y="234"/>
                </a:lnTo>
                <a:lnTo>
                  <a:pt x="718" y="234"/>
                </a:lnTo>
                <a:lnTo>
                  <a:pt x="716" y="234"/>
                </a:lnTo>
                <a:lnTo>
                  <a:pt x="718" y="234"/>
                </a:lnTo>
                <a:lnTo>
                  <a:pt x="722" y="234"/>
                </a:lnTo>
                <a:lnTo>
                  <a:pt x="726" y="234"/>
                </a:lnTo>
                <a:lnTo>
                  <a:pt x="730" y="238"/>
                </a:lnTo>
                <a:lnTo>
                  <a:pt x="734" y="238"/>
                </a:lnTo>
                <a:lnTo>
                  <a:pt x="738" y="242"/>
                </a:lnTo>
                <a:lnTo>
                  <a:pt x="742" y="242"/>
                </a:lnTo>
                <a:lnTo>
                  <a:pt x="742" y="246"/>
                </a:lnTo>
                <a:lnTo>
                  <a:pt x="738" y="246"/>
                </a:lnTo>
                <a:lnTo>
                  <a:pt x="734" y="246"/>
                </a:lnTo>
                <a:lnTo>
                  <a:pt x="730" y="246"/>
                </a:lnTo>
                <a:lnTo>
                  <a:pt x="730" y="250"/>
                </a:lnTo>
                <a:lnTo>
                  <a:pt x="726" y="250"/>
                </a:lnTo>
                <a:lnTo>
                  <a:pt x="722" y="250"/>
                </a:lnTo>
                <a:lnTo>
                  <a:pt x="722" y="246"/>
                </a:lnTo>
                <a:lnTo>
                  <a:pt x="718" y="246"/>
                </a:lnTo>
                <a:lnTo>
                  <a:pt x="716" y="246"/>
                </a:lnTo>
                <a:lnTo>
                  <a:pt x="716" y="242"/>
                </a:lnTo>
                <a:lnTo>
                  <a:pt x="716" y="246"/>
                </a:lnTo>
                <a:lnTo>
                  <a:pt x="718" y="246"/>
                </a:lnTo>
                <a:lnTo>
                  <a:pt x="722" y="246"/>
                </a:lnTo>
                <a:lnTo>
                  <a:pt x="722" y="250"/>
                </a:lnTo>
                <a:lnTo>
                  <a:pt x="726" y="250"/>
                </a:lnTo>
                <a:lnTo>
                  <a:pt x="730" y="250"/>
                </a:lnTo>
                <a:lnTo>
                  <a:pt x="730" y="246"/>
                </a:lnTo>
                <a:lnTo>
                  <a:pt x="734" y="246"/>
                </a:lnTo>
                <a:lnTo>
                  <a:pt x="738" y="246"/>
                </a:lnTo>
                <a:lnTo>
                  <a:pt x="742" y="246"/>
                </a:lnTo>
                <a:lnTo>
                  <a:pt x="742" y="250"/>
                </a:lnTo>
                <a:lnTo>
                  <a:pt x="738" y="254"/>
                </a:lnTo>
                <a:lnTo>
                  <a:pt x="742" y="254"/>
                </a:lnTo>
                <a:lnTo>
                  <a:pt x="742" y="256"/>
                </a:lnTo>
                <a:lnTo>
                  <a:pt x="738" y="256"/>
                </a:lnTo>
                <a:lnTo>
                  <a:pt x="734" y="256"/>
                </a:lnTo>
                <a:lnTo>
                  <a:pt x="738" y="256"/>
                </a:lnTo>
                <a:lnTo>
                  <a:pt x="742" y="256"/>
                </a:lnTo>
                <a:lnTo>
                  <a:pt x="744" y="256"/>
                </a:lnTo>
                <a:lnTo>
                  <a:pt x="748" y="256"/>
                </a:lnTo>
                <a:lnTo>
                  <a:pt x="752" y="260"/>
                </a:lnTo>
                <a:lnTo>
                  <a:pt x="756" y="256"/>
                </a:lnTo>
                <a:lnTo>
                  <a:pt x="760" y="256"/>
                </a:lnTo>
                <a:lnTo>
                  <a:pt x="760" y="260"/>
                </a:lnTo>
                <a:lnTo>
                  <a:pt x="764" y="260"/>
                </a:lnTo>
                <a:lnTo>
                  <a:pt x="764" y="264"/>
                </a:lnTo>
                <a:lnTo>
                  <a:pt x="760" y="264"/>
                </a:lnTo>
                <a:lnTo>
                  <a:pt x="760" y="268"/>
                </a:lnTo>
                <a:lnTo>
                  <a:pt x="756" y="268"/>
                </a:lnTo>
                <a:lnTo>
                  <a:pt x="752" y="268"/>
                </a:lnTo>
                <a:lnTo>
                  <a:pt x="748" y="268"/>
                </a:lnTo>
                <a:lnTo>
                  <a:pt x="744" y="268"/>
                </a:lnTo>
                <a:lnTo>
                  <a:pt x="744" y="264"/>
                </a:lnTo>
                <a:lnTo>
                  <a:pt x="742" y="264"/>
                </a:lnTo>
                <a:lnTo>
                  <a:pt x="738" y="264"/>
                </a:lnTo>
                <a:lnTo>
                  <a:pt x="734" y="264"/>
                </a:lnTo>
                <a:lnTo>
                  <a:pt x="730" y="264"/>
                </a:lnTo>
                <a:lnTo>
                  <a:pt x="726" y="264"/>
                </a:lnTo>
                <a:lnTo>
                  <a:pt x="722" y="264"/>
                </a:lnTo>
                <a:lnTo>
                  <a:pt x="722" y="260"/>
                </a:lnTo>
                <a:lnTo>
                  <a:pt x="718" y="260"/>
                </a:lnTo>
                <a:lnTo>
                  <a:pt x="722" y="260"/>
                </a:lnTo>
                <a:lnTo>
                  <a:pt x="722" y="264"/>
                </a:lnTo>
                <a:lnTo>
                  <a:pt x="722" y="268"/>
                </a:lnTo>
                <a:lnTo>
                  <a:pt x="718" y="268"/>
                </a:lnTo>
                <a:lnTo>
                  <a:pt x="716" y="268"/>
                </a:lnTo>
                <a:lnTo>
                  <a:pt x="718" y="268"/>
                </a:lnTo>
                <a:lnTo>
                  <a:pt x="718" y="272"/>
                </a:lnTo>
                <a:lnTo>
                  <a:pt x="716" y="272"/>
                </a:lnTo>
                <a:lnTo>
                  <a:pt x="718" y="276"/>
                </a:lnTo>
                <a:lnTo>
                  <a:pt x="722" y="276"/>
                </a:lnTo>
                <a:lnTo>
                  <a:pt x="722" y="280"/>
                </a:lnTo>
                <a:lnTo>
                  <a:pt x="722" y="284"/>
                </a:lnTo>
                <a:lnTo>
                  <a:pt x="726" y="284"/>
                </a:lnTo>
                <a:lnTo>
                  <a:pt x="722" y="280"/>
                </a:lnTo>
                <a:lnTo>
                  <a:pt x="722" y="276"/>
                </a:lnTo>
                <a:lnTo>
                  <a:pt x="726" y="272"/>
                </a:lnTo>
                <a:lnTo>
                  <a:pt x="726" y="276"/>
                </a:lnTo>
                <a:lnTo>
                  <a:pt x="730" y="276"/>
                </a:lnTo>
                <a:lnTo>
                  <a:pt x="734" y="276"/>
                </a:lnTo>
                <a:lnTo>
                  <a:pt x="738" y="280"/>
                </a:lnTo>
                <a:lnTo>
                  <a:pt x="742" y="280"/>
                </a:lnTo>
                <a:lnTo>
                  <a:pt x="744" y="280"/>
                </a:lnTo>
                <a:lnTo>
                  <a:pt x="744" y="284"/>
                </a:lnTo>
                <a:lnTo>
                  <a:pt x="742" y="284"/>
                </a:lnTo>
                <a:lnTo>
                  <a:pt x="742" y="286"/>
                </a:lnTo>
                <a:lnTo>
                  <a:pt x="744" y="286"/>
                </a:lnTo>
                <a:lnTo>
                  <a:pt x="742" y="290"/>
                </a:lnTo>
                <a:lnTo>
                  <a:pt x="738" y="290"/>
                </a:lnTo>
                <a:lnTo>
                  <a:pt x="734" y="290"/>
                </a:lnTo>
                <a:lnTo>
                  <a:pt x="730" y="290"/>
                </a:lnTo>
                <a:lnTo>
                  <a:pt x="726" y="290"/>
                </a:lnTo>
                <a:lnTo>
                  <a:pt x="722" y="290"/>
                </a:lnTo>
                <a:lnTo>
                  <a:pt x="722" y="294"/>
                </a:lnTo>
                <a:lnTo>
                  <a:pt x="718" y="294"/>
                </a:lnTo>
                <a:lnTo>
                  <a:pt x="716" y="294"/>
                </a:lnTo>
                <a:lnTo>
                  <a:pt x="712" y="294"/>
                </a:lnTo>
                <a:lnTo>
                  <a:pt x="708" y="294"/>
                </a:lnTo>
                <a:lnTo>
                  <a:pt x="704" y="294"/>
                </a:lnTo>
                <a:lnTo>
                  <a:pt x="704" y="290"/>
                </a:lnTo>
                <a:lnTo>
                  <a:pt x="700" y="290"/>
                </a:lnTo>
                <a:lnTo>
                  <a:pt x="696" y="290"/>
                </a:lnTo>
                <a:lnTo>
                  <a:pt x="696" y="286"/>
                </a:lnTo>
                <a:lnTo>
                  <a:pt x="692" y="286"/>
                </a:lnTo>
                <a:lnTo>
                  <a:pt x="692" y="284"/>
                </a:lnTo>
                <a:lnTo>
                  <a:pt x="696" y="284"/>
                </a:lnTo>
                <a:lnTo>
                  <a:pt x="700" y="284"/>
                </a:lnTo>
                <a:lnTo>
                  <a:pt x="704" y="286"/>
                </a:lnTo>
                <a:lnTo>
                  <a:pt x="708" y="286"/>
                </a:lnTo>
                <a:lnTo>
                  <a:pt x="712" y="286"/>
                </a:lnTo>
                <a:lnTo>
                  <a:pt x="716" y="286"/>
                </a:lnTo>
                <a:lnTo>
                  <a:pt x="718" y="286"/>
                </a:lnTo>
                <a:lnTo>
                  <a:pt x="716" y="286"/>
                </a:lnTo>
                <a:lnTo>
                  <a:pt x="712" y="286"/>
                </a:lnTo>
                <a:lnTo>
                  <a:pt x="708" y="286"/>
                </a:lnTo>
                <a:lnTo>
                  <a:pt x="704" y="284"/>
                </a:lnTo>
                <a:lnTo>
                  <a:pt x="700" y="284"/>
                </a:lnTo>
                <a:lnTo>
                  <a:pt x="696" y="284"/>
                </a:lnTo>
                <a:lnTo>
                  <a:pt x="692" y="284"/>
                </a:lnTo>
                <a:lnTo>
                  <a:pt x="692" y="280"/>
                </a:lnTo>
                <a:lnTo>
                  <a:pt x="688" y="280"/>
                </a:lnTo>
                <a:lnTo>
                  <a:pt x="688" y="284"/>
                </a:lnTo>
                <a:lnTo>
                  <a:pt x="686" y="284"/>
                </a:lnTo>
                <a:lnTo>
                  <a:pt x="686" y="286"/>
                </a:lnTo>
                <a:lnTo>
                  <a:pt x="682" y="286"/>
                </a:lnTo>
                <a:lnTo>
                  <a:pt x="678" y="286"/>
                </a:lnTo>
                <a:lnTo>
                  <a:pt x="678" y="284"/>
                </a:lnTo>
                <a:lnTo>
                  <a:pt x="674" y="284"/>
                </a:lnTo>
                <a:lnTo>
                  <a:pt x="674" y="280"/>
                </a:lnTo>
                <a:lnTo>
                  <a:pt x="670" y="280"/>
                </a:lnTo>
                <a:lnTo>
                  <a:pt x="670" y="276"/>
                </a:lnTo>
                <a:lnTo>
                  <a:pt x="666" y="276"/>
                </a:lnTo>
                <a:lnTo>
                  <a:pt x="666" y="280"/>
                </a:lnTo>
                <a:lnTo>
                  <a:pt x="670" y="280"/>
                </a:lnTo>
                <a:lnTo>
                  <a:pt x="674" y="284"/>
                </a:lnTo>
                <a:lnTo>
                  <a:pt x="678" y="284"/>
                </a:lnTo>
                <a:lnTo>
                  <a:pt x="678" y="286"/>
                </a:lnTo>
                <a:lnTo>
                  <a:pt x="682" y="286"/>
                </a:lnTo>
                <a:lnTo>
                  <a:pt x="682" y="290"/>
                </a:lnTo>
                <a:lnTo>
                  <a:pt x="678" y="290"/>
                </a:lnTo>
                <a:lnTo>
                  <a:pt x="674" y="290"/>
                </a:lnTo>
                <a:lnTo>
                  <a:pt x="670" y="290"/>
                </a:lnTo>
                <a:lnTo>
                  <a:pt x="670" y="294"/>
                </a:lnTo>
                <a:lnTo>
                  <a:pt x="666" y="294"/>
                </a:lnTo>
                <a:lnTo>
                  <a:pt x="662" y="294"/>
                </a:lnTo>
                <a:lnTo>
                  <a:pt x="660" y="294"/>
                </a:lnTo>
                <a:lnTo>
                  <a:pt x="656" y="294"/>
                </a:lnTo>
                <a:lnTo>
                  <a:pt x="652" y="294"/>
                </a:lnTo>
                <a:lnTo>
                  <a:pt x="652" y="290"/>
                </a:lnTo>
                <a:lnTo>
                  <a:pt x="648" y="290"/>
                </a:lnTo>
                <a:lnTo>
                  <a:pt x="644" y="290"/>
                </a:lnTo>
                <a:lnTo>
                  <a:pt x="648" y="294"/>
                </a:lnTo>
                <a:lnTo>
                  <a:pt x="652" y="294"/>
                </a:lnTo>
                <a:lnTo>
                  <a:pt x="656" y="294"/>
                </a:lnTo>
                <a:lnTo>
                  <a:pt x="660" y="294"/>
                </a:lnTo>
                <a:lnTo>
                  <a:pt x="656" y="294"/>
                </a:lnTo>
                <a:lnTo>
                  <a:pt x="656" y="298"/>
                </a:lnTo>
                <a:lnTo>
                  <a:pt x="652" y="298"/>
                </a:lnTo>
                <a:lnTo>
                  <a:pt x="648" y="298"/>
                </a:lnTo>
                <a:lnTo>
                  <a:pt x="644" y="298"/>
                </a:lnTo>
                <a:lnTo>
                  <a:pt x="640" y="298"/>
                </a:lnTo>
                <a:lnTo>
                  <a:pt x="644" y="298"/>
                </a:lnTo>
                <a:lnTo>
                  <a:pt x="644" y="302"/>
                </a:lnTo>
                <a:lnTo>
                  <a:pt x="644" y="306"/>
                </a:lnTo>
                <a:lnTo>
                  <a:pt x="644" y="302"/>
                </a:lnTo>
                <a:lnTo>
                  <a:pt x="644" y="298"/>
                </a:lnTo>
                <a:lnTo>
                  <a:pt x="648" y="298"/>
                </a:lnTo>
                <a:lnTo>
                  <a:pt x="652" y="298"/>
                </a:lnTo>
                <a:lnTo>
                  <a:pt x="656" y="298"/>
                </a:lnTo>
                <a:lnTo>
                  <a:pt x="660" y="298"/>
                </a:lnTo>
                <a:lnTo>
                  <a:pt x="662" y="298"/>
                </a:lnTo>
                <a:lnTo>
                  <a:pt x="666" y="298"/>
                </a:lnTo>
                <a:lnTo>
                  <a:pt x="670" y="298"/>
                </a:lnTo>
                <a:lnTo>
                  <a:pt x="674" y="298"/>
                </a:lnTo>
                <a:lnTo>
                  <a:pt x="674" y="302"/>
                </a:lnTo>
                <a:lnTo>
                  <a:pt x="678" y="298"/>
                </a:lnTo>
                <a:lnTo>
                  <a:pt x="678" y="302"/>
                </a:lnTo>
                <a:lnTo>
                  <a:pt x="678" y="306"/>
                </a:lnTo>
                <a:lnTo>
                  <a:pt x="674" y="306"/>
                </a:lnTo>
                <a:lnTo>
                  <a:pt x="670" y="306"/>
                </a:lnTo>
                <a:lnTo>
                  <a:pt x="666" y="306"/>
                </a:lnTo>
                <a:lnTo>
                  <a:pt x="662" y="310"/>
                </a:lnTo>
                <a:lnTo>
                  <a:pt x="660" y="310"/>
                </a:lnTo>
                <a:lnTo>
                  <a:pt x="656" y="306"/>
                </a:lnTo>
                <a:lnTo>
                  <a:pt x="652" y="306"/>
                </a:lnTo>
                <a:lnTo>
                  <a:pt x="648" y="306"/>
                </a:lnTo>
                <a:lnTo>
                  <a:pt x="644" y="306"/>
                </a:lnTo>
                <a:lnTo>
                  <a:pt x="648" y="306"/>
                </a:lnTo>
                <a:lnTo>
                  <a:pt x="652" y="306"/>
                </a:lnTo>
                <a:lnTo>
                  <a:pt x="656" y="306"/>
                </a:lnTo>
                <a:lnTo>
                  <a:pt x="660" y="310"/>
                </a:lnTo>
                <a:lnTo>
                  <a:pt x="656" y="310"/>
                </a:lnTo>
                <a:lnTo>
                  <a:pt x="652" y="310"/>
                </a:lnTo>
                <a:lnTo>
                  <a:pt x="656" y="310"/>
                </a:lnTo>
                <a:lnTo>
                  <a:pt x="660" y="310"/>
                </a:lnTo>
                <a:lnTo>
                  <a:pt x="660" y="314"/>
                </a:lnTo>
                <a:lnTo>
                  <a:pt x="660" y="310"/>
                </a:lnTo>
                <a:lnTo>
                  <a:pt x="662" y="310"/>
                </a:lnTo>
                <a:lnTo>
                  <a:pt x="666" y="310"/>
                </a:lnTo>
                <a:lnTo>
                  <a:pt x="670" y="306"/>
                </a:lnTo>
                <a:lnTo>
                  <a:pt x="674" y="310"/>
                </a:lnTo>
                <a:lnTo>
                  <a:pt x="678" y="310"/>
                </a:lnTo>
                <a:lnTo>
                  <a:pt x="682" y="310"/>
                </a:lnTo>
                <a:lnTo>
                  <a:pt x="682" y="314"/>
                </a:lnTo>
                <a:lnTo>
                  <a:pt x="686" y="314"/>
                </a:lnTo>
                <a:lnTo>
                  <a:pt x="682" y="316"/>
                </a:lnTo>
                <a:lnTo>
                  <a:pt x="678" y="316"/>
                </a:lnTo>
                <a:lnTo>
                  <a:pt x="674" y="316"/>
                </a:lnTo>
                <a:lnTo>
                  <a:pt x="670" y="316"/>
                </a:lnTo>
                <a:lnTo>
                  <a:pt x="666" y="316"/>
                </a:lnTo>
                <a:lnTo>
                  <a:pt x="670" y="316"/>
                </a:lnTo>
                <a:lnTo>
                  <a:pt x="674" y="316"/>
                </a:lnTo>
                <a:lnTo>
                  <a:pt x="674" y="320"/>
                </a:lnTo>
                <a:lnTo>
                  <a:pt x="670" y="320"/>
                </a:lnTo>
                <a:lnTo>
                  <a:pt x="670" y="324"/>
                </a:lnTo>
                <a:lnTo>
                  <a:pt x="674" y="324"/>
                </a:lnTo>
                <a:lnTo>
                  <a:pt x="674" y="320"/>
                </a:lnTo>
                <a:lnTo>
                  <a:pt x="678" y="320"/>
                </a:lnTo>
                <a:lnTo>
                  <a:pt x="678" y="316"/>
                </a:lnTo>
                <a:lnTo>
                  <a:pt x="682" y="316"/>
                </a:lnTo>
                <a:lnTo>
                  <a:pt x="686" y="316"/>
                </a:lnTo>
                <a:lnTo>
                  <a:pt x="686" y="320"/>
                </a:lnTo>
                <a:lnTo>
                  <a:pt x="688" y="320"/>
                </a:lnTo>
                <a:lnTo>
                  <a:pt x="692" y="320"/>
                </a:lnTo>
                <a:lnTo>
                  <a:pt x="696" y="320"/>
                </a:lnTo>
                <a:lnTo>
                  <a:pt x="696" y="324"/>
                </a:lnTo>
                <a:lnTo>
                  <a:pt x="700" y="324"/>
                </a:lnTo>
                <a:lnTo>
                  <a:pt x="704" y="324"/>
                </a:lnTo>
                <a:lnTo>
                  <a:pt x="704" y="328"/>
                </a:lnTo>
                <a:lnTo>
                  <a:pt x="708" y="328"/>
                </a:lnTo>
                <a:lnTo>
                  <a:pt x="712" y="328"/>
                </a:lnTo>
                <a:lnTo>
                  <a:pt x="712" y="332"/>
                </a:lnTo>
                <a:lnTo>
                  <a:pt x="716" y="332"/>
                </a:lnTo>
                <a:lnTo>
                  <a:pt x="712" y="332"/>
                </a:lnTo>
                <a:lnTo>
                  <a:pt x="712" y="336"/>
                </a:lnTo>
                <a:lnTo>
                  <a:pt x="708" y="336"/>
                </a:lnTo>
                <a:lnTo>
                  <a:pt x="704" y="336"/>
                </a:lnTo>
                <a:lnTo>
                  <a:pt x="704" y="340"/>
                </a:lnTo>
                <a:lnTo>
                  <a:pt x="708" y="340"/>
                </a:lnTo>
                <a:lnTo>
                  <a:pt x="708" y="336"/>
                </a:lnTo>
                <a:lnTo>
                  <a:pt x="712" y="336"/>
                </a:lnTo>
                <a:lnTo>
                  <a:pt x="716" y="336"/>
                </a:lnTo>
                <a:lnTo>
                  <a:pt x="712" y="336"/>
                </a:lnTo>
                <a:lnTo>
                  <a:pt x="712" y="340"/>
                </a:lnTo>
                <a:lnTo>
                  <a:pt x="716" y="340"/>
                </a:lnTo>
                <a:lnTo>
                  <a:pt x="716" y="336"/>
                </a:lnTo>
                <a:lnTo>
                  <a:pt x="718" y="336"/>
                </a:lnTo>
                <a:lnTo>
                  <a:pt x="722" y="336"/>
                </a:lnTo>
                <a:lnTo>
                  <a:pt x="718" y="336"/>
                </a:lnTo>
                <a:lnTo>
                  <a:pt x="718" y="340"/>
                </a:lnTo>
                <a:lnTo>
                  <a:pt x="716" y="340"/>
                </a:lnTo>
                <a:lnTo>
                  <a:pt x="712" y="342"/>
                </a:lnTo>
                <a:lnTo>
                  <a:pt x="716" y="342"/>
                </a:lnTo>
                <a:lnTo>
                  <a:pt x="716" y="346"/>
                </a:lnTo>
                <a:lnTo>
                  <a:pt x="716" y="342"/>
                </a:lnTo>
                <a:lnTo>
                  <a:pt x="718" y="342"/>
                </a:lnTo>
                <a:lnTo>
                  <a:pt x="722" y="342"/>
                </a:lnTo>
                <a:lnTo>
                  <a:pt x="726" y="342"/>
                </a:lnTo>
                <a:lnTo>
                  <a:pt x="722" y="342"/>
                </a:lnTo>
                <a:lnTo>
                  <a:pt x="722" y="346"/>
                </a:lnTo>
                <a:lnTo>
                  <a:pt x="726" y="346"/>
                </a:lnTo>
                <a:lnTo>
                  <a:pt x="722" y="346"/>
                </a:lnTo>
                <a:lnTo>
                  <a:pt x="726" y="346"/>
                </a:lnTo>
                <a:lnTo>
                  <a:pt x="726" y="350"/>
                </a:lnTo>
                <a:lnTo>
                  <a:pt x="722" y="350"/>
                </a:lnTo>
                <a:lnTo>
                  <a:pt x="722" y="354"/>
                </a:lnTo>
                <a:lnTo>
                  <a:pt x="718" y="354"/>
                </a:lnTo>
                <a:lnTo>
                  <a:pt x="716" y="354"/>
                </a:lnTo>
                <a:lnTo>
                  <a:pt x="718" y="354"/>
                </a:lnTo>
                <a:lnTo>
                  <a:pt x="722" y="354"/>
                </a:lnTo>
                <a:lnTo>
                  <a:pt x="726" y="354"/>
                </a:lnTo>
                <a:lnTo>
                  <a:pt x="726" y="358"/>
                </a:lnTo>
                <a:lnTo>
                  <a:pt x="722" y="358"/>
                </a:lnTo>
                <a:lnTo>
                  <a:pt x="722" y="362"/>
                </a:lnTo>
                <a:lnTo>
                  <a:pt x="722" y="358"/>
                </a:lnTo>
                <a:lnTo>
                  <a:pt x="722" y="362"/>
                </a:lnTo>
                <a:lnTo>
                  <a:pt x="726" y="362"/>
                </a:lnTo>
                <a:lnTo>
                  <a:pt x="726" y="358"/>
                </a:lnTo>
                <a:lnTo>
                  <a:pt x="726" y="362"/>
                </a:lnTo>
                <a:lnTo>
                  <a:pt x="722" y="362"/>
                </a:lnTo>
                <a:lnTo>
                  <a:pt x="726" y="362"/>
                </a:lnTo>
                <a:lnTo>
                  <a:pt x="722" y="366"/>
                </a:lnTo>
                <a:lnTo>
                  <a:pt x="726" y="366"/>
                </a:lnTo>
                <a:lnTo>
                  <a:pt x="730" y="366"/>
                </a:lnTo>
                <a:lnTo>
                  <a:pt x="726" y="370"/>
                </a:lnTo>
                <a:lnTo>
                  <a:pt x="722" y="370"/>
                </a:lnTo>
                <a:lnTo>
                  <a:pt x="718" y="370"/>
                </a:lnTo>
                <a:lnTo>
                  <a:pt x="716" y="370"/>
                </a:lnTo>
                <a:lnTo>
                  <a:pt x="716" y="366"/>
                </a:lnTo>
                <a:lnTo>
                  <a:pt x="716" y="362"/>
                </a:lnTo>
                <a:lnTo>
                  <a:pt x="716" y="358"/>
                </a:lnTo>
                <a:lnTo>
                  <a:pt x="712" y="358"/>
                </a:lnTo>
                <a:lnTo>
                  <a:pt x="712" y="362"/>
                </a:lnTo>
                <a:lnTo>
                  <a:pt x="712" y="366"/>
                </a:lnTo>
                <a:lnTo>
                  <a:pt x="712" y="370"/>
                </a:lnTo>
                <a:lnTo>
                  <a:pt x="708" y="370"/>
                </a:lnTo>
                <a:lnTo>
                  <a:pt x="704" y="370"/>
                </a:lnTo>
                <a:lnTo>
                  <a:pt x="700" y="370"/>
                </a:lnTo>
                <a:lnTo>
                  <a:pt x="696" y="366"/>
                </a:lnTo>
                <a:lnTo>
                  <a:pt x="692" y="366"/>
                </a:lnTo>
                <a:lnTo>
                  <a:pt x="692" y="362"/>
                </a:lnTo>
                <a:lnTo>
                  <a:pt x="688" y="362"/>
                </a:lnTo>
                <a:lnTo>
                  <a:pt x="688" y="358"/>
                </a:lnTo>
                <a:lnTo>
                  <a:pt x="688" y="354"/>
                </a:lnTo>
                <a:lnTo>
                  <a:pt x="688" y="350"/>
                </a:lnTo>
                <a:lnTo>
                  <a:pt x="686" y="350"/>
                </a:lnTo>
                <a:lnTo>
                  <a:pt x="682" y="346"/>
                </a:lnTo>
                <a:lnTo>
                  <a:pt x="678" y="346"/>
                </a:lnTo>
                <a:lnTo>
                  <a:pt x="674" y="346"/>
                </a:lnTo>
                <a:lnTo>
                  <a:pt x="674" y="342"/>
                </a:lnTo>
                <a:lnTo>
                  <a:pt x="670" y="342"/>
                </a:lnTo>
                <a:lnTo>
                  <a:pt x="670" y="340"/>
                </a:lnTo>
                <a:lnTo>
                  <a:pt x="666" y="340"/>
                </a:lnTo>
                <a:lnTo>
                  <a:pt x="660" y="340"/>
                </a:lnTo>
                <a:lnTo>
                  <a:pt x="656" y="340"/>
                </a:lnTo>
                <a:lnTo>
                  <a:pt x="652" y="340"/>
                </a:lnTo>
                <a:lnTo>
                  <a:pt x="648" y="336"/>
                </a:lnTo>
                <a:lnTo>
                  <a:pt x="644" y="336"/>
                </a:lnTo>
                <a:lnTo>
                  <a:pt x="644" y="332"/>
                </a:lnTo>
                <a:lnTo>
                  <a:pt x="640" y="332"/>
                </a:lnTo>
                <a:lnTo>
                  <a:pt x="640" y="328"/>
                </a:lnTo>
                <a:lnTo>
                  <a:pt x="636" y="328"/>
                </a:lnTo>
                <a:lnTo>
                  <a:pt x="632" y="328"/>
                </a:lnTo>
                <a:lnTo>
                  <a:pt x="630" y="324"/>
                </a:lnTo>
                <a:lnTo>
                  <a:pt x="626" y="324"/>
                </a:lnTo>
                <a:lnTo>
                  <a:pt x="626" y="328"/>
                </a:lnTo>
                <a:lnTo>
                  <a:pt x="630" y="328"/>
                </a:lnTo>
                <a:lnTo>
                  <a:pt x="630" y="332"/>
                </a:lnTo>
                <a:lnTo>
                  <a:pt x="632" y="332"/>
                </a:lnTo>
                <a:lnTo>
                  <a:pt x="636" y="332"/>
                </a:lnTo>
                <a:lnTo>
                  <a:pt x="640" y="336"/>
                </a:lnTo>
                <a:lnTo>
                  <a:pt x="644" y="336"/>
                </a:lnTo>
                <a:lnTo>
                  <a:pt x="644" y="340"/>
                </a:lnTo>
                <a:lnTo>
                  <a:pt x="640" y="340"/>
                </a:lnTo>
                <a:lnTo>
                  <a:pt x="636" y="340"/>
                </a:lnTo>
                <a:lnTo>
                  <a:pt x="632" y="340"/>
                </a:lnTo>
                <a:lnTo>
                  <a:pt x="630" y="340"/>
                </a:lnTo>
                <a:lnTo>
                  <a:pt x="632" y="340"/>
                </a:lnTo>
                <a:lnTo>
                  <a:pt x="636" y="340"/>
                </a:lnTo>
                <a:lnTo>
                  <a:pt x="640" y="340"/>
                </a:lnTo>
                <a:lnTo>
                  <a:pt x="644" y="340"/>
                </a:lnTo>
                <a:lnTo>
                  <a:pt x="648" y="340"/>
                </a:lnTo>
                <a:lnTo>
                  <a:pt x="644" y="340"/>
                </a:lnTo>
                <a:lnTo>
                  <a:pt x="644" y="342"/>
                </a:lnTo>
                <a:lnTo>
                  <a:pt x="648" y="342"/>
                </a:lnTo>
                <a:lnTo>
                  <a:pt x="648" y="340"/>
                </a:lnTo>
                <a:lnTo>
                  <a:pt x="652" y="340"/>
                </a:lnTo>
                <a:lnTo>
                  <a:pt x="652" y="342"/>
                </a:lnTo>
                <a:lnTo>
                  <a:pt x="656" y="342"/>
                </a:lnTo>
                <a:lnTo>
                  <a:pt x="660" y="342"/>
                </a:lnTo>
                <a:lnTo>
                  <a:pt x="662" y="342"/>
                </a:lnTo>
                <a:lnTo>
                  <a:pt x="666" y="342"/>
                </a:lnTo>
                <a:lnTo>
                  <a:pt x="670" y="342"/>
                </a:lnTo>
                <a:lnTo>
                  <a:pt x="674" y="346"/>
                </a:lnTo>
                <a:lnTo>
                  <a:pt x="670" y="350"/>
                </a:lnTo>
                <a:lnTo>
                  <a:pt x="670" y="346"/>
                </a:lnTo>
                <a:lnTo>
                  <a:pt x="666" y="346"/>
                </a:lnTo>
                <a:lnTo>
                  <a:pt x="670" y="350"/>
                </a:lnTo>
                <a:lnTo>
                  <a:pt x="662" y="354"/>
                </a:lnTo>
                <a:lnTo>
                  <a:pt x="660" y="354"/>
                </a:lnTo>
                <a:lnTo>
                  <a:pt x="652" y="358"/>
                </a:lnTo>
                <a:lnTo>
                  <a:pt x="652" y="354"/>
                </a:lnTo>
                <a:lnTo>
                  <a:pt x="648" y="358"/>
                </a:lnTo>
                <a:lnTo>
                  <a:pt x="644" y="358"/>
                </a:lnTo>
                <a:lnTo>
                  <a:pt x="644" y="354"/>
                </a:lnTo>
                <a:lnTo>
                  <a:pt x="640" y="354"/>
                </a:lnTo>
                <a:lnTo>
                  <a:pt x="640" y="350"/>
                </a:lnTo>
                <a:lnTo>
                  <a:pt x="636" y="350"/>
                </a:lnTo>
                <a:lnTo>
                  <a:pt x="636" y="354"/>
                </a:lnTo>
                <a:lnTo>
                  <a:pt x="640" y="354"/>
                </a:lnTo>
                <a:lnTo>
                  <a:pt x="640" y="358"/>
                </a:lnTo>
                <a:lnTo>
                  <a:pt x="640" y="354"/>
                </a:lnTo>
                <a:lnTo>
                  <a:pt x="636" y="354"/>
                </a:lnTo>
                <a:lnTo>
                  <a:pt x="632" y="354"/>
                </a:lnTo>
                <a:lnTo>
                  <a:pt x="630" y="354"/>
                </a:lnTo>
                <a:lnTo>
                  <a:pt x="632" y="354"/>
                </a:lnTo>
                <a:lnTo>
                  <a:pt x="632" y="358"/>
                </a:lnTo>
                <a:lnTo>
                  <a:pt x="636" y="358"/>
                </a:lnTo>
                <a:lnTo>
                  <a:pt x="636" y="362"/>
                </a:lnTo>
                <a:lnTo>
                  <a:pt x="632" y="366"/>
                </a:lnTo>
                <a:lnTo>
                  <a:pt x="630" y="366"/>
                </a:lnTo>
                <a:lnTo>
                  <a:pt x="626" y="366"/>
                </a:lnTo>
                <a:lnTo>
                  <a:pt x="622" y="370"/>
                </a:lnTo>
                <a:lnTo>
                  <a:pt x="618" y="370"/>
                </a:lnTo>
                <a:lnTo>
                  <a:pt x="622" y="370"/>
                </a:lnTo>
                <a:lnTo>
                  <a:pt x="626" y="370"/>
                </a:lnTo>
                <a:lnTo>
                  <a:pt x="630" y="370"/>
                </a:lnTo>
                <a:lnTo>
                  <a:pt x="632" y="366"/>
                </a:lnTo>
                <a:lnTo>
                  <a:pt x="632" y="370"/>
                </a:lnTo>
                <a:lnTo>
                  <a:pt x="630" y="370"/>
                </a:lnTo>
                <a:lnTo>
                  <a:pt x="632" y="370"/>
                </a:lnTo>
                <a:lnTo>
                  <a:pt x="636" y="370"/>
                </a:lnTo>
                <a:lnTo>
                  <a:pt x="640" y="370"/>
                </a:lnTo>
                <a:lnTo>
                  <a:pt x="648" y="370"/>
                </a:lnTo>
                <a:lnTo>
                  <a:pt x="652" y="370"/>
                </a:lnTo>
                <a:lnTo>
                  <a:pt x="656" y="370"/>
                </a:lnTo>
                <a:lnTo>
                  <a:pt x="660" y="370"/>
                </a:lnTo>
                <a:lnTo>
                  <a:pt x="660" y="372"/>
                </a:lnTo>
                <a:lnTo>
                  <a:pt x="656" y="372"/>
                </a:lnTo>
                <a:lnTo>
                  <a:pt x="652" y="372"/>
                </a:lnTo>
                <a:lnTo>
                  <a:pt x="648" y="372"/>
                </a:lnTo>
                <a:lnTo>
                  <a:pt x="644" y="372"/>
                </a:lnTo>
                <a:lnTo>
                  <a:pt x="644" y="376"/>
                </a:lnTo>
                <a:lnTo>
                  <a:pt x="640" y="376"/>
                </a:lnTo>
                <a:lnTo>
                  <a:pt x="636" y="376"/>
                </a:lnTo>
                <a:lnTo>
                  <a:pt x="632" y="376"/>
                </a:lnTo>
                <a:lnTo>
                  <a:pt x="630" y="376"/>
                </a:lnTo>
                <a:lnTo>
                  <a:pt x="630" y="380"/>
                </a:lnTo>
                <a:lnTo>
                  <a:pt x="632" y="376"/>
                </a:lnTo>
                <a:lnTo>
                  <a:pt x="632" y="380"/>
                </a:lnTo>
                <a:lnTo>
                  <a:pt x="636" y="380"/>
                </a:lnTo>
                <a:lnTo>
                  <a:pt x="640" y="380"/>
                </a:lnTo>
                <a:lnTo>
                  <a:pt x="644" y="380"/>
                </a:lnTo>
                <a:lnTo>
                  <a:pt x="648" y="376"/>
                </a:lnTo>
                <a:lnTo>
                  <a:pt x="652" y="372"/>
                </a:lnTo>
                <a:lnTo>
                  <a:pt x="656" y="372"/>
                </a:lnTo>
                <a:lnTo>
                  <a:pt x="656" y="376"/>
                </a:lnTo>
                <a:lnTo>
                  <a:pt x="660" y="376"/>
                </a:lnTo>
                <a:lnTo>
                  <a:pt x="662" y="372"/>
                </a:lnTo>
                <a:lnTo>
                  <a:pt x="666" y="372"/>
                </a:lnTo>
                <a:lnTo>
                  <a:pt x="670" y="372"/>
                </a:lnTo>
                <a:lnTo>
                  <a:pt x="674" y="370"/>
                </a:lnTo>
                <a:lnTo>
                  <a:pt x="674" y="372"/>
                </a:lnTo>
                <a:lnTo>
                  <a:pt x="678" y="372"/>
                </a:lnTo>
                <a:lnTo>
                  <a:pt x="678" y="370"/>
                </a:lnTo>
                <a:lnTo>
                  <a:pt x="678" y="372"/>
                </a:lnTo>
                <a:lnTo>
                  <a:pt x="682" y="372"/>
                </a:lnTo>
                <a:lnTo>
                  <a:pt x="686" y="372"/>
                </a:lnTo>
                <a:lnTo>
                  <a:pt x="692" y="376"/>
                </a:lnTo>
                <a:lnTo>
                  <a:pt x="696" y="376"/>
                </a:lnTo>
                <a:lnTo>
                  <a:pt x="700" y="376"/>
                </a:lnTo>
                <a:lnTo>
                  <a:pt x="704" y="376"/>
                </a:lnTo>
                <a:lnTo>
                  <a:pt x="708" y="376"/>
                </a:lnTo>
                <a:lnTo>
                  <a:pt x="712" y="376"/>
                </a:lnTo>
                <a:lnTo>
                  <a:pt x="716" y="376"/>
                </a:lnTo>
                <a:lnTo>
                  <a:pt x="718" y="376"/>
                </a:lnTo>
                <a:lnTo>
                  <a:pt x="718" y="380"/>
                </a:lnTo>
                <a:lnTo>
                  <a:pt x="716" y="380"/>
                </a:lnTo>
                <a:lnTo>
                  <a:pt x="712" y="380"/>
                </a:lnTo>
                <a:lnTo>
                  <a:pt x="708" y="380"/>
                </a:lnTo>
                <a:lnTo>
                  <a:pt x="708" y="384"/>
                </a:lnTo>
                <a:lnTo>
                  <a:pt x="712" y="384"/>
                </a:lnTo>
                <a:lnTo>
                  <a:pt x="708" y="384"/>
                </a:lnTo>
                <a:lnTo>
                  <a:pt x="708" y="380"/>
                </a:lnTo>
                <a:lnTo>
                  <a:pt x="704" y="380"/>
                </a:lnTo>
                <a:lnTo>
                  <a:pt x="704" y="384"/>
                </a:lnTo>
                <a:lnTo>
                  <a:pt x="708" y="384"/>
                </a:lnTo>
                <a:lnTo>
                  <a:pt x="704" y="384"/>
                </a:lnTo>
                <a:lnTo>
                  <a:pt x="708" y="384"/>
                </a:lnTo>
                <a:lnTo>
                  <a:pt x="708" y="388"/>
                </a:lnTo>
                <a:lnTo>
                  <a:pt x="704" y="388"/>
                </a:lnTo>
                <a:lnTo>
                  <a:pt x="704" y="384"/>
                </a:lnTo>
                <a:lnTo>
                  <a:pt x="700" y="384"/>
                </a:lnTo>
                <a:lnTo>
                  <a:pt x="704" y="384"/>
                </a:lnTo>
                <a:lnTo>
                  <a:pt x="704" y="388"/>
                </a:lnTo>
                <a:lnTo>
                  <a:pt x="700" y="388"/>
                </a:lnTo>
                <a:lnTo>
                  <a:pt x="696" y="388"/>
                </a:lnTo>
                <a:lnTo>
                  <a:pt x="692" y="388"/>
                </a:lnTo>
                <a:lnTo>
                  <a:pt x="696" y="388"/>
                </a:lnTo>
                <a:lnTo>
                  <a:pt x="700" y="388"/>
                </a:lnTo>
                <a:lnTo>
                  <a:pt x="696" y="392"/>
                </a:lnTo>
                <a:lnTo>
                  <a:pt x="692" y="392"/>
                </a:lnTo>
                <a:lnTo>
                  <a:pt x="688" y="392"/>
                </a:lnTo>
                <a:lnTo>
                  <a:pt x="692" y="392"/>
                </a:lnTo>
                <a:lnTo>
                  <a:pt x="688" y="396"/>
                </a:lnTo>
                <a:lnTo>
                  <a:pt x="686" y="396"/>
                </a:lnTo>
                <a:lnTo>
                  <a:pt x="682" y="396"/>
                </a:lnTo>
                <a:lnTo>
                  <a:pt x="686" y="398"/>
                </a:lnTo>
                <a:lnTo>
                  <a:pt x="682" y="398"/>
                </a:lnTo>
                <a:lnTo>
                  <a:pt x="678" y="398"/>
                </a:lnTo>
                <a:lnTo>
                  <a:pt x="674" y="398"/>
                </a:lnTo>
                <a:lnTo>
                  <a:pt x="678" y="398"/>
                </a:lnTo>
                <a:lnTo>
                  <a:pt x="678" y="402"/>
                </a:lnTo>
                <a:lnTo>
                  <a:pt x="674" y="402"/>
                </a:lnTo>
                <a:lnTo>
                  <a:pt x="674" y="406"/>
                </a:lnTo>
                <a:lnTo>
                  <a:pt x="670" y="402"/>
                </a:lnTo>
                <a:lnTo>
                  <a:pt x="670" y="406"/>
                </a:lnTo>
                <a:lnTo>
                  <a:pt x="666" y="406"/>
                </a:lnTo>
                <a:lnTo>
                  <a:pt x="670" y="406"/>
                </a:lnTo>
                <a:lnTo>
                  <a:pt x="670" y="410"/>
                </a:lnTo>
                <a:lnTo>
                  <a:pt x="666" y="410"/>
                </a:lnTo>
                <a:lnTo>
                  <a:pt x="662" y="410"/>
                </a:lnTo>
                <a:lnTo>
                  <a:pt x="660" y="414"/>
                </a:lnTo>
                <a:lnTo>
                  <a:pt x="656" y="414"/>
                </a:lnTo>
                <a:lnTo>
                  <a:pt x="652" y="414"/>
                </a:lnTo>
                <a:lnTo>
                  <a:pt x="648" y="418"/>
                </a:lnTo>
                <a:lnTo>
                  <a:pt x="648" y="414"/>
                </a:lnTo>
                <a:lnTo>
                  <a:pt x="644" y="414"/>
                </a:lnTo>
                <a:lnTo>
                  <a:pt x="644" y="418"/>
                </a:lnTo>
                <a:lnTo>
                  <a:pt x="648" y="418"/>
                </a:lnTo>
                <a:lnTo>
                  <a:pt x="644" y="418"/>
                </a:lnTo>
                <a:lnTo>
                  <a:pt x="640" y="418"/>
                </a:lnTo>
                <a:lnTo>
                  <a:pt x="636" y="418"/>
                </a:lnTo>
                <a:lnTo>
                  <a:pt x="632" y="422"/>
                </a:lnTo>
                <a:lnTo>
                  <a:pt x="630" y="418"/>
                </a:lnTo>
                <a:lnTo>
                  <a:pt x="626" y="422"/>
                </a:lnTo>
                <a:lnTo>
                  <a:pt x="622" y="422"/>
                </a:lnTo>
                <a:lnTo>
                  <a:pt x="618" y="422"/>
                </a:lnTo>
                <a:lnTo>
                  <a:pt x="622" y="422"/>
                </a:lnTo>
                <a:lnTo>
                  <a:pt x="622" y="426"/>
                </a:lnTo>
                <a:lnTo>
                  <a:pt x="618" y="426"/>
                </a:lnTo>
                <a:lnTo>
                  <a:pt x="618" y="422"/>
                </a:lnTo>
                <a:lnTo>
                  <a:pt x="618" y="426"/>
                </a:lnTo>
                <a:lnTo>
                  <a:pt x="614" y="426"/>
                </a:lnTo>
                <a:lnTo>
                  <a:pt x="610" y="422"/>
                </a:lnTo>
                <a:lnTo>
                  <a:pt x="606" y="422"/>
                </a:lnTo>
                <a:lnTo>
                  <a:pt x="604" y="426"/>
                </a:lnTo>
                <a:lnTo>
                  <a:pt x="606" y="426"/>
                </a:lnTo>
                <a:lnTo>
                  <a:pt x="606" y="428"/>
                </a:lnTo>
                <a:lnTo>
                  <a:pt x="604" y="428"/>
                </a:lnTo>
                <a:lnTo>
                  <a:pt x="604" y="426"/>
                </a:lnTo>
                <a:lnTo>
                  <a:pt x="600" y="426"/>
                </a:lnTo>
                <a:lnTo>
                  <a:pt x="596" y="426"/>
                </a:lnTo>
                <a:lnTo>
                  <a:pt x="600" y="426"/>
                </a:lnTo>
                <a:lnTo>
                  <a:pt x="604" y="428"/>
                </a:lnTo>
                <a:lnTo>
                  <a:pt x="600" y="428"/>
                </a:lnTo>
                <a:lnTo>
                  <a:pt x="596" y="428"/>
                </a:lnTo>
                <a:lnTo>
                  <a:pt x="592" y="428"/>
                </a:lnTo>
                <a:lnTo>
                  <a:pt x="588" y="428"/>
                </a:lnTo>
                <a:lnTo>
                  <a:pt x="588" y="426"/>
                </a:lnTo>
                <a:lnTo>
                  <a:pt x="584" y="428"/>
                </a:lnTo>
                <a:lnTo>
                  <a:pt x="588" y="428"/>
                </a:lnTo>
                <a:lnTo>
                  <a:pt x="584" y="428"/>
                </a:lnTo>
                <a:lnTo>
                  <a:pt x="584" y="426"/>
                </a:lnTo>
                <a:lnTo>
                  <a:pt x="580" y="426"/>
                </a:lnTo>
                <a:lnTo>
                  <a:pt x="576" y="426"/>
                </a:lnTo>
                <a:lnTo>
                  <a:pt x="576" y="422"/>
                </a:lnTo>
                <a:lnTo>
                  <a:pt x="574" y="422"/>
                </a:lnTo>
                <a:lnTo>
                  <a:pt x="574" y="418"/>
                </a:lnTo>
                <a:lnTo>
                  <a:pt x="574" y="414"/>
                </a:lnTo>
                <a:lnTo>
                  <a:pt x="574" y="418"/>
                </a:lnTo>
                <a:lnTo>
                  <a:pt x="570" y="418"/>
                </a:lnTo>
                <a:lnTo>
                  <a:pt x="574" y="418"/>
                </a:lnTo>
                <a:lnTo>
                  <a:pt x="574" y="422"/>
                </a:lnTo>
                <a:lnTo>
                  <a:pt x="576" y="422"/>
                </a:lnTo>
                <a:lnTo>
                  <a:pt x="576" y="426"/>
                </a:lnTo>
                <a:lnTo>
                  <a:pt x="574" y="426"/>
                </a:lnTo>
                <a:lnTo>
                  <a:pt x="576" y="426"/>
                </a:lnTo>
                <a:lnTo>
                  <a:pt x="580" y="428"/>
                </a:lnTo>
                <a:lnTo>
                  <a:pt x="576" y="428"/>
                </a:lnTo>
                <a:lnTo>
                  <a:pt x="576" y="432"/>
                </a:lnTo>
                <a:lnTo>
                  <a:pt x="574" y="432"/>
                </a:lnTo>
                <a:lnTo>
                  <a:pt x="570" y="432"/>
                </a:lnTo>
                <a:lnTo>
                  <a:pt x="574" y="432"/>
                </a:lnTo>
                <a:lnTo>
                  <a:pt x="574" y="436"/>
                </a:lnTo>
                <a:lnTo>
                  <a:pt x="570" y="436"/>
                </a:lnTo>
                <a:lnTo>
                  <a:pt x="566" y="436"/>
                </a:lnTo>
                <a:lnTo>
                  <a:pt x="566" y="440"/>
                </a:lnTo>
                <a:lnTo>
                  <a:pt x="562" y="440"/>
                </a:lnTo>
                <a:lnTo>
                  <a:pt x="562" y="436"/>
                </a:lnTo>
                <a:lnTo>
                  <a:pt x="562" y="440"/>
                </a:lnTo>
                <a:lnTo>
                  <a:pt x="566" y="440"/>
                </a:lnTo>
                <a:lnTo>
                  <a:pt x="562" y="440"/>
                </a:lnTo>
                <a:lnTo>
                  <a:pt x="562" y="444"/>
                </a:lnTo>
                <a:lnTo>
                  <a:pt x="562" y="448"/>
                </a:lnTo>
                <a:lnTo>
                  <a:pt x="558" y="448"/>
                </a:lnTo>
                <a:lnTo>
                  <a:pt x="558" y="452"/>
                </a:lnTo>
                <a:lnTo>
                  <a:pt x="554" y="452"/>
                </a:lnTo>
                <a:lnTo>
                  <a:pt x="554" y="456"/>
                </a:lnTo>
                <a:lnTo>
                  <a:pt x="550" y="456"/>
                </a:lnTo>
                <a:lnTo>
                  <a:pt x="550" y="458"/>
                </a:lnTo>
                <a:lnTo>
                  <a:pt x="550" y="462"/>
                </a:lnTo>
                <a:lnTo>
                  <a:pt x="546" y="466"/>
                </a:lnTo>
                <a:lnTo>
                  <a:pt x="546" y="462"/>
                </a:lnTo>
                <a:lnTo>
                  <a:pt x="546" y="466"/>
                </a:lnTo>
                <a:lnTo>
                  <a:pt x="544" y="466"/>
                </a:lnTo>
                <a:lnTo>
                  <a:pt x="544" y="462"/>
                </a:lnTo>
                <a:lnTo>
                  <a:pt x="546" y="462"/>
                </a:lnTo>
                <a:lnTo>
                  <a:pt x="544" y="462"/>
                </a:lnTo>
                <a:lnTo>
                  <a:pt x="544" y="466"/>
                </a:lnTo>
                <a:lnTo>
                  <a:pt x="544" y="470"/>
                </a:lnTo>
                <a:lnTo>
                  <a:pt x="540" y="470"/>
                </a:lnTo>
                <a:lnTo>
                  <a:pt x="540" y="474"/>
                </a:lnTo>
                <a:lnTo>
                  <a:pt x="536" y="474"/>
                </a:lnTo>
                <a:lnTo>
                  <a:pt x="536" y="470"/>
                </a:lnTo>
                <a:lnTo>
                  <a:pt x="532" y="470"/>
                </a:lnTo>
                <a:lnTo>
                  <a:pt x="532" y="474"/>
                </a:lnTo>
                <a:lnTo>
                  <a:pt x="536" y="474"/>
                </a:lnTo>
                <a:lnTo>
                  <a:pt x="532" y="474"/>
                </a:lnTo>
                <a:lnTo>
                  <a:pt x="528" y="474"/>
                </a:lnTo>
                <a:lnTo>
                  <a:pt x="524" y="470"/>
                </a:lnTo>
                <a:lnTo>
                  <a:pt x="528" y="474"/>
                </a:lnTo>
                <a:lnTo>
                  <a:pt x="528" y="478"/>
                </a:lnTo>
                <a:lnTo>
                  <a:pt x="524" y="478"/>
                </a:lnTo>
                <a:lnTo>
                  <a:pt x="524" y="482"/>
                </a:lnTo>
                <a:lnTo>
                  <a:pt x="520" y="482"/>
                </a:lnTo>
                <a:lnTo>
                  <a:pt x="518" y="482"/>
                </a:lnTo>
                <a:lnTo>
                  <a:pt x="518" y="478"/>
                </a:lnTo>
                <a:lnTo>
                  <a:pt x="514" y="478"/>
                </a:lnTo>
                <a:lnTo>
                  <a:pt x="518" y="478"/>
                </a:lnTo>
                <a:lnTo>
                  <a:pt x="514" y="482"/>
                </a:lnTo>
                <a:lnTo>
                  <a:pt x="510" y="482"/>
                </a:lnTo>
                <a:lnTo>
                  <a:pt x="510" y="484"/>
                </a:lnTo>
                <a:lnTo>
                  <a:pt x="506" y="484"/>
                </a:lnTo>
                <a:lnTo>
                  <a:pt x="506" y="482"/>
                </a:lnTo>
                <a:lnTo>
                  <a:pt x="506" y="478"/>
                </a:lnTo>
                <a:lnTo>
                  <a:pt x="506" y="482"/>
                </a:lnTo>
                <a:lnTo>
                  <a:pt x="506" y="484"/>
                </a:lnTo>
                <a:lnTo>
                  <a:pt x="502" y="484"/>
                </a:lnTo>
                <a:lnTo>
                  <a:pt x="502" y="482"/>
                </a:lnTo>
                <a:lnTo>
                  <a:pt x="498" y="482"/>
                </a:lnTo>
                <a:lnTo>
                  <a:pt x="498" y="478"/>
                </a:lnTo>
                <a:lnTo>
                  <a:pt x="502" y="474"/>
                </a:lnTo>
                <a:lnTo>
                  <a:pt x="506" y="474"/>
                </a:lnTo>
                <a:lnTo>
                  <a:pt x="506" y="470"/>
                </a:lnTo>
                <a:lnTo>
                  <a:pt x="502" y="470"/>
                </a:lnTo>
                <a:lnTo>
                  <a:pt x="502" y="474"/>
                </a:lnTo>
                <a:lnTo>
                  <a:pt x="498" y="474"/>
                </a:lnTo>
                <a:lnTo>
                  <a:pt x="498" y="470"/>
                </a:lnTo>
                <a:lnTo>
                  <a:pt x="494" y="470"/>
                </a:lnTo>
                <a:lnTo>
                  <a:pt x="490" y="470"/>
                </a:lnTo>
                <a:lnTo>
                  <a:pt x="494" y="470"/>
                </a:lnTo>
                <a:lnTo>
                  <a:pt x="494" y="474"/>
                </a:lnTo>
                <a:lnTo>
                  <a:pt x="498" y="474"/>
                </a:lnTo>
                <a:lnTo>
                  <a:pt x="494" y="474"/>
                </a:lnTo>
                <a:lnTo>
                  <a:pt x="494" y="478"/>
                </a:lnTo>
                <a:lnTo>
                  <a:pt x="494" y="482"/>
                </a:lnTo>
                <a:lnTo>
                  <a:pt x="490" y="482"/>
                </a:lnTo>
                <a:lnTo>
                  <a:pt x="488" y="482"/>
                </a:lnTo>
                <a:lnTo>
                  <a:pt x="488" y="478"/>
                </a:lnTo>
                <a:lnTo>
                  <a:pt x="488" y="482"/>
                </a:lnTo>
                <a:lnTo>
                  <a:pt x="490" y="484"/>
                </a:lnTo>
                <a:lnTo>
                  <a:pt x="490" y="488"/>
                </a:lnTo>
                <a:lnTo>
                  <a:pt x="488" y="488"/>
                </a:lnTo>
                <a:lnTo>
                  <a:pt x="484" y="488"/>
                </a:lnTo>
                <a:lnTo>
                  <a:pt x="488" y="488"/>
                </a:lnTo>
                <a:lnTo>
                  <a:pt x="484" y="488"/>
                </a:lnTo>
                <a:lnTo>
                  <a:pt x="480" y="488"/>
                </a:lnTo>
                <a:lnTo>
                  <a:pt x="476" y="488"/>
                </a:lnTo>
                <a:lnTo>
                  <a:pt x="476" y="484"/>
                </a:lnTo>
                <a:lnTo>
                  <a:pt x="476" y="488"/>
                </a:lnTo>
                <a:lnTo>
                  <a:pt x="476" y="492"/>
                </a:lnTo>
                <a:lnTo>
                  <a:pt x="472" y="492"/>
                </a:lnTo>
                <a:lnTo>
                  <a:pt x="472" y="488"/>
                </a:lnTo>
                <a:lnTo>
                  <a:pt x="468" y="488"/>
                </a:lnTo>
                <a:lnTo>
                  <a:pt x="468" y="492"/>
                </a:lnTo>
                <a:lnTo>
                  <a:pt x="464" y="492"/>
                </a:lnTo>
                <a:lnTo>
                  <a:pt x="464" y="488"/>
                </a:lnTo>
                <a:lnTo>
                  <a:pt x="462" y="492"/>
                </a:lnTo>
                <a:lnTo>
                  <a:pt x="464" y="492"/>
                </a:lnTo>
                <a:lnTo>
                  <a:pt x="468" y="492"/>
                </a:lnTo>
                <a:lnTo>
                  <a:pt x="468" y="496"/>
                </a:lnTo>
                <a:lnTo>
                  <a:pt x="468" y="492"/>
                </a:lnTo>
                <a:lnTo>
                  <a:pt x="464" y="496"/>
                </a:lnTo>
                <a:lnTo>
                  <a:pt x="468" y="496"/>
                </a:lnTo>
                <a:lnTo>
                  <a:pt x="468" y="500"/>
                </a:lnTo>
                <a:lnTo>
                  <a:pt x="464" y="500"/>
                </a:lnTo>
                <a:lnTo>
                  <a:pt x="464" y="504"/>
                </a:lnTo>
                <a:lnTo>
                  <a:pt x="462" y="504"/>
                </a:lnTo>
                <a:lnTo>
                  <a:pt x="458" y="504"/>
                </a:lnTo>
                <a:lnTo>
                  <a:pt x="458" y="500"/>
                </a:lnTo>
                <a:lnTo>
                  <a:pt x="458" y="504"/>
                </a:lnTo>
                <a:lnTo>
                  <a:pt x="450" y="504"/>
                </a:lnTo>
                <a:lnTo>
                  <a:pt x="450" y="508"/>
                </a:lnTo>
                <a:lnTo>
                  <a:pt x="454" y="508"/>
                </a:lnTo>
                <a:lnTo>
                  <a:pt x="454" y="512"/>
                </a:lnTo>
                <a:lnTo>
                  <a:pt x="458" y="512"/>
                </a:lnTo>
                <a:lnTo>
                  <a:pt x="458" y="514"/>
                </a:lnTo>
                <a:lnTo>
                  <a:pt x="458" y="518"/>
                </a:lnTo>
                <a:lnTo>
                  <a:pt x="462" y="518"/>
                </a:lnTo>
                <a:lnTo>
                  <a:pt x="458" y="518"/>
                </a:lnTo>
                <a:lnTo>
                  <a:pt x="454" y="518"/>
                </a:lnTo>
                <a:lnTo>
                  <a:pt x="450" y="522"/>
                </a:lnTo>
                <a:lnTo>
                  <a:pt x="446" y="518"/>
                </a:lnTo>
                <a:lnTo>
                  <a:pt x="442" y="518"/>
                </a:lnTo>
                <a:lnTo>
                  <a:pt x="442" y="522"/>
                </a:lnTo>
                <a:lnTo>
                  <a:pt x="446" y="522"/>
                </a:lnTo>
                <a:lnTo>
                  <a:pt x="450" y="526"/>
                </a:lnTo>
                <a:lnTo>
                  <a:pt x="454" y="526"/>
                </a:lnTo>
                <a:lnTo>
                  <a:pt x="454" y="522"/>
                </a:lnTo>
                <a:lnTo>
                  <a:pt x="458" y="526"/>
                </a:lnTo>
                <a:lnTo>
                  <a:pt x="454" y="530"/>
                </a:lnTo>
                <a:lnTo>
                  <a:pt x="458" y="530"/>
                </a:lnTo>
                <a:lnTo>
                  <a:pt x="458" y="534"/>
                </a:lnTo>
                <a:lnTo>
                  <a:pt x="458" y="538"/>
                </a:lnTo>
                <a:lnTo>
                  <a:pt x="454" y="538"/>
                </a:lnTo>
                <a:lnTo>
                  <a:pt x="454" y="534"/>
                </a:lnTo>
                <a:lnTo>
                  <a:pt x="450" y="534"/>
                </a:lnTo>
                <a:lnTo>
                  <a:pt x="446" y="534"/>
                </a:lnTo>
                <a:lnTo>
                  <a:pt x="442" y="534"/>
                </a:lnTo>
                <a:lnTo>
                  <a:pt x="446" y="534"/>
                </a:lnTo>
                <a:lnTo>
                  <a:pt x="450" y="534"/>
                </a:lnTo>
                <a:lnTo>
                  <a:pt x="450" y="538"/>
                </a:lnTo>
                <a:lnTo>
                  <a:pt x="454" y="538"/>
                </a:lnTo>
                <a:lnTo>
                  <a:pt x="454" y="540"/>
                </a:lnTo>
                <a:lnTo>
                  <a:pt x="454" y="538"/>
                </a:lnTo>
                <a:lnTo>
                  <a:pt x="450" y="538"/>
                </a:lnTo>
                <a:lnTo>
                  <a:pt x="450" y="540"/>
                </a:lnTo>
                <a:lnTo>
                  <a:pt x="446" y="540"/>
                </a:lnTo>
                <a:lnTo>
                  <a:pt x="446" y="538"/>
                </a:lnTo>
                <a:lnTo>
                  <a:pt x="446" y="540"/>
                </a:lnTo>
                <a:lnTo>
                  <a:pt x="450" y="540"/>
                </a:lnTo>
                <a:lnTo>
                  <a:pt x="446" y="540"/>
                </a:lnTo>
                <a:lnTo>
                  <a:pt x="442" y="540"/>
                </a:lnTo>
                <a:lnTo>
                  <a:pt x="446" y="540"/>
                </a:lnTo>
                <a:lnTo>
                  <a:pt x="450" y="544"/>
                </a:lnTo>
                <a:lnTo>
                  <a:pt x="446" y="544"/>
                </a:lnTo>
                <a:lnTo>
                  <a:pt x="446" y="540"/>
                </a:lnTo>
                <a:lnTo>
                  <a:pt x="442" y="540"/>
                </a:lnTo>
                <a:lnTo>
                  <a:pt x="440" y="540"/>
                </a:lnTo>
                <a:lnTo>
                  <a:pt x="442" y="544"/>
                </a:lnTo>
                <a:lnTo>
                  <a:pt x="446" y="544"/>
                </a:lnTo>
                <a:lnTo>
                  <a:pt x="446" y="548"/>
                </a:lnTo>
                <a:lnTo>
                  <a:pt x="442" y="548"/>
                </a:lnTo>
                <a:lnTo>
                  <a:pt x="440" y="548"/>
                </a:lnTo>
                <a:lnTo>
                  <a:pt x="440" y="544"/>
                </a:lnTo>
                <a:lnTo>
                  <a:pt x="440" y="548"/>
                </a:lnTo>
                <a:lnTo>
                  <a:pt x="442" y="548"/>
                </a:lnTo>
                <a:lnTo>
                  <a:pt x="442" y="552"/>
                </a:lnTo>
                <a:lnTo>
                  <a:pt x="440" y="552"/>
                </a:lnTo>
                <a:lnTo>
                  <a:pt x="440" y="548"/>
                </a:lnTo>
                <a:lnTo>
                  <a:pt x="436" y="548"/>
                </a:lnTo>
                <a:lnTo>
                  <a:pt x="440" y="552"/>
                </a:lnTo>
                <a:lnTo>
                  <a:pt x="442" y="552"/>
                </a:lnTo>
                <a:lnTo>
                  <a:pt x="442" y="556"/>
                </a:lnTo>
                <a:lnTo>
                  <a:pt x="440" y="556"/>
                </a:lnTo>
                <a:lnTo>
                  <a:pt x="436" y="556"/>
                </a:lnTo>
                <a:lnTo>
                  <a:pt x="432" y="556"/>
                </a:lnTo>
                <a:lnTo>
                  <a:pt x="432" y="552"/>
                </a:lnTo>
                <a:lnTo>
                  <a:pt x="436" y="552"/>
                </a:lnTo>
                <a:lnTo>
                  <a:pt x="432" y="552"/>
                </a:lnTo>
                <a:lnTo>
                  <a:pt x="432" y="556"/>
                </a:lnTo>
                <a:lnTo>
                  <a:pt x="432" y="560"/>
                </a:lnTo>
                <a:lnTo>
                  <a:pt x="428" y="556"/>
                </a:lnTo>
                <a:lnTo>
                  <a:pt x="428" y="560"/>
                </a:lnTo>
                <a:lnTo>
                  <a:pt x="424" y="560"/>
                </a:lnTo>
                <a:lnTo>
                  <a:pt x="420" y="556"/>
                </a:lnTo>
                <a:lnTo>
                  <a:pt x="420" y="560"/>
                </a:lnTo>
                <a:lnTo>
                  <a:pt x="424" y="560"/>
                </a:lnTo>
                <a:lnTo>
                  <a:pt x="428" y="560"/>
                </a:lnTo>
                <a:lnTo>
                  <a:pt x="432" y="564"/>
                </a:lnTo>
                <a:lnTo>
                  <a:pt x="436" y="564"/>
                </a:lnTo>
                <a:lnTo>
                  <a:pt x="436" y="568"/>
                </a:lnTo>
                <a:lnTo>
                  <a:pt x="432" y="568"/>
                </a:lnTo>
                <a:lnTo>
                  <a:pt x="432" y="564"/>
                </a:lnTo>
                <a:lnTo>
                  <a:pt x="428" y="564"/>
                </a:lnTo>
                <a:lnTo>
                  <a:pt x="424" y="564"/>
                </a:lnTo>
                <a:lnTo>
                  <a:pt x="428" y="564"/>
                </a:lnTo>
                <a:lnTo>
                  <a:pt x="428" y="568"/>
                </a:lnTo>
                <a:lnTo>
                  <a:pt x="432" y="568"/>
                </a:lnTo>
                <a:lnTo>
                  <a:pt x="436" y="570"/>
                </a:lnTo>
                <a:lnTo>
                  <a:pt x="432" y="570"/>
                </a:lnTo>
                <a:lnTo>
                  <a:pt x="432" y="574"/>
                </a:lnTo>
                <a:lnTo>
                  <a:pt x="436" y="574"/>
                </a:lnTo>
                <a:lnTo>
                  <a:pt x="436" y="578"/>
                </a:lnTo>
                <a:lnTo>
                  <a:pt x="432" y="578"/>
                </a:lnTo>
                <a:lnTo>
                  <a:pt x="436" y="578"/>
                </a:lnTo>
                <a:lnTo>
                  <a:pt x="432" y="582"/>
                </a:lnTo>
                <a:lnTo>
                  <a:pt x="428" y="582"/>
                </a:lnTo>
                <a:lnTo>
                  <a:pt x="428" y="578"/>
                </a:lnTo>
                <a:lnTo>
                  <a:pt x="424" y="578"/>
                </a:lnTo>
                <a:lnTo>
                  <a:pt x="424" y="582"/>
                </a:lnTo>
                <a:lnTo>
                  <a:pt x="428" y="578"/>
                </a:lnTo>
                <a:lnTo>
                  <a:pt x="428" y="582"/>
                </a:lnTo>
                <a:lnTo>
                  <a:pt x="432" y="582"/>
                </a:lnTo>
                <a:lnTo>
                  <a:pt x="432" y="584"/>
                </a:lnTo>
                <a:lnTo>
                  <a:pt x="428" y="584"/>
                </a:lnTo>
                <a:lnTo>
                  <a:pt x="424" y="584"/>
                </a:lnTo>
                <a:lnTo>
                  <a:pt x="428" y="584"/>
                </a:lnTo>
                <a:lnTo>
                  <a:pt x="432" y="584"/>
                </a:lnTo>
                <a:lnTo>
                  <a:pt x="432" y="588"/>
                </a:lnTo>
                <a:lnTo>
                  <a:pt x="428" y="588"/>
                </a:lnTo>
                <a:lnTo>
                  <a:pt x="428" y="592"/>
                </a:lnTo>
                <a:lnTo>
                  <a:pt x="428" y="588"/>
                </a:lnTo>
                <a:lnTo>
                  <a:pt x="424" y="588"/>
                </a:lnTo>
                <a:lnTo>
                  <a:pt x="420" y="588"/>
                </a:lnTo>
                <a:lnTo>
                  <a:pt x="424" y="588"/>
                </a:lnTo>
                <a:lnTo>
                  <a:pt x="428" y="592"/>
                </a:lnTo>
                <a:lnTo>
                  <a:pt x="424" y="592"/>
                </a:lnTo>
                <a:lnTo>
                  <a:pt x="428" y="592"/>
                </a:lnTo>
                <a:lnTo>
                  <a:pt x="424" y="592"/>
                </a:lnTo>
                <a:lnTo>
                  <a:pt x="420" y="592"/>
                </a:lnTo>
                <a:lnTo>
                  <a:pt x="424" y="592"/>
                </a:lnTo>
                <a:lnTo>
                  <a:pt x="428" y="592"/>
                </a:lnTo>
                <a:lnTo>
                  <a:pt x="428" y="596"/>
                </a:lnTo>
                <a:lnTo>
                  <a:pt x="424" y="596"/>
                </a:lnTo>
                <a:lnTo>
                  <a:pt x="420" y="596"/>
                </a:lnTo>
                <a:lnTo>
                  <a:pt x="418" y="592"/>
                </a:lnTo>
                <a:lnTo>
                  <a:pt x="418" y="596"/>
                </a:lnTo>
                <a:lnTo>
                  <a:pt x="420" y="596"/>
                </a:lnTo>
                <a:lnTo>
                  <a:pt x="424" y="596"/>
                </a:lnTo>
                <a:lnTo>
                  <a:pt x="428" y="596"/>
                </a:lnTo>
                <a:lnTo>
                  <a:pt x="428" y="600"/>
                </a:lnTo>
                <a:lnTo>
                  <a:pt x="424" y="600"/>
                </a:lnTo>
                <a:lnTo>
                  <a:pt x="420" y="600"/>
                </a:lnTo>
                <a:lnTo>
                  <a:pt x="418" y="600"/>
                </a:lnTo>
                <a:lnTo>
                  <a:pt x="420" y="600"/>
                </a:lnTo>
                <a:lnTo>
                  <a:pt x="424" y="600"/>
                </a:lnTo>
                <a:lnTo>
                  <a:pt x="428" y="600"/>
                </a:lnTo>
                <a:lnTo>
                  <a:pt x="428" y="604"/>
                </a:lnTo>
                <a:lnTo>
                  <a:pt x="424" y="604"/>
                </a:lnTo>
                <a:lnTo>
                  <a:pt x="424" y="600"/>
                </a:lnTo>
                <a:lnTo>
                  <a:pt x="420" y="600"/>
                </a:lnTo>
                <a:lnTo>
                  <a:pt x="418" y="600"/>
                </a:lnTo>
                <a:lnTo>
                  <a:pt x="420" y="604"/>
                </a:lnTo>
                <a:lnTo>
                  <a:pt x="424" y="604"/>
                </a:lnTo>
                <a:lnTo>
                  <a:pt x="428" y="604"/>
                </a:lnTo>
                <a:lnTo>
                  <a:pt x="424" y="604"/>
                </a:lnTo>
                <a:lnTo>
                  <a:pt x="420" y="604"/>
                </a:lnTo>
                <a:lnTo>
                  <a:pt x="424" y="604"/>
                </a:lnTo>
                <a:lnTo>
                  <a:pt x="424" y="608"/>
                </a:lnTo>
                <a:lnTo>
                  <a:pt x="424" y="604"/>
                </a:lnTo>
                <a:lnTo>
                  <a:pt x="428" y="604"/>
                </a:lnTo>
                <a:lnTo>
                  <a:pt x="424" y="608"/>
                </a:lnTo>
                <a:lnTo>
                  <a:pt x="420" y="608"/>
                </a:lnTo>
                <a:lnTo>
                  <a:pt x="420" y="612"/>
                </a:lnTo>
                <a:lnTo>
                  <a:pt x="418" y="608"/>
                </a:lnTo>
                <a:lnTo>
                  <a:pt x="414" y="608"/>
                </a:lnTo>
                <a:lnTo>
                  <a:pt x="414" y="604"/>
                </a:lnTo>
                <a:lnTo>
                  <a:pt x="414" y="608"/>
                </a:lnTo>
                <a:lnTo>
                  <a:pt x="410" y="608"/>
                </a:lnTo>
                <a:lnTo>
                  <a:pt x="406" y="608"/>
                </a:lnTo>
                <a:lnTo>
                  <a:pt x="410" y="608"/>
                </a:lnTo>
                <a:lnTo>
                  <a:pt x="418" y="608"/>
                </a:lnTo>
                <a:lnTo>
                  <a:pt x="420" y="612"/>
                </a:lnTo>
                <a:lnTo>
                  <a:pt x="418" y="612"/>
                </a:lnTo>
                <a:lnTo>
                  <a:pt x="418" y="614"/>
                </a:lnTo>
                <a:lnTo>
                  <a:pt x="418" y="612"/>
                </a:lnTo>
                <a:lnTo>
                  <a:pt x="420" y="612"/>
                </a:lnTo>
                <a:lnTo>
                  <a:pt x="420" y="614"/>
                </a:lnTo>
                <a:lnTo>
                  <a:pt x="420" y="618"/>
                </a:lnTo>
                <a:lnTo>
                  <a:pt x="418" y="618"/>
                </a:lnTo>
                <a:lnTo>
                  <a:pt x="414" y="618"/>
                </a:lnTo>
                <a:lnTo>
                  <a:pt x="414" y="614"/>
                </a:lnTo>
                <a:lnTo>
                  <a:pt x="410" y="614"/>
                </a:lnTo>
                <a:lnTo>
                  <a:pt x="410" y="612"/>
                </a:lnTo>
                <a:lnTo>
                  <a:pt x="410" y="614"/>
                </a:lnTo>
                <a:lnTo>
                  <a:pt x="406" y="614"/>
                </a:lnTo>
                <a:lnTo>
                  <a:pt x="406" y="618"/>
                </a:lnTo>
                <a:lnTo>
                  <a:pt x="402" y="614"/>
                </a:lnTo>
                <a:lnTo>
                  <a:pt x="402" y="618"/>
                </a:lnTo>
                <a:lnTo>
                  <a:pt x="402" y="622"/>
                </a:lnTo>
                <a:lnTo>
                  <a:pt x="398" y="618"/>
                </a:lnTo>
                <a:lnTo>
                  <a:pt x="394" y="618"/>
                </a:lnTo>
                <a:lnTo>
                  <a:pt x="394" y="614"/>
                </a:lnTo>
                <a:lnTo>
                  <a:pt x="398" y="614"/>
                </a:lnTo>
                <a:lnTo>
                  <a:pt x="398" y="612"/>
                </a:lnTo>
                <a:lnTo>
                  <a:pt x="402" y="612"/>
                </a:lnTo>
                <a:lnTo>
                  <a:pt x="402" y="608"/>
                </a:lnTo>
                <a:lnTo>
                  <a:pt x="398" y="614"/>
                </a:lnTo>
                <a:lnTo>
                  <a:pt x="394" y="614"/>
                </a:lnTo>
                <a:lnTo>
                  <a:pt x="394" y="618"/>
                </a:lnTo>
                <a:lnTo>
                  <a:pt x="392" y="618"/>
                </a:lnTo>
                <a:lnTo>
                  <a:pt x="394" y="614"/>
                </a:lnTo>
                <a:lnTo>
                  <a:pt x="392" y="614"/>
                </a:lnTo>
                <a:lnTo>
                  <a:pt x="394" y="614"/>
                </a:lnTo>
                <a:lnTo>
                  <a:pt x="394" y="612"/>
                </a:lnTo>
                <a:lnTo>
                  <a:pt x="398" y="612"/>
                </a:lnTo>
                <a:lnTo>
                  <a:pt x="398" y="604"/>
                </a:lnTo>
                <a:lnTo>
                  <a:pt x="402" y="604"/>
                </a:lnTo>
                <a:lnTo>
                  <a:pt x="398" y="604"/>
                </a:lnTo>
                <a:lnTo>
                  <a:pt x="398" y="608"/>
                </a:lnTo>
                <a:lnTo>
                  <a:pt x="394" y="608"/>
                </a:lnTo>
                <a:lnTo>
                  <a:pt x="394" y="612"/>
                </a:lnTo>
                <a:lnTo>
                  <a:pt x="392" y="612"/>
                </a:lnTo>
                <a:lnTo>
                  <a:pt x="392" y="608"/>
                </a:lnTo>
                <a:lnTo>
                  <a:pt x="394" y="608"/>
                </a:lnTo>
                <a:lnTo>
                  <a:pt x="394" y="604"/>
                </a:lnTo>
                <a:lnTo>
                  <a:pt x="394" y="608"/>
                </a:lnTo>
                <a:lnTo>
                  <a:pt x="392" y="608"/>
                </a:lnTo>
                <a:lnTo>
                  <a:pt x="388" y="608"/>
                </a:lnTo>
                <a:lnTo>
                  <a:pt x="392" y="608"/>
                </a:lnTo>
                <a:lnTo>
                  <a:pt x="392" y="604"/>
                </a:lnTo>
                <a:lnTo>
                  <a:pt x="392" y="608"/>
                </a:lnTo>
                <a:lnTo>
                  <a:pt x="388" y="608"/>
                </a:lnTo>
                <a:lnTo>
                  <a:pt x="388" y="612"/>
                </a:lnTo>
                <a:lnTo>
                  <a:pt x="384" y="608"/>
                </a:lnTo>
                <a:lnTo>
                  <a:pt x="388" y="608"/>
                </a:lnTo>
                <a:lnTo>
                  <a:pt x="384" y="608"/>
                </a:lnTo>
                <a:lnTo>
                  <a:pt x="388" y="604"/>
                </a:lnTo>
                <a:lnTo>
                  <a:pt x="384" y="604"/>
                </a:lnTo>
                <a:lnTo>
                  <a:pt x="388" y="604"/>
                </a:lnTo>
                <a:lnTo>
                  <a:pt x="392" y="600"/>
                </a:lnTo>
                <a:lnTo>
                  <a:pt x="392" y="596"/>
                </a:lnTo>
                <a:lnTo>
                  <a:pt x="392" y="600"/>
                </a:lnTo>
                <a:lnTo>
                  <a:pt x="388" y="600"/>
                </a:lnTo>
                <a:lnTo>
                  <a:pt x="388" y="604"/>
                </a:lnTo>
                <a:lnTo>
                  <a:pt x="384" y="604"/>
                </a:lnTo>
                <a:lnTo>
                  <a:pt x="384" y="600"/>
                </a:lnTo>
                <a:lnTo>
                  <a:pt x="384" y="604"/>
                </a:lnTo>
                <a:lnTo>
                  <a:pt x="380" y="604"/>
                </a:lnTo>
                <a:lnTo>
                  <a:pt x="380" y="600"/>
                </a:lnTo>
                <a:lnTo>
                  <a:pt x="384" y="600"/>
                </a:lnTo>
                <a:lnTo>
                  <a:pt x="380" y="600"/>
                </a:lnTo>
                <a:lnTo>
                  <a:pt x="380" y="604"/>
                </a:lnTo>
                <a:lnTo>
                  <a:pt x="380" y="600"/>
                </a:lnTo>
                <a:lnTo>
                  <a:pt x="384" y="600"/>
                </a:lnTo>
                <a:lnTo>
                  <a:pt x="388" y="600"/>
                </a:lnTo>
                <a:lnTo>
                  <a:pt x="388" y="596"/>
                </a:lnTo>
                <a:lnTo>
                  <a:pt x="392" y="596"/>
                </a:lnTo>
                <a:lnTo>
                  <a:pt x="392" y="592"/>
                </a:lnTo>
                <a:lnTo>
                  <a:pt x="392" y="596"/>
                </a:lnTo>
                <a:lnTo>
                  <a:pt x="392" y="592"/>
                </a:lnTo>
                <a:lnTo>
                  <a:pt x="388" y="592"/>
                </a:lnTo>
                <a:lnTo>
                  <a:pt x="388" y="596"/>
                </a:lnTo>
                <a:lnTo>
                  <a:pt x="384" y="600"/>
                </a:lnTo>
                <a:lnTo>
                  <a:pt x="384" y="596"/>
                </a:lnTo>
                <a:lnTo>
                  <a:pt x="384" y="600"/>
                </a:lnTo>
                <a:lnTo>
                  <a:pt x="380" y="600"/>
                </a:lnTo>
                <a:lnTo>
                  <a:pt x="380" y="596"/>
                </a:lnTo>
                <a:lnTo>
                  <a:pt x="384" y="596"/>
                </a:lnTo>
                <a:lnTo>
                  <a:pt x="388" y="592"/>
                </a:lnTo>
                <a:lnTo>
                  <a:pt x="384" y="592"/>
                </a:lnTo>
                <a:lnTo>
                  <a:pt x="384" y="588"/>
                </a:lnTo>
                <a:lnTo>
                  <a:pt x="388" y="588"/>
                </a:lnTo>
                <a:lnTo>
                  <a:pt x="384" y="588"/>
                </a:lnTo>
                <a:lnTo>
                  <a:pt x="380" y="592"/>
                </a:lnTo>
                <a:lnTo>
                  <a:pt x="384" y="592"/>
                </a:lnTo>
                <a:lnTo>
                  <a:pt x="384" y="596"/>
                </a:lnTo>
                <a:lnTo>
                  <a:pt x="380" y="596"/>
                </a:lnTo>
                <a:lnTo>
                  <a:pt x="376" y="596"/>
                </a:lnTo>
                <a:lnTo>
                  <a:pt x="372" y="596"/>
                </a:lnTo>
                <a:lnTo>
                  <a:pt x="372" y="600"/>
                </a:lnTo>
                <a:lnTo>
                  <a:pt x="368" y="600"/>
                </a:lnTo>
                <a:lnTo>
                  <a:pt x="372" y="600"/>
                </a:lnTo>
                <a:lnTo>
                  <a:pt x="368" y="604"/>
                </a:lnTo>
                <a:lnTo>
                  <a:pt x="368" y="600"/>
                </a:lnTo>
                <a:lnTo>
                  <a:pt x="368" y="596"/>
                </a:lnTo>
                <a:lnTo>
                  <a:pt x="364" y="600"/>
                </a:lnTo>
                <a:lnTo>
                  <a:pt x="362" y="600"/>
                </a:lnTo>
                <a:lnTo>
                  <a:pt x="358" y="600"/>
                </a:lnTo>
                <a:lnTo>
                  <a:pt x="362" y="600"/>
                </a:lnTo>
                <a:lnTo>
                  <a:pt x="358" y="600"/>
                </a:lnTo>
                <a:lnTo>
                  <a:pt x="354" y="600"/>
                </a:lnTo>
                <a:lnTo>
                  <a:pt x="350" y="600"/>
                </a:lnTo>
                <a:lnTo>
                  <a:pt x="354" y="600"/>
                </a:lnTo>
                <a:lnTo>
                  <a:pt x="358" y="596"/>
                </a:lnTo>
                <a:lnTo>
                  <a:pt x="354" y="596"/>
                </a:lnTo>
                <a:lnTo>
                  <a:pt x="350" y="600"/>
                </a:lnTo>
                <a:lnTo>
                  <a:pt x="350" y="596"/>
                </a:lnTo>
                <a:lnTo>
                  <a:pt x="346" y="596"/>
                </a:lnTo>
                <a:lnTo>
                  <a:pt x="350" y="596"/>
                </a:lnTo>
                <a:lnTo>
                  <a:pt x="354" y="596"/>
                </a:lnTo>
                <a:lnTo>
                  <a:pt x="350" y="596"/>
                </a:lnTo>
                <a:lnTo>
                  <a:pt x="350" y="592"/>
                </a:lnTo>
                <a:lnTo>
                  <a:pt x="354" y="588"/>
                </a:lnTo>
                <a:lnTo>
                  <a:pt x="350" y="588"/>
                </a:lnTo>
                <a:lnTo>
                  <a:pt x="350" y="592"/>
                </a:lnTo>
                <a:lnTo>
                  <a:pt x="350" y="596"/>
                </a:lnTo>
                <a:lnTo>
                  <a:pt x="346" y="592"/>
                </a:lnTo>
                <a:lnTo>
                  <a:pt x="350" y="592"/>
                </a:lnTo>
                <a:lnTo>
                  <a:pt x="346" y="592"/>
                </a:lnTo>
                <a:lnTo>
                  <a:pt x="342" y="592"/>
                </a:lnTo>
                <a:lnTo>
                  <a:pt x="346" y="592"/>
                </a:lnTo>
                <a:lnTo>
                  <a:pt x="346" y="588"/>
                </a:lnTo>
                <a:lnTo>
                  <a:pt x="342" y="588"/>
                </a:lnTo>
                <a:lnTo>
                  <a:pt x="338" y="588"/>
                </a:lnTo>
                <a:lnTo>
                  <a:pt x="342" y="584"/>
                </a:lnTo>
                <a:lnTo>
                  <a:pt x="346" y="584"/>
                </a:lnTo>
                <a:lnTo>
                  <a:pt x="350" y="584"/>
                </a:lnTo>
                <a:lnTo>
                  <a:pt x="346" y="584"/>
                </a:lnTo>
                <a:lnTo>
                  <a:pt x="342" y="584"/>
                </a:lnTo>
                <a:lnTo>
                  <a:pt x="338" y="584"/>
                </a:lnTo>
                <a:lnTo>
                  <a:pt x="334" y="584"/>
                </a:lnTo>
                <a:lnTo>
                  <a:pt x="338" y="584"/>
                </a:lnTo>
                <a:lnTo>
                  <a:pt x="342" y="584"/>
                </a:lnTo>
                <a:lnTo>
                  <a:pt x="346" y="582"/>
                </a:lnTo>
                <a:lnTo>
                  <a:pt x="342" y="582"/>
                </a:lnTo>
                <a:lnTo>
                  <a:pt x="338" y="584"/>
                </a:lnTo>
                <a:lnTo>
                  <a:pt x="338" y="582"/>
                </a:lnTo>
                <a:lnTo>
                  <a:pt x="334" y="582"/>
                </a:lnTo>
                <a:lnTo>
                  <a:pt x="338" y="578"/>
                </a:lnTo>
                <a:lnTo>
                  <a:pt x="338" y="574"/>
                </a:lnTo>
                <a:lnTo>
                  <a:pt x="342" y="574"/>
                </a:lnTo>
                <a:lnTo>
                  <a:pt x="338" y="574"/>
                </a:lnTo>
                <a:lnTo>
                  <a:pt x="334" y="578"/>
                </a:lnTo>
                <a:lnTo>
                  <a:pt x="334" y="582"/>
                </a:lnTo>
                <a:lnTo>
                  <a:pt x="334" y="578"/>
                </a:lnTo>
                <a:lnTo>
                  <a:pt x="332" y="578"/>
                </a:lnTo>
                <a:lnTo>
                  <a:pt x="334" y="574"/>
                </a:lnTo>
                <a:lnTo>
                  <a:pt x="338" y="574"/>
                </a:lnTo>
                <a:lnTo>
                  <a:pt x="342" y="574"/>
                </a:lnTo>
                <a:lnTo>
                  <a:pt x="338" y="574"/>
                </a:lnTo>
                <a:lnTo>
                  <a:pt x="338" y="570"/>
                </a:lnTo>
                <a:lnTo>
                  <a:pt x="334" y="570"/>
                </a:lnTo>
                <a:lnTo>
                  <a:pt x="334" y="574"/>
                </a:lnTo>
                <a:lnTo>
                  <a:pt x="332" y="574"/>
                </a:lnTo>
                <a:lnTo>
                  <a:pt x="328" y="574"/>
                </a:lnTo>
                <a:lnTo>
                  <a:pt x="328" y="570"/>
                </a:lnTo>
                <a:lnTo>
                  <a:pt x="332" y="570"/>
                </a:lnTo>
                <a:lnTo>
                  <a:pt x="332" y="574"/>
                </a:lnTo>
                <a:lnTo>
                  <a:pt x="334" y="570"/>
                </a:lnTo>
                <a:lnTo>
                  <a:pt x="332" y="570"/>
                </a:lnTo>
                <a:lnTo>
                  <a:pt x="334" y="570"/>
                </a:lnTo>
                <a:lnTo>
                  <a:pt x="334" y="568"/>
                </a:lnTo>
                <a:lnTo>
                  <a:pt x="332" y="570"/>
                </a:lnTo>
                <a:lnTo>
                  <a:pt x="328" y="568"/>
                </a:lnTo>
                <a:lnTo>
                  <a:pt x="328" y="570"/>
                </a:lnTo>
                <a:lnTo>
                  <a:pt x="328" y="568"/>
                </a:lnTo>
                <a:lnTo>
                  <a:pt x="324" y="568"/>
                </a:lnTo>
                <a:lnTo>
                  <a:pt x="320" y="564"/>
                </a:lnTo>
                <a:lnTo>
                  <a:pt x="320" y="560"/>
                </a:lnTo>
                <a:lnTo>
                  <a:pt x="324" y="556"/>
                </a:lnTo>
                <a:lnTo>
                  <a:pt x="320" y="560"/>
                </a:lnTo>
                <a:lnTo>
                  <a:pt x="320" y="556"/>
                </a:lnTo>
                <a:lnTo>
                  <a:pt x="324" y="552"/>
                </a:lnTo>
                <a:lnTo>
                  <a:pt x="328" y="552"/>
                </a:lnTo>
                <a:lnTo>
                  <a:pt x="328" y="548"/>
                </a:lnTo>
                <a:lnTo>
                  <a:pt x="328" y="552"/>
                </a:lnTo>
                <a:lnTo>
                  <a:pt x="324" y="552"/>
                </a:lnTo>
                <a:lnTo>
                  <a:pt x="320" y="556"/>
                </a:lnTo>
                <a:lnTo>
                  <a:pt x="320" y="552"/>
                </a:lnTo>
                <a:lnTo>
                  <a:pt x="324" y="552"/>
                </a:lnTo>
                <a:lnTo>
                  <a:pt x="320" y="552"/>
                </a:lnTo>
                <a:lnTo>
                  <a:pt x="316" y="552"/>
                </a:lnTo>
                <a:lnTo>
                  <a:pt x="316" y="548"/>
                </a:lnTo>
                <a:lnTo>
                  <a:pt x="320" y="548"/>
                </a:lnTo>
                <a:lnTo>
                  <a:pt x="324" y="544"/>
                </a:lnTo>
                <a:lnTo>
                  <a:pt x="320" y="544"/>
                </a:lnTo>
                <a:lnTo>
                  <a:pt x="320" y="548"/>
                </a:lnTo>
                <a:lnTo>
                  <a:pt x="316" y="548"/>
                </a:lnTo>
                <a:lnTo>
                  <a:pt x="316" y="544"/>
                </a:lnTo>
                <a:lnTo>
                  <a:pt x="312" y="548"/>
                </a:lnTo>
                <a:lnTo>
                  <a:pt x="312" y="544"/>
                </a:lnTo>
                <a:lnTo>
                  <a:pt x="312" y="548"/>
                </a:lnTo>
                <a:lnTo>
                  <a:pt x="308" y="548"/>
                </a:lnTo>
                <a:lnTo>
                  <a:pt x="308" y="544"/>
                </a:lnTo>
                <a:lnTo>
                  <a:pt x="312" y="544"/>
                </a:lnTo>
                <a:lnTo>
                  <a:pt x="316" y="544"/>
                </a:lnTo>
                <a:lnTo>
                  <a:pt x="320" y="540"/>
                </a:lnTo>
                <a:lnTo>
                  <a:pt x="316" y="540"/>
                </a:lnTo>
                <a:lnTo>
                  <a:pt x="312" y="540"/>
                </a:lnTo>
                <a:lnTo>
                  <a:pt x="308" y="540"/>
                </a:lnTo>
                <a:lnTo>
                  <a:pt x="312" y="540"/>
                </a:lnTo>
                <a:lnTo>
                  <a:pt x="312" y="538"/>
                </a:lnTo>
                <a:lnTo>
                  <a:pt x="308" y="538"/>
                </a:lnTo>
                <a:lnTo>
                  <a:pt x="308" y="540"/>
                </a:lnTo>
                <a:lnTo>
                  <a:pt x="308" y="538"/>
                </a:lnTo>
                <a:lnTo>
                  <a:pt x="312" y="538"/>
                </a:lnTo>
                <a:lnTo>
                  <a:pt x="316" y="538"/>
                </a:lnTo>
                <a:lnTo>
                  <a:pt x="312" y="538"/>
                </a:lnTo>
                <a:lnTo>
                  <a:pt x="308" y="538"/>
                </a:lnTo>
                <a:lnTo>
                  <a:pt x="308" y="540"/>
                </a:lnTo>
                <a:lnTo>
                  <a:pt x="306" y="538"/>
                </a:lnTo>
                <a:lnTo>
                  <a:pt x="302" y="538"/>
                </a:lnTo>
                <a:lnTo>
                  <a:pt x="302" y="534"/>
                </a:lnTo>
                <a:lnTo>
                  <a:pt x="306" y="534"/>
                </a:lnTo>
                <a:lnTo>
                  <a:pt x="308" y="534"/>
                </a:lnTo>
                <a:lnTo>
                  <a:pt x="308" y="530"/>
                </a:lnTo>
                <a:lnTo>
                  <a:pt x="312" y="530"/>
                </a:lnTo>
                <a:lnTo>
                  <a:pt x="308" y="530"/>
                </a:lnTo>
                <a:lnTo>
                  <a:pt x="306" y="530"/>
                </a:lnTo>
                <a:lnTo>
                  <a:pt x="306" y="534"/>
                </a:lnTo>
                <a:lnTo>
                  <a:pt x="306" y="530"/>
                </a:lnTo>
                <a:lnTo>
                  <a:pt x="302" y="530"/>
                </a:lnTo>
                <a:lnTo>
                  <a:pt x="302" y="526"/>
                </a:lnTo>
                <a:lnTo>
                  <a:pt x="306" y="526"/>
                </a:lnTo>
                <a:lnTo>
                  <a:pt x="312" y="526"/>
                </a:lnTo>
                <a:lnTo>
                  <a:pt x="316" y="526"/>
                </a:lnTo>
                <a:lnTo>
                  <a:pt x="316" y="522"/>
                </a:lnTo>
                <a:lnTo>
                  <a:pt x="316" y="526"/>
                </a:lnTo>
                <a:lnTo>
                  <a:pt x="320" y="522"/>
                </a:lnTo>
                <a:lnTo>
                  <a:pt x="324" y="522"/>
                </a:lnTo>
                <a:lnTo>
                  <a:pt x="320" y="522"/>
                </a:lnTo>
                <a:lnTo>
                  <a:pt x="316" y="522"/>
                </a:lnTo>
                <a:lnTo>
                  <a:pt x="312" y="522"/>
                </a:lnTo>
                <a:lnTo>
                  <a:pt x="312" y="526"/>
                </a:lnTo>
                <a:lnTo>
                  <a:pt x="308" y="526"/>
                </a:lnTo>
                <a:lnTo>
                  <a:pt x="306" y="526"/>
                </a:lnTo>
                <a:lnTo>
                  <a:pt x="302" y="526"/>
                </a:lnTo>
                <a:lnTo>
                  <a:pt x="302" y="522"/>
                </a:lnTo>
                <a:lnTo>
                  <a:pt x="306" y="522"/>
                </a:lnTo>
                <a:lnTo>
                  <a:pt x="306" y="526"/>
                </a:lnTo>
                <a:lnTo>
                  <a:pt x="306" y="522"/>
                </a:lnTo>
                <a:lnTo>
                  <a:pt x="302" y="522"/>
                </a:lnTo>
                <a:lnTo>
                  <a:pt x="302" y="526"/>
                </a:lnTo>
                <a:lnTo>
                  <a:pt x="302" y="522"/>
                </a:lnTo>
                <a:lnTo>
                  <a:pt x="306" y="522"/>
                </a:lnTo>
                <a:lnTo>
                  <a:pt x="308" y="522"/>
                </a:lnTo>
                <a:lnTo>
                  <a:pt x="312" y="522"/>
                </a:lnTo>
                <a:lnTo>
                  <a:pt x="308" y="522"/>
                </a:lnTo>
                <a:lnTo>
                  <a:pt x="312" y="518"/>
                </a:lnTo>
                <a:lnTo>
                  <a:pt x="316" y="518"/>
                </a:lnTo>
                <a:lnTo>
                  <a:pt x="320" y="518"/>
                </a:lnTo>
                <a:lnTo>
                  <a:pt x="324" y="518"/>
                </a:lnTo>
                <a:lnTo>
                  <a:pt x="324" y="514"/>
                </a:lnTo>
                <a:lnTo>
                  <a:pt x="320" y="514"/>
                </a:lnTo>
                <a:lnTo>
                  <a:pt x="320" y="518"/>
                </a:lnTo>
                <a:lnTo>
                  <a:pt x="316" y="518"/>
                </a:lnTo>
                <a:lnTo>
                  <a:pt x="316" y="514"/>
                </a:lnTo>
                <a:lnTo>
                  <a:pt x="320" y="514"/>
                </a:lnTo>
                <a:lnTo>
                  <a:pt x="316" y="514"/>
                </a:lnTo>
                <a:lnTo>
                  <a:pt x="312" y="514"/>
                </a:lnTo>
                <a:lnTo>
                  <a:pt x="312" y="512"/>
                </a:lnTo>
                <a:lnTo>
                  <a:pt x="316" y="512"/>
                </a:lnTo>
                <a:lnTo>
                  <a:pt x="320" y="512"/>
                </a:lnTo>
                <a:lnTo>
                  <a:pt x="316" y="512"/>
                </a:lnTo>
                <a:lnTo>
                  <a:pt x="320" y="512"/>
                </a:lnTo>
                <a:lnTo>
                  <a:pt x="320" y="514"/>
                </a:lnTo>
                <a:lnTo>
                  <a:pt x="324" y="514"/>
                </a:lnTo>
                <a:lnTo>
                  <a:pt x="324" y="518"/>
                </a:lnTo>
                <a:lnTo>
                  <a:pt x="328" y="518"/>
                </a:lnTo>
                <a:lnTo>
                  <a:pt x="332" y="518"/>
                </a:lnTo>
                <a:lnTo>
                  <a:pt x="328" y="518"/>
                </a:lnTo>
                <a:lnTo>
                  <a:pt x="324" y="514"/>
                </a:lnTo>
                <a:lnTo>
                  <a:pt x="324" y="512"/>
                </a:lnTo>
                <a:lnTo>
                  <a:pt x="320" y="512"/>
                </a:lnTo>
                <a:lnTo>
                  <a:pt x="324" y="508"/>
                </a:lnTo>
                <a:lnTo>
                  <a:pt x="320" y="508"/>
                </a:lnTo>
                <a:lnTo>
                  <a:pt x="320" y="512"/>
                </a:lnTo>
                <a:lnTo>
                  <a:pt x="316" y="512"/>
                </a:lnTo>
                <a:lnTo>
                  <a:pt x="316" y="508"/>
                </a:lnTo>
                <a:lnTo>
                  <a:pt x="316" y="504"/>
                </a:lnTo>
                <a:lnTo>
                  <a:pt x="312" y="504"/>
                </a:lnTo>
                <a:lnTo>
                  <a:pt x="312" y="500"/>
                </a:lnTo>
                <a:lnTo>
                  <a:pt x="312" y="504"/>
                </a:lnTo>
                <a:lnTo>
                  <a:pt x="316" y="508"/>
                </a:lnTo>
                <a:lnTo>
                  <a:pt x="316" y="512"/>
                </a:lnTo>
                <a:lnTo>
                  <a:pt x="312" y="512"/>
                </a:lnTo>
                <a:lnTo>
                  <a:pt x="308" y="512"/>
                </a:lnTo>
                <a:lnTo>
                  <a:pt x="308" y="514"/>
                </a:lnTo>
                <a:lnTo>
                  <a:pt x="308" y="512"/>
                </a:lnTo>
                <a:lnTo>
                  <a:pt x="308" y="508"/>
                </a:lnTo>
                <a:lnTo>
                  <a:pt x="308" y="512"/>
                </a:lnTo>
                <a:lnTo>
                  <a:pt x="306" y="512"/>
                </a:lnTo>
                <a:lnTo>
                  <a:pt x="306" y="514"/>
                </a:lnTo>
                <a:lnTo>
                  <a:pt x="302" y="518"/>
                </a:lnTo>
                <a:lnTo>
                  <a:pt x="302" y="522"/>
                </a:lnTo>
                <a:lnTo>
                  <a:pt x="298" y="522"/>
                </a:lnTo>
                <a:lnTo>
                  <a:pt x="298" y="518"/>
                </a:lnTo>
                <a:lnTo>
                  <a:pt x="294" y="518"/>
                </a:lnTo>
                <a:lnTo>
                  <a:pt x="294" y="514"/>
                </a:lnTo>
                <a:lnTo>
                  <a:pt x="294" y="512"/>
                </a:lnTo>
                <a:lnTo>
                  <a:pt x="298" y="508"/>
                </a:lnTo>
                <a:lnTo>
                  <a:pt x="302" y="508"/>
                </a:lnTo>
                <a:lnTo>
                  <a:pt x="306" y="508"/>
                </a:lnTo>
                <a:lnTo>
                  <a:pt x="306" y="504"/>
                </a:lnTo>
                <a:lnTo>
                  <a:pt x="308" y="504"/>
                </a:lnTo>
                <a:lnTo>
                  <a:pt x="306" y="504"/>
                </a:lnTo>
                <a:lnTo>
                  <a:pt x="302" y="508"/>
                </a:lnTo>
                <a:lnTo>
                  <a:pt x="302" y="504"/>
                </a:lnTo>
                <a:lnTo>
                  <a:pt x="298" y="508"/>
                </a:lnTo>
                <a:lnTo>
                  <a:pt x="294" y="508"/>
                </a:lnTo>
                <a:lnTo>
                  <a:pt x="298" y="508"/>
                </a:lnTo>
                <a:lnTo>
                  <a:pt x="294" y="508"/>
                </a:lnTo>
                <a:lnTo>
                  <a:pt x="294" y="504"/>
                </a:lnTo>
                <a:lnTo>
                  <a:pt x="298" y="504"/>
                </a:lnTo>
                <a:lnTo>
                  <a:pt x="294" y="504"/>
                </a:lnTo>
                <a:lnTo>
                  <a:pt x="294" y="500"/>
                </a:lnTo>
                <a:lnTo>
                  <a:pt x="294" y="496"/>
                </a:lnTo>
                <a:lnTo>
                  <a:pt x="294" y="500"/>
                </a:lnTo>
                <a:lnTo>
                  <a:pt x="290" y="500"/>
                </a:lnTo>
                <a:lnTo>
                  <a:pt x="294" y="500"/>
                </a:lnTo>
                <a:lnTo>
                  <a:pt x="294" y="496"/>
                </a:lnTo>
                <a:lnTo>
                  <a:pt x="290" y="496"/>
                </a:lnTo>
                <a:lnTo>
                  <a:pt x="290" y="500"/>
                </a:lnTo>
                <a:lnTo>
                  <a:pt x="290" y="496"/>
                </a:lnTo>
                <a:lnTo>
                  <a:pt x="294" y="492"/>
                </a:lnTo>
                <a:lnTo>
                  <a:pt x="298" y="492"/>
                </a:lnTo>
                <a:lnTo>
                  <a:pt x="298" y="488"/>
                </a:lnTo>
                <a:lnTo>
                  <a:pt x="302" y="488"/>
                </a:lnTo>
                <a:lnTo>
                  <a:pt x="298" y="488"/>
                </a:lnTo>
                <a:lnTo>
                  <a:pt x="302" y="488"/>
                </a:lnTo>
                <a:lnTo>
                  <a:pt x="302" y="484"/>
                </a:lnTo>
                <a:lnTo>
                  <a:pt x="306" y="484"/>
                </a:lnTo>
                <a:lnTo>
                  <a:pt x="308" y="484"/>
                </a:lnTo>
                <a:lnTo>
                  <a:pt x="312" y="484"/>
                </a:lnTo>
                <a:lnTo>
                  <a:pt x="312" y="488"/>
                </a:lnTo>
                <a:lnTo>
                  <a:pt x="316" y="488"/>
                </a:lnTo>
                <a:lnTo>
                  <a:pt x="316" y="484"/>
                </a:lnTo>
                <a:lnTo>
                  <a:pt x="312" y="484"/>
                </a:lnTo>
                <a:lnTo>
                  <a:pt x="308" y="484"/>
                </a:lnTo>
                <a:lnTo>
                  <a:pt x="306" y="484"/>
                </a:lnTo>
                <a:lnTo>
                  <a:pt x="302" y="484"/>
                </a:lnTo>
                <a:lnTo>
                  <a:pt x="298" y="488"/>
                </a:lnTo>
                <a:lnTo>
                  <a:pt x="298" y="492"/>
                </a:lnTo>
                <a:lnTo>
                  <a:pt x="294" y="492"/>
                </a:lnTo>
                <a:lnTo>
                  <a:pt x="290" y="492"/>
                </a:lnTo>
                <a:lnTo>
                  <a:pt x="290" y="496"/>
                </a:lnTo>
                <a:lnTo>
                  <a:pt x="286" y="492"/>
                </a:lnTo>
                <a:lnTo>
                  <a:pt x="290" y="488"/>
                </a:lnTo>
                <a:lnTo>
                  <a:pt x="286" y="488"/>
                </a:lnTo>
                <a:lnTo>
                  <a:pt x="286" y="492"/>
                </a:lnTo>
                <a:lnTo>
                  <a:pt x="286" y="488"/>
                </a:lnTo>
                <a:lnTo>
                  <a:pt x="286" y="484"/>
                </a:lnTo>
                <a:lnTo>
                  <a:pt x="286" y="488"/>
                </a:lnTo>
                <a:lnTo>
                  <a:pt x="282" y="488"/>
                </a:lnTo>
                <a:lnTo>
                  <a:pt x="278" y="488"/>
                </a:lnTo>
                <a:lnTo>
                  <a:pt x="278" y="484"/>
                </a:lnTo>
                <a:lnTo>
                  <a:pt x="282" y="484"/>
                </a:lnTo>
                <a:lnTo>
                  <a:pt x="278" y="484"/>
                </a:lnTo>
                <a:lnTo>
                  <a:pt x="282" y="484"/>
                </a:lnTo>
                <a:lnTo>
                  <a:pt x="282" y="482"/>
                </a:lnTo>
                <a:lnTo>
                  <a:pt x="286" y="482"/>
                </a:lnTo>
                <a:lnTo>
                  <a:pt x="290" y="482"/>
                </a:lnTo>
                <a:lnTo>
                  <a:pt x="294" y="482"/>
                </a:lnTo>
                <a:lnTo>
                  <a:pt x="298" y="482"/>
                </a:lnTo>
                <a:lnTo>
                  <a:pt x="298" y="478"/>
                </a:lnTo>
                <a:lnTo>
                  <a:pt x="294" y="482"/>
                </a:lnTo>
                <a:lnTo>
                  <a:pt x="290" y="482"/>
                </a:lnTo>
                <a:lnTo>
                  <a:pt x="286" y="482"/>
                </a:lnTo>
                <a:lnTo>
                  <a:pt x="282" y="482"/>
                </a:lnTo>
                <a:lnTo>
                  <a:pt x="278" y="484"/>
                </a:lnTo>
                <a:lnTo>
                  <a:pt x="278" y="482"/>
                </a:lnTo>
                <a:lnTo>
                  <a:pt x="282" y="482"/>
                </a:lnTo>
                <a:lnTo>
                  <a:pt x="282" y="478"/>
                </a:lnTo>
                <a:lnTo>
                  <a:pt x="282" y="482"/>
                </a:lnTo>
                <a:lnTo>
                  <a:pt x="278" y="482"/>
                </a:lnTo>
                <a:lnTo>
                  <a:pt x="276" y="482"/>
                </a:lnTo>
                <a:lnTo>
                  <a:pt x="278" y="482"/>
                </a:lnTo>
                <a:lnTo>
                  <a:pt x="278" y="478"/>
                </a:lnTo>
                <a:lnTo>
                  <a:pt x="278" y="482"/>
                </a:lnTo>
                <a:lnTo>
                  <a:pt x="278" y="478"/>
                </a:lnTo>
                <a:lnTo>
                  <a:pt x="276" y="478"/>
                </a:lnTo>
                <a:lnTo>
                  <a:pt x="278" y="478"/>
                </a:lnTo>
                <a:lnTo>
                  <a:pt x="282" y="478"/>
                </a:lnTo>
                <a:lnTo>
                  <a:pt x="282" y="474"/>
                </a:lnTo>
                <a:lnTo>
                  <a:pt x="286" y="474"/>
                </a:lnTo>
                <a:lnTo>
                  <a:pt x="286" y="470"/>
                </a:lnTo>
                <a:lnTo>
                  <a:pt x="290" y="470"/>
                </a:lnTo>
                <a:lnTo>
                  <a:pt x="294" y="470"/>
                </a:lnTo>
                <a:lnTo>
                  <a:pt x="294" y="466"/>
                </a:lnTo>
                <a:lnTo>
                  <a:pt x="298" y="466"/>
                </a:lnTo>
                <a:lnTo>
                  <a:pt x="298" y="462"/>
                </a:lnTo>
                <a:lnTo>
                  <a:pt x="302" y="462"/>
                </a:lnTo>
                <a:lnTo>
                  <a:pt x="306" y="462"/>
                </a:lnTo>
                <a:lnTo>
                  <a:pt x="306" y="458"/>
                </a:lnTo>
                <a:lnTo>
                  <a:pt x="308" y="458"/>
                </a:lnTo>
                <a:lnTo>
                  <a:pt x="312" y="458"/>
                </a:lnTo>
                <a:lnTo>
                  <a:pt x="316" y="458"/>
                </a:lnTo>
                <a:lnTo>
                  <a:pt x="320" y="458"/>
                </a:lnTo>
                <a:lnTo>
                  <a:pt x="316" y="458"/>
                </a:lnTo>
                <a:lnTo>
                  <a:pt x="312" y="458"/>
                </a:lnTo>
                <a:lnTo>
                  <a:pt x="308" y="458"/>
                </a:lnTo>
                <a:lnTo>
                  <a:pt x="312" y="458"/>
                </a:lnTo>
                <a:lnTo>
                  <a:pt x="312" y="456"/>
                </a:lnTo>
                <a:lnTo>
                  <a:pt x="316" y="456"/>
                </a:lnTo>
                <a:lnTo>
                  <a:pt x="320" y="456"/>
                </a:lnTo>
                <a:lnTo>
                  <a:pt x="324" y="456"/>
                </a:lnTo>
                <a:lnTo>
                  <a:pt x="320" y="456"/>
                </a:lnTo>
                <a:lnTo>
                  <a:pt x="316" y="456"/>
                </a:lnTo>
                <a:lnTo>
                  <a:pt x="320" y="456"/>
                </a:lnTo>
                <a:lnTo>
                  <a:pt x="316" y="456"/>
                </a:lnTo>
                <a:lnTo>
                  <a:pt x="312" y="456"/>
                </a:lnTo>
                <a:lnTo>
                  <a:pt x="308" y="456"/>
                </a:lnTo>
                <a:lnTo>
                  <a:pt x="308" y="458"/>
                </a:lnTo>
                <a:lnTo>
                  <a:pt x="306" y="458"/>
                </a:lnTo>
                <a:lnTo>
                  <a:pt x="302" y="458"/>
                </a:lnTo>
                <a:lnTo>
                  <a:pt x="302" y="462"/>
                </a:lnTo>
                <a:lnTo>
                  <a:pt x="298" y="462"/>
                </a:lnTo>
                <a:lnTo>
                  <a:pt x="298" y="466"/>
                </a:lnTo>
                <a:lnTo>
                  <a:pt x="294" y="466"/>
                </a:lnTo>
                <a:lnTo>
                  <a:pt x="290" y="470"/>
                </a:lnTo>
                <a:lnTo>
                  <a:pt x="286" y="470"/>
                </a:lnTo>
                <a:lnTo>
                  <a:pt x="286" y="474"/>
                </a:lnTo>
                <a:lnTo>
                  <a:pt x="282" y="474"/>
                </a:lnTo>
                <a:lnTo>
                  <a:pt x="278" y="478"/>
                </a:lnTo>
                <a:lnTo>
                  <a:pt x="276" y="478"/>
                </a:lnTo>
                <a:lnTo>
                  <a:pt x="276" y="474"/>
                </a:lnTo>
                <a:lnTo>
                  <a:pt x="278" y="474"/>
                </a:lnTo>
                <a:lnTo>
                  <a:pt x="276" y="474"/>
                </a:lnTo>
                <a:lnTo>
                  <a:pt x="272" y="474"/>
                </a:lnTo>
                <a:lnTo>
                  <a:pt x="272" y="470"/>
                </a:lnTo>
                <a:lnTo>
                  <a:pt x="272" y="466"/>
                </a:lnTo>
                <a:lnTo>
                  <a:pt x="276" y="466"/>
                </a:lnTo>
                <a:lnTo>
                  <a:pt x="278" y="466"/>
                </a:lnTo>
                <a:lnTo>
                  <a:pt x="282" y="466"/>
                </a:lnTo>
                <a:lnTo>
                  <a:pt x="286" y="466"/>
                </a:lnTo>
                <a:lnTo>
                  <a:pt x="290" y="466"/>
                </a:lnTo>
                <a:lnTo>
                  <a:pt x="286" y="466"/>
                </a:lnTo>
                <a:lnTo>
                  <a:pt x="282" y="466"/>
                </a:lnTo>
                <a:lnTo>
                  <a:pt x="278" y="466"/>
                </a:lnTo>
                <a:lnTo>
                  <a:pt x="276" y="466"/>
                </a:lnTo>
                <a:lnTo>
                  <a:pt x="276" y="462"/>
                </a:lnTo>
                <a:lnTo>
                  <a:pt x="278" y="462"/>
                </a:lnTo>
                <a:lnTo>
                  <a:pt x="282" y="462"/>
                </a:lnTo>
                <a:lnTo>
                  <a:pt x="286" y="462"/>
                </a:lnTo>
                <a:lnTo>
                  <a:pt x="282" y="462"/>
                </a:lnTo>
                <a:lnTo>
                  <a:pt x="278" y="462"/>
                </a:lnTo>
                <a:lnTo>
                  <a:pt x="282" y="462"/>
                </a:lnTo>
                <a:lnTo>
                  <a:pt x="282" y="458"/>
                </a:lnTo>
                <a:lnTo>
                  <a:pt x="282" y="462"/>
                </a:lnTo>
                <a:lnTo>
                  <a:pt x="278" y="462"/>
                </a:lnTo>
                <a:lnTo>
                  <a:pt x="282" y="462"/>
                </a:lnTo>
                <a:lnTo>
                  <a:pt x="282" y="458"/>
                </a:lnTo>
                <a:lnTo>
                  <a:pt x="286" y="458"/>
                </a:lnTo>
                <a:lnTo>
                  <a:pt x="290" y="458"/>
                </a:lnTo>
                <a:lnTo>
                  <a:pt x="294" y="458"/>
                </a:lnTo>
                <a:lnTo>
                  <a:pt x="290" y="458"/>
                </a:lnTo>
                <a:lnTo>
                  <a:pt x="286" y="458"/>
                </a:lnTo>
                <a:lnTo>
                  <a:pt x="282" y="458"/>
                </a:lnTo>
                <a:lnTo>
                  <a:pt x="278" y="458"/>
                </a:lnTo>
                <a:lnTo>
                  <a:pt x="276" y="458"/>
                </a:lnTo>
                <a:lnTo>
                  <a:pt x="272" y="458"/>
                </a:lnTo>
                <a:lnTo>
                  <a:pt x="272" y="456"/>
                </a:lnTo>
                <a:lnTo>
                  <a:pt x="276" y="456"/>
                </a:lnTo>
                <a:lnTo>
                  <a:pt x="278" y="456"/>
                </a:lnTo>
                <a:lnTo>
                  <a:pt x="276" y="456"/>
                </a:lnTo>
                <a:lnTo>
                  <a:pt x="272" y="456"/>
                </a:lnTo>
                <a:lnTo>
                  <a:pt x="276" y="456"/>
                </a:lnTo>
                <a:lnTo>
                  <a:pt x="276" y="452"/>
                </a:lnTo>
                <a:lnTo>
                  <a:pt x="272" y="456"/>
                </a:lnTo>
                <a:lnTo>
                  <a:pt x="268" y="456"/>
                </a:lnTo>
                <a:lnTo>
                  <a:pt x="268" y="452"/>
                </a:lnTo>
                <a:lnTo>
                  <a:pt x="272" y="452"/>
                </a:lnTo>
                <a:lnTo>
                  <a:pt x="276" y="452"/>
                </a:lnTo>
                <a:lnTo>
                  <a:pt x="276" y="448"/>
                </a:lnTo>
                <a:lnTo>
                  <a:pt x="278" y="448"/>
                </a:lnTo>
                <a:lnTo>
                  <a:pt x="282" y="448"/>
                </a:lnTo>
                <a:lnTo>
                  <a:pt x="286" y="448"/>
                </a:lnTo>
                <a:lnTo>
                  <a:pt x="290" y="448"/>
                </a:lnTo>
                <a:lnTo>
                  <a:pt x="294" y="448"/>
                </a:lnTo>
                <a:lnTo>
                  <a:pt x="298" y="448"/>
                </a:lnTo>
                <a:lnTo>
                  <a:pt x="302" y="448"/>
                </a:lnTo>
                <a:lnTo>
                  <a:pt x="306" y="448"/>
                </a:lnTo>
                <a:lnTo>
                  <a:pt x="306" y="452"/>
                </a:lnTo>
                <a:lnTo>
                  <a:pt x="308" y="452"/>
                </a:lnTo>
                <a:lnTo>
                  <a:pt x="312" y="452"/>
                </a:lnTo>
                <a:lnTo>
                  <a:pt x="316" y="452"/>
                </a:lnTo>
                <a:lnTo>
                  <a:pt x="320" y="452"/>
                </a:lnTo>
                <a:lnTo>
                  <a:pt x="316" y="452"/>
                </a:lnTo>
                <a:lnTo>
                  <a:pt x="312" y="452"/>
                </a:lnTo>
                <a:lnTo>
                  <a:pt x="308" y="452"/>
                </a:lnTo>
                <a:lnTo>
                  <a:pt x="306" y="448"/>
                </a:lnTo>
                <a:lnTo>
                  <a:pt x="302" y="448"/>
                </a:lnTo>
                <a:lnTo>
                  <a:pt x="306" y="448"/>
                </a:lnTo>
                <a:lnTo>
                  <a:pt x="308" y="444"/>
                </a:lnTo>
                <a:lnTo>
                  <a:pt x="306" y="444"/>
                </a:lnTo>
                <a:lnTo>
                  <a:pt x="302" y="448"/>
                </a:lnTo>
                <a:lnTo>
                  <a:pt x="298" y="448"/>
                </a:lnTo>
                <a:lnTo>
                  <a:pt x="294" y="448"/>
                </a:lnTo>
                <a:lnTo>
                  <a:pt x="294" y="444"/>
                </a:lnTo>
                <a:lnTo>
                  <a:pt x="286" y="448"/>
                </a:lnTo>
                <a:lnTo>
                  <a:pt x="282" y="448"/>
                </a:lnTo>
                <a:lnTo>
                  <a:pt x="278" y="448"/>
                </a:lnTo>
                <a:lnTo>
                  <a:pt x="276" y="448"/>
                </a:lnTo>
                <a:lnTo>
                  <a:pt x="272" y="452"/>
                </a:lnTo>
                <a:lnTo>
                  <a:pt x="272" y="448"/>
                </a:lnTo>
                <a:lnTo>
                  <a:pt x="272" y="444"/>
                </a:lnTo>
                <a:lnTo>
                  <a:pt x="276" y="444"/>
                </a:lnTo>
                <a:lnTo>
                  <a:pt x="278" y="440"/>
                </a:lnTo>
                <a:lnTo>
                  <a:pt x="282" y="440"/>
                </a:lnTo>
                <a:lnTo>
                  <a:pt x="278" y="440"/>
                </a:lnTo>
                <a:lnTo>
                  <a:pt x="282" y="440"/>
                </a:lnTo>
                <a:lnTo>
                  <a:pt x="282" y="436"/>
                </a:lnTo>
                <a:lnTo>
                  <a:pt x="286" y="436"/>
                </a:lnTo>
                <a:lnTo>
                  <a:pt x="290" y="436"/>
                </a:lnTo>
                <a:lnTo>
                  <a:pt x="286" y="436"/>
                </a:lnTo>
                <a:lnTo>
                  <a:pt x="290" y="436"/>
                </a:lnTo>
                <a:lnTo>
                  <a:pt x="294" y="436"/>
                </a:lnTo>
                <a:lnTo>
                  <a:pt x="298" y="436"/>
                </a:lnTo>
                <a:lnTo>
                  <a:pt x="298" y="440"/>
                </a:lnTo>
                <a:lnTo>
                  <a:pt x="302" y="440"/>
                </a:lnTo>
                <a:lnTo>
                  <a:pt x="306" y="440"/>
                </a:lnTo>
                <a:lnTo>
                  <a:pt x="308" y="440"/>
                </a:lnTo>
                <a:lnTo>
                  <a:pt x="312" y="440"/>
                </a:lnTo>
                <a:lnTo>
                  <a:pt x="312" y="444"/>
                </a:lnTo>
                <a:lnTo>
                  <a:pt x="316" y="444"/>
                </a:lnTo>
                <a:lnTo>
                  <a:pt x="320" y="444"/>
                </a:lnTo>
                <a:lnTo>
                  <a:pt x="324" y="444"/>
                </a:lnTo>
                <a:lnTo>
                  <a:pt x="320" y="444"/>
                </a:lnTo>
                <a:lnTo>
                  <a:pt x="316" y="444"/>
                </a:lnTo>
                <a:lnTo>
                  <a:pt x="316" y="440"/>
                </a:lnTo>
                <a:lnTo>
                  <a:pt x="312" y="440"/>
                </a:lnTo>
                <a:lnTo>
                  <a:pt x="316" y="440"/>
                </a:lnTo>
                <a:lnTo>
                  <a:pt x="320" y="440"/>
                </a:lnTo>
                <a:lnTo>
                  <a:pt x="320" y="436"/>
                </a:lnTo>
                <a:lnTo>
                  <a:pt x="324" y="436"/>
                </a:lnTo>
                <a:lnTo>
                  <a:pt x="324" y="440"/>
                </a:lnTo>
                <a:lnTo>
                  <a:pt x="324" y="436"/>
                </a:lnTo>
                <a:lnTo>
                  <a:pt x="320" y="436"/>
                </a:lnTo>
                <a:lnTo>
                  <a:pt x="316" y="436"/>
                </a:lnTo>
                <a:lnTo>
                  <a:pt x="316" y="440"/>
                </a:lnTo>
                <a:lnTo>
                  <a:pt x="312" y="440"/>
                </a:lnTo>
                <a:lnTo>
                  <a:pt x="308" y="440"/>
                </a:lnTo>
                <a:lnTo>
                  <a:pt x="308" y="436"/>
                </a:lnTo>
                <a:lnTo>
                  <a:pt x="312" y="436"/>
                </a:lnTo>
                <a:lnTo>
                  <a:pt x="316" y="436"/>
                </a:lnTo>
                <a:lnTo>
                  <a:pt x="320" y="436"/>
                </a:lnTo>
                <a:lnTo>
                  <a:pt x="320" y="432"/>
                </a:lnTo>
                <a:lnTo>
                  <a:pt x="312" y="432"/>
                </a:lnTo>
                <a:lnTo>
                  <a:pt x="316" y="432"/>
                </a:lnTo>
                <a:lnTo>
                  <a:pt x="316" y="436"/>
                </a:lnTo>
                <a:lnTo>
                  <a:pt x="312" y="436"/>
                </a:lnTo>
                <a:lnTo>
                  <a:pt x="308" y="436"/>
                </a:lnTo>
                <a:lnTo>
                  <a:pt x="306" y="432"/>
                </a:lnTo>
                <a:lnTo>
                  <a:pt x="308" y="432"/>
                </a:lnTo>
                <a:lnTo>
                  <a:pt x="312" y="432"/>
                </a:lnTo>
                <a:lnTo>
                  <a:pt x="308" y="432"/>
                </a:lnTo>
                <a:lnTo>
                  <a:pt x="306" y="432"/>
                </a:lnTo>
                <a:lnTo>
                  <a:pt x="302" y="432"/>
                </a:lnTo>
                <a:lnTo>
                  <a:pt x="306" y="432"/>
                </a:lnTo>
                <a:lnTo>
                  <a:pt x="306" y="436"/>
                </a:lnTo>
                <a:lnTo>
                  <a:pt x="302" y="436"/>
                </a:lnTo>
                <a:lnTo>
                  <a:pt x="306" y="436"/>
                </a:lnTo>
                <a:lnTo>
                  <a:pt x="302" y="436"/>
                </a:lnTo>
                <a:lnTo>
                  <a:pt x="298" y="436"/>
                </a:lnTo>
                <a:lnTo>
                  <a:pt x="302" y="436"/>
                </a:lnTo>
                <a:lnTo>
                  <a:pt x="298" y="436"/>
                </a:lnTo>
                <a:lnTo>
                  <a:pt x="294" y="436"/>
                </a:lnTo>
                <a:lnTo>
                  <a:pt x="290" y="436"/>
                </a:lnTo>
                <a:lnTo>
                  <a:pt x="294" y="432"/>
                </a:lnTo>
                <a:lnTo>
                  <a:pt x="298" y="432"/>
                </a:lnTo>
                <a:lnTo>
                  <a:pt x="302" y="432"/>
                </a:lnTo>
                <a:lnTo>
                  <a:pt x="298" y="432"/>
                </a:lnTo>
                <a:lnTo>
                  <a:pt x="294" y="432"/>
                </a:lnTo>
                <a:lnTo>
                  <a:pt x="290" y="432"/>
                </a:lnTo>
                <a:lnTo>
                  <a:pt x="290" y="436"/>
                </a:lnTo>
                <a:lnTo>
                  <a:pt x="286" y="436"/>
                </a:lnTo>
                <a:lnTo>
                  <a:pt x="282" y="436"/>
                </a:lnTo>
                <a:lnTo>
                  <a:pt x="278" y="440"/>
                </a:lnTo>
                <a:lnTo>
                  <a:pt x="276" y="444"/>
                </a:lnTo>
                <a:lnTo>
                  <a:pt x="272" y="444"/>
                </a:lnTo>
                <a:lnTo>
                  <a:pt x="272" y="440"/>
                </a:lnTo>
                <a:lnTo>
                  <a:pt x="276" y="440"/>
                </a:lnTo>
                <a:lnTo>
                  <a:pt x="276" y="436"/>
                </a:lnTo>
                <a:lnTo>
                  <a:pt x="272" y="436"/>
                </a:lnTo>
                <a:lnTo>
                  <a:pt x="276" y="432"/>
                </a:lnTo>
                <a:lnTo>
                  <a:pt x="276" y="436"/>
                </a:lnTo>
                <a:lnTo>
                  <a:pt x="278" y="436"/>
                </a:lnTo>
                <a:lnTo>
                  <a:pt x="276" y="436"/>
                </a:lnTo>
                <a:lnTo>
                  <a:pt x="276" y="432"/>
                </a:lnTo>
                <a:lnTo>
                  <a:pt x="278" y="432"/>
                </a:lnTo>
                <a:lnTo>
                  <a:pt x="278" y="436"/>
                </a:lnTo>
                <a:lnTo>
                  <a:pt x="278" y="432"/>
                </a:lnTo>
                <a:lnTo>
                  <a:pt x="282" y="432"/>
                </a:lnTo>
                <a:lnTo>
                  <a:pt x="278" y="432"/>
                </a:lnTo>
                <a:lnTo>
                  <a:pt x="282" y="432"/>
                </a:lnTo>
                <a:lnTo>
                  <a:pt x="282" y="428"/>
                </a:lnTo>
                <a:lnTo>
                  <a:pt x="278" y="432"/>
                </a:lnTo>
                <a:lnTo>
                  <a:pt x="278" y="428"/>
                </a:lnTo>
                <a:lnTo>
                  <a:pt x="282" y="428"/>
                </a:lnTo>
                <a:lnTo>
                  <a:pt x="286" y="432"/>
                </a:lnTo>
                <a:lnTo>
                  <a:pt x="290" y="432"/>
                </a:lnTo>
                <a:lnTo>
                  <a:pt x="294" y="432"/>
                </a:lnTo>
                <a:lnTo>
                  <a:pt x="290" y="432"/>
                </a:lnTo>
                <a:lnTo>
                  <a:pt x="286" y="432"/>
                </a:lnTo>
                <a:lnTo>
                  <a:pt x="286" y="428"/>
                </a:lnTo>
                <a:lnTo>
                  <a:pt x="282" y="428"/>
                </a:lnTo>
                <a:lnTo>
                  <a:pt x="278" y="428"/>
                </a:lnTo>
                <a:lnTo>
                  <a:pt x="276" y="426"/>
                </a:lnTo>
                <a:lnTo>
                  <a:pt x="278" y="426"/>
                </a:lnTo>
                <a:lnTo>
                  <a:pt x="282" y="426"/>
                </a:lnTo>
                <a:lnTo>
                  <a:pt x="286" y="428"/>
                </a:lnTo>
                <a:lnTo>
                  <a:pt x="290" y="428"/>
                </a:lnTo>
                <a:lnTo>
                  <a:pt x="286" y="428"/>
                </a:lnTo>
                <a:lnTo>
                  <a:pt x="286" y="426"/>
                </a:lnTo>
                <a:lnTo>
                  <a:pt x="290" y="426"/>
                </a:lnTo>
                <a:lnTo>
                  <a:pt x="290" y="428"/>
                </a:lnTo>
                <a:lnTo>
                  <a:pt x="294" y="428"/>
                </a:lnTo>
                <a:lnTo>
                  <a:pt x="298" y="428"/>
                </a:lnTo>
                <a:lnTo>
                  <a:pt x="302" y="428"/>
                </a:lnTo>
                <a:lnTo>
                  <a:pt x="306" y="428"/>
                </a:lnTo>
                <a:lnTo>
                  <a:pt x="308" y="428"/>
                </a:lnTo>
                <a:lnTo>
                  <a:pt x="316" y="432"/>
                </a:lnTo>
                <a:lnTo>
                  <a:pt x="320" y="432"/>
                </a:lnTo>
                <a:lnTo>
                  <a:pt x="324" y="432"/>
                </a:lnTo>
                <a:lnTo>
                  <a:pt x="320" y="432"/>
                </a:lnTo>
                <a:lnTo>
                  <a:pt x="316" y="432"/>
                </a:lnTo>
                <a:lnTo>
                  <a:pt x="316" y="428"/>
                </a:lnTo>
                <a:lnTo>
                  <a:pt x="312" y="428"/>
                </a:lnTo>
                <a:lnTo>
                  <a:pt x="308" y="428"/>
                </a:lnTo>
                <a:lnTo>
                  <a:pt x="306" y="426"/>
                </a:lnTo>
                <a:lnTo>
                  <a:pt x="308" y="426"/>
                </a:lnTo>
                <a:lnTo>
                  <a:pt x="312" y="426"/>
                </a:lnTo>
                <a:lnTo>
                  <a:pt x="308" y="426"/>
                </a:lnTo>
                <a:lnTo>
                  <a:pt x="308" y="422"/>
                </a:lnTo>
                <a:lnTo>
                  <a:pt x="312" y="418"/>
                </a:lnTo>
                <a:lnTo>
                  <a:pt x="308" y="422"/>
                </a:lnTo>
                <a:lnTo>
                  <a:pt x="306" y="422"/>
                </a:lnTo>
                <a:lnTo>
                  <a:pt x="302" y="422"/>
                </a:lnTo>
                <a:lnTo>
                  <a:pt x="306" y="422"/>
                </a:lnTo>
                <a:lnTo>
                  <a:pt x="308" y="422"/>
                </a:lnTo>
                <a:lnTo>
                  <a:pt x="306" y="426"/>
                </a:lnTo>
                <a:lnTo>
                  <a:pt x="302" y="426"/>
                </a:lnTo>
                <a:lnTo>
                  <a:pt x="298" y="426"/>
                </a:lnTo>
                <a:lnTo>
                  <a:pt x="294" y="426"/>
                </a:lnTo>
                <a:lnTo>
                  <a:pt x="290" y="426"/>
                </a:lnTo>
                <a:lnTo>
                  <a:pt x="286" y="426"/>
                </a:lnTo>
                <a:lnTo>
                  <a:pt x="282" y="426"/>
                </a:lnTo>
                <a:lnTo>
                  <a:pt x="282" y="422"/>
                </a:lnTo>
                <a:lnTo>
                  <a:pt x="286" y="422"/>
                </a:lnTo>
                <a:lnTo>
                  <a:pt x="282" y="422"/>
                </a:lnTo>
                <a:lnTo>
                  <a:pt x="282" y="426"/>
                </a:lnTo>
                <a:lnTo>
                  <a:pt x="278" y="426"/>
                </a:lnTo>
                <a:lnTo>
                  <a:pt x="278" y="422"/>
                </a:lnTo>
                <a:lnTo>
                  <a:pt x="278" y="426"/>
                </a:lnTo>
                <a:lnTo>
                  <a:pt x="276" y="426"/>
                </a:lnTo>
                <a:lnTo>
                  <a:pt x="276" y="422"/>
                </a:lnTo>
                <a:lnTo>
                  <a:pt x="278" y="422"/>
                </a:lnTo>
                <a:lnTo>
                  <a:pt x="282" y="422"/>
                </a:lnTo>
                <a:lnTo>
                  <a:pt x="286" y="418"/>
                </a:lnTo>
                <a:lnTo>
                  <a:pt x="290" y="418"/>
                </a:lnTo>
                <a:lnTo>
                  <a:pt x="294" y="418"/>
                </a:lnTo>
                <a:lnTo>
                  <a:pt x="298" y="418"/>
                </a:lnTo>
                <a:lnTo>
                  <a:pt x="302" y="418"/>
                </a:lnTo>
                <a:lnTo>
                  <a:pt x="306" y="418"/>
                </a:lnTo>
                <a:lnTo>
                  <a:pt x="308" y="418"/>
                </a:lnTo>
                <a:lnTo>
                  <a:pt x="308" y="414"/>
                </a:lnTo>
                <a:lnTo>
                  <a:pt x="312" y="414"/>
                </a:lnTo>
                <a:lnTo>
                  <a:pt x="312" y="414"/>
                </a:lnTo>
                <a:lnTo>
                  <a:pt x="312" y="414"/>
                </a:lnTo>
                <a:close/>
                <a:moveTo>
                  <a:pt x="764" y="104"/>
                </a:moveTo>
                <a:lnTo>
                  <a:pt x="760" y="104"/>
                </a:lnTo>
                <a:lnTo>
                  <a:pt x="756" y="104"/>
                </a:lnTo>
                <a:lnTo>
                  <a:pt x="752" y="104"/>
                </a:lnTo>
                <a:lnTo>
                  <a:pt x="748" y="108"/>
                </a:lnTo>
                <a:lnTo>
                  <a:pt x="748" y="104"/>
                </a:lnTo>
                <a:lnTo>
                  <a:pt x="752" y="100"/>
                </a:lnTo>
                <a:lnTo>
                  <a:pt x="756" y="100"/>
                </a:lnTo>
                <a:lnTo>
                  <a:pt x="764" y="104"/>
                </a:lnTo>
                <a:lnTo>
                  <a:pt x="764" y="104"/>
                </a:lnTo>
                <a:lnTo>
                  <a:pt x="764" y="104"/>
                </a:lnTo>
                <a:close/>
                <a:moveTo>
                  <a:pt x="756" y="146"/>
                </a:moveTo>
                <a:lnTo>
                  <a:pt x="752" y="146"/>
                </a:lnTo>
                <a:lnTo>
                  <a:pt x="752" y="142"/>
                </a:lnTo>
                <a:lnTo>
                  <a:pt x="756" y="138"/>
                </a:lnTo>
                <a:lnTo>
                  <a:pt x="760" y="138"/>
                </a:lnTo>
                <a:lnTo>
                  <a:pt x="760" y="142"/>
                </a:lnTo>
                <a:lnTo>
                  <a:pt x="756" y="142"/>
                </a:lnTo>
                <a:lnTo>
                  <a:pt x="760" y="142"/>
                </a:lnTo>
                <a:lnTo>
                  <a:pt x="760" y="146"/>
                </a:lnTo>
                <a:lnTo>
                  <a:pt x="756" y="146"/>
                </a:lnTo>
                <a:lnTo>
                  <a:pt x="756" y="146"/>
                </a:lnTo>
                <a:lnTo>
                  <a:pt x="756" y="146"/>
                </a:lnTo>
                <a:close/>
                <a:moveTo>
                  <a:pt x="752" y="168"/>
                </a:moveTo>
                <a:lnTo>
                  <a:pt x="756" y="168"/>
                </a:lnTo>
                <a:lnTo>
                  <a:pt x="760" y="168"/>
                </a:lnTo>
                <a:lnTo>
                  <a:pt x="760" y="172"/>
                </a:lnTo>
                <a:lnTo>
                  <a:pt x="756" y="172"/>
                </a:lnTo>
                <a:lnTo>
                  <a:pt x="752" y="172"/>
                </a:lnTo>
                <a:lnTo>
                  <a:pt x="748" y="168"/>
                </a:lnTo>
                <a:lnTo>
                  <a:pt x="744" y="168"/>
                </a:lnTo>
                <a:lnTo>
                  <a:pt x="742" y="168"/>
                </a:lnTo>
                <a:lnTo>
                  <a:pt x="744" y="168"/>
                </a:lnTo>
                <a:lnTo>
                  <a:pt x="748" y="168"/>
                </a:lnTo>
                <a:lnTo>
                  <a:pt x="752" y="168"/>
                </a:lnTo>
                <a:lnTo>
                  <a:pt x="752" y="168"/>
                </a:lnTo>
                <a:lnTo>
                  <a:pt x="752" y="168"/>
                </a:lnTo>
                <a:close/>
                <a:moveTo>
                  <a:pt x="782" y="168"/>
                </a:moveTo>
                <a:lnTo>
                  <a:pt x="782" y="172"/>
                </a:lnTo>
                <a:lnTo>
                  <a:pt x="782" y="174"/>
                </a:lnTo>
                <a:lnTo>
                  <a:pt x="778" y="174"/>
                </a:lnTo>
                <a:lnTo>
                  <a:pt x="774" y="174"/>
                </a:lnTo>
                <a:lnTo>
                  <a:pt x="774" y="172"/>
                </a:lnTo>
                <a:lnTo>
                  <a:pt x="778" y="172"/>
                </a:lnTo>
                <a:lnTo>
                  <a:pt x="778" y="168"/>
                </a:lnTo>
                <a:lnTo>
                  <a:pt x="782" y="168"/>
                </a:lnTo>
                <a:lnTo>
                  <a:pt x="782" y="168"/>
                </a:lnTo>
                <a:lnTo>
                  <a:pt x="782" y="168"/>
                </a:lnTo>
                <a:close/>
                <a:moveTo>
                  <a:pt x="768" y="216"/>
                </a:moveTo>
                <a:lnTo>
                  <a:pt x="770" y="220"/>
                </a:lnTo>
                <a:lnTo>
                  <a:pt x="770" y="224"/>
                </a:lnTo>
                <a:lnTo>
                  <a:pt x="768" y="224"/>
                </a:lnTo>
                <a:lnTo>
                  <a:pt x="768" y="220"/>
                </a:lnTo>
                <a:lnTo>
                  <a:pt x="768" y="216"/>
                </a:lnTo>
                <a:lnTo>
                  <a:pt x="764" y="216"/>
                </a:lnTo>
                <a:lnTo>
                  <a:pt x="764" y="212"/>
                </a:lnTo>
                <a:lnTo>
                  <a:pt x="764" y="208"/>
                </a:lnTo>
                <a:lnTo>
                  <a:pt x="760" y="208"/>
                </a:lnTo>
                <a:lnTo>
                  <a:pt x="760" y="204"/>
                </a:lnTo>
                <a:lnTo>
                  <a:pt x="764" y="204"/>
                </a:lnTo>
                <a:lnTo>
                  <a:pt x="768" y="204"/>
                </a:lnTo>
                <a:lnTo>
                  <a:pt x="764" y="204"/>
                </a:lnTo>
                <a:lnTo>
                  <a:pt x="764" y="200"/>
                </a:lnTo>
                <a:lnTo>
                  <a:pt x="768" y="200"/>
                </a:lnTo>
                <a:lnTo>
                  <a:pt x="768" y="204"/>
                </a:lnTo>
                <a:lnTo>
                  <a:pt x="768" y="208"/>
                </a:lnTo>
                <a:lnTo>
                  <a:pt x="768" y="212"/>
                </a:lnTo>
                <a:lnTo>
                  <a:pt x="768" y="216"/>
                </a:lnTo>
                <a:lnTo>
                  <a:pt x="768" y="216"/>
                </a:lnTo>
                <a:lnTo>
                  <a:pt x="768" y="216"/>
                </a:lnTo>
                <a:close/>
                <a:moveTo>
                  <a:pt x="778" y="238"/>
                </a:moveTo>
                <a:lnTo>
                  <a:pt x="778" y="242"/>
                </a:lnTo>
                <a:lnTo>
                  <a:pt x="774" y="242"/>
                </a:lnTo>
                <a:lnTo>
                  <a:pt x="778" y="246"/>
                </a:lnTo>
                <a:lnTo>
                  <a:pt x="782" y="246"/>
                </a:lnTo>
                <a:lnTo>
                  <a:pt x="786" y="246"/>
                </a:lnTo>
                <a:lnTo>
                  <a:pt x="786" y="250"/>
                </a:lnTo>
                <a:lnTo>
                  <a:pt x="782" y="250"/>
                </a:lnTo>
                <a:lnTo>
                  <a:pt x="778" y="250"/>
                </a:lnTo>
                <a:lnTo>
                  <a:pt x="778" y="246"/>
                </a:lnTo>
                <a:lnTo>
                  <a:pt x="774" y="246"/>
                </a:lnTo>
                <a:lnTo>
                  <a:pt x="774" y="250"/>
                </a:lnTo>
                <a:lnTo>
                  <a:pt x="770" y="250"/>
                </a:lnTo>
                <a:lnTo>
                  <a:pt x="768" y="250"/>
                </a:lnTo>
                <a:lnTo>
                  <a:pt x="764" y="250"/>
                </a:lnTo>
                <a:lnTo>
                  <a:pt x="764" y="246"/>
                </a:lnTo>
                <a:lnTo>
                  <a:pt x="768" y="246"/>
                </a:lnTo>
                <a:lnTo>
                  <a:pt x="768" y="242"/>
                </a:lnTo>
                <a:lnTo>
                  <a:pt x="764" y="242"/>
                </a:lnTo>
                <a:lnTo>
                  <a:pt x="768" y="238"/>
                </a:lnTo>
                <a:lnTo>
                  <a:pt x="770" y="238"/>
                </a:lnTo>
                <a:lnTo>
                  <a:pt x="770" y="242"/>
                </a:lnTo>
                <a:lnTo>
                  <a:pt x="774" y="242"/>
                </a:lnTo>
                <a:lnTo>
                  <a:pt x="774" y="238"/>
                </a:lnTo>
                <a:lnTo>
                  <a:pt x="778" y="238"/>
                </a:lnTo>
                <a:lnTo>
                  <a:pt x="778" y="238"/>
                </a:lnTo>
                <a:lnTo>
                  <a:pt x="778" y="238"/>
                </a:lnTo>
                <a:close/>
                <a:moveTo>
                  <a:pt x="722" y="310"/>
                </a:moveTo>
                <a:lnTo>
                  <a:pt x="718" y="310"/>
                </a:lnTo>
                <a:lnTo>
                  <a:pt x="716" y="310"/>
                </a:lnTo>
                <a:lnTo>
                  <a:pt x="712" y="310"/>
                </a:lnTo>
                <a:lnTo>
                  <a:pt x="712" y="306"/>
                </a:lnTo>
                <a:lnTo>
                  <a:pt x="708" y="306"/>
                </a:lnTo>
                <a:lnTo>
                  <a:pt x="704" y="306"/>
                </a:lnTo>
                <a:lnTo>
                  <a:pt x="700" y="306"/>
                </a:lnTo>
                <a:lnTo>
                  <a:pt x="696" y="306"/>
                </a:lnTo>
                <a:lnTo>
                  <a:pt x="692" y="306"/>
                </a:lnTo>
                <a:lnTo>
                  <a:pt x="688" y="306"/>
                </a:lnTo>
                <a:lnTo>
                  <a:pt x="686" y="306"/>
                </a:lnTo>
                <a:lnTo>
                  <a:pt x="686" y="302"/>
                </a:lnTo>
                <a:lnTo>
                  <a:pt x="688" y="302"/>
                </a:lnTo>
                <a:lnTo>
                  <a:pt x="692" y="302"/>
                </a:lnTo>
                <a:lnTo>
                  <a:pt x="696" y="302"/>
                </a:lnTo>
                <a:lnTo>
                  <a:pt x="700" y="302"/>
                </a:lnTo>
                <a:lnTo>
                  <a:pt x="704" y="302"/>
                </a:lnTo>
                <a:lnTo>
                  <a:pt x="708" y="302"/>
                </a:lnTo>
                <a:lnTo>
                  <a:pt x="712" y="302"/>
                </a:lnTo>
                <a:lnTo>
                  <a:pt x="716" y="302"/>
                </a:lnTo>
                <a:lnTo>
                  <a:pt x="718" y="302"/>
                </a:lnTo>
                <a:lnTo>
                  <a:pt x="718" y="306"/>
                </a:lnTo>
                <a:lnTo>
                  <a:pt x="722" y="306"/>
                </a:lnTo>
                <a:lnTo>
                  <a:pt x="718" y="306"/>
                </a:lnTo>
                <a:lnTo>
                  <a:pt x="718" y="310"/>
                </a:lnTo>
                <a:lnTo>
                  <a:pt x="722" y="310"/>
                </a:lnTo>
                <a:lnTo>
                  <a:pt x="722" y="310"/>
                </a:lnTo>
                <a:lnTo>
                  <a:pt x="722" y="310"/>
                </a:lnTo>
                <a:close/>
                <a:moveTo>
                  <a:pt x="716" y="324"/>
                </a:moveTo>
                <a:lnTo>
                  <a:pt x="712" y="324"/>
                </a:lnTo>
                <a:lnTo>
                  <a:pt x="708" y="320"/>
                </a:lnTo>
                <a:lnTo>
                  <a:pt x="704" y="320"/>
                </a:lnTo>
                <a:lnTo>
                  <a:pt x="700" y="316"/>
                </a:lnTo>
                <a:lnTo>
                  <a:pt x="692" y="316"/>
                </a:lnTo>
                <a:lnTo>
                  <a:pt x="692" y="314"/>
                </a:lnTo>
                <a:lnTo>
                  <a:pt x="688" y="314"/>
                </a:lnTo>
                <a:lnTo>
                  <a:pt x="686" y="306"/>
                </a:lnTo>
                <a:lnTo>
                  <a:pt x="688" y="306"/>
                </a:lnTo>
                <a:lnTo>
                  <a:pt x="692" y="306"/>
                </a:lnTo>
                <a:lnTo>
                  <a:pt x="696" y="306"/>
                </a:lnTo>
                <a:lnTo>
                  <a:pt x="700" y="306"/>
                </a:lnTo>
                <a:lnTo>
                  <a:pt x="704" y="306"/>
                </a:lnTo>
                <a:lnTo>
                  <a:pt x="704" y="310"/>
                </a:lnTo>
                <a:lnTo>
                  <a:pt x="708" y="310"/>
                </a:lnTo>
                <a:lnTo>
                  <a:pt x="712" y="310"/>
                </a:lnTo>
                <a:lnTo>
                  <a:pt x="712" y="314"/>
                </a:lnTo>
                <a:lnTo>
                  <a:pt x="716" y="314"/>
                </a:lnTo>
                <a:lnTo>
                  <a:pt x="718" y="314"/>
                </a:lnTo>
                <a:lnTo>
                  <a:pt x="722" y="316"/>
                </a:lnTo>
                <a:lnTo>
                  <a:pt x="718" y="316"/>
                </a:lnTo>
                <a:lnTo>
                  <a:pt x="716" y="316"/>
                </a:lnTo>
                <a:lnTo>
                  <a:pt x="712" y="316"/>
                </a:lnTo>
                <a:lnTo>
                  <a:pt x="712" y="320"/>
                </a:lnTo>
                <a:lnTo>
                  <a:pt x="716" y="320"/>
                </a:lnTo>
                <a:lnTo>
                  <a:pt x="718" y="320"/>
                </a:lnTo>
                <a:lnTo>
                  <a:pt x="718" y="324"/>
                </a:lnTo>
                <a:lnTo>
                  <a:pt x="716" y="324"/>
                </a:lnTo>
                <a:lnTo>
                  <a:pt x="716" y="324"/>
                </a:lnTo>
                <a:lnTo>
                  <a:pt x="716" y="324"/>
                </a:lnTo>
                <a:close/>
                <a:moveTo>
                  <a:pt x="246" y="332"/>
                </a:moveTo>
                <a:lnTo>
                  <a:pt x="250" y="332"/>
                </a:lnTo>
                <a:lnTo>
                  <a:pt x="246" y="332"/>
                </a:lnTo>
                <a:lnTo>
                  <a:pt x="242" y="332"/>
                </a:lnTo>
                <a:lnTo>
                  <a:pt x="246" y="332"/>
                </a:lnTo>
                <a:lnTo>
                  <a:pt x="246" y="332"/>
                </a:lnTo>
                <a:lnTo>
                  <a:pt x="246" y="332"/>
                </a:lnTo>
                <a:close/>
                <a:moveTo>
                  <a:pt x="278" y="340"/>
                </a:moveTo>
                <a:lnTo>
                  <a:pt x="276" y="340"/>
                </a:lnTo>
                <a:lnTo>
                  <a:pt x="276" y="336"/>
                </a:lnTo>
                <a:lnTo>
                  <a:pt x="278" y="336"/>
                </a:lnTo>
                <a:lnTo>
                  <a:pt x="282" y="340"/>
                </a:lnTo>
                <a:lnTo>
                  <a:pt x="286" y="340"/>
                </a:lnTo>
                <a:lnTo>
                  <a:pt x="286" y="336"/>
                </a:lnTo>
                <a:lnTo>
                  <a:pt x="286" y="340"/>
                </a:lnTo>
                <a:lnTo>
                  <a:pt x="282" y="340"/>
                </a:lnTo>
                <a:lnTo>
                  <a:pt x="278" y="340"/>
                </a:lnTo>
                <a:lnTo>
                  <a:pt x="278" y="340"/>
                </a:lnTo>
                <a:lnTo>
                  <a:pt x="278" y="340"/>
                </a:lnTo>
                <a:close/>
                <a:moveTo>
                  <a:pt x="278" y="346"/>
                </a:moveTo>
                <a:lnTo>
                  <a:pt x="282" y="346"/>
                </a:lnTo>
                <a:lnTo>
                  <a:pt x="282" y="342"/>
                </a:lnTo>
                <a:lnTo>
                  <a:pt x="286" y="346"/>
                </a:lnTo>
                <a:lnTo>
                  <a:pt x="290" y="346"/>
                </a:lnTo>
                <a:lnTo>
                  <a:pt x="286" y="346"/>
                </a:lnTo>
                <a:lnTo>
                  <a:pt x="286" y="350"/>
                </a:lnTo>
                <a:lnTo>
                  <a:pt x="282" y="350"/>
                </a:lnTo>
                <a:lnTo>
                  <a:pt x="278" y="350"/>
                </a:lnTo>
                <a:lnTo>
                  <a:pt x="278" y="346"/>
                </a:lnTo>
                <a:lnTo>
                  <a:pt x="278" y="346"/>
                </a:lnTo>
                <a:lnTo>
                  <a:pt x="278" y="346"/>
                </a:lnTo>
                <a:close/>
                <a:moveTo>
                  <a:pt x="276" y="346"/>
                </a:moveTo>
                <a:lnTo>
                  <a:pt x="276" y="350"/>
                </a:lnTo>
                <a:lnTo>
                  <a:pt x="276" y="354"/>
                </a:lnTo>
                <a:lnTo>
                  <a:pt x="272" y="354"/>
                </a:lnTo>
                <a:lnTo>
                  <a:pt x="268" y="350"/>
                </a:lnTo>
                <a:lnTo>
                  <a:pt x="272" y="350"/>
                </a:lnTo>
                <a:lnTo>
                  <a:pt x="272" y="346"/>
                </a:lnTo>
                <a:lnTo>
                  <a:pt x="276" y="346"/>
                </a:lnTo>
                <a:lnTo>
                  <a:pt x="276" y="346"/>
                </a:lnTo>
                <a:lnTo>
                  <a:pt x="276" y="346"/>
                </a:lnTo>
                <a:close/>
                <a:moveTo>
                  <a:pt x="670" y="354"/>
                </a:moveTo>
                <a:lnTo>
                  <a:pt x="674" y="358"/>
                </a:lnTo>
                <a:lnTo>
                  <a:pt x="674" y="362"/>
                </a:lnTo>
                <a:lnTo>
                  <a:pt x="670" y="366"/>
                </a:lnTo>
                <a:lnTo>
                  <a:pt x="666" y="366"/>
                </a:lnTo>
                <a:lnTo>
                  <a:pt x="662" y="366"/>
                </a:lnTo>
                <a:lnTo>
                  <a:pt x="660" y="366"/>
                </a:lnTo>
                <a:lnTo>
                  <a:pt x="656" y="366"/>
                </a:lnTo>
                <a:lnTo>
                  <a:pt x="652" y="366"/>
                </a:lnTo>
                <a:lnTo>
                  <a:pt x="648" y="370"/>
                </a:lnTo>
                <a:lnTo>
                  <a:pt x="640" y="370"/>
                </a:lnTo>
                <a:lnTo>
                  <a:pt x="636" y="370"/>
                </a:lnTo>
                <a:lnTo>
                  <a:pt x="632" y="370"/>
                </a:lnTo>
                <a:lnTo>
                  <a:pt x="632" y="366"/>
                </a:lnTo>
                <a:lnTo>
                  <a:pt x="636" y="366"/>
                </a:lnTo>
                <a:lnTo>
                  <a:pt x="640" y="366"/>
                </a:lnTo>
                <a:lnTo>
                  <a:pt x="640" y="362"/>
                </a:lnTo>
                <a:lnTo>
                  <a:pt x="644" y="362"/>
                </a:lnTo>
                <a:lnTo>
                  <a:pt x="648" y="358"/>
                </a:lnTo>
                <a:lnTo>
                  <a:pt x="652" y="358"/>
                </a:lnTo>
                <a:lnTo>
                  <a:pt x="656" y="358"/>
                </a:lnTo>
                <a:lnTo>
                  <a:pt x="660" y="358"/>
                </a:lnTo>
                <a:lnTo>
                  <a:pt x="660" y="354"/>
                </a:lnTo>
                <a:lnTo>
                  <a:pt x="662" y="354"/>
                </a:lnTo>
                <a:lnTo>
                  <a:pt x="666" y="354"/>
                </a:lnTo>
                <a:lnTo>
                  <a:pt x="670" y="354"/>
                </a:lnTo>
                <a:lnTo>
                  <a:pt x="670" y="354"/>
                </a:lnTo>
                <a:lnTo>
                  <a:pt x="670" y="354"/>
                </a:lnTo>
                <a:close/>
                <a:moveTo>
                  <a:pt x="298" y="354"/>
                </a:moveTo>
                <a:lnTo>
                  <a:pt x="302" y="358"/>
                </a:lnTo>
                <a:lnTo>
                  <a:pt x="298" y="358"/>
                </a:lnTo>
                <a:lnTo>
                  <a:pt x="294" y="358"/>
                </a:lnTo>
                <a:lnTo>
                  <a:pt x="294" y="354"/>
                </a:lnTo>
                <a:lnTo>
                  <a:pt x="298" y="354"/>
                </a:lnTo>
                <a:lnTo>
                  <a:pt x="298" y="354"/>
                </a:lnTo>
                <a:lnTo>
                  <a:pt x="298" y="354"/>
                </a:lnTo>
                <a:close/>
                <a:moveTo>
                  <a:pt x="648" y="358"/>
                </a:moveTo>
                <a:lnTo>
                  <a:pt x="644" y="358"/>
                </a:lnTo>
                <a:lnTo>
                  <a:pt x="640" y="362"/>
                </a:lnTo>
                <a:lnTo>
                  <a:pt x="640" y="358"/>
                </a:lnTo>
                <a:lnTo>
                  <a:pt x="644" y="358"/>
                </a:lnTo>
                <a:lnTo>
                  <a:pt x="648" y="358"/>
                </a:lnTo>
                <a:lnTo>
                  <a:pt x="648" y="358"/>
                </a:lnTo>
                <a:lnTo>
                  <a:pt x="648" y="358"/>
                </a:lnTo>
                <a:close/>
                <a:moveTo>
                  <a:pt x="302" y="366"/>
                </a:moveTo>
                <a:lnTo>
                  <a:pt x="302" y="362"/>
                </a:lnTo>
                <a:lnTo>
                  <a:pt x="298" y="362"/>
                </a:lnTo>
                <a:lnTo>
                  <a:pt x="302" y="362"/>
                </a:lnTo>
                <a:lnTo>
                  <a:pt x="306" y="362"/>
                </a:lnTo>
                <a:lnTo>
                  <a:pt x="302" y="366"/>
                </a:lnTo>
                <a:lnTo>
                  <a:pt x="302" y="366"/>
                </a:lnTo>
                <a:lnTo>
                  <a:pt x="302" y="366"/>
                </a:lnTo>
                <a:close/>
                <a:moveTo>
                  <a:pt x="662" y="366"/>
                </a:moveTo>
                <a:lnTo>
                  <a:pt x="662" y="370"/>
                </a:lnTo>
                <a:lnTo>
                  <a:pt x="660" y="370"/>
                </a:lnTo>
                <a:lnTo>
                  <a:pt x="660" y="366"/>
                </a:lnTo>
                <a:lnTo>
                  <a:pt x="662" y="366"/>
                </a:lnTo>
                <a:lnTo>
                  <a:pt x="662" y="366"/>
                </a:lnTo>
                <a:lnTo>
                  <a:pt x="662" y="366"/>
                </a:lnTo>
                <a:close/>
                <a:moveTo>
                  <a:pt x="252" y="370"/>
                </a:moveTo>
                <a:lnTo>
                  <a:pt x="256" y="370"/>
                </a:lnTo>
                <a:lnTo>
                  <a:pt x="260" y="370"/>
                </a:lnTo>
                <a:lnTo>
                  <a:pt x="256" y="370"/>
                </a:lnTo>
                <a:lnTo>
                  <a:pt x="252" y="370"/>
                </a:lnTo>
                <a:lnTo>
                  <a:pt x="252" y="370"/>
                </a:lnTo>
                <a:lnTo>
                  <a:pt x="252" y="370"/>
                </a:lnTo>
                <a:close/>
                <a:moveTo>
                  <a:pt x="264" y="396"/>
                </a:moveTo>
                <a:lnTo>
                  <a:pt x="268" y="396"/>
                </a:lnTo>
                <a:lnTo>
                  <a:pt x="272" y="396"/>
                </a:lnTo>
                <a:lnTo>
                  <a:pt x="276" y="396"/>
                </a:lnTo>
                <a:lnTo>
                  <a:pt x="276" y="392"/>
                </a:lnTo>
                <a:lnTo>
                  <a:pt x="278" y="392"/>
                </a:lnTo>
                <a:lnTo>
                  <a:pt x="276" y="392"/>
                </a:lnTo>
                <a:lnTo>
                  <a:pt x="272" y="392"/>
                </a:lnTo>
                <a:lnTo>
                  <a:pt x="272" y="396"/>
                </a:lnTo>
                <a:lnTo>
                  <a:pt x="272" y="392"/>
                </a:lnTo>
                <a:lnTo>
                  <a:pt x="268" y="392"/>
                </a:lnTo>
                <a:lnTo>
                  <a:pt x="272" y="392"/>
                </a:lnTo>
                <a:lnTo>
                  <a:pt x="268" y="392"/>
                </a:lnTo>
                <a:lnTo>
                  <a:pt x="260" y="392"/>
                </a:lnTo>
                <a:lnTo>
                  <a:pt x="256" y="392"/>
                </a:lnTo>
                <a:lnTo>
                  <a:pt x="252" y="388"/>
                </a:lnTo>
                <a:lnTo>
                  <a:pt x="256" y="388"/>
                </a:lnTo>
                <a:lnTo>
                  <a:pt x="260" y="388"/>
                </a:lnTo>
                <a:lnTo>
                  <a:pt x="264" y="388"/>
                </a:lnTo>
                <a:lnTo>
                  <a:pt x="260" y="388"/>
                </a:lnTo>
                <a:lnTo>
                  <a:pt x="260" y="384"/>
                </a:lnTo>
                <a:lnTo>
                  <a:pt x="256" y="384"/>
                </a:lnTo>
                <a:lnTo>
                  <a:pt x="256" y="380"/>
                </a:lnTo>
                <a:lnTo>
                  <a:pt x="260" y="380"/>
                </a:lnTo>
                <a:lnTo>
                  <a:pt x="264" y="380"/>
                </a:lnTo>
                <a:lnTo>
                  <a:pt x="264" y="384"/>
                </a:lnTo>
                <a:lnTo>
                  <a:pt x="264" y="380"/>
                </a:lnTo>
                <a:lnTo>
                  <a:pt x="260" y="380"/>
                </a:lnTo>
                <a:lnTo>
                  <a:pt x="256" y="380"/>
                </a:lnTo>
                <a:lnTo>
                  <a:pt x="256" y="376"/>
                </a:lnTo>
                <a:lnTo>
                  <a:pt x="256" y="372"/>
                </a:lnTo>
                <a:lnTo>
                  <a:pt x="260" y="372"/>
                </a:lnTo>
                <a:lnTo>
                  <a:pt x="264" y="372"/>
                </a:lnTo>
                <a:lnTo>
                  <a:pt x="268" y="372"/>
                </a:lnTo>
                <a:lnTo>
                  <a:pt x="272" y="372"/>
                </a:lnTo>
                <a:lnTo>
                  <a:pt x="276" y="372"/>
                </a:lnTo>
                <a:lnTo>
                  <a:pt x="278" y="376"/>
                </a:lnTo>
                <a:lnTo>
                  <a:pt x="282" y="376"/>
                </a:lnTo>
                <a:lnTo>
                  <a:pt x="282" y="380"/>
                </a:lnTo>
                <a:lnTo>
                  <a:pt x="286" y="380"/>
                </a:lnTo>
                <a:lnTo>
                  <a:pt x="286" y="384"/>
                </a:lnTo>
                <a:lnTo>
                  <a:pt x="290" y="384"/>
                </a:lnTo>
                <a:lnTo>
                  <a:pt x="294" y="384"/>
                </a:lnTo>
                <a:lnTo>
                  <a:pt x="298" y="384"/>
                </a:lnTo>
                <a:lnTo>
                  <a:pt x="298" y="388"/>
                </a:lnTo>
                <a:lnTo>
                  <a:pt x="298" y="392"/>
                </a:lnTo>
                <a:lnTo>
                  <a:pt x="294" y="392"/>
                </a:lnTo>
                <a:lnTo>
                  <a:pt x="294" y="396"/>
                </a:lnTo>
                <a:lnTo>
                  <a:pt x="290" y="396"/>
                </a:lnTo>
                <a:lnTo>
                  <a:pt x="286" y="396"/>
                </a:lnTo>
                <a:lnTo>
                  <a:pt x="282" y="396"/>
                </a:lnTo>
                <a:lnTo>
                  <a:pt x="278" y="398"/>
                </a:lnTo>
                <a:lnTo>
                  <a:pt x="276" y="398"/>
                </a:lnTo>
                <a:lnTo>
                  <a:pt x="272" y="398"/>
                </a:lnTo>
                <a:lnTo>
                  <a:pt x="268" y="398"/>
                </a:lnTo>
                <a:lnTo>
                  <a:pt x="268" y="396"/>
                </a:lnTo>
                <a:lnTo>
                  <a:pt x="264" y="396"/>
                </a:lnTo>
                <a:lnTo>
                  <a:pt x="264" y="396"/>
                </a:lnTo>
                <a:lnTo>
                  <a:pt x="264" y="396"/>
                </a:lnTo>
                <a:close/>
                <a:moveTo>
                  <a:pt x="308" y="384"/>
                </a:moveTo>
                <a:lnTo>
                  <a:pt x="312" y="384"/>
                </a:lnTo>
                <a:lnTo>
                  <a:pt x="316" y="384"/>
                </a:lnTo>
                <a:lnTo>
                  <a:pt x="312" y="388"/>
                </a:lnTo>
                <a:lnTo>
                  <a:pt x="312" y="392"/>
                </a:lnTo>
                <a:lnTo>
                  <a:pt x="308" y="392"/>
                </a:lnTo>
                <a:lnTo>
                  <a:pt x="306" y="388"/>
                </a:lnTo>
                <a:lnTo>
                  <a:pt x="306" y="384"/>
                </a:lnTo>
                <a:lnTo>
                  <a:pt x="308" y="384"/>
                </a:lnTo>
                <a:lnTo>
                  <a:pt x="306" y="384"/>
                </a:lnTo>
                <a:lnTo>
                  <a:pt x="308" y="384"/>
                </a:lnTo>
                <a:lnTo>
                  <a:pt x="308" y="380"/>
                </a:lnTo>
                <a:lnTo>
                  <a:pt x="308" y="384"/>
                </a:lnTo>
                <a:lnTo>
                  <a:pt x="308" y="384"/>
                </a:lnTo>
                <a:lnTo>
                  <a:pt x="308" y="384"/>
                </a:lnTo>
                <a:close/>
                <a:moveTo>
                  <a:pt x="294" y="414"/>
                </a:moveTo>
                <a:lnTo>
                  <a:pt x="290" y="414"/>
                </a:lnTo>
                <a:lnTo>
                  <a:pt x="286" y="414"/>
                </a:lnTo>
                <a:lnTo>
                  <a:pt x="282" y="414"/>
                </a:lnTo>
                <a:lnTo>
                  <a:pt x="282" y="418"/>
                </a:lnTo>
                <a:lnTo>
                  <a:pt x="278" y="418"/>
                </a:lnTo>
                <a:lnTo>
                  <a:pt x="282" y="414"/>
                </a:lnTo>
                <a:lnTo>
                  <a:pt x="286" y="414"/>
                </a:lnTo>
                <a:lnTo>
                  <a:pt x="282" y="414"/>
                </a:lnTo>
                <a:lnTo>
                  <a:pt x="286" y="414"/>
                </a:lnTo>
                <a:lnTo>
                  <a:pt x="290" y="414"/>
                </a:lnTo>
                <a:lnTo>
                  <a:pt x="294" y="414"/>
                </a:lnTo>
                <a:lnTo>
                  <a:pt x="294" y="414"/>
                </a:lnTo>
                <a:lnTo>
                  <a:pt x="294" y="414"/>
                </a:lnTo>
                <a:close/>
                <a:moveTo>
                  <a:pt x="294" y="426"/>
                </a:moveTo>
                <a:lnTo>
                  <a:pt x="298" y="426"/>
                </a:lnTo>
                <a:lnTo>
                  <a:pt x="302" y="426"/>
                </a:lnTo>
                <a:lnTo>
                  <a:pt x="306" y="426"/>
                </a:lnTo>
                <a:lnTo>
                  <a:pt x="302" y="426"/>
                </a:lnTo>
                <a:lnTo>
                  <a:pt x="298" y="426"/>
                </a:lnTo>
                <a:lnTo>
                  <a:pt x="298" y="428"/>
                </a:lnTo>
                <a:lnTo>
                  <a:pt x="294" y="428"/>
                </a:lnTo>
                <a:lnTo>
                  <a:pt x="290" y="426"/>
                </a:lnTo>
                <a:lnTo>
                  <a:pt x="294" y="426"/>
                </a:lnTo>
                <a:lnTo>
                  <a:pt x="294" y="426"/>
                </a:lnTo>
                <a:lnTo>
                  <a:pt x="294" y="426"/>
                </a:lnTo>
                <a:close/>
                <a:moveTo>
                  <a:pt x="610" y="426"/>
                </a:moveTo>
                <a:lnTo>
                  <a:pt x="610" y="428"/>
                </a:lnTo>
                <a:lnTo>
                  <a:pt x="610" y="426"/>
                </a:lnTo>
                <a:lnTo>
                  <a:pt x="606" y="426"/>
                </a:lnTo>
                <a:lnTo>
                  <a:pt x="610" y="426"/>
                </a:lnTo>
                <a:lnTo>
                  <a:pt x="610" y="426"/>
                </a:lnTo>
                <a:lnTo>
                  <a:pt x="610" y="426"/>
                </a:lnTo>
                <a:close/>
                <a:moveTo>
                  <a:pt x="298" y="428"/>
                </a:moveTo>
                <a:lnTo>
                  <a:pt x="306" y="426"/>
                </a:lnTo>
                <a:lnTo>
                  <a:pt x="308" y="428"/>
                </a:lnTo>
                <a:lnTo>
                  <a:pt x="306" y="428"/>
                </a:lnTo>
                <a:lnTo>
                  <a:pt x="302" y="428"/>
                </a:lnTo>
                <a:lnTo>
                  <a:pt x="298" y="428"/>
                </a:lnTo>
                <a:lnTo>
                  <a:pt x="298" y="428"/>
                </a:lnTo>
                <a:lnTo>
                  <a:pt x="298" y="428"/>
                </a:lnTo>
                <a:close/>
                <a:moveTo>
                  <a:pt x="276" y="428"/>
                </a:moveTo>
                <a:lnTo>
                  <a:pt x="278" y="428"/>
                </a:lnTo>
                <a:lnTo>
                  <a:pt x="276" y="428"/>
                </a:lnTo>
                <a:lnTo>
                  <a:pt x="276" y="428"/>
                </a:lnTo>
                <a:lnTo>
                  <a:pt x="276" y="428"/>
                </a:lnTo>
                <a:close/>
                <a:moveTo>
                  <a:pt x="272" y="440"/>
                </a:moveTo>
                <a:lnTo>
                  <a:pt x="272" y="436"/>
                </a:lnTo>
                <a:lnTo>
                  <a:pt x="276" y="436"/>
                </a:lnTo>
                <a:lnTo>
                  <a:pt x="272" y="440"/>
                </a:lnTo>
                <a:lnTo>
                  <a:pt x="272" y="440"/>
                </a:lnTo>
                <a:lnTo>
                  <a:pt x="272" y="440"/>
                </a:lnTo>
                <a:close/>
                <a:moveTo>
                  <a:pt x="272" y="478"/>
                </a:moveTo>
                <a:lnTo>
                  <a:pt x="276" y="478"/>
                </a:lnTo>
                <a:lnTo>
                  <a:pt x="272" y="478"/>
                </a:lnTo>
                <a:lnTo>
                  <a:pt x="272" y="478"/>
                </a:lnTo>
                <a:lnTo>
                  <a:pt x="272" y="478"/>
                </a:lnTo>
                <a:close/>
                <a:moveTo>
                  <a:pt x="514" y="484"/>
                </a:moveTo>
                <a:lnTo>
                  <a:pt x="514" y="482"/>
                </a:lnTo>
                <a:lnTo>
                  <a:pt x="514" y="484"/>
                </a:lnTo>
                <a:lnTo>
                  <a:pt x="514" y="484"/>
                </a:lnTo>
                <a:lnTo>
                  <a:pt x="514" y="484"/>
                </a:lnTo>
                <a:close/>
                <a:moveTo>
                  <a:pt x="518" y="484"/>
                </a:moveTo>
                <a:lnTo>
                  <a:pt x="518" y="482"/>
                </a:lnTo>
                <a:lnTo>
                  <a:pt x="520" y="482"/>
                </a:lnTo>
                <a:lnTo>
                  <a:pt x="520" y="484"/>
                </a:lnTo>
                <a:lnTo>
                  <a:pt x="518" y="484"/>
                </a:lnTo>
                <a:lnTo>
                  <a:pt x="518" y="484"/>
                </a:lnTo>
                <a:lnTo>
                  <a:pt x="518" y="484"/>
                </a:lnTo>
                <a:close/>
                <a:moveTo>
                  <a:pt x="498" y="488"/>
                </a:moveTo>
                <a:lnTo>
                  <a:pt x="494" y="488"/>
                </a:lnTo>
                <a:lnTo>
                  <a:pt x="494" y="484"/>
                </a:lnTo>
                <a:lnTo>
                  <a:pt x="494" y="482"/>
                </a:lnTo>
                <a:lnTo>
                  <a:pt x="498" y="482"/>
                </a:lnTo>
                <a:lnTo>
                  <a:pt x="502" y="482"/>
                </a:lnTo>
                <a:lnTo>
                  <a:pt x="502" y="484"/>
                </a:lnTo>
                <a:lnTo>
                  <a:pt x="506" y="484"/>
                </a:lnTo>
                <a:lnTo>
                  <a:pt x="502" y="484"/>
                </a:lnTo>
                <a:lnTo>
                  <a:pt x="502" y="488"/>
                </a:lnTo>
                <a:lnTo>
                  <a:pt x="498" y="488"/>
                </a:lnTo>
                <a:lnTo>
                  <a:pt x="498" y="488"/>
                </a:lnTo>
                <a:lnTo>
                  <a:pt x="498" y="488"/>
                </a:lnTo>
                <a:close/>
                <a:moveTo>
                  <a:pt x="472" y="496"/>
                </a:moveTo>
                <a:lnTo>
                  <a:pt x="468" y="496"/>
                </a:lnTo>
                <a:lnTo>
                  <a:pt x="472" y="496"/>
                </a:lnTo>
                <a:lnTo>
                  <a:pt x="472" y="496"/>
                </a:lnTo>
                <a:lnTo>
                  <a:pt x="472" y="496"/>
                </a:lnTo>
                <a:close/>
                <a:moveTo>
                  <a:pt x="462" y="518"/>
                </a:moveTo>
                <a:lnTo>
                  <a:pt x="462" y="514"/>
                </a:lnTo>
                <a:lnTo>
                  <a:pt x="458" y="514"/>
                </a:lnTo>
                <a:lnTo>
                  <a:pt x="458" y="512"/>
                </a:lnTo>
                <a:lnTo>
                  <a:pt x="454" y="508"/>
                </a:lnTo>
                <a:lnTo>
                  <a:pt x="458" y="508"/>
                </a:lnTo>
                <a:lnTo>
                  <a:pt x="462" y="512"/>
                </a:lnTo>
                <a:lnTo>
                  <a:pt x="458" y="512"/>
                </a:lnTo>
                <a:lnTo>
                  <a:pt x="462" y="514"/>
                </a:lnTo>
                <a:lnTo>
                  <a:pt x="464" y="514"/>
                </a:lnTo>
                <a:lnTo>
                  <a:pt x="464" y="518"/>
                </a:lnTo>
                <a:lnTo>
                  <a:pt x="462" y="518"/>
                </a:lnTo>
                <a:lnTo>
                  <a:pt x="462" y="518"/>
                </a:lnTo>
                <a:lnTo>
                  <a:pt x="462" y="518"/>
                </a:lnTo>
                <a:close/>
                <a:moveTo>
                  <a:pt x="308" y="514"/>
                </a:moveTo>
                <a:lnTo>
                  <a:pt x="308" y="518"/>
                </a:lnTo>
                <a:lnTo>
                  <a:pt x="306" y="518"/>
                </a:lnTo>
                <a:lnTo>
                  <a:pt x="306" y="514"/>
                </a:lnTo>
                <a:lnTo>
                  <a:pt x="308" y="514"/>
                </a:lnTo>
                <a:lnTo>
                  <a:pt x="308" y="514"/>
                </a:lnTo>
                <a:lnTo>
                  <a:pt x="308" y="514"/>
                </a:lnTo>
                <a:close/>
                <a:moveTo>
                  <a:pt x="312" y="514"/>
                </a:moveTo>
                <a:lnTo>
                  <a:pt x="312" y="518"/>
                </a:lnTo>
                <a:lnTo>
                  <a:pt x="308" y="518"/>
                </a:lnTo>
                <a:lnTo>
                  <a:pt x="308" y="522"/>
                </a:lnTo>
                <a:lnTo>
                  <a:pt x="306" y="522"/>
                </a:lnTo>
                <a:lnTo>
                  <a:pt x="308" y="518"/>
                </a:lnTo>
                <a:lnTo>
                  <a:pt x="308" y="514"/>
                </a:lnTo>
                <a:lnTo>
                  <a:pt x="312" y="514"/>
                </a:lnTo>
                <a:lnTo>
                  <a:pt x="312" y="514"/>
                </a:lnTo>
                <a:lnTo>
                  <a:pt x="312" y="514"/>
                </a:lnTo>
                <a:close/>
                <a:moveTo>
                  <a:pt x="306" y="518"/>
                </a:moveTo>
                <a:lnTo>
                  <a:pt x="306" y="522"/>
                </a:lnTo>
                <a:lnTo>
                  <a:pt x="302" y="522"/>
                </a:lnTo>
                <a:lnTo>
                  <a:pt x="306" y="518"/>
                </a:lnTo>
                <a:lnTo>
                  <a:pt x="306" y="518"/>
                </a:lnTo>
                <a:lnTo>
                  <a:pt x="306" y="518"/>
                </a:lnTo>
                <a:close/>
                <a:moveTo>
                  <a:pt x="450" y="522"/>
                </a:moveTo>
                <a:lnTo>
                  <a:pt x="446" y="522"/>
                </a:lnTo>
                <a:lnTo>
                  <a:pt x="446" y="518"/>
                </a:lnTo>
                <a:lnTo>
                  <a:pt x="450" y="522"/>
                </a:lnTo>
                <a:lnTo>
                  <a:pt x="450" y="522"/>
                </a:lnTo>
                <a:lnTo>
                  <a:pt x="450" y="522"/>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67" name="Freeform 74"/>
          <p:cNvSpPr>
            <a:spLocks/>
          </p:cNvSpPr>
          <p:nvPr/>
        </p:nvSpPr>
        <p:spPr bwMode="auto">
          <a:xfrm>
            <a:off x="2705100" y="3331368"/>
            <a:ext cx="66675" cy="85725"/>
          </a:xfrm>
          <a:custGeom>
            <a:avLst/>
            <a:gdLst>
              <a:gd name="T0" fmla="*/ 38 w 56"/>
              <a:gd name="T1" fmla="*/ 60 h 72"/>
              <a:gd name="T2" fmla="*/ 38 w 56"/>
              <a:gd name="T3" fmla="*/ 64 h 72"/>
              <a:gd name="T4" fmla="*/ 38 w 56"/>
              <a:gd name="T5" fmla="*/ 64 h 72"/>
              <a:gd name="T6" fmla="*/ 38 w 56"/>
              <a:gd name="T7" fmla="*/ 64 h 72"/>
              <a:gd name="T8" fmla="*/ 34 w 56"/>
              <a:gd name="T9" fmla="*/ 68 h 72"/>
              <a:gd name="T10" fmla="*/ 30 w 56"/>
              <a:gd name="T11" fmla="*/ 72 h 72"/>
              <a:gd name="T12" fmla="*/ 30 w 56"/>
              <a:gd name="T13" fmla="*/ 72 h 72"/>
              <a:gd name="T14" fmla="*/ 26 w 56"/>
              <a:gd name="T15" fmla="*/ 72 h 72"/>
              <a:gd name="T16" fmla="*/ 22 w 56"/>
              <a:gd name="T17" fmla="*/ 68 h 72"/>
              <a:gd name="T18" fmla="*/ 22 w 56"/>
              <a:gd name="T19" fmla="*/ 68 h 72"/>
              <a:gd name="T20" fmla="*/ 16 w 56"/>
              <a:gd name="T21" fmla="*/ 68 h 72"/>
              <a:gd name="T22" fmla="*/ 12 w 56"/>
              <a:gd name="T23" fmla="*/ 68 h 72"/>
              <a:gd name="T24" fmla="*/ 8 w 56"/>
              <a:gd name="T25" fmla="*/ 68 h 72"/>
              <a:gd name="T26" fmla="*/ 8 w 56"/>
              <a:gd name="T27" fmla="*/ 64 h 72"/>
              <a:gd name="T28" fmla="*/ 4 w 56"/>
              <a:gd name="T29" fmla="*/ 64 h 72"/>
              <a:gd name="T30" fmla="*/ 0 w 56"/>
              <a:gd name="T31" fmla="*/ 60 h 72"/>
              <a:gd name="T32" fmla="*/ 0 w 56"/>
              <a:gd name="T33" fmla="*/ 56 h 72"/>
              <a:gd name="T34" fmla="*/ 0 w 56"/>
              <a:gd name="T35" fmla="*/ 56 h 72"/>
              <a:gd name="T36" fmla="*/ 0 w 56"/>
              <a:gd name="T37" fmla="*/ 52 h 72"/>
              <a:gd name="T38" fmla="*/ 0 w 56"/>
              <a:gd name="T39" fmla="*/ 44 h 72"/>
              <a:gd name="T40" fmla="*/ 8 w 56"/>
              <a:gd name="T41" fmla="*/ 30 h 72"/>
              <a:gd name="T42" fmla="*/ 18 w 56"/>
              <a:gd name="T43" fmla="*/ 30 h 72"/>
              <a:gd name="T44" fmla="*/ 26 w 56"/>
              <a:gd name="T45" fmla="*/ 30 h 72"/>
              <a:gd name="T46" fmla="*/ 26 w 56"/>
              <a:gd name="T47" fmla="*/ 30 h 72"/>
              <a:gd name="T48" fmla="*/ 26 w 56"/>
              <a:gd name="T49" fmla="*/ 26 h 72"/>
              <a:gd name="T50" fmla="*/ 22 w 56"/>
              <a:gd name="T51" fmla="*/ 26 h 72"/>
              <a:gd name="T52" fmla="*/ 22 w 56"/>
              <a:gd name="T53" fmla="*/ 22 h 72"/>
              <a:gd name="T54" fmla="*/ 22 w 56"/>
              <a:gd name="T55" fmla="*/ 18 h 72"/>
              <a:gd name="T56" fmla="*/ 18 w 56"/>
              <a:gd name="T57" fmla="*/ 18 h 72"/>
              <a:gd name="T58" fmla="*/ 16 w 56"/>
              <a:gd name="T59" fmla="*/ 14 h 72"/>
              <a:gd name="T60" fmla="*/ 12 w 56"/>
              <a:gd name="T61" fmla="*/ 12 h 72"/>
              <a:gd name="T62" fmla="*/ 18 w 56"/>
              <a:gd name="T63" fmla="*/ 0 h 72"/>
              <a:gd name="T64" fmla="*/ 22 w 56"/>
              <a:gd name="T65" fmla="*/ 0 h 72"/>
              <a:gd name="T66" fmla="*/ 42 w 56"/>
              <a:gd name="T67" fmla="*/ 0 h 72"/>
              <a:gd name="T68" fmla="*/ 46 w 56"/>
              <a:gd name="T69" fmla="*/ 14 h 72"/>
              <a:gd name="T70" fmla="*/ 42 w 56"/>
              <a:gd name="T71" fmla="*/ 34 h 72"/>
              <a:gd name="T72" fmla="*/ 50 w 56"/>
              <a:gd name="T73" fmla="*/ 34 h 72"/>
              <a:gd name="T74" fmla="*/ 50 w 56"/>
              <a:gd name="T75" fmla="*/ 34 h 72"/>
              <a:gd name="T76" fmla="*/ 52 w 56"/>
              <a:gd name="T77" fmla="*/ 38 h 72"/>
              <a:gd name="T78" fmla="*/ 52 w 56"/>
              <a:gd name="T79" fmla="*/ 34 h 72"/>
              <a:gd name="T80" fmla="*/ 56 w 56"/>
              <a:gd name="T81" fmla="*/ 38 h 72"/>
              <a:gd name="T82" fmla="*/ 56 w 56"/>
              <a:gd name="T83" fmla="*/ 38 h 72"/>
              <a:gd name="T84" fmla="*/ 52 w 56"/>
              <a:gd name="T85" fmla="*/ 44 h 72"/>
              <a:gd name="T86" fmla="*/ 46 w 56"/>
              <a:gd name="T87" fmla="*/ 48 h 72"/>
              <a:gd name="T88" fmla="*/ 46 w 56"/>
              <a:gd name="T89" fmla="*/ 48 h 72"/>
              <a:gd name="T90" fmla="*/ 42 w 56"/>
              <a:gd name="T91" fmla="*/ 52 h 72"/>
              <a:gd name="T92" fmla="*/ 46 w 56"/>
              <a:gd name="T93" fmla="*/ 56 h 72"/>
              <a:gd name="T94" fmla="*/ 42 w 56"/>
              <a:gd name="T95"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6" h="72">
                <a:moveTo>
                  <a:pt x="42" y="60"/>
                </a:moveTo>
                <a:lnTo>
                  <a:pt x="42" y="60"/>
                </a:lnTo>
                <a:lnTo>
                  <a:pt x="38" y="60"/>
                </a:lnTo>
                <a:lnTo>
                  <a:pt x="38" y="60"/>
                </a:lnTo>
                <a:lnTo>
                  <a:pt x="38" y="60"/>
                </a:lnTo>
                <a:lnTo>
                  <a:pt x="38" y="60"/>
                </a:lnTo>
                <a:lnTo>
                  <a:pt x="38" y="64"/>
                </a:lnTo>
                <a:lnTo>
                  <a:pt x="38" y="64"/>
                </a:lnTo>
                <a:lnTo>
                  <a:pt x="38" y="64"/>
                </a:lnTo>
                <a:lnTo>
                  <a:pt x="38" y="64"/>
                </a:lnTo>
                <a:lnTo>
                  <a:pt x="38" y="64"/>
                </a:lnTo>
                <a:lnTo>
                  <a:pt x="38" y="64"/>
                </a:lnTo>
                <a:lnTo>
                  <a:pt x="38" y="64"/>
                </a:lnTo>
                <a:lnTo>
                  <a:pt x="38" y="64"/>
                </a:lnTo>
                <a:lnTo>
                  <a:pt x="38" y="64"/>
                </a:lnTo>
                <a:lnTo>
                  <a:pt x="38" y="64"/>
                </a:lnTo>
                <a:lnTo>
                  <a:pt x="38" y="64"/>
                </a:lnTo>
                <a:lnTo>
                  <a:pt x="34" y="68"/>
                </a:lnTo>
                <a:lnTo>
                  <a:pt x="34" y="68"/>
                </a:lnTo>
                <a:lnTo>
                  <a:pt x="34" y="68"/>
                </a:lnTo>
                <a:lnTo>
                  <a:pt x="34" y="68"/>
                </a:lnTo>
                <a:lnTo>
                  <a:pt x="34" y="68"/>
                </a:lnTo>
                <a:lnTo>
                  <a:pt x="30" y="68"/>
                </a:lnTo>
                <a:lnTo>
                  <a:pt x="30" y="72"/>
                </a:lnTo>
                <a:lnTo>
                  <a:pt x="30" y="72"/>
                </a:lnTo>
                <a:lnTo>
                  <a:pt x="30" y="72"/>
                </a:lnTo>
                <a:lnTo>
                  <a:pt x="30" y="72"/>
                </a:lnTo>
                <a:lnTo>
                  <a:pt x="30" y="72"/>
                </a:lnTo>
                <a:lnTo>
                  <a:pt x="30" y="72"/>
                </a:lnTo>
                <a:lnTo>
                  <a:pt x="30" y="72"/>
                </a:lnTo>
                <a:lnTo>
                  <a:pt x="30" y="72"/>
                </a:lnTo>
                <a:lnTo>
                  <a:pt x="26" y="72"/>
                </a:lnTo>
                <a:lnTo>
                  <a:pt x="26" y="72"/>
                </a:lnTo>
                <a:lnTo>
                  <a:pt x="26" y="72"/>
                </a:lnTo>
                <a:lnTo>
                  <a:pt x="26" y="72"/>
                </a:lnTo>
                <a:lnTo>
                  <a:pt x="22" y="68"/>
                </a:lnTo>
                <a:lnTo>
                  <a:pt x="22" y="68"/>
                </a:lnTo>
                <a:lnTo>
                  <a:pt x="22" y="68"/>
                </a:lnTo>
                <a:lnTo>
                  <a:pt x="22" y="68"/>
                </a:lnTo>
                <a:lnTo>
                  <a:pt x="22" y="68"/>
                </a:lnTo>
                <a:lnTo>
                  <a:pt x="18" y="68"/>
                </a:lnTo>
                <a:lnTo>
                  <a:pt x="18" y="68"/>
                </a:lnTo>
                <a:lnTo>
                  <a:pt x="18" y="68"/>
                </a:lnTo>
                <a:lnTo>
                  <a:pt x="16" y="68"/>
                </a:lnTo>
                <a:lnTo>
                  <a:pt x="16" y="68"/>
                </a:lnTo>
                <a:lnTo>
                  <a:pt x="16" y="68"/>
                </a:lnTo>
                <a:lnTo>
                  <a:pt x="16" y="68"/>
                </a:lnTo>
                <a:lnTo>
                  <a:pt x="12" y="68"/>
                </a:lnTo>
                <a:lnTo>
                  <a:pt x="12" y="68"/>
                </a:lnTo>
                <a:lnTo>
                  <a:pt x="12" y="68"/>
                </a:lnTo>
                <a:lnTo>
                  <a:pt x="12" y="68"/>
                </a:lnTo>
                <a:lnTo>
                  <a:pt x="8" y="68"/>
                </a:lnTo>
                <a:lnTo>
                  <a:pt x="8" y="68"/>
                </a:lnTo>
                <a:lnTo>
                  <a:pt x="8" y="68"/>
                </a:lnTo>
                <a:lnTo>
                  <a:pt x="8" y="64"/>
                </a:lnTo>
                <a:lnTo>
                  <a:pt x="8" y="64"/>
                </a:lnTo>
                <a:lnTo>
                  <a:pt x="8" y="64"/>
                </a:lnTo>
                <a:lnTo>
                  <a:pt x="8" y="64"/>
                </a:lnTo>
                <a:lnTo>
                  <a:pt x="8" y="64"/>
                </a:lnTo>
                <a:lnTo>
                  <a:pt x="4" y="64"/>
                </a:lnTo>
                <a:lnTo>
                  <a:pt x="4" y="64"/>
                </a:lnTo>
                <a:lnTo>
                  <a:pt x="4" y="60"/>
                </a:lnTo>
                <a:lnTo>
                  <a:pt x="4" y="60"/>
                </a:lnTo>
                <a:lnTo>
                  <a:pt x="0" y="60"/>
                </a:lnTo>
                <a:lnTo>
                  <a:pt x="0" y="60"/>
                </a:lnTo>
                <a:lnTo>
                  <a:pt x="0" y="60"/>
                </a:lnTo>
                <a:lnTo>
                  <a:pt x="0" y="56"/>
                </a:lnTo>
                <a:lnTo>
                  <a:pt x="0" y="56"/>
                </a:lnTo>
                <a:lnTo>
                  <a:pt x="0" y="56"/>
                </a:lnTo>
                <a:lnTo>
                  <a:pt x="0" y="56"/>
                </a:lnTo>
                <a:lnTo>
                  <a:pt x="0" y="56"/>
                </a:lnTo>
                <a:lnTo>
                  <a:pt x="0" y="56"/>
                </a:lnTo>
                <a:lnTo>
                  <a:pt x="0" y="56"/>
                </a:lnTo>
                <a:lnTo>
                  <a:pt x="0" y="52"/>
                </a:lnTo>
                <a:lnTo>
                  <a:pt x="0" y="52"/>
                </a:lnTo>
                <a:lnTo>
                  <a:pt x="0" y="52"/>
                </a:lnTo>
                <a:lnTo>
                  <a:pt x="0" y="52"/>
                </a:lnTo>
                <a:lnTo>
                  <a:pt x="4" y="48"/>
                </a:lnTo>
                <a:lnTo>
                  <a:pt x="4" y="48"/>
                </a:lnTo>
                <a:lnTo>
                  <a:pt x="0" y="44"/>
                </a:lnTo>
                <a:lnTo>
                  <a:pt x="0" y="42"/>
                </a:lnTo>
                <a:lnTo>
                  <a:pt x="8" y="34"/>
                </a:lnTo>
                <a:lnTo>
                  <a:pt x="8" y="34"/>
                </a:lnTo>
                <a:lnTo>
                  <a:pt x="8" y="30"/>
                </a:lnTo>
                <a:lnTo>
                  <a:pt x="8" y="30"/>
                </a:lnTo>
                <a:lnTo>
                  <a:pt x="12" y="30"/>
                </a:lnTo>
                <a:lnTo>
                  <a:pt x="18" y="30"/>
                </a:lnTo>
                <a:lnTo>
                  <a:pt x="18" y="30"/>
                </a:lnTo>
                <a:lnTo>
                  <a:pt x="22" y="30"/>
                </a:lnTo>
                <a:lnTo>
                  <a:pt x="26" y="30"/>
                </a:lnTo>
                <a:lnTo>
                  <a:pt x="26" y="30"/>
                </a:lnTo>
                <a:lnTo>
                  <a:pt x="26" y="30"/>
                </a:lnTo>
                <a:lnTo>
                  <a:pt x="26" y="30"/>
                </a:lnTo>
                <a:lnTo>
                  <a:pt x="26" y="30"/>
                </a:lnTo>
                <a:lnTo>
                  <a:pt x="26" y="30"/>
                </a:lnTo>
                <a:lnTo>
                  <a:pt x="26" y="30"/>
                </a:lnTo>
                <a:lnTo>
                  <a:pt x="26" y="26"/>
                </a:lnTo>
                <a:lnTo>
                  <a:pt x="26" y="26"/>
                </a:lnTo>
                <a:lnTo>
                  <a:pt x="26" y="26"/>
                </a:lnTo>
                <a:lnTo>
                  <a:pt x="26" y="26"/>
                </a:lnTo>
                <a:lnTo>
                  <a:pt x="26" y="26"/>
                </a:lnTo>
                <a:lnTo>
                  <a:pt x="26" y="26"/>
                </a:lnTo>
                <a:lnTo>
                  <a:pt x="26" y="26"/>
                </a:lnTo>
                <a:lnTo>
                  <a:pt x="22" y="26"/>
                </a:lnTo>
                <a:lnTo>
                  <a:pt x="22" y="26"/>
                </a:lnTo>
                <a:lnTo>
                  <a:pt x="22" y="22"/>
                </a:lnTo>
                <a:lnTo>
                  <a:pt x="22" y="22"/>
                </a:lnTo>
                <a:lnTo>
                  <a:pt x="22" y="22"/>
                </a:lnTo>
                <a:lnTo>
                  <a:pt x="22" y="22"/>
                </a:lnTo>
                <a:lnTo>
                  <a:pt x="22" y="22"/>
                </a:lnTo>
                <a:lnTo>
                  <a:pt x="22" y="22"/>
                </a:lnTo>
                <a:lnTo>
                  <a:pt x="22" y="18"/>
                </a:lnTo>
                <a:lnTo>
                  <a:pt x="22" y="18"/>
                </a:lnTo>
                <a:lnTo>
                  <a:pt x="18" y="18"/>
                </a:lnTo>
                <a:lnTo>
                  <a:pt x="18" y="18"/>
                </a:lnTo>
                <a:lnTo>
                  <a:pt x="18" y="18"/>
                </a:lnTo>
                <a:lnTo>
                  <a:pt x="18" y="18"/>
                </a:lnTo>
                <a:lnTo>
                  <a:pt x="18" y="18"/>
                </a:lnTo>
                <a:lnTo>
                  <a:pt x="16" y="14"/>
                </a:lnTo>
                <a:lnTo>
                  <a:pt x="16" y="14"/>
                </a:lnTo>
                <a:lnTo>
                  <a:pt x="16" y="12"/>
                </a:lnTo>
                <a:lnTo>
                  <a:pt x="12" y="12"/>
                </a:lnTo>
                <a:lnTo>
                  <a:pt x="12" y="12"/>
                </a:lnTo>
                <a:lnTo>
                  <a:pt x="12" y="12"/>
                </a:lnTo>
                <a:lnTo>
                  <a:pt x="18" y="12"/>
                </a:lnTo>
                <a:lnTo>
                  <a:pt x="18" y="4"/>
                </a:lnTo>
                <a:lnTo>
                  <a:pt x="18" y="0"/>
                </a:lnTo>
                <a:lnTo>
                  <a:pt x="18" y="0"/>
                </a:lnTo>
                <a:lnTo>
                  <a:pt x="18" y="0"/>
                </a:lnTo>
                <a:lnTo>
                  <a:pt x="18" y="0"/>
                </a:lnTo>
                <a:lnTo>
                  <a:pt x="22" y="0"/>
                </a:lnTo>
                <a:lnTo>
                  <a:pt x="22" y="0"/>
                </a:lnTo>
                <a:lnTo>
                  <a:pt x="30" y="0"/>
                </a:lnTo>
                <a:lnTo>
                  <a:pt x="30" y="0"/>
                </a:lnTo>
                <a:lnTo>
                  <a:pt x="34" y="0"/>
                </a:lnTo>
                <a:lnTo>
                  <a:pt x="42" y="0"/>
                </a:lnTo>
                <a:lnTo>
                  <a:pt x="46" y="0"/>
                </a:lnTo>
                <a:lnTo>
                  <a:pt x="46" y="4"/>
                </a:lnTo>
                <a:lnTo>
                  <a:pt x="46" y="8"/>
                </a:lnTo>
                <a:lnTo>
                  <a:pt x="46" y="14"/>
                </a:lnTo>
                <a:lnTo>
                  <a:pt x="46" y="26"/>
                </a:lnTo>
                <a:lnTo>
                  <a:pt x="42" y="30"/>
                </a:lnTo>
                <a:lnTo>
                  <a:pt x="42" y="34"/>
                </a:lnTo>
                <a:lnTo>
                  <a:pt x="42" y="34"/>
                </a:lnTo>
                <a:lnTo>
                  <a:pt x="46" y="34"/>
                </a:lnTo>
                <a:lnTo>
                  <a:pt x="46" y="34"/>
                </a:lnTo>
                <a:lnTo>
                  <a:pt x="46" y="34"/>
                </a:lnTo>
                <a:lnTo>
                  <a:pt x="50" y="34"/>
                </a:lnTo>
                <a:lnTo>
                  <a:pt x="50" y="34"/>
                </a:lnTo>
                <a:lnTo>
                  <a:pt x="50" y="34"/>
                </a:lnTo>
                <a:lnTo>
                  <a:pt x="50" y="34"/>
                </a:lnTo>
                <a:lnTo>
                  <a:pt x="50" y="34"/>
                </a:lnTo>
                <a:lnTo>
                  <a:pt x="50" y="34"/>
                </a:lnTo>
                <a:lnTo>
                  <a:pt x="50" y="38"/>
                </a:lnTo>
                <a:lnTo>
                  <a:pt x="52" y="38"/>
                </a:lnTo>
                <a:lnTo>
                  <a:pt x="52" y="38"/>
                </a:lnTo>
                <a:lnTo>
                  <a:pt x="52" y="38"/>
                </a:lnTo>
                <a:lnTo>
                  <a:pt x="52" y="38"/>
                </a:lnTo>
                <a:lnTo>
                  <a:pt x="52" y="34"/>
                </a:lnTo>
                <a:lnTo>
                  <a:pt x="52" y="34"/>
                </a:lnTo>
                <a:lnTo>
                  <a:pt x="52" y="34"/>
                </a:lnTo>
                <a:lnTo>
                  <a:pt x="52" y="34"/>
                </a:lnTo>
                <a:lnTo>
                  <a:pt x="56" y="34"/>
                </a:lnTo>
                <a:lnTo>
                  <a:pt x="56" y="38"/>
                </a:lnTo>
                <a:lnTo>
                  <a:pt x="56" y="38"/>
                </a:lnTo>
                <a:lnTo>
                  <a:pt x="56" y="38"/>
                </a:lnTo>
                <a:lnTo>
                  <a:pt x="56" y="38"/>
                </a:lnTo>
                <a:lnTo>
                  <a:pt x="56" y="38"/>
                </a:lnTo>
                <a:lnTo>
                  <a:pt x="56" y="38"/>
                </a:lnTo>
                <a:lnTo>
                  <a:pt x="52" y="42"/>
                </a:lnTo>
                <a:lnTo>
                  <a:pt x="52" y="42"/>
                </a:lnTo>
                <a:lnTo>
                  <a:pt x="52" y="44"/>
                </a:lnTo>
                <a:lnTo>
                  <a:pt x="50" y="44"/>
                </a:lnTo>
                <a:lnTo>
                  <a:pt x="50" y="44"/>
                </a:lnTo>
                <a:lnTo>
                  <a:pt x="46" y="48"/>
                </a:lnTo>
                <a:lnTo>
                  <a:pt x="46" y="48"/>
                </a:lnTo>
                <a:lnTo>
                  <a:pt x="46" y="48"/>
                </a:lnTo>
                <a:lnTo>
                  <a:pt x="46" y="48"/>
                </a:lnTo>
                <a:lnTo>
                  <a:pt x="46" y="48"/>
                </a:lnTo>
                <a:lnTo>
                  <a:pt x="46" y="48"/>
                </a:lnTo>
                <a:lnTo>
                  <a:pt x="46" y="48"/>
                </a:lnTo>
                <a:lnTo>
                  <a:pt x="46" y="52"/>
                </a:lnTo>
                <a:lnTo>
                  <a:pt x="46" y="52"/>
                </a:lnTo>
                <a:lnTo>
                  <a:pt x="42" y="52"/>
                </a:lnTo>
                <a:lnTo>
                  <a:pt x="42" y="52"/>
                </a:lnTo>
                <a:lnTo>
                  <a:pt x="42" y="52"/>
                </a:lnTo>
                <a:lnTo>
                  <a:pt x="46" y="56"/>
                </a:lnTo>
                <a:lnTo>
                  <a:pt x="46" y="56"/>
                </a:lnTo>
                <a:lnTo>
                  <a:pt x="46" y="56"/>
                </a:lnTo>
                <a:lnTo>
                  <a:pt x="46" y="56"/>
                </a:lnTo>
                <a:lnTo>
                  <a:pt x="42" y="56"/>
                </a:lnTo>
                <a:lnTo>
                  <a:pt x="42" y="60"/>
                </a:lnTo>
                <a:lnTo>
                  <a:pt x="42" y="60"/>
                </a:lnTo>
                <a:lnTo>
                  <a:pt x="42" y="60"/>
                </a:lnTo>
                <a:lnTo>
                  <a:pt x="42" y="60"/>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68" name="Freeform 75"/>
          <p:cNvSpPr>
            <a:spLocks noEditPoints="1"/>
          </p:cNvSpPr>
          <p:nvPr/>
        </p:nvSpPr>
        <p:spPr bwMode="auto">
          <a:xfrm>
            <a:off x="3002756" y="3286125"/>
            <a:ext cx="47625" cy="40481"/>
          </a:xfrm>
          <a:custGeom>
            <a:avLst/>
            <a:gdLst>
              <a:gd name="T0" fmla="*/ 22 w 40"/>
              <a:gd name="T1" fmla="*/ 0 h 34"/>
              <a:gd name="T2" fmla="*/ 26 w 40"/>
              <a:gd name="T3" fmla="*/ 0 h 34"/>
              <a:gd name="T4" fmla="*/ 26 w 40"/>
              <a:gd name="T5" fmla="*/ 0 h 34"/>
              <a:gd name="T6" fmla="*/ 18 w 40"/>
              <a:gd name="T7" fmla="*/ 8 h 34"/>
              <a:gd name="T8" fmla="*/ 14 w 40"/>
              <a:gd name="T9" fmla="*/ 8 h 34"/>
              <a:gd name="T10" fmla="*/ 14 w 40"/>
              <a:gd name="T11" fmla="*/ 4 h 34"/>
              <a:gd name="T12" fmla="*/ 18 w 40"/>
              <a:gd name="T13" fmla="*/ 4 h 34"/>
              <a:gd name="T14" fmla="*/ 22 w 40"/>
              <a:gd name="T15" fmla="*/ 0 h 34"/>
              <a:gd name="T16" fmla="*/ 26 w 40"/>
              <a:gd name="T17" fmla="*/ 0 h 34"/>
              <a:gd name="T18" fmla="*/ 30 w 40"/>
              <a:gd name="T19" fmla="*/ 4 h 34"/>
              <a:gd name="T20" fmla="*/ 34 w 40"/>
              <a:gd name="T21" fmla="*/ 4 h 34"/>
              <a:gd name="T22" fmla="*/ 40 w 40"/>
              <a:gd name="T23" fmla="*/ 4 h 34"/>
              <a:gd name="T24" fmla="*/ 40 w 40"/>
              <a:gd name="T25" fmla="*/ 8 h 34"/>
              <a:gd name="T26" fmla="*/ 40 w 40"/>
              <a:gd name="T27" fmla="*/ 8 h 34"/>
              <a:gd name="T28" fmla="*/ 40 w 40"/>
              <a:gd name="T29" fmla="*/ 12 h 34"/>
              <a:gd name="T30" fmla="*/ 40 w 40"/>
              <a:gd name="T31" fmla="*/ 16 h 34"/>
              <a:gd name="T32" fmla="*/ 40 w 40"/>
              <a:gd name="T33" fmla="*/ 16 h 34"/>
              <a:gd name="T34" fmla="*/ 40 w 40"/>
              <a:gd name="T35" fmla="*/ 22 h 34"/>
              <a:gd name="T36" fmla="*/ 40 w 40"/>
              <a:gd name="T37" fmla="*/ 22 h 34"/>
              <a:gd name="T38" fmla="*/ 38 w 40"/>
              <a:gd name="T39" fmla="*/ 22 h 34"/>
              <a:gd name="T40" fmla="*/ 38 w 40"/>
              <a:gd name="T41" fmla="*/ 22 h 34"/>
              <a:gd name="T42" fmla="*/ 38 w 40"/>
              <a:gd name="T43" fmla="*/ 26 h 34"/>
              <a:gd name="T44" fmla="*/ 38 w 40"/>
              <a:gd name="T45" fmla="*/ 26 h 34"/>
              <a:gd name="T46" fmla="*/ 40 w 40"/>
              <a:gd name="T47" fmla="*/ 30 h 34"/>
              <a:gd name="T48" fmla="*/ 40 w 40"/>
              <a:gd name="T49" fmla="*/ 34 h 34"/>
              <a:gd name="T50" fmla="*/ 38 w 40"/>
              <a:gd name="T51" fmla="*/ 34 h 34"/>
              <a:gd name="T52" fmla="*/ 34 w 40"/>
              <a:gd name="T53" fmla="*/ 30 h 34"/>
              <a:gd name="T54" fmla="*/ 34 w 40"/>
              <a:gd name="T55" fmla="*/ 30 h 34"/>
              <a:gd name="T56" fmla="*/ 30 w 40"/>
              <a:gd name="T57" fmla="*/ 34 h 34"/>
              <a:gd name="T58" fmla="*/ 26 w 40"/>
              <a:gd name="T59" fmla="*/ 34 h 34"/>
              <a:gd name="T60" fmla="*/ 22 w 40"/>
              <a:gd name="T61" fmla="*/ 34 h 34"/>
              <a:gd name="T62" fmla="*/ 18 w 40"/>
              <a:gd name="T63" fmla="*/ 30 h 34"/>
              <a:gd name="T64" fmla="*/ 10 w 40"/>
              <a:gd name="T65" fmla="*/ 34 h 34"/>
              <a:gd name="T66" fmla="*/ 10 w 40"/>
              <a:gd name="T67" fmla="*/ 34 h 34"/>
              <a:gd name="T68" fmla="*/ 10 w 40"/>
              <a:gd name="T69" fmla="*/ 34 h 34"/>
              <a:gd name="T70" fmla="*/ 10 w 40"/>
              <a:gd name="T71" fmla="*/ 34 h 34"/>
              <a:gd name="T72" fmla="*/ 8 w 40"/>
              <a:gd name="T73" fmla="*/ 34 h 34"/>
              <a:gd name="T74" fmla="*/ 4 w 40"/>
              <a:gd name="T75" fmla="*/ 30 h 34"/>
              <a:gd name="T76" fmla="*/ 4 w 40"/>
              <a:gd name="T77" fmla="*/ 30 h 34"/>
              <a:gd name="T78" fmla="*/ 4 w 40"/>
              <a:gd name="T79" fmla="*/ 22 h 34"/>
              <a:gd name="T80" fmla="*/ 8 w 40"/>
              <a:gd name="T81" fmla="*/ 22 h 34"/>
              <a:gd name="T82" fmla="*/ 10 w 40"/>
              <a:gd name="T83" fmla="*/ 26 h 34"/>
              <a:gd name="T84" fmla="*/ 10 w 40"/>
              <a:gd name="T85" fmla="*/ 26 h 34"/>
              <a:gd name="T86" fmla="*/ 14 w 40"/>
              <a:gd name="T87" fmla="*/ 26 h 34"/>
              <a:gd name="T88" fmla="*/ 10 w 40"/>
              <a:gd name="T89" fmla="*/ 26 h 34"/>
              <a:gd name="T90" fmla="*/ 14 w 40"/>
              <a:gd name="T91" fmla="*/ 26 h 34"/>
              <a:gd name="T92" fmla="*/ 22 w 40"/>
              <a:gd name="T93" fmla="*/ 26 h 34"/>
              <a:gd name="T94" fmla="*/ 22 w 40"/>
              <a:gd name="T95" fmla="*/ 26 h 34"/>
              <a:gd name="T96" fmla="*/ 26 w 40"/>
              <a:gd name="T97" fmla="*/ 26 h 34"/>
              <a:gd name="T98" fmla="*/ 26 w 40"/>
              <a:gd name="T99" fmla="*/ 26 h 34"/>
              <a:gd name="T100" fmla="*/ 30 w 40"/>
              <a:gd name="T101" fmla="*/ 26 h 34"/>
              <a:gd name="T102" fmla="*/ 30 w 40"/>
              <a:gd name="T103" fmla="*/ 22 h 34"/>
              <a:gd name="T104" fmla="*/ 30 w 40"/>
              <a:gd name="T105" fmla="*/ 22 h 34"/>
              <a:gd name="T106" fmla="*/ 26 w 40"/>
              <a:gd name="T107" fmla="*/ 20 h 34"/>
              <a:gd name="T108" fmla="*/ 26 w 40"/>
              <a:gd name="T109" fmla="*/ 16 h 34"/>
              <a:gd name="T110" fmla="*/ 22 w 40"/>
              <a:gd name="T111" fmla="*/ 8 h 34"/>
              <a:gd name="T112" fmla="*/ 22 w 40"/>
              <a:gd name="T113" fmla="*/ 8 h 34"/>
              <a:gd name="T114" fmla="*/ 18 w 40"/>
              <a:gd name="T115" fmla="*/ 20 h 34"/>
              <a:gd name="T116" fmla="*/ 18 w 40"/>
              <a:gd name="T117" fmla="*/ 20 h 34"/>
              <a:gd name="T118" fmla="*/ 22 w 40"/>
              <a:gd name="T119" fmla="*/ 20 h 34"/>
              <a:gd name="T120" fmla="*/ 26 w 40"/>
              <a:gd name="T121" fmla="*/ 22 h 34"/>
              <a:gd name="T122" fmla="*/ 26 w 40"/>
              <a:gd name="T123" fmla="*/ 2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 h="34">
                <a:moveTo>
                  <a:pt x="26" y="0"/>
                </a:moveTo>
                <a:lnTo>
                  <a:pt x="26" y="0"/>
                </a:lnTo>
                <a:lnTo>
                  <a:pt x="22" y="0"/>
                </a:lnTo>
                <a:lnTo>
                  <a:pt x="22" y="0"/>
                </a:lnTo>
                <a:lnTo>
                  <a:pt x="22" y="0"/>
                </a:lnTo>
                <a:lnTo>
                  <a:pt x="22" y="0"/>
                </a:lnTo>
                <a:lnTo>
                  <a:pt x="22" y="0"/>
                </a:lnTo>
                <a:lnTo>
                  <a:pt x="22" y="0"/>
                </a:lnTo>
                <a:lnTo>
                  <a:pt x="22" y="0"/>
                </a:lnTo>
                <a:lnTo>
                  <a:pt x="26" y="0"/>
                </a:lnTo>
                <a:lnTo>
                  <a:pt x="26" y="0"/>
                </a:lnTo>
                <a:lnTo>
                  <a:pt x="26" y="0"/>
                </a:lnTo>
                <a:lnTo>
                  <a:pt x="26" y="0"/>
                </a:lnTo>
                <a:lnTo>
                  <a:pt x="26" y="0"/>
                </a:lnTo>
                <a:lnTo>
                  <a:pt x="26" y="0"/>
                </a:lnTo>
                <a:lnTo>
                  <a:pt x="26" y="0"/>
                </a:lnTo>
                <a:lnTo>
                  <a:pt x="26" y="0"/>
                </a:lnTo>
                <a:lnTo>
                  <a:pt x="26" y="0"/>
                </a:lnTo>
                <a:close/>
                <a:moveTo>
                  <a:pt x="22" y="8"/>
                </a:moveTo>
                <a:lnTo>
                  <a:pt x="18" y="8"/>
                </a:lnTo>
                <a:lnTo>
                  <a:pt x="18" y="8"/>
                </a:lnTo>
                <a:lnTo>
                  <a:pt x="18" y="8"/>
                </a:lnTo>
                <a:lnTo>
                  <a:pt x="14" y="8"/>
                </a:lnTo>
                <a:lnTo>
                  <a:pt x="14" y="8"/>
                </a:lnTo>
                <a:lnTo>
                  <a:pt x="14" y="8"/>
                </a:lnTo>
                <a:lnTo>
                  <a:pt x="14" y="4"/>
                </a:lnTo>
                <a:lnTo>
                  <a:pt x="14" y="4"/>
                </a:lnTo>
                <a:lnTo>
                  <a:pt x="14" y="4"/>
                </a:lnTo>
                <a:lnTo>
                  <a:pt x="14" y="4"/>
                </a:lnTo>
                <a:lnTo>
                  <a:pt x="14" y="4"/>
                </a:lnTo>
                <a:lnTo>
                  <a:pt x="14" y="4"/>
                </a:lnTo>
                <a:lnTo>
                  <a:pt x="14" y="4"/>
                </a:lnTo>
                <a:lnTo>
                  <a:pt x="18" y="4"/>
                </a:lnTo>
                <a:lnTo>
                  <a:pt x="18" y="4"/>
                </a:lnTo>
                <a:lnTo>
                  <a:pt x="18" y="4"/>
                </a:lnTo>
                <a:lnTo>
                  <a:pt x="18" y="4"/>
                </a:lnTo>
                <a:lnTo>
                  <a:pt x="18" y="4"/>
                </a:lnTo>
                <a:lnTo>
                  <a:pt x="18" y="0"/>
                </a:lnTo>
                <a:lnTo>
                  <a:pt x="18" y="0"/>
                </a:lnTo>
                <a:lnTo>
                  <a:pt x="22" y="0"/>
                </a:lnTo>
                <a:lnTo>
                  <a:pt x="22" y="0"/>
                </a:lnTo>
                <a:lnTo>
                  <a:pt x="22" y="0"/>
                </a:lnTo>
                <a:lnTo>
                  <a:pt x="26" y="0"/>
                </a:lnTo>
                <a:lnTo>
                  <a:pt x="26" y="0"/>
                </a:lnTo>
                <a:lnTo>
                  <a:pt x="26" y="0"/>
                </a:lnTo>
                <a:lnTo>
                  <a:pt x="26" y="0"/>
                </a:lnTo>
                <a:lnTo>
                  <a:pt x="26" y="0"/>
                </a:lnTo>
                <a:lnTo>
                  <a:pt x="26" y="0"/>
                </a:lnTo>
                <a:lnTo>
                  <a:pt x="30" y="0"/>
                </a:lnTo>
                <a:lnTo>
                  <a:pt x="30" y="4"/>
                </a:lnTo>
                <a:lnTo>
                  <a:pt x="30" y="4"/>
                </a:lnTo>
                <a:lnTo>
                  <a:pt x="34" y="4"/>
                </a:lnTo>
                <a:lnTo>
                  <a:pt x="34" y="4"/>
                </a:lnTo>
                <a:lnTo>
                  <a:pt x="34" y="4"/>
                </a:lnTo>
                <a:lnTo>
                  <a:pt x="34" y="4"/>
                </a:lnTo>
                <a:lnTo>
                  <a:pt x="34" y="4"/>
                </a:lnTo>
                <a:lnTo>
                  <a:pt x="38" y="4"/>
                </a:lnTo>
                <a:lnTo>
                  <a:pt x="38" y="4"/>
                </a:lnTo>
                <a:lnTo>
                  <a:pt x="38" y="4"/>
                </a:lnTo>
                <a:lnTo>
                  <a:pt x="40" y="4"/>
                </a:lnTo>
                <a:lnTo>
                  <a:pt x="40" y="4"/>
                </a:lnTo>
                <a:lnTo>
                  <a:pt x="40" y="4"/>
                </a:lnTo>
                <a:lnTo>
                  <a:pt x="40" y="4"/>
                </a:lnTo>
                <a:lnTo>
                  <a:pt x="40" y="8"/>
                </a:lnTo>
                <a:lnTo>
                  <a:pt x="40" y="8"/>
                </a:lnTo>
                <a:lnTo>
                  <a:pt x="40" y="8"/>
                </a:lnTo>
                <a:lnTo>
                  <a:pt x="40" y="8"/>
                </a:lnTo>
                <a:lnTo>
                  <a:pt x="40" y="8"/>
                </a:lnTo>
                <a:lnTo>
                  <a:pt x="40" y="8"/>
                </a:lnTo>
                <a:lnTo>
                  <a:pt x="40" y="8"/>
                </a:lnTo>
                <a:lnTo>
                  <a:pt x="40" y="8"/>
                </a:lnTo>
                <a:lnTo>
                  <a:pt x="40" y="8"/>
                </a:lnTo>
                <a:lnTo>
                  <a:pt x="40" y="8"/>
                </a:lnTo>
                <a:lnTo>
                  <a:pt x="40" y="12"/>
                </a:lnTo>
                <a:lnTo>
                  <a:pt x="40" y="12"/>
                </a:lnTo>
                <a:lnTo>
                  <a:pt x="40" y="12"/>
                </a:lnTo>
                <a:lnTo>
                  <a:pt x="40" y="12"/>
                </a:lnTo>
                <a:lnTo>
                  <a:pt x="40" y="16"/>
                </a:lnTo>
                <a:lnTo>
                  <a:pt x="40" y="16"/>
                </a:lnTo>
                <a:lnTo>
                  <a:pt x="40" y="16"/>
                </a:lnTo>
                <a:lnTo>
                  <a:pt x="40" y="16"/>
                </a:lnTo>
                <a:lnTo>
                  <a:pt x="40" y="16"/>
                </a:lnTo>
                <a:lnTo>
                  <a:pt x="40" y="16"/>
                </a:lnTo>
                <a:lnTo>
                  <a:pt x="40" y="16"/>
                </a:lnTo>
                <a:lnTo>
                  <a:pt x="40" y="16"/>
                </a:lnTo>
                <a:lnTo>
                  <a:pt x="40" y="16"/>
                </a:lnTo>
                <a:lnTo>
                  <a:pt x="40" y="20"/>
                </a:lnTo>
                <a:lnTo>
                  <a:pt x="40" y="20"/>
                </a:lnTo>
                <a:lnTo>
                  <a:pt x="40" y="20"/>
                </a:lnTo>
                <a:lnTo>
                  <a:pt x="40" y="22"/>
                </a:lnTo>
                <a:lnTo>
                  <a:pt x="40" y="22"/>
                </a:lnTo>
                <a:lnTo>
                  <a:pt x="40" y="22"/>
                </a:lnTo>
                <a:lnTo>
                  <a:pt x="40" y="22"/>
                </a:lnTo>
                <a:lnTo>
                  <a:pt x="40" y="22"/>
                </a:lnTo>
                <a:lnTo>
                  <a:pt x="40" y="22"/>
                </a:lnTo>
                <a:lnTo>
                  <a:pt x="40" y="22"/>
                </a:lnTo>
                <a:lnTo>
                  <a:pt x="40" y="22"/>
                </a:lnTo>
                <a:lnTo>
                  <a:pt x="40" y="22"/>
                </a:lnTo>
                <a:lnTo>
                  <a:pt x="40" y="22"/>
                </a:lnTo>
                <a:lnTo>
                  <a:pt x="38" y="22"/>
                </a:lnTo>
                <a:lnTo>
                  <a:pt x="38" y="22"/>
                </a:lnTo>
                <a:lnTo>
                  <a:pt x="38" y="22"/>
                </a:lnTo>
                <a:lnTo>
                  <a:pt x="38" y="26"/>
                </a:lnTo>
                <a:lnTo>
                  <a:pt x="38" y="22"/>
                </a:lnTo>
                <a:lnTo>
                  <a:pt x="38" y="22"/>
                </a:lnTo>
                <a:lnTo>
                  <a:pt x="38" y="22"/>
                </a:lnTo>
                <a:lnTo>
                  <a:pt x="38" y="22"/>
                </a:lnTo>
                <a:lnTo>
                  <a:pt x="38" y="26"/>
                </a:lnTo>
                <a:lnTo>
                  <a:pt x="38" y="26"/>
                </a:lnTo>
                <a:lnTo>
                  <a:pt x="38" y="26"/>
                </a:lnTo>
                <a:lnTo>
                  <a:pt x="38" y="26"/>
                </a:lnTo>
                <a:lnTo>
                  <a:pt x="38" y="26"/>
                </a:lnTo>
                <a:lnTo>
                  <a:pt x="38" y="26"/>
                </a:lnTo>
                <a:lnTo>
                  <a:pt x="38" y="26"/>
                </a:lnTo>
                <a:lnTo>
                  <a:pt x="38" y="26"/>
                </a:lnTo>
                <a:lnTo>
                  <a:pt x="38" y="30"/>
                </a:lnTo>
                <a:lnTo>
                  <a:pt x="40" y="30"/>
                </a:lnTo>
                <a:lnTo>
                  <a:pt x="40" y="30"/>
                </a:lnTo>
                <a:lnTo>
                  <a:pt x="40" y="30"/>
                </a:lnTo>
                <a:lnTo>
                  <a:pt x="40" y="30"/>
                </a:lnTo>
                <a:lnTo>
                  <a:pt x="40" y="30"/>
                </a:lnTo>
                <a:lnTo>
                  <a:pt x="40" y="30"/>
                </a:lnTo>
                <a:lnTo>
                  <a:pt x="40" y="30"/>
                </a:lnTo>
                <a:lnTo>
                  <a:pt x="40" y="34"/>
                </a:lnTo>
                <a:lnTo>
                  <a:pt x="40" y="34"/>
                </a:lnTo>
                <a:lnTo>
                  <a:pt x="40" y="34"/>
                </a:lnTo>
                <a:lnTo>
                  <a:pt x="40" y="34"/>
                </a:lnTo>
                <a:lnTo>
                  <a:pt x="40" y="34"/>
                </a:lnTo>
                <a:lnTo>
                  <a:pt x="40" y="34"/>
                </a:lnTo>
                <a:lnTo>
                  <a:pt x="38" y="34"/>
                </a:lnTo>
                <a:lnTo>
                  <a:pt x="38" y="34"/>
                </a:lnTo>
                <a:lnTo>
                  <a:pt x="38" y="34"/>
                </a:lnTo>
                <a:lnTo>
                  <a:pt x="38" y="34"/>
                </a:lnTo>
                <a:lnTo>
                  <a:pt x="38" y="30"/>
                </a:lnTo>
                <a:lnTo>
                  <a:pt x="34" y="30"/>
                </a:lnTo>
                <a:lnTo>
                  <a:pt x="34" y="30"/>
                </a:lnTo>
                <a:lnTo>
                  <a:pt x="34" y="30"/>
                </a:lnTo>
                <a:lnTo>
                  <a:pt x="34" y="30"/>
                </a:lnTo>
                <a:lnTo>
                  <a:pt x="34" y="30"/>
                </a:lnTo>
                <a:lnTo>
                  <a:pt x="34" y="30"/>
                </a:lnTo>
                <a:lnTo>
                  <a:pt x="34" y="30"/>
                </a:lnTo>
                <a:lnTo>
                  <a:pt x="30" y="30"/>
                </a:lnTo>
                <a:lnTo>
                  <a:pt x="30" y="30"/>
                </a:lnTo>
                <a:lnTo>
                  <a:pt x="30" y="30"/>
                </a:lnTo>
                <a:lnTo>
                  <a:pt x="30" y="34"/>
                </a:lnTo>
                <a:lnTo>
                  <a:pt x="26" y="34"/>
                </a:lnTo>
                <a:lnTo>
                  <a:pt x="26" y="34"/>
                </a:lnTo>
                <a:lnTo>
                  <a:pt x="26" y="34"/>
                </a:lnTo>
                <a:lnTo>
                  <a:pt x="26" y="34"/>
                </a:lnTo>
                <a:lnTo>
                  <a:pt x="26" y="34"/>
                </a:lnTo>
                <a:lnTo>
                  <a:pt x="26" y="34"/>
                </a:lnTo>
                <a:lnTo>
                  <a:pt x="26" y="34"/>
                </a:lnTo>
                <a:lnTo>
                  <a:pt x="26" y="34"/>
                </a:lnTo>
                <a:lnTo>
                  <a:pt x="26" y="34"/>
                </a:lnTo>
                <a:lnTo>
                  <a:pt x="22" y="34"/>
                </a:lnTo>
                <a:lnTo>
                  <a:pt x="22" y="34"/>
                </a:lnTo>
                <a:lnTo>
                  <a:pt x="22" y="34"/>
                </a:lnTo>
                <a:lnTo>
                  <a:pt x="22" y="34"/>
                </a:lnTo>
                <a:lnTo>
                  <a:pt x="18" y="30"/>
                </a:lnTo>
                <a:lnTo>
                  <a:pt x="18" y="30"/>
                </a:lnTo>
                <a:lnTo>
                  <a:pt x="18" y="30"/>
                </a:lnTo>
                <a:lnTo>
                  <a:pt x="18" y="30"/>
                </a:lnTo>
                <a:lnTo>
                  <a:pt x="14" y="30"/>
                </a:lnTo>
                <a:lnTo>
                  <a:pt x="14" y="30"/>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8" y="34"/>
                </a:lnTo>
                <a:lnTo>
                  <a:pt x="8" y="34"/>
                </a:lnTo>
                <a:lnTo>
                  <a:pt x="8" y="34"/>
                </a:lnTo>
                <a:lnTo>
                  <a:pt x="8" y="30"/>
                </a:lnTo>
                <a:lnTo>
                  <a:pt x="8" y="30"/>
                </a:lnTo>
                <a:lnTo>
                  <a:pt x="4" y="30"/>
                </a:lnTo>
                <a:lnTo>
                  <a:pt x="4" y="30"/>
                </a:lnTo>
                <a:lnTo>
                  <a:pt x="4" y="30"/>
                </a:lnTo>
                <a:lnTo>
                  <a:pt x="4" y="30"/>
                </a:lnTo>
                <a:lnTo>
                  <a:pt x="4" y="30"/>
                </a:lnTo>
                <a:lnTo>
                  <a:pt x="4" y="30"/>
                </a:lnTo>
                <a:lnTo>
                  <a:pt x="4" y="30"/>
                </a:lnTo>
                <a:lnTo>
                  <a:pt x="4" y="30"/>
                </a:lnTo>
                <a:lnTo>
                  <a:pt x="0" y="30"/>
                </a:lnTo>
                <a:lnTo>
                  <a:pt x="0" y="30"/>
                </a:lnTo>
                <a:lnTo>
                  <a:pt x="0" y="26"/>
                </a:lnTo>
                <a:lnTo>
                  <a:pt x="4" y="22"/>
                </a:lnTo>
                <a:lnTo>
                  <a:pt x="4" y="22"/>
                </a:lnTo>
                <a:lnTo>
                  <a:pt x="4" y="22"/>
                </a:lnTo>
                <a:lnTo>
                  <a:pt x="4" y="22"/>
                </a:lnTo>
                <a:lnTo>
                  <a:pt x="8" y="22"/>
                </a:lnTo>
                <a:lnTo>
                  <a:pt x="8" y="22"/>
                </a:lnTo>
                <a:lnTo>
                  <a:pt x="8" y="22"/>
                </a:lnTo>
                <a:lnTo>
                  <a:pt x="8" y="22"/>
                </a:lnTo>
                <a:lnTo>
                  <a:pt x="8" y="26"/>
                </a:lnTo>
                <a:lnTo>
                  <a:pt x="8" y="26"/>
                </a:lnTo>
                <a:lnTo>
                  <a:pt x="8" y="26"/>
                </a:lnTo>
                <a:lnTo>
                  <a:pt x="10" y="26"/>
                </a:lnTo>
                <a:lnTo>
                  <a:pt x="10" y="26"/>
                </a:lnTo>
                <a:lnTo>
                  <a:pt x="10" y="26"/>
                </a:lnTo>
                <a:lnTo>
                  <a:pt x="10" y="26"/>
                </a:lnTo>
                <a:lnTo>
                  <a:pt x="10" y="26"/>
                </a:lnTo>
                <a:lnTo>
                  <a:pt x="10" y="26"/>
                </a:lnTo>
                <a:lnTo>
                  <a:pt x="14" y="26"/>
                </a:lnTo>
                <a:lnTo>
                  <a:pt x="14" y="26"/>
                </a:lnTo>
                <a:lnTo>
                  <a:pt x="14" y="26"/>
                </a:lnTo>
                <a:lnTo>
                  <a:pt x="14" y="26"/>
                </a:lnTo>
                <a:lnTo>
                  <a:pt x="14" y="26"/>
                </a:lnTo>
                <a:lnTo>
                  <a:pt x="10" y="26"/>
                </a:lnTo>
                <a:lnTo>
                  <a:pt x="10" y="26"/>
                </a:lnTo>
                <a:lnTo>
                  <a:pt x="10" y="26"/>
                </a:lnTo>
                <a:lnTo>
                  <a:pt x="10" y="26"/>
                </a:lnTo>
                <a:lnTo>
                  <a:pt x="10" y="26"/>
                </a:lnTo>
                <a:lnTo>
                  <a:pt x="14" y="26"/>
                </a:lnTo>
                <a:lnTo>
                  <a:pt x="14" y="26"/>
                </a:lnTo>
                <a:lnTo>
                  <a:pt x="14" y="26"/>
                </a:lnTo>
                <a:lnTo>
                  <a:pt x="14" y="26"/>
                </a:lnTo>
                <a:lnTo>
                  <a:pt x="14" y="26"/>
                </a:lnTo>
                <a:lnTo>
                  <a:pt x="14" y="26"/>
                </a:lnTo>
                <a:lnTo>
                  <a:pt x="18" y="26"/>
                </a:lnTo>
                <a:lnTo>
                  <a:pt x="18" y="26"/>
                </a:lnTo>
                <a:lnTo>
                  <a:pt x="18" y="26"/>
                </a:lnTo>
                <a:lnTo>
                  <a:pt x="22" y="26"/>
                </a:lnTo>
                <a:lnTo>
                  <a:pt x="22" y="26"/>
                </a:lnTo>
                <a:lnTo>
                  <a:pt x="22" y="26"/>
                </a:lnTo>
                <a:lnTo>
                  <a:pt x="22" y="26"/>
                </a:lnTo>
                <a:lnTo>
                  <a:pt x="22" y="26"/>
                </a:lnTo>
                <a:lnTo>
                  <a:pt x="22" y="26"/>
                </a:lnTo>
                <a:lnTo>
                  <a:pt x="22" y="26"/>
                </a:lnTo>
                <a:lnTo>
                  <a:pt x="26" y="26"/>
                </a:lnTo>
                <a:lnTo>
                  <a:pt x="26" y="26"/>
                </a:lnTo>
                <a:lnTo>
                  <a:pt x="26" y="26"/>
                </a:lnTo>
                <a:lnTo>
                  <a:pt x="26" y="26"/>
                </a:lnTo>
                <a:lnTo>
                  <a:pt x="26" y="26"/>
                </a:lnTo>
                <a:lnTo>
                  <a:pt x="26" y="26"/>
                </a:lnTo>
                <a:lnTo>
                  <a:pt x="26" y="26"/>
                </a:lnTo>
                <a:lnTo>
                  <a:pt x="26" y="26"/>
                </a:lnTo>
                <a:lnTo>
                  <a:pt x="26" y="26"/>
                </a:lnTo>
                <a:lnTo>
                  <a:pt x="30" y="26"/>
                </a:lnTo>
                <a:lnTo>
                  <a:pt x="30" y="26"/>
                </a:lnTo>
                <a:lnTo>
                  <a:pt x="30" y="26"/>
                </a:lnTo>
                <a:lnTo>
                  <a:pt x="30" y="26"/>
                </a:lnTo>
                <a:lnTo>
                  <a:pt x="30" y="26"/>
                </a:lnTo>
                <a:lnTo>
                  <a:pt x="30" y="26"/>
                </a:lnTo>
                <a:lnTo>
                  <a:pt x="30" y="26"/>
                </a:lnTo>
                <a:lnTo>
                  <a:pt x="34" y="22"/>
                </a:lnTo>
                <a:lnTo>
                  <a:pt x="34" y="22"/>
                </a:lnTo>
                <a:lnTo>
                  <a:pt x="30" y="22"/>
                </a:lnTo>
                <a:lnTo>
                  <a:pt x="30" y="22"/>
                </a:lnTo>
                <a:lnTo>
                  <a:pt x="30" y="22"/>
                </a:lnTo>
                <a:lnTo>
                  <a:pt x="30" y="22"/>
                </a:lnTo>
                <a:lnTo>
                  <a:pt x="30" y="22"/>
                </a:lnTo>
                <a:lnTo>
                  <a:pt x="30" y="22"/>
                </a:lnTo>
                <a:lnTo>
                  <a:pt x="30" y="22"/>
                </a:lnTo>
                <a:lnTo>
                  <a:pt x="30" y="22"/>
                </a:lnTo>
                <a:lnTo>
                  <a:pt x="30" y="20"/>
                </a:lnTo>
                <a:lnTo>
                  <a:pt x="26" y="20"/>
                </a:lnTo>
                <a:lnTo>
                  <a:pt x="26" y="20"/>
                </a:lnTo>
                <a:lnTo>
                  <a:pt x="26" y="20"/>
                </a:lnTo>
                <a:lnTo>
                  <a:pt x="26" y="20"/>
                </a:lnTo>
                <a:lnTo>
                  <a:pt x="26" y="20"/>
                </a:lnTo>
                <a:lnTo>
                  <a:pt x="26" y="20"/>
                </a:lnTo>
                <a:lnTo>
                  <a:pt x="26" y="16"/>
                </a:lnTo>
                <a:lnTo>
                  <a:pt x="26" y="16"/>
                </a:lnTo>
                <a:lnTo>
                  <a:pt x="26" y="12"/>
                </a:lnTo>
                <a:lnTo>
                  <a:pt x="26" y="12"/>
                </a:lnTo>
                <a:lnTo>
                  <a:pt x="26" y="12"/>
                </a:lnTo>
                <a:lnTo>
                  <a:pt x="22" y="8"/>
                </a:lnTo>
                <a:lnTo>
                  <a:pt x="22" y="8"/>
                </a:lnTo>
                <a:lnTo>
                  <a:pt x="22" y="8"/>
                </a:lnTo>
                <a:lnTo>
                  <a:pt x="22" y="8"/>
                </a:lnTo>
                <a:lnTo>
                  <a:pt x="22" y="8"/>
                </a:lnTo>
                <a:lnTo>
                  <a:pt x="22" y="8"/>
                </a:lnTo>
                <a:close/>
                <a:moveTo>
                  <a:pt x="26" y="22"/>
                </a:moveTo>
                <a:lnTo>
                  <a:pt x="26" y="22"/>
                </a:lnTo>
                <a:lnTo>
                  <a:pt x="22" y="22"/>
                </a:lnTo>
                <a:lnTo>
                  <a:pt x="22" y="22"/>
                </a:lnTo>
                <a:lnTo>
                  <a:pt x="18" y="20"/>
                </a:lnTo>
                <a:lnTo>
                  <a:pt x="18" y="20"/>
                </a:lnTo>
                <a:lnTo>
                  <a:pt x="18" y="20"/>
                </a:lnTo>
                <a:lnTo>
                  <a:pt x="18" y="20"/>
                </a:lnTo>
                <a:lnTo>
                  <a:pt x="18" y="20"/>
                </a:lnTo>
                <a:lnTo>
                  <a:pt x="18" y="20"/>
                </a:lnTo>
                <a:lnTo>
                  <a:pt x="18" y="20"/>
                </a:lnTo>
                <a:lnTo>
                  <a:pt x="18" y="20"/>
                </a:lnTo>
                <a:lnTo>
                  <a:pt x="18" y="20"/>
                </a:lnTo>
                <a:lnTo>
                  <a:pt x="18" y="20"/>
                </a:lnTo>
                <a:lnTo>
                  <a:pt x="22" y="20"/>
                </a:lnTo>
                <a:lnTo>
                  <a:pt x="22" y="20"/>
                </a:lnTo>
                <a:lnTo>
                  <a:pt x="26" y="20"/>
                </a:lnTo>
                <a:lnTo>
                  <a:pt x="26" y="20"/>
                </a:lnTo>
                <a:lnTo>
                  <a:pt x="26" y="22"/>
                </a:lnTo>
                <a:lnTo>
                  <a:pt x="26" y="22"/>
                </a:lnTo>
                <a:lnTo>
                  <a:pt x="26" y="22"/>
                </a:lnTo>
                <a:lnTo>
                  <a:pt x="26" y="22"/>
                </a:lnTo>
                <a:lnTo>
                  <a:pt x="26" y="22"/>
                </a:lnTo>
                <a:lnTo>
                  <a:pt x="26" y="22"/>
                </a:lnTo>
                <a:lnTo>
                  <a:pt x="26" y="22"/>
                </a:lnTo>
                <a:lnTo>
                  <a:pt x="26" y="22"/>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69" name="Freeform 76"/>
          <p:cNvSpPr>
            <a:spLocks noEditPoints="1"/>
          </p:cNvSpPr>
          <p:nvPr/>
        </p:nvSpPr>
        <p:spPr bwMode="auto">
          <a:xfrm>
            <a:off x="2755106" y="3362324"/>
            <a:ext cx="104775" cy="71438"/>
          </a:xfrm>
          <a:custGeom>
            <a:avLst/>
            <a:gdLst>
              <a:gd name="T0" fmla="*/ 36 w 88"/>
              <a:gd name="T1" fmla="*/ 52 h 60"/>
              <a:gd name="T2" fmla="*/ 32 w 88"/>
              <a:gd name="T3" fmla="*/ 56 h 60"/>
              <a:gd name="T4" fmla="*/ 32 w 88"/>
              <a:gd name="T5" fmla="*/ 60 h 60"/>
              <a:gd name="T6" fmla="*/ 24 w 88"/>
              <a:gd name="T7" fmla="*/ 56 h 60"/>
              <a:gd name="T8" fmla="*/ 24 w 88"/>
              <a:gd name="T9" fmla="*/ 52 h 60"/>
              <a:gd name="T10" fmla="*/ 24 w 88"/>
              <a:gd name="T11" fmla="*/ 52 h 60"/>
              <a:gd name="T12" fmla="*/ 20 w 88"/>
              <a:gd name="T13" fmla="*/ 52 h 60"/>
              <a:gd name="T14" fmla="*/ 20 w 88"/>
              <a:gd name="T15" fmla="*/ 52 h 60"/>
              <a:gd name="T16" fmla="*/ 20 w 88"/>
              <a:gd name="T17" fmla="*/ 46 h 60"/>
              <a:gd name="T18" fmla="*/ 16 w 88"/>
              <a:gd name="T19" fmla="*/ 46 h 60"/>
              <a:gd name="T20" fmla="*/ 16 w 88"/>
              <a:gd name="T21" fmla="*/ 42 h 60"/>
              <a:gd name="T22" fmla="*/ 14 w 88"/>
              <a:gd name="T23" fmla="*/ 46 h 60"/>
              <a:gd name="T24" fmla="*/ 10 w 88"/>
              <a:gd name="T25" fmla="*/ 46 h 60"/>
              <a:gd name="T26" fmla="*/ 10 w 88"/>
              <a:gd name="T27" fmla="*/ 42 h 60"/>
              <a:gd name="T28" fmla="*/ 6 w 88"/>
              <a:gd name="T29" fmla="*/ 42 h 60"/>
              <a:gd name="T30" fmla="*/ 6 w 88"/>
              <a:gd name="T31" fmla="*/ 38 h 60"/>
              <a:gd name="T32" fmla="*/ 4 w 88"/>
              <a:gd name="T33" fmla="*/ 38 h 60"/>
              <a:gd name="T34" fmla="*/ 0 w 88"/>
              <a:gd name="T35" fmla="*/ 34 h 60"/>
              <a:gd name="T36" fmla="*/ 4 w 88"/>
              <a:gd name="T37" fmla="*/ 30 h 60"/>
              <a:gd name="T38" fmla="*/ 4 w 88"/>
              <a:gd name="T39" fmla="*/ 26 h 60"/>
              <a:gd name="T40" fmla="*/ 4 w 88"/>
              <a:gd name="T41" fmla="*/ 22 h 60"/>
              <a:gd name="T42" fmla="*/ 10 w 88"/>
              <a:gd name="T43" fmla="*/ 16 h 60"/>
              <a:gd name="T44" fmla="*/ 14 w 88"/>
              <a:gd name="T45" fmla="*/ 12 h 60"/>
              <a:gd name="T46" fmla="*/ 16 w 88"/>
              <a:gd name="T47" fmla="*/ 8 h 60"/>
              <a:gd name="T48" fmla="*/ 20 w 88"/>
              <a:gd name="T49" fmla="*/ 8 h 60"/>
              <a:gd name="T50" fmla="*/ 28 w 88"/>
              <a:gd name="T51" fmla="*/ 8 h 60"/>
              <a:gd name="T52" fmla="*/ 36 w 88"/>
              <a:gd name="T53" fmla="*/ 12 h 60"/>
              <a:gd name="T54" fmla="*/ 40 w 88"/>
              <a:gd name="T55" fmla="*/ 12 h 60"/>
              <a:gd name="T56" fmla="*/ 42 w 88"/>
              <a:gd name="T57" fmla="*/ 8 h 60"/>
              <a:gd name="T58" fmla="*/ 46 w 88"/>
              <a:gd name="T59" fmla="*/ 8 h 60"/>
              <a:gd name="T60" fmla="*/ 46 w 88"/>
              <a:gd name="T61" fmla="*/ 8 h 60"/>
              <a:gd name="T62" fmla="*/ 50 w 88"/>
              <a:gd name="T63" fmla="*/ 8 h 60"/>
              <a:gd name="T64" fmla="*/ 58 w 88"/>
              <a:gd name="T65" fmla="*/ 8 h 60"/>
              <a:gd name="T66" fmla="*/ 66 w 88"/>
              <a:gd name="T67" fmla="*/ 8 h 60"/>
              <a:gd name="T68" fmla="*/ 66 w 88"/>
              <a:gd name="T69" fmla="*/ 8 h 60"/>
              <a:gd name="T70" fmla="*/ 76 w 88"/>
              <a:gd name="T71" fmla="*/ 16 h 60"/>
              <a:gd name="T72" fmla="*/ 72 w 88"/>
              <a:gd name="T73" fmla="*/ 18 h 60"/>
              <a:gd name="T74" fmla="*/ 72 w 88"/>
              <a:gd name="T75" fmla="*/ 18 h 60"/>
              <a:gd name="T76" fmla="*/ 76 w 88"/>
              <a:gd name="T77" fmla="*/ 18 h 60"/>
              <a:gd name="T78" fmla="*/ 80 w 88"/>
              <a:gd name="T79" fmla="*/ 18 h 60"/>
              <a:gd name="T80" fmla="*/ 80 w 88"/>
              <a:gd name="T81" fmla="*/ 22 h 60"/>
              <a:gd name="T82" fmla="*/ 80 w 88"/>
              <a:gd name="T83" fmla="*/ 18 h 60"/>
              <a:gd name="T84" fmla="*/ 84 w 88"/>
              <a:gd name="T85" fmla="*/ 18 h 60"/>
              <a:gd name="T86" fmla="*/ 84 w 88"/>
              <a:gd name="T87" fmla="*/ 22 h 60"/>
              <a:gd name="T88" fmla="*/ 84 w 88"/>
              <a:gd name="T89" fmla="*/ 22 h 60"/>
              <a:gd name="T90" fmla="*/ 76 w 88"/>
              <a:gd name="T91" fmla="*/ 26 h 60"/>
              <a:gd name="T92" fmla="*/ 66 w 88"/>
              <a:gd name="T93" fmla="*/ 30 h 60"/>
              <a:gd name="T94" fmla="*/ 58 w 88"/>
              <a:gd name="T95" fmla="*/ 30 h 60"/>
              <a:gd name="T96" fmla="*/ 58 w 88"/>
              <a:gd name="T97" fmla="*/ 34 h 60"/>
              <a:gd name="T98" fmla="*/ 58 w 88"/>
              <a:gd name="T99" fmla="*/ 38 h 60"/>
              <a:gd name="T100" fmla="*/ 54 w 88"/>
              <a:gd name="T101" fmla="*/ 38 h 60"/>
              <a:gd name="T102" fmla="*/ 50 w 88"/>
              <a:gd name="T103" fmla="*/ 46 h 60"/>
              <a:gd name="T104" fmla="*/ 46 w 88"/>
              <a:gd name="T105" fmla="*/ 42 h 60"/>
              <a:gd name="T106" fmla="*/ 42 w 88"/>
              <a:gd name="T107" fmla="*/ 42 h 60"/>
              <a:gd name="T108" fmla="*/ 36 w 88"/>
              <a:gd name="T109" fmla="*/ 46 h 60"/>
              <a:gd name="T110" fmla="*/ 36 w 88"/>
              <a:gd name="T111" fmla="*/ 0 h 60"/>
              <a:gd name="T112" fmla="*/ 40 w 88"/>
              <a:gd name="T113" fmla="*/ 0 h 60"/>
              <a:gd name="T114" fmla="*/ 40 w 88"/>
              <a:gd name="T115" fmla="*/ 0 h 60"/>
              <a:gd name="T116" fmla="*/ 36 w 88"/>
              <a:gd name="T11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8" h="60">
                <a:moveTo>
                  <a:pt x="36" y="46"/>
                </a:moveTo>
                <a:lnTo>
                  <a:pt x="36" y="50"/>
                </a:lnTo>
                <a:lnTo>
                  <a:pt x="36" y="52"/>
                </a:lnTo>
                <a:lnTo>
                  <a:pt x="36" y="52"/>
                </a:lnTo>
                <a:lnTo>
                  <a:pt x="36" y="52"/>
                </a:lnTo>
                <a:lnTo>
                  <a:pt x="36" y="52"/>
                </a:lnTo>
                <a:lnTo>
                  <a:pt x="36" y="52"/>
                </a:lnTo>
                <a:lnTo>
                  <a:pt x="36" y="52"/>
                </a:lnTo>
                <a:lnTo>
                  <a:pt x="36" y="52"/>
                </a:lnTo>
                <a:lnTo>
                  <a:pt x="36" y="52"/>
                </a:lnTo>
                <a:lnTo>
                  <a:pt x="32" y="52"/>
                </a:lnTo>
                <a:lnTo>
                  <a:pt x="32" y="56"/>
                </a:lnTo>
                <a:lnTo>
                  <a:pt x="32" y="56"/>
                </a:lnTo>
                <a:lnTo>
                  <a:pt x="32" y="56"/>
                </a:lnTo>
                <a:lnTo>
                  <a:pt x="32" y="56"/>
                </a:lnTo>
                <a:lnTo>
                  <a:pt x="32" y="60"/>
                </a:lnTo>
                <a:lnTo>
                  <a:pt x="32" y="60"/>
                </a:lnTo>
                <a:lnTo>
                  <a:pt x="32" y="60"/>
                </a:lnTo>
                <a:lnTo>
                  <a:pt x="28" y="60"/>
                </a:lnTo>
                <a:lnTo>
                  <a:pt x="28" y="60"/>
                </a:lnTo>
                <a:lnTo>
                  <a:pt x="28" y="60"/>
                </a:lnTo>
                <a:lnTo>
                  <a:pt x="28" y="56"/>
                </a:lnTo>
                <a:lnTo>
                  <a:pt x="24" y="56"/>
                </a:lnTo>
                <a:lnTo>
                  <a:pt x="24" y="56"/>
                </a:lnTo>
                <a:lnTo>
                  <a:pt x="24" y="52"/>
                </a:lnTo>
                <a:lnTo>
                  <a:pt x="24" y="52"/>
                </a:lnTo>
                <a:lnTo>
                  <a:pt x="24" y="52"/>
                </a:lnTo>
                <a:lnTo>
                  <a:pt x="24" y="52"/>
                </a:lnTo>
                <a:lnTo>
                  <a:pt x="24" y="52"/>
                </a:lnTo>
                <a:lnTo>
                  <a:pt x="24" y="52"/>
                </a:lnTo>
                <a:lnTo>
                  <a:pt x="24" y="52"/>
                </a:lnTo>
                <a:lnTo>
                  <a:pt x="24" y="52"/>
                </a:lnTo>
                <a:lnTo>
                  <a:pt x="24" y="52"/>
                </a:lnTo>
                <a:lnTo>
                  <a:pt x="24" y="52"/>
                </a:lnTo>
                <a:lnTo>
                  <a:pt x="24" y="52"/>
                </a:lnTo>
                <a:lnTo>
                  <a:pt x="24" y="52"/>
                </a:lnTo>
                <a:lnTo>
                  <a:pt x="24" y="52"/>
                </a:lnTo>
                <a:lnTo>
                  <a:pt x="24" y="52"/>
                </a:lnTo>
                <a:lnTo>
                  <a:pt x="20" y="52"/>
                </a:lnTo>
                <a:lnTo>
                  <a:pt x="20" y="52"/>
                </a:lnTo>
                <a:lnTo>
                  <a:pt x="20" y="52"/>
                </a:lnTo>
                <a:lnTo>
                  <a:pt x="20" y="52"/>
                </a:lnTo>
                <a:lnTo>
                  <a:pt x="20" y="52"/>
                </a:lnTo>
                <a:lnTo>
                  <a:pt x="20" y="52"/>
                </a:lnTo>
                <a:lnTo>
                  <a:pt x="20" y="52"/>
                </a:lnTo>
                <a:lnTo>
                  <a:pt x="20" y="52"/>
                </a:lnTo>
                <a:lnTo>
                  <a:pt x="20" y="52"/>
                </a:lnTo>
                <a:lnTo>
                  <a:pt x="20" y="52"/>
                </a:lnTo>
                <a:lnTo>
                  <a:pt x="20" y="50"/>
                </a:lnTo>
                <a:lnTo>
                  <a:pt x="20" y="50"/>
                </a:lnTo>
                <a:lnTo>
                  <a:pt x="20" y="50"/>
                </a:lnTo>
                <a:lnTo>
                  <a:pt x="20" y="50"/>
                </a:lnTo>
                <a:lnTo>
                  <a:pt x="20" y="50"/>
                </a:lnTo>
                <a:lnTo>
                  <a:pt x="20" y="46"/>
                </a:lnTo>
                <a:lnTo>
                  <a:pt x="20" y="46"/>
                </a:lnTo>
                <a:lnTo>
                  <a:pt x="20" y="46"/>
                </a:lnTo>
                <a:lnTo>
                  <a:pt x="20" y="46"/>
                </a:lnTo>
                <a:lnTo>
                  <a:pt x="20" y="46"/>
                </a:lnTo>
                <a:lnTo>
                  <a:pt x="20" y="46"/>
                </a:lnTo>
                <a:lnTo>
                  <a:pt x="16" y="46"/>
                </a:lnTo>
                <a:lnTo>
                  <a:pt x="16" y="46"/>
                </a:lnTo>
                <a:lnTo>
                  <a:pt x="16" y="46"/>
                </a:lnTo>
                <a:lnTo>
                  <a:pt x="16" y="46"/>
                </a:lnTo>
                <a:lnTo>
                  <a:pt x="16" y="46"/>
                </a:lnTo>
                <a:lnTo>
                  <a:pt x="16" y="42"/>
                </a:lnTo>
                <a:lnTo>
                  <a:pt x="16" y="42"/>
                </a:lnTo>
                <a:lnTo>
                  <a:pt x="16" y="42"/>
                </a:lnTo>
                <a:lnTo>
                  <a:pt x="14" y="42"/>
                </a:lnTo>
                <a:lnTo>
                  <a:pt x="14" y="42"/>
                </a:lnTo>
                <a:lnTo>
                  <a:pt x="14" y="42"/>
                </a:lnTo>
                <a:lnTo>
                  <a:pt x="14" y="42"/>
                </a:lnTo>
                <a:lnTo>
                  <a:pt x="14" y="46"/>
                </a:lnTo>
                <a:lnTo>
                  <a:pt x="14" y="46"/>
                </a:lnTo>
                <a:lnTo>
                  <a:pt x="14" y="46"/>
                </a:lnTo>
                <a:lnTo>
                  <a:pt x="14" y="46"/>
                </a:lnTo>
                <a:lnTo>
                  <a:pt x="14" y="46"/>
                </a:lnTo>
                <a:lnTo>
                  <a:pt x="10" y="46"/>
                </a:lnTo>
                <a:lnTo>
                  <a:pt x="10" y="46"/>
                </a:lnTo>
                <a:lnTo>
                  <a:pt x="10" y="46"/>
                </a:lnTo>
                <a:lnTo>
                  <a:pt x="10" y="42"/>
                </a:lnTo>
                <a:lnTo>
                  <a:pt x="10" y="42"/>
                </a:lnTo>
                <a:lnTo>
                  <a:pt x="10" y="42"/>
                </a:lnTo>
                <a:lnTo>
                  <a:pt x="10" y="42"/>
                </a:lnTo>
                <a:lnTo>
                  <a:pt x="10" y="42"/>
                </a:lnTo>
                <a:lnTo>
                  <a:pt x="6" y="42"/>
                </a:lnTo>
                <a:lnTo>
                  <a:pt x="6" y="42"/>
                </a:lnTo>
                <a:lnTo>
                  <a:pt x="6" y="42"/>
                </a:lnTo>
                <a:lnTo>
                  <a:pt x="6" y="38"/>
                </a:lnTo>
                <a:lnTo>
                  <a:pt x="6" y="38"/>
                </a:lnTo>
                <a:lnTo>
                  <a:pt x="6" y="42"/>
                </a:lnTo>
                <a:lnTo>
                  <a:pt x="6" y="42"/>
                </a:lnTo>
                <a:lnTo>
                  <a:pt x="6" y="42"/>
                </a:lnTo>
                <a:lnTo>
                  <a:pt x="6" y="38"/>
                </a:lnTo>
                <a:lnTo>
                  <a:pt x="6" y="38"/>
                </a:lnTo>
                <a:lnTo>
                  <a:pt x="6" y="38"/>
                </a:lnTo>
                <a:lnTo>
                  <a:pt x="6" y="38"/>
                </a:lnTo>
                <a:lnTo>
                  <a:pt x="6" y="38"/>
                </a:lnTo>
                <a:lnTo>
                  <a:pt x="4" y="38"/>
                </a:lnTo>
                <a:lnTo>
                  <a:pt x="4" y="38"/>
                </a:lnTo>
                <a:lnTo>
                  <a:pt x="4" y="38"/>
                </a:lnTo>
                <a:lnTo>
                  <a:pt x="4" y="38"/>
                </a:lnTo>
                <a:lnTo>
                  <a:pt x="4" y="38"/>
                </a:lnTo>
                <a:lnTo>
                  <a:pt x="4" y="34"/>
                </a:lnTo>
                <a:lnTo>
                  <a:pt x="4" y="38"/>
                </a:lnTo>
                <a:lnTo>
                  <a:pt x="4" y="34"/>
                </a:lnTo>
                <a:lnTo>
                  <a:pt x="0" y="34"/>
                </a:lnTo>
                <a:lnTo>
                  <a:pt x="0" y="34"/>
                </a:lnTo>
                <a:lnTo>
                  <a:pt x="0" y="34"/>
                </a:lnTo>
                <a:lnTo>
                  <a:pt x="0" y="34"/>
                </a:lnTo>
                <a:lnTo>
                  <a:pt x="0" y="34"/>
                </a:lnTo>
                <a:lnTo>
                  <a:pt x="0" y="34"/>
                </a:lnTo>
                <a:lnTo>
                  <a:pt x="0" y="30"/>
                </a:lnTo>
                <a:lnTo>
                  <a:pt x="4" y="30"/>
                </a:lnTo>
                <a:lnTo>
                  <a:pt x="4" y="30"/>
                </a:lnTo>
                <a:lnTo>
                  <a:pt x="4" y="30"/>
                </a:lnTo>
                <a:lnTo>
                  <a:pt x="4" y="30"/>
                </a:lnTo>
                <a:lnTo>
                  <a:pt x="0" y="26"/>
                </a:lnTo>
                <a:lnTo>
                  <a:pt x="0" y="26"/>
                </a:lnTo>
                <a:lnTo>
                  <a:pt x="0" y="26"/>
                </a:lnTo>
                <a:lnTo>
                  <a:pt x="4" y="26"/>
                </a:lnTo>
                <a:lnTo>
                  <a:pt x="4" y="26"/>
                </a:lnTo>
                <a:lnTo>
                  <a:pt x="4" y="22"/>
                </a:lnTo>
                <a:lnTo>
                  <a:pt x="4" y="22"/>
                </a:lnTo>
                <a:lnTo>
                  <a:pt x="4" y="22"/>
                </a:lnTo>
                <a:lnTo>
                  <a:pt x="4" y="22"/>
                </a:lnTo>
                <a:lnTo>
                  <a:pt x="4" y="22"/>
                </a:lnTo>
                <a:lnTo>
                  <a:pt x="4" y="22"/>
                </a:lnTo>
                <a:lnTo>
                  <a:pt x="4" y="22"/>
                </a:lnTo>
                <a:lnTo>
                  <a:pt x="6" y="18"/>
                </a:lnTo>
                <a:lnTo>
                  <a:pt x="6" y="18"/>
                </a:lnTo>
                <a:lnTo>
                  <a:pt x="10" y="18"/>
                </a:lnTo>
                <a:lnTo>
                  <a:pt x="10" y="16"/>
                </a:lnTo>
                <a:lnTo>
                  <a:pt x="10" y="16"/>
                </a:lnTo>
                <a:lnTo>
                  <a:pt x="14" y="12"/>
                </a:lnTo>
                <a:lnTo>
                  <a:pt x="14" y="12"/>
                </a:lnTo>
                <a:lnTo>
                  <a:pt x="14" y="12"/>
                </a:lnTo>
                <a:lnTo>
                  <a:pt x="14" y="12"/>
                </a:lnTo>
                <a:lnTo>
                  <a:pt x="14" y="12"/>
                </a:lnTo>
                <a:lnTo>
                  <a:pt x="14" y="12"/>
                </a:lnTo>
                <a:lnTo>
                  <a:pt x="14" y="12"/>
                </a:lnTo>
                <a:lnTo>
                  <a:pt x="16" y="12"/>
                </a:lnTo>
                <a:lnTo>
                  <a:pt x="16" y="12"/>
                </a:lnTo>
                <a:lnTo>
                  <a:pt x="16" y="12"/>
                </a:lnTo>
                <a:lnTo>
                  <a:pt x="16" y="8"/>
                </a:lnTo>
                <a:lnTo>
                  <a:pt x="20" y="8"/>
                </a:lnTo>
                <a:lnTo>
                  <a:pt x="20" y="8"/>
                </a:lnTo>
                <a:lnTo>
                  <a:pt x="20" y="8"/>
                </a:lnTo>
                <a:lnTo>
                  <a:pt x="20" y="8"/>
                </a:lnTo>
                <a:lnTo>
                  <a:pt x="20" y="8"/>
                </a:lnTo>
                <a:lnTo>
                  <a:pt x="20" y="8"/>
                </a:lnTo>
                <a:lnTo>
                  <a:pt x="24" y="8"/>
                </a:lnTo>
                <a:lnTo>
                  <a:pt x="24" y="12"/>
                </a:lnTo>
                <a:lnTo>
                  <a:pt x="24" y="12"/>
                </a:lnTo>
                <a:lnTo>
                  <a:pt x="24" y="12"/>
                </a:lnTo>
                <a:lnTo>
                  <a:pt x="24" y="12"/>
                </a:lnTo>
                <a:lnTo>
                  <a:pt x="28" y="8"/>
                </a:lnTo>
                <a:lnTo>
                  <a:pt x="28" y="12"/>
                </a:lnTo>
                <a:lnTo>
                  <a:pt x="28" y="12"/>
                </a:lnTo>
                <a:lnTo>
                  <a:pt x="32" y="12"/>
                </a:lnTo>
                <a:lnTo>
                  <a:pt x="32" y="12"/>
                </a:lnTo>
                <a:lnTo>
                  <a:pt x="32" y="12"/>
                </a:lnTo>
                <a:lnTo>
                  <a:pt x="36" y="12"/>
                </a:lnTo>
                <a:lnTo>
                  <a:pt x="36" y="12"/>
                </a:lnTo>
                <a:lnTo>
                  <a:pt x="36" y="12"/>
                </a:lnTo>
                <a:lnTo>
                  <a:pt x="40" y="12"/>
                </a:lnTo>
                <a:lnTo>
                  <a:pt x="40" y="12"/>
                </a:lnTo>
                <a:lnTo>
                  <a:pt x="40" y="12"/>
                </a:lnTo>
                <a:lnTo>
                  <a:pt x="40" y="12"/>
                </a:lnTo>
                <a:lnTo>
                  <a:pt x="40" y="12"/>
                </a:lnTo>
                <a:lnTo>
                  <a:pt x="42" y="12"/>
                </a:lnTo>
                <a:lnTo>
                  <a:pt x="42" y="12"/>
                </a:lnTo>
                <a:lnTo>
                  <a:pt x="42" y="8"/>
                </a:lnTo>
                <a:lnTo>
                  <a:pt x="42" y="8"/>
                </a:lnTo>
                <a:lnTo>
                  <a:pt x="42" y="8"/>
                </a:lnTo>
                <a:lnTo>
                  <a:pt x="42" y="8"/>
                </a:lnTo>
                <a:lnTo>
                  <a:pt x="42" y="8"/>
                </a:lnTo>
                <a:lnTo>
                  <a:pt x="46" y="8"/>
                </a:lnTo>
                <a:lnTo>
                  <a:pt x="46" y="8"/>
                </a:lnTo>
                <a:lnTo>
                  <a:pt x="46" y="8"/>
                </a:lnTo>
                <a:lnTo>
                  <a:pt x="46" y="8"/>
                </a:lnTo>
                <a:lnTo>
                  <a:pt x="46" y="8"/>
                </a:lnTo>
                <a:lnTo>
                  <a:pt x="46" y="8"/>
                </a:lnTo>
                <a:lnTo>
                  <a:pt x="46" y="8"/>
                </a:lnTo>
                <a:lnTo>
                  <a:pt x="46" y="8"/>
                </a:lnTo>
                <a:lnTo>
                  <a:pt x="46" y="8"/>
                </a:lnTo>
                <a:lnTo>
                  <a:pt x="46" y="8"/>
                </a:lnTo>
                <a:lnTo>
                  <a:pt x="46" y="8"/>
                </a:lnTo>
                <a:lnTo>
                  <a:pt x="50" y="8"/>
                </a:lnTo>
                <a:lnTo>
                  <a:pt x="50" y="8"/>
                </a:lnTo>
                <a:lnTo>
                  <a:pt x="50" y="8"/>
                </a:lnTo>
                <a:lnTo>
                  <a:pt x="50" y="8"/>
                </a:lnTo>
                <a:lnTo>
                  <a:pt x="50" y="8"/>
                </a:lnTo>
                <a:lnTo>
                  <a:pt x="54" y="8"/>
                </a:lnTo>
                <a:lnTo>
                  <a:pt x="54" y="8"/>
                </a:lnTo>
                <a:lnTo>
                  <a:pt x="58" y="8"/>
                </a:lnTo>
                <a:lnTo>
                  <a:pt x="58" y="8"/>
                </a:lnTo>
                <a:lnTo>
                  <a:pt x="58" y="8"/>
                </a:lnTo>
                <a:lnTo>
                  <a:pt x="58" y="8"/>
                </a:lnTo>
                <a:lnTo>
                  <a:pt x="58" y="8"/>
                </a:lnTo>
                <a:lnTo>
                  <a:pt x="58" y="8"/>
                </a:lnTo>
                <a:lnTo>
                  <a:pt x="58" y="8"/>
                </a:lnTo>
                <a:lnTo>
                  <a:pt x="58" y="8"/>
                </a:lnTo>
                <a:lnTo>
                  <a:pt x="62" y="8"/>
                </a:lnTo>
                <a:lnTo>
                  <a:pt x="66" y="8"/>
                </a:lnTo>
                <a:lnTo>
                  <a:pt x="66" y="12"/>
                </a:lnTo>
                <a:lnTo>
                  <a:pt x="66" y="12"/>
                </a:lnTo>
                <a:lnTo>
                  <a:pt x="66" y="12"/>
                </a:lnTo>
                <a:lnTo>
                  <a:pt x="66" y="12"/>
                </a:lnTo>
                <a:lnTo>
                  <a:pt x="70" y="12"/>
                </a:lnTo>
                <a:lnTo>
                  <a:pt x="66" y="8"/>
                </a:lnTo>
                <a:lnTo>
                  <a:pt x="66" y="8"/>
                </a:lnTo>
                <a:lnTo>
                  <a:pt x="70" y="12"/>
                </a:lnTo>
                <a:lnTo>
                  <a:pt x="72" y="12"/>
                </a:lnTo>
                <a:lnTo>
                  <a:pt x="72" y="12"/>
                </a:lnTo>
                <a:lnTo>
                  <a:pt x="76" y="16"/>
                </a:lnTo>
                <a:lnTo>
                  <a:pt x="76" y="16"/>
                </a:lnTo>
                <a:lnTo>
                  <a:pt x="72" y="16"/>
                </a:lnTo>
                <a:lnTo>
                  <a:pt x="72" y="16"/>
                </a:lnTo>
                <a:lnTo>
                  <a:pt x="72" y="16"/>
                </a:lnTo>
                <a:lnTo>
                  <a:pt x="70" y="16"/>
                </a:lnTo>
                <a:lnTo>
                  <a:pt x="70" y="16"/>
                </a:lnTo>
                <a:lnTo>
                  <a:pt x="72" y="18"/>
                </a:lnTo>
                <a:lnTo>
                  <a:pt x="72" y="18"/>
                </a:lnTo>
                <a:lnTo>
                  <a:pt x="76" y="18"/>
                </a:lnTo>
                <a:lnTo>
                  <a:pt x="76" y="18"/>
                </a:lnTo>
                <a:lnTo>
                  <a:pt x="76" y="18"/>
                </a:lnTo>
                <a:lnTo>
                  <a:pt x="72" y="18"/>
                </a:lnTo>
                <a:lnTo>
                  <a:pt x="72" y="18"/>
                </a:lnTo>
                <a:lnTo>
                  <a:pt x="72" y="18"/>
                </a:lnTo>
                <a:lnTo>
                  <a:pt x="72" y="18"/>
                </a:lnTo>
                <a:lnTo>
                  <a:pt x="72" y="16"/>
                </a:lnTo>
                <a:lnTo>
                  <a:pt x="72" y="16"/>
                </a:lnTo>
                <a:lnTo>
                  <a:pt x="76" y="18"/>
                </a:lnTo>
                <a:lnTo>
                  <a:pt x="76" y="18"/>
                </a:lnTo>
                <a:lnTo>
                  <a:pt x="76" y="18"/>
                </a:lnTo>
                <a:lnTo>
                  <a:pt x="76" y="18"/>
                </a:lnTo>
                <a:lnTo>
                  <a:pt x="76" y="18"/>
                </a:lnTo>
                <a:lnTo>
                  <a:pt x="80" y="18"/>
                </a:lnTo>
                <a:lnTo>
                  <a:pt x="80" y="18"/>
                </a:lnTo>
                <a:lnTo>
                  <a:pt x="80" y="18"/>
                </a:lnTo>
                <a:lnTo>
                  <a:pt x="80" y="18"/>
                </a:lnTo>
                <a:lnTo>
                  <a:pt x="80" y="18"/>
                </a:lnTo>
                <a:lnTo>
                  <a:pt x="80" y="18"/>
                </a:lnTo>
                <a:lnTo>
                  <a:pt x="80" y="18"/>
                </a:lnTo>
                <a:lnTo>
                  <a:pt x="80" y="18"/>
                </a:lnTo>
                <a:lnTo>
                  <a:pt x="80" y="22"/>
                </a:lnTo>
                <a:lnTo>
                  <a:pt x="80" y="22"/>
                </a:lnTo>
                <a:lnTo>
                  <a:pt x="80" y="22"/>
                </a:lnTo>
                <a:lnTo>
                  <a:pt x="80" y="18"/>
                </a:lnTo>
                <a:lnTo>
                  <a:pt x="80" y="18"/>
                </a:lnTo>
                <a:lnTo>
                  <a:pt x="80" y="18"/>
                </a:lnTo>
                <a:lnTo>
                  <a:pt x="80" y="18"/>
                </a:lnTo>
                <a:lnTo>
                  <a:pt x="80" y="18"/>
                </a:lnTo>
                <a:lnTo>
                  <a:pt x="80" y="18"/>
                </a:lnTo>
                <a:lnTo>
                  <a:pt x="80" y="18"/>
                </a:lnTo>
                <a:lnTo>
                  <a:pt x="80" y="18"/>
                </a:lnTo>
                <a:lnTo>
                  <a:pt x="84" y="18"/>
                </a:lnTo>
                <a:lnTo>
                  <a:pt x="84" y="18"/>
                </a:lnTo>
                <a:lnTo>
                  <a:pt x="84" y="22"/>
                </a:lnTo>
                <a:lnTo>
                  <a:pt x="84" y="22"/>
                </a:lnTo>
                <a:lnTo>
                  <a:pt x="84" y="22"/>
                </a:lnTo>
                <a:lnTo>
                  <a:pt x="84" y="22"/>
                </a:lnTo>
                <a:lnTo>
                  <a:pt x="84" y="22"/>
                </a:lnTo>
                <a:lnTo>
                  <a:pt x="84" y="22"/>
                </a:lnTo>
                <a:lnTo>
                  <a:pt x="84" y="22"/>
                </a:lnTo>
                <a:lnTo>
                  <a:pt x="88" y="22"/>
                </a:lnTo>
                <a:lnTo>
                  <a:pt x="84" y="22"/>
                </a:lnTo>
                <a:lnTo>
                  <a:pt x="84" y="22"/>
                </a:lnTo>
                <a:lnTo>
                  <a:pt x="84" y="22"/>
                </a:lnTo>
                <a:lnTo>
                  <a:pt x="84" y="22"/>
                </a:lnTo>
                <a:lnTo>
                  <a:pt x="84" y="22"/>
                </a:lnTo>
                <a:lnTo>
                  <a:pt x="80" y="22"/>
                </a:lnTo>
                <a:lnTo>
                  <a:pt x="80" y="26"/>
                </a:lnTo>
                <a:lnTo>
                  <a:pt x="80" y="26"/>
                </a:lnTo>
                <a:lnTo>
                  <a:pt x="76" y="26"/>
                </a:lnTo>
                <a:lnTo>
                  <a:pt x="76" y="26"/>
                </a:lnTo>
                <a:lnTo>
                  <a:pt x="72" y="30"/>
                </a:lnTo>
                <a:lnTo>
                  <a:pt x="72" y="30"/>
                </a:lnTo>
                <a:lnTo>
                  <a:pt x="72" y="30"/>
                </a:lnTo>
                <a:lnTo>
                  <a:pt x="70" y="30"/>
                </a:lnTo>
                <a:lnTo>
                  <a:pt x="70" y="30"/>
                </a:lnTo>
                <a:lnTo>
                  <a:pt x="66" y="30"/>
                </a:lnTo>
                <a:lnTo>
                  <a:pt x="66" y="30"/>
                </a:lnTo>
                <a:lnTo>
                  <a:pt x="62" y="26"/>
                </a:lnTo>
                <a:lnTo>
                  <a:pt x="62" y="26"/>
                </a:lnTo>
                <a:lnTo>
                  <a:pt x="62" y="26"/>
                </a:lnTo>
                <a:lnTo>
                  <a:pt x="58" y="30"/>
                </a:lnTo>
                <a:lnTo>
                  <a:pt x="58" y="30"/>
                </a:lnTo>
                <a:lnTo>
                  <a:pt x="58" y="30"/>
                </a:lnTo>
                <a:lnTo>
                  <a:pt x="58" y="30"/>
                </a:lnTo>
                <a:lnTo>
                  <a:pt x="58" y="30"/>
                </a:lnTo>
                <a:lnTo>
                  <a:pt x="58" y="30"/>
                </a:lnTo>
                <a:lnTo>
                  <a:pt x="58" y="34"/>
                </a:lnTo>
                <a:lnTo>
                  <a:pt x="58" y="34"/>
                </a:lnTo>
                <a:lnTo>
                  <a:pt x="58" y="34"/>
                </a:lnTo>
                <a:lnTo>
                  <a:pt x="58" y="34"/>
                </a:lnTo>
                <a:lnTo>
                  <a:pt x="58" y="34"/>
                </a:lnTo>
                <a:lnTo>
                  <a:pt x="58" y="34"/>
                </a:lnTo>
                <a:lnTo>
                  <a:pt x="58" y="38"/>
                </a:lnTo>
                <a:lnTo>
                  <a:pt x="58" y="38"/>
                </a:lnTo>
                <a:lnTo>
                  <a:pt x="54" y="38"/>
                </a:lnTo>
                <a:lnTo>
                  <a:pt x="54" y="38"/>
                </a:lnTo>
                <a:lnTo>
                  <a:pt x="54" y="38"/>
                </a:lnTo>
                <a:lnTo>
                  <a:pt x="54" y="38"/>
                </a:lnTo>
                <a:lnTo>
                  <a:pt x="54" y="38"/>
                </a:lnTo>
                <a:lnTo>
                  <a:pt x="54" y="38"/>
                </a:lnTo>
                <a:lnTo>
                  <a:pt x="54" y="38"/>
                </a:lnTo>
                <a:lnTo>
                  <a:pt x="54" y="38"/>
                </a:lnTo>
                <a:lnTo>
                  <a:pt x="50" y="42"/>
                </a:lnTo>
                <a:lnTo>
                  <a:pt x="50" y="42"/>
                </a:lnTo>
                <a:lnTo>
                  <a:pt x="50" y="42"/>
                </a:lnTo>
                <a:lnTo>
                  <a:pt x="50" y="46"/>
                </a:lnTo>
                <a:lnTo>
                  <a:pt x="50" y="46"/>
                </a:lnTo>
                <a:lnTo>
                  <a:pt x="50" y="46"/>
                </a:lnTo>
                <a:lnTo>
                  <a:pt x="50" y="46"/>
                </a:lnTo>
                <a:lnTo>
                  <a:pt x="46" y="46"/>
                </a:lnTo>
                <a:lnTo>
                  <a:pt x="46" y="46"/>
                </a:lnTo>
                <a:lnTo>
                  <a:pt x="46" y="42"/>
                </a:lnTo>
                <a:lnTo>
                  <a:pt x="46" y="42"/>
                </a:lnTo>
                <a:lnTo>
                  <a:pt x="46" y="42"/>
                </a:lnTo>
                <a:lnTo>
                  <a:pt x="46" y="42"/>
                </a:lnTo>
                <a:lnTo>
                  <a:pt x="42" y="42"/>
                </a:lnTo>
                <a:lnTo>
                  <a:pt x="42" y="42"/>
                </a:lnTo>
                <a:lnTo>
                  <a:pt x="42" y="42"/>
                </a:lnTo>
                <a:lnTo>
                  <a:pt x="40" y="46"/>
                </a:lnTo>
                <a:lnTo>
                  <a:pt x="40" y="46"/>
                </a:lnTo>
                <a:lnTo>
                  <a:pt x="40" y="46"/>
                </a:lnTo>
                <a:lnTo>
                  <a:pt x="36" y="46"/>
                </a:lnTo>
                <a:lnTo>
                  <a:pt x="36" y="46"/>
                </a:lnTo>
                <a:lnTo>
                  <a:pt x="36" y="46"/>
                </a:lnTo>
                <a:lnTo>
                  <a:pt x="36" y="46"/>
                </a:lnTo>
                <a:lnTo>
                  <a:pt x="36" y="46"/>
                </a:lnTo>
                <a:lnTo>
                  <a:pt x="36" y="46"/>
                </a:lnTo>
                <a:close/>
                <a:moveTo>
                  <a:pt x="36" y="0"/>
                </a:moveTo>
                <a:lnTo>
                  <a:pt x="36" y="0"/>
                </a:lnTo>
                <a:lnTo>
                  <a:pt x="36" y="0"/>
                </a:lnTo>
                <a:lnTo>
                  <a:pt x="36" y="0"/>
                </a:lnTo>
                <a:lnTo>
                  <a:pt x="36" y="0"/>
                </a:lnTo>
                <a:lnTo>
                  <a:pt x="36" y="0"/>
                </a:lnTo>
                <a:lnTo>
                  <a:pt x="36" y="0"/>
                </a:lnTo>
                <a:lnTo>
                  <a:pt x="40" y="0"/>
                </a:lnTo>
                <a:lnTo>
                  <a:pt x="40" y="0"/>
                </a:lnTo>
                <a:lnTo>
                  <a:pt x="40" y="0"/>
                </a:lnTo>
                <a:lnTo>
                  <a:pt x="40" y="0"/>
                </a:lnTo>
                <a:lnTo>
                  <a:pt x="42" y="0"/>
                </a:lnTo>
                <a:lnTo>
                  <a:pt x="42" y="0"/>
                </a:lnTo>
                <a:lnTo>
                  <a:pt x="40" y="0"/>
                </a:lnTo>
                <a:lnTo>
                  <a:pt x="40" y="0"/>
                </a:lnTo>
                <a:lnTo>
                  <a:pt x="40" y="0"/>
                </a:lnTo>
                <a:lnTo>
                  <a:pt x="36" y="0"/>
                </a:lnTo>
                <a:lnTo>
                  <a:pt x="36" y="0"/>
                </a:lnTo>
                <a:lnTo>
                  <a:pt x="36" y="0"/>
                </a:lnTo>
                <a:lnTo>
                  <a:pt x="36" y="0"/>
                </a:lnTo>
                <a:lnTo>
                  <a:pt x="36" y="0"/>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70" name="Freeform 77"/>
          <p:cNvSpPr>
            <a:spLocks/>
          </p:cNvSpPr>
          <p:nvPr/>
        </p:nvSpPr>
        <p:spPr bwMode="auto">
          <a:xfrm>
            <a:off x="2938462" y="3319462"/>
            <a:ext cx="38100" cy="16669"/>
          </a:xfrm>
          <a:custGeom>
            <a:avLst/>
            <a:gdLst>
              <a:gd name="T0" fmla="*/ 24 w 32"/>
              <a:gd name="T1" fmla="*/ 10 h 14"/>
              <a:gd name="T2" fmla="*/ 24 w 32"/>
              <a:gd name="T3" fmla="*/ 10 h 14"/>
              <a:gd name="T4" fmla="*/ 20 w 32"/>
              <a:gd name="T5" fmla="*/ 6 h 14"/>
              <a:gd name="T6" fmla="*/ 20 w 32"/>
              <a:gd name="T7" fmla="*/ 10 h 14"/>
              <a:gd name="T8" fmla="*/ 20 w 32"/>
              <a:gd name="T9" fmla="*/ 10 h 14"/>
              <a:gd name="T10" fmla="*/ 20 w 32"/>
              <a:gd name="T11" fmla="*/ 10 h 14"/>
              <a:gd name="T12" fmla="*/ 16 w 32"/>
              <a:gd name="T13" fmla="*/ 10 h 14"/>
              <a:gd name="T14" fmla="*/ 16 w 32"/>
              <a:gd name="T15" fmla="*/ 10 h 14"/>
              <a:gd name="T16" fmla="*/ 16 w 32"/>
              <a:gd name="T17" fmla="*/ 14 h 14"/>
              <a:gd name="T18" fmla="*/ 16 w 32"/>
              <a:gd name="T19" fmla="*/ 14 h 14"/>
              <a:gd name="T20" fmla="*/ 16 w 32"/>
              <a:gd name="T21" fmla="*/ 14 h 14"/>
              <a:gd name="T22" fmla="*/ 12 w 32"/>
              <a:gd name="T23" fmla="*/ 10 h 14"/>
              <a:gd name="T24" fmla="*/ 12 w 32"/>
              <a:gd name="T25" fmla="*/ 10 h 14"/>
              <a:gd name="T26" fmla="*/ 12 w 32"/>
              <a:gd name="T27" fmla="*/ 10 h 14"/>
              <a:gd name="T28" fmla="*/ 8 w 32"/>
              <a:gd name="T29" fmla="*/ 10 h 14"/>
              <a:gd name="T30" fmla="*/ 8 w 32"/>
              <a:gd name="T31" fmla="*/ 6 h 14"/>
              <a:gd name="T32" fmla="*/ 4 w 32"/>
              <a:gd name="T33" fmla="*/ 6 h 14"/>
              <a:gd name="T34" fmla="*/ 4 w 32"/>
              <a:gd name="T35" fmla="*/ 6 h 14"/>
              <a:gd name="T36" fmla="*/ 4 w 32"/>
              <a:gd name="T37" fmla="*/ 6 h 14"/>
              <a:gd name="T38" fmla="*/ 4 w 32"/>
              <a:gd name="T39" fmla="*/ 4 h 14"/>
              <a:gd name="T40" fmla="*/ 0 w 32"/>
              <a:gd name="T41" fmla="*/ 4 h 14"/>
              <a:gd name="T42" fmla="*/ 0 w 32"/>
              <a:gd name="T43" fmla="*/ 4 h 14"/>
              <a:gd name="T44" fmla="*/ 0 w 32"/>
              <a:gd name="T45" fmla="*/ 4 h 14"/>
              <a:gd name="T46" fmla="*/ 0 w 32"/>
              <a:gd name="T47" fmla="*/ 4 h 14"/>
              <a:gd name="T48" fmla="*/ 0 w 32"/>
              <a:gd name="T49" fmla="*/ 4 h 14"/>
              <a:gd name="T50" fmla="*/ 4 w 32"/>
              <a:gd name="T51" fmla="*/ 0 h 14"/>
              <a:gd name="T52" fmla="*/ 4 w 32"/>
              <a:gd name="T53" fmla="*/ 0 h 14"/>
              <a:gd name="T54" fmla="*/ 8 w 32"/>
              <a:gd name="T55" fmla="*/ 0 h 14"/>
              <a:gd name="T56" fmla="*/ 8 w 32"/>
              <a:gd name="T57" fmla="*/ 0 h 14"/>
              <a:gd name="T58" fmla="*/ 12 w 32"/>
              <a:gd name="T59" fmla="*/ 0 h 14"/>
              <a:gd name="T60" fmla="*/ 12 w 32"/>
              <a:gd name="T61" fmla="*/ 0 h 14"/>
              <a:gd name="T62" fmla="*/ 16 w 32"/>
              <a:gd name="T63" fmla="*/ 0 h 14"/>
              <a:gd name="T64" fmla="*/ 16 w 32"/>
              <a:gd name="T65" fmla="*/ 0 h 14"/>
              <a:gd name="T66" fmla="*/ 20 w 32"/>
              <a:gd name="T67" fmla="*/ 0 h 14"/>
              <a:gd name="T68" fmla="*/ 20 w 32"/>
              <a:gd name="T69" fmla="*/ 4 h 14"/>
              <a:gd name="T70" fmla="*/ 20 w 32"/>
              <a:gd name="T71" fmla="*/ 4 h 14"/>
              <a:gd name="T72" fmla="*/ 24 w 32"/>
              <a:gd name="T73" fmla="*/ 4 h 14"/>
              <a:gd name="T74" fmla="*/ 24 w 32"/>
              <a:gd name="T75" fmla="*/ 4 h 14"/>
              <a:gd name="T76" fmla="*/ 28 w 32"/>
              <a:gd name="T77" fmla="*/ 6 h 14"/>
              <a:gd name="T78" fmla="*/ 28 w 32"/>
              <a:gd name="T79" fmla="*/ 6 h 14"/>
              <a:gd name="T80" fmla="*/ 32 w 32"/>
              <a:gd name="T81" fmla="*/ 6 h 14"/>
              <a:gd name="T82" fmla="*/ 32 w 32"/>
              <a:gd name="T83" fmla="*/ 10 h 14"/>
              <a:gd name="T84" fmla="*/ 28 w 32"/>
              <a:gd name="T85" fmla="*/ 10 h 14"/>
              <a:gd name="T86" fmla="*/ 24 w 32"/>
              <a:gd name="T87" fmla="*/ 10 h 14"/>
              <a:gd name="T88" fmla="*/ 24 w 32"/>
              <a:gd name="T89" fmla="*/ 1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2" h="14">
                <a:moveTo>
                  <a:pt x="24" y="10"/>
                </a:moveTo>
                <a:lnTo>
                  <a:pt x="24" y="10"/>
                </a:lnTo>
                <a:lnTo>
                  <a:pt x="24" y="10"/>
                </a:lnTo>
                <a:lnTo>
                  <a:pt x="24" y="10"/>
                </a:lnTo>
                <a:lnTo>
                  <a:pt x="24" y="10"/>
                </a:lnTo>
                <a:lnTo>
                  <a:pt x="24" y="10"/>
                </a:lnTo>
                <a:lnTo>
                  <a:pt x="24" y="10"/>
                </a:lnTo>
                <a:lnTo>
                  <a:pt x="24" y="6"/>
                </a:lnTo>
                <a:lnTo>
                  <a:pt x="20" y="6"/>
                </a:lnTo>
                <a:lnTo>
                  <a:pt x="20" y="6"/>
                </a:lnTo>
                <a:lnTo>
                  <a:pt x="20" y="6"/>
                </a:lnTo>
                <a:lnTo>
                  <a:pt x="20" y="10"/>
                </a:lnTo>
                <a:lnTo>
                  <a:pt x="20" y="10"/>
                </a:lnTo>
                <a:lnTo>
                  <a:pt x="20" y="10"/>
                </a:lnTo>
                <a:lnTo>
                  <a:pt x="20" y="10"/>
                </a:lnTo>
                <a:lnTo>
                  <a:pt x="20" y="10"/>
                </a:lnTo>
                <a:lnTo>
                  <a:pt x="20" y="10"/>
                </a:lnTo>
                <a:lnTo>
                  <a:pt x="20" y="10"/>
                </a:lnTo>
                <a:lnTo>
                  <a:pt x="16" y="10"/>
                </a:lnTo>
                <a:lnTo>
                  <a:pt x="16" y="10"/>
                </a:lnTo>
                <a:lnTo>
                  <a:pt x="16" y="10"/>
                </a:lnTo>
                <a:lnTo>
                  <a:pt x="16" y="10"/>
                </a:lnTo>
                <a:lnTo>
                  <a:pt x="16" y="10"/>
                </a:lnTo>
                <a:lnTo>
                  <a:pt x="16" y="10"/>
                </a:lnTo>
                <a:lnTo>
                  <a:pt x="16" y="10"/>
                </a:lnTo>
                <a:lnTo>
                  <a:pt x="16" y="14"/>
                </a:lnTo>
                <a:lnTo>
                  <a:pt x="16" y="14"/>
                </a:lnTo>
                <a:lnTo>
                  <a:pt x="16" y="14"/>
                </a:lnTo>
                <a:lnTo>
                  <a:pt x="16" y="14"/>
                </a:lnTo>
                <a:lnTo>
                  <a:pt x="16" y="14"/>
                </a:lnTo>
                <a:lnTo>
                  <a:pt x="16" y="14"/>
                </a:lnTo>
                <a:lnTo>
                  <a:pt x="16" y="14"/>
                </a:lnTo>
                <a:lnTo>
                  <a:pt x="16" y="14"/>
                </a:lnTo>
                <a:lnTo>
                  <a:pt x="16" y="14"/>
                </a:lnTo>
                <a:lnTo>
                  <a:pt x="12" y="10"/>
                </a:lnTo>
                <a:lnTo>
                  <a:pt x="12" y="10"/>
                </a:lnTo>
                <a:lnTo>
                  <a:pt x="12" y="10"/>
                </a:lnTo>
                <a:lnTo>
                  <a:pt x="12" y="10"/>
                </a:lnTo>
                <a:lnTo>
                  <a:pt x="12" y="10"/>
                </a:lnTo>
                <a:lnTo>
                  <a:pt x="12" y="10"/>
                </a:lnTo>
                <a:lnTo>
                  <a:pt x="12" y="10"/>
                </a:lnTo>
                <a:lnTo>
                  <a:pt x="12" y="10"/>
                </a:lnTo>
                <a:lnTo>
                  <a:pt x="8" y="10"/>
                </a:lnTo>
                <a:lnTo>
                  <a:pt x="8" y="10"/>
                </a:lnTo>
                <a:lnTo>
                  <a:pt x="8" y="10"/>
                </a:lnTo>
                <a:lnTo>
                  <a:pt x="8" y="10"/>
                </a:lnTo>
                <a:lnTo>
                  <a:pt x="8" y="10"/>
                </a:lnTo>
                <a:lnTo>
                  <a:pt x="8" y="6"/>
                </a:lnTo>
                <a:lnTo>
                  <a:pt x="8" y="6"/>
                </a:lnTo>
                <a:lnTo>
                  <a:pt x="8" y="6"/>
                </a:lnTo>
                <a:lnTo>
                  <a:pt x="4" y="6"/>
                </a:lnTo>
                <a:lnTo>
                  <a:pt x="4" y="6"/>
                </a:lnTo>
                <a:lnTo>
                  <a:pt x="4" y="6"/>
                </a:lnTo>
                <a:lnTo>
                  <a:pt x="4" y="6"/>
                </a:lnTo>
                <a:lnTo>
                  <a:pt x="4" y="6"/>
                </a:lnTo>
                <a:lnTo>
                  <a:pt x="4" y="6"/>
                </a:lnTo>
                <a:lnTo>
                  <a:pt x="4" y="6"/>
                </a:lnTo>
                <a:lnTo>
                  <a:pt x="4" y="4"/>
                </a:lnTo>
                <a:lnTo>
                  <a:pt x="4" y="4"/>
                </a:lnTo>
                <a:lnTo>
                  <a:pt x="4" y="4"/>
                </a:lnTo>
                <a:lnTo>
                  <a:pt x="4" y="4"/>
                </a:lnTo>
                <a:lnTo>
                  <a:pt x="4" y="4"/>
                </a:lnTo>
                <a:lnTo>
                  <a:pt x="0" y="4"/>
                </a:lnTo>
                <a:lnTo>
                  <a:pt x="0" y="4"/>
                </a:lnTo>
                <a:lnTo>
                  <a:pt x="0" y="4"/>
                </a:lnTo>
                <a:lnTo>
                  <a:pt x="0" y="4"/>
                </a:lnTo>
                <a:lnTo>
                  <a:pt x="0" y="4"/>
                </a:lnTo>
                <a:lnTo>
                  <a:pt x="0" y="4"/>
                </a:lnTo>
                <a:lnTo>
                  <a:pt x="0" y="4"/>
                </a:lnTo>
                <a:lnTo>
                  <a:pt x="0" y="4"/>
                </a:lnTo>
                <a:lnTo>
                  <a:pt x="0" y="4"/>
                </a:lnTo>
                <a:lnTo>
                  <a:pt x="0" y="4"/>
                </a:lnTo>
                <a:lnTo>
                  <a:pt x="0" y="4"/>
                </a:lnTo>
                <a:lnTo>
                  <a:pt x="0" y="4"/>
                </a:lnTo>
                <a:lnTo>
                  <a:pt x="0" y="4"/>
                </a:lnTo>
                <a:lnTo>
                  <a:pt x="0" y="0"/>
                </a:lnTo>
                <a:lnTo>
                  <a:pt x="4" y="0"/>
                </a:lnTo>
                <a:lnTo>
                  <a:pt x="4" y="0"/>
                </a:lnTo>
                <a:lnTo>
                  <a:pt x="4" y="0"/>
                </a:lnTo>
                <a:lnTo>
                  <a:pt x="4" y="0"/>
                </a:lnTo>
                <a:lnTo>
                  <a:pt x="4" y="0"/>
                </a:lnTo>
                <a:lnTo>
                  <a:pt x="8" y="0"/>
                </a:lnTo>
                <a:lnTo>
                  <a:pt x="8" y="0"/>
                </a:lnTo>
                <a:lnTo>
                  <a:pt x="8" y="0"/>
                </a:lnTo>
                <a:lnTo>
                  <a:pt x="8" y="0"/>
                </a:lnTo>
                <a:lnTo>
                  <a:pt x="8" y="0"/>
                </a:lnTo>
                <a:lnTo>
                  <a:pt x="8" y="0"/>
                </a:lnTo>
                <a:lnTo>
                  <a:pt x="8" y="0"/>
                </a:lnTo>
                <a:lnTo>
                  <a:pt x="12" y="0"/>
                </a:lnTo>
                <a:lnTo>
                  <a:pt x="12" y="0"/>
                </a:lnTo>
                <a:lnTo>
                  <a:pt x="12" y="0"/>
                </a:lnTo>
                <a:lnTo>
                  <a:pt x="12" y="0"/>
                </a:lnTo>
                <a:lnTo>
                  <a:pt x="12" y="0"/>
                </a:lnTo>
                <a:lnTo>
                  <a:pt x="12" y="0"/>
                </a:lnTo>
                <a:lnTo>
                  <a:pt x="16" y="0"/>
                </a:lnTo>
                <a:lnTo>
                  <a:pt x="16" y="0"/>
                </a:lnTo>
                <a:lnTo>
                  <a:pt x="16" y="0"/>
                </a:lnTo>
                <a:lnTo>
                  <a:pt x="16" y="0"/>
                </a:lnTo>
                <a:lnTo>
                  <a:pt x="16" y="0"/>
                </a:lnTo>
                <a:lnTo>
                  <a:pt x="16" y="0"/>
                </a:lnTo>
                <a:lnTo>
                  <a:pt x="16" y="0"/>
                </a:lnTo>
                <a:lnTo>
                  <a:pt x="20" y="0"/>
                </a:lnTo>
                <a:lnTo>
                  <a:pt x="20" y="0"/>
                </a:lnTo>
                <a:lnTo>
                  <a:pt x="20" y="0"/>
                </a:lnTo>
                <a:lnTo>
                  <a:pt x="20" y="4"/>
                </a:lnTo>
                <a:lnTo>
                  <a:pt x="20" y="0"/>
                </a:lnTo>
                <a:lnTo>
                  <a:pt x="20" y="4"/>
                </a:lnTo>
                <a:lnTo>
                  <a:pt x="20" y="4"/>
                </a:lnTo>
                <a:lnTo>
                  <a:pt x="24" y="4"/>
                </a:lnTo>
                <a:lnTo>
                  <a:pt x="24" y="4"/>
                </a:lnTo>
                <a:lnTo>
                  <a:pt x="24" y="4"/>
                </a:lnTo>
                <a:lnTo>
                  <a:pt x="24" y="4"/>
                </a:lnTo>
                <a:lnTo>
                  <a:pt x="24" y="4"/>
                </a:lnTo>
                <a:lnTo>
                  <a:pt x="24" y="4"/>
                </a:lnTo>
                <a:lnTo>
                  <a:pt x="28" y="4"/>
                </a:lnTo>
                <a:lnTo>
                  <a:pt x="28" y="4"/>
                </a:lnTo>
                <a:lnTo>
                  <a:pt x="28" y="6"/>
                </a:lnTo>
                <a:lnTo>
                  <a:pt x="28" y="6"/>
                </a:lnTo>
                <a:lnTo>
                  <a:pt x="28" y="6"/>
                </a:lnTo>
                <a:lnTo>
                  <a:pt x="28" y="6"/>
                </a:lnTo>
                <a:lnTo>
                  <a:pt x="28" y="6"/>
                </a:lnTo>
                <a:lnTo>
                  <a:pt x="32" y="6"/>
                </a:lnTo>
                <a:lnTo>
                  <a:pt x="32" y="6"/>
                </a:lnTo>
                <a:lnTo>
                  <a:pt x="32" y="6"/>
                </a:lnTo>
                <a:lnTo>
                  <a:pt x="32" y="10"/>
                </a:lnTo>
                <a:lnTo>
                  <a:pt x="32" y="10"/>
                </a:lnTo>
                <a:lnTo>
                  <a:pt x="32" y="10"/>
                </a:lnTo>
                <a:lnTo>
                  <a:pt x="28" y="10"/>
                </a:lnTo>
                <a:lnTo>
                  <a:pt x="28" y="10"/>
                </a:lnTo>
                <a:lnTo>
                  <a:pt x="28" y="10"/>
                </a:lnTo>
                <a:lnTo>
                  <a:pt x="24" y="10"/>
                </a:lnTo>
                <a:lnTo>
                  <a:pt x="24" y="10"/>
                </a:lnTo>
                <a:lnTo>
                  <a:pt x="24" y="10"/>
                </a:lnTo>
                <a:lnTo>
                  <a:pt x="24" y="10"/>
                </a:lnTo>
                <a:lnTo>
                  <a:pt x="24" y="10"/>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71" name="Freeform 78"/>
          <p:cNvSpPr>
            <a:spLocks noEditPoints="1"/>
          </p:cNvSpPr>
          <p:nvPr/>
        </p:nvSpPr>
        <p:spPr bwMode="auto">
          <a:xfrm>
            <a:off x="2266950" y="3012280"/>
            <a:ext cx="531019" cy="385763"/>
          </a:xfrm>
          <a:custGeom>
            <a:avLst/>
            <a:gdLst>
              <a:gd name="T0" fmla="*/ 90 w 446"/>
              <a:gd name="T1" fmla="*/ 134 h 324"/>
              <a:gd name="T2" fmla="*/ 74 w 446"/>
              <a:gd name="T3" fmla="*/ 112 h 324"/>
              <a:gd name="T4" fmla="*/ 60 w 446"/>
              <a:gd name="T5" fmla="*/ 104 h 324"/>
              <a:gd name="T6" fmla="*/ 56 w 446"/>
              <a:gd name="T7" fmla="*/ 90 h 324"/>
              <a:gd name="T8" fmla="*/ 48 w 446"/>
              <a:gd name="T9" fmla="*/ 64 h 324"/>
              <a:gd name="T10" fmla="*/ 32 w 446"/>
              <a:gd name="T11" fmla="*/ 38 h 324"/>
              <a:gd name="T12" fmla="*/ 18 w 446"/>
              <a:gd name="T13" fmla="*/ 4 h 324"/>
              <a:gd name="T14" fmla="*/ 52 w 446"/>
              <a:gd name="T15" fmla="*/ 8 h 324"/>
              <a:gd name="T16" fmla="*/ 104 w 446"/>
              <a:gd name="T17" fmla="*/ 26 h 324"/>
              <a:gd name="T18" fmla="*/ 156 w 446"/>
              <a:gd name="T19" fmla="*/ 18 h 324"/>
              <a:gd name="T20" fmla="*/ 182 w 446"/>
              <a:gd name="T21" fmla="*/ 38 h 324"/>
              <a:gd name="T22" fmla="*/ 208 w 446"/>
              <a:gd name="T23" fmla="*/ 68 h 324"/>
              <a:gd name="T24" fmla="*/ 230 w 446"/>
              <a:gd name="T25" fmla="*/ 56 h 324"/>
              <a:gd name="T26" fmla="*/ 256 w 446"/>
              <a:gd name="T27" fmla="*/ 82 h 324"/>
              <a:gd name="T28" fmla="*/ 274 w 446"/>
              <a:gd name="T29" fmla="*/ 116 h 324"/>
              <a:gd name="T30" fmla="*/ 298 w 446"/>
              <a:gd name="T31" fmla="*/ 132 h 324"/>
              <a:gd name="T32" fmla="*/ 290 w 446"/>
              <a:gd name="T33" fmla="*/ 172 h 324"/>
              <a:gd name="T34" fmla="*/ 294 w 446"/>
              <a:gd name="T35" fmla="*/ 210 h 324"/>
              <a:gd name="T36" fmla="*/ 294 w 446"/>
              <a:gd name="T37" fmla="*/ 214 h 324"/>
              <a:gd name="T38" fmla="*/ 316 w 446"/>
              <a:gd name="T39" fmla="*/ 250 h 324"/>
              <a:gd name="T40" fmla="*/ 350 w 446"/>
              <a:gd name="T41" fmla="*/ 262 h 324"/>
              <a:gd name="T42" fmla="*/ 372 w 446"/>
              <a:gd name="T43" fmla="*/ 258 h 324"/>
              <a:gd name="T44" fmla="*/ 390 w 446"/>
              <a:gd name="T45" fmla="*/ 238 h 324"/>
              <a:gd name="T46" fmla="*/ 402 w 446"/>
              <a:gd name="T47" fmla="*/ 210 h 324"/>
              <a:gd name="T48" fmla="*/ 430 w 446"/>
              <a:gd name="T49" fmla="*/ 206 h 324"/>
              <a:gd name="T50" fmla="*/ 442 w 446"/>
              <a:gd name="T51" fmla="*/ 220 h 324"/>
              <a:gd name="T52" fmla="*/ 430 w 446"/>
              <a:gd name="T53" fmla="*/ 242 h 324"/>
              <a:gd name="T54" fmla="*/ 428 w 446"/>
              <a:gd name="T55" fmla="*/ 250 h 324"/>
              <a:gd name="T56" fmla="*/ 410 w 446"/>
              <a:gd name="T57" fmla="*/ 268 h 324"/>
              <a:gd name="T58" fmla="*/ 390 w 446"/>
              <a:gd name="T59" fmla="*/ 290 h 324"/>
              <a:gd name="T60" fmla="*/ 368 w 446"/>
              <a:gd name="T61" fmla="*/ 320 h 324"/>
              <a:gd name="T62" fmla="*/ 346 w 446"/>
              <a:gd name="T63" fmla="*/ 302 h 324"/>
              <a:gd name="T64" fmla="*/ 330 w 446"/>
              <a:gd name="T65" fmla="*/ 294 h 324"/>
              <a:gd name="T66" fmla="*/ 298 w 446"/>
              <a:gd name="T67" fmla="*/ 302 h 324"/>
              <a:gd name="T68" fmla="*/ 264 w 446"/>
              <a:gd name="T69" fmla="*/ 288 h 324"/>
              <a:gd name="T70" fmla="*/ 230 w 446"/>
              <a:gd name="T71" fmla="*/ 268 h 324"/>
              <a:gd name="T72" fmla="*/ 204 w 446"/>
              <a:gd name="T73" fmla="*/ 250 h 324"/>
              <a:gd name="T74" fmla="*/ 178 w 446"/>
              <a:gd name="T75" fmla="*/ 228 h 324"/>
              <a:gd name="T76" fmla="*/ 182 w 446"/>
              <a:gd name="T77" fmla="*/ 198 h 324"/>
              <a:gd name="T78" fmla="*/ 162 w 446"/>
              <a:gd name="T79" fmla="*/ 164 h 324"/>
              <a:gd name="T80" fmla="*/ 144 w 446"/>
              <a:gd name="T81" fmla="*/ 150 h 324"/>
              <a:gd name="T82" fmla="*/ 130 w 446"/>
              <a:gd name="T83" fmla="*/ 134 h 324"/>
              <a:gd name="T84" fmla="*/ 130 w 446"/>
              <a:gd name="T85" fmla="*/ 120 h 324"/>
              <a:gd name="T86" fmla="*/ 106 w 446"/>
              <a:gd name="T87" fmla="*/ 90 h 324"/>
              <a:gd name="T88" fmla="*/ 86 w 446"/>
              <a:gd name="T89" fmla="*/ 72 h 324"/>
              <a:gd name="T90" fmla="*/ 74 w 446"/>
              <a:gd name="T91" fmla="*/ 34 h 324"/>
              <a:gd name="T92" fmla="*/ 48 w 446"/>
              <a:gd name="T93" fmla="*/ 18 h 324"/>
              <a:gd name="T94" fmla="*/ 52 w 446"/>
              <a:gd name="T95" fmla="*/ 46 h 324"/>
              <a:gd name="T96" fmla="*/ 70 w 446"/>
              <a:gd name="T97" fmla="*/ 72 h 324"/>
              <a:gd name="T98" fmla="*/ 90 w 446"/>
              <a:gd name="T99" fmla="*/ 108 h 324"/>
              <a:gd name="T100" fmla="*/ 100 w 446"/>
              <a:gd name="T101" fmla="*/ 128 h 324"/>
              <a:gd name="T102" fmla="*/ 110 w 446"/>
              <a:gd name="T103" fmla="*/ 158 h 324"/>
              <a:gd name="T104" fmla="*/ 122 w 446"/>
              <a:gd name="T105" fmla="*/ 176 h 324"/>
              <a:gd name="T106" fmla="*/ 96 w 446"/>
              <a:gd name="T107" fmla="*/ 154 h 324"/>
              <a:gd name="T108" fmla="*/ 86 w 446"/>
              <a:gd name="T109" fmla="*/ 146 h 324"/>
              <a:gd name="T110" fmla="*/ 104 w 446"/>
              <a:gd name="T111" fmla="*/ 254 h 324"/>
              <a:gd name="T112" fmla="*/ 74 w 446"/>
              <a:gd name="T113" fmla="*/ 72 h 324"/>
              <a:gd name="T114" fmla="*/ 0 w 446"/>
              <a:gd name="T115" fmla="*/ 72 h 324"/>
              <a:gd name="T116" fmla="*/ 44 w 446"/>
              <a:gd name="T117" fmla="*/ 90 h 324"/>
              <a:gd name="T118" fmla="*/ 92 w 446"/>
              <a:gd name="T119" fmla="*/ 154 h 324"/>
              <a:gd name="T120" fmla="*/ 162 w 446"/>
              <a:gd name="T121" fmla="*/ 206 h 324"/>
              <a:gd name="T122" fmla="*/ 442 w 446"/>
              <a:gd name="T123" fmla="*/ 228 h 324"/>
              <a:gd name="T124" fmla="*/ 380 w 446"/>
              <a:gd name="T125" fmla="*/ 254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46" h="324">
                <a:moveTo>
                  <a:pt x="96" y="154"/>
                </a:moveTo>
                <a:lnTo>
                  <a:pt x="92" y="154"/>
                </a:lnTo>
                <a:lnTo>
                  <a:pt x="92" y="150"/>
                </a:lnTo>
                <a:lnTo>
                  <a:pt x="90" y="150"/>
                </a:lnTo>
                <a:lnTo>
                  <a:pt x="90" y="146"/>
                </a:lnTo>
                <a:lnTo>
                  <a:pt x="90" y="142"/>
                </a:lnTo>
                <a:lnTo>
                  <a:pt x="86" y="142"/>
                </a:lnTo>
                <a:lnTo>
                  <a:pt x="86" y="146"/>
                </a:lnTo>
                <a:lnTo>
                  <a:pt x="86" y="142"/>
                </a:lnTo>
                <a:lnTo>
                  <a:pt x="86" y="138"/>
                </a:lnTo>
                <a:lnTo>
                  <a:pt x="90" y="138"/>
                </a:lnTo>
                <a:lnTo>
                  <a:pt x="90" y="134"/>
                </a:lnTo>
                <a:lnTo>
                  <a:pt x="90" y="132"/>
                </a:lnTo>
                <a:lnTo>
                  <a:pt x="90" y="134"/>
                </a:lnTo>
                <a:lnTo>
                  <a:pt x="90" y="132"/>
                </a:lnTo>
                <a:lnTo>
                  <a:pt x="90" y="128"/>
                </a:lnTo>
                <a:lnTo>
                  <a:pt x="86" y="128"/>
                </a:lnTo>
                <a:lnTo>
                  <a:pt x="86" y="124"/>
                </a:lnTo>
                <a:lnTo>
                  <a:pt x="86" y="120"/>
                </a:lnTo>
                <a:lnTo>
                  <a:pt x="82" y="120"/>
                </a:lnTo>
                <a:lnTo>
                  <a:pt x="78" y="120"/>
                </a:lnTo>
                <a:lnTo>
                  <a:pt x="78" y="116"/>
                </a:lnTo>
                <a:lnTo>
                  <a:pt x="74" y="116"/>
                </a:lnTo>
                <a:lnTo>
                  <a:pt x="74" y="112"/>
                </a:lnTo>
                <a:lnTo>
                  <a:pt x="70" y="112"/>
                </a:lnTo>
                <a:lnTo>
                  <a:pt x="70" y="108"/>
                </a:lnTo>
                <a:lnTo>
                  <a:pt x="74" y="108"/>
                </a:lnTo>
                <a:lnTo>
                  <a:pt x="70" y="108"/>
                </a:lnTo>
                <a:lnTo>
                  <a:pt x="70" y="112"/>
                </a:lnTo>
                <a:lnTo>
                  <a:pt x="70" y="108"/>
                </a:lnTo>
                <a:lnTo>
                  <a:pt x="66" y="108"/>
                </a:lnTo>
                <a:lnTo>
                  <a:pt x="66" y="112"/>
                </a:lnTo>
                <a:lnTo>
                  <a:pt x="62" y="108"/>
                </a:lnTo>
                <a:lnTo>
                  <a:pt x="62" y="104"/>
                </a:lnTo>
                <a:lnTo>
                  <a:pt x="60" y="108"/>
                </a:lnTo>
                <a:lnTo>
                  <a:pt x="60" y="104"/>
                </a:lnTo>
                <a:lnTo>
                  <a:pt x="56" y="104"/>
                </a:lnTo>
                <a:lnTo>
                  <a:pt x="56" y="102"/>
                </a:lnTo>
                <a:lnTo>
                  <a:pt x="52" y="98"/>
                </a:lnTo>
                <a:lnTo>
                  <a:pt x="48" y="98"/>
                </a:lnTo>
                <a:lnTo>
                  <a:pt x="48" y="94"/>
                </a:lnTo>
                <a:lnTo>
                  <a:pt x="44" y="94"/>
                </a:lnTo>
                <a:lnTo>
                  <a:pt x="48" y="90"/>
                </a:lnTo>
                <a:lnTo>
                  <a:pt x="48" y="94"/>
                </a:lnTo>
                <a:lnTo>
                  <a:pt x="52" y="94"/>
                </a:lnTo>
                <a:lnTo>
                  <a:pt x="56" y="94"/>
                </a:lnTo>
                <a:lnTo>
                  <a:pt x="60" y="94"/>
                </a:lnTo>
                <a:lnTo>
                  <a:pt x="56" y="90"/>
                </a:lnTo>
                <a:lnTo>
                  <a:pt x="60" y="90"/>
                </a:lnTo>
                <a:lnTo>
                  <a:pt x="60" y="86"/>
                </a:lnTo>
                <a:lnTo>
                  <a:pt x="60" y="90"/>
                </a:lnTo>
                <a:lnTo>
                  <a:pt x="60" y="86"/>
                </a:lnTo>
                <a:lnTo>
                  <a:pt x="60" y="82"/>
                </a:lnTo>
                <a:lnTo>
                  <a:pt x="60" y="78"/>
                </a:lnTo>
                <a:lnTo>
                  <a:pt x="60" y="74"/>
                </a:lnTo>
                <a:lnTo>
                  <a:pt x="56" y="74"/>
                </a:lnTo>
                <a:lnTo>
                  <a:pt x="56" y="72"/>
                </a:lnTo>
                <a:lnTo>
                  <a:pt x="52" y="72"/>
                </a:lnTo>
                <a:lnTo>
                  <a:pt x="52" y="68"/>
                </a:lnTo>
                <a:lnTo>
                  <a:pt x="48" y="64"/>
                </a:lnTo>
                <a:lnTo>
                  <a:pt x="44" y="64"/>
                </a:lnTo>
                <a:lnTo>
                  <a:pt x="44" y="60"/>
                </a:lnTo>
                <a:lnTo>
                  <a:pt x="40" y="60"/>
                </a:lnTo>
                <a:lnTo>
                  <a:pt x="36" y="56"/>
                </a:lnTo>
                <a:lnTo>
                  <a:pt x="36" y="52"/>
                </a:lnTo>
                <a:lnTo>
                  <a:pt x="36" y="48"/>
                </a:lnTo>
                <a:lnTo>
                  <a:pt x="36" y="46"/>
                </a:lnTo>
                <a:lnTo>
                  <a:pt x="32" y="46"/>
                </a:lnTo>
                <a:lnTo>
                  <a:pt x="32" y="42"/>
                </a:lnTo>
                <a:lnTo>
                  <a:pt x="32" y="46"/>
                </a:lnTo>
                <a:lnTo>
                  <a:pt x="32" y="42"/>
                </a:lnTo>
                <a:lnTo>
                  <a:pt x="32" y="38"/>
                </a:lnTo>
                <a:lnTo>
                  <a:pt x="30" y="34"/>
                </a:lnTo>
                <a:lnTo>
                  <a:pt x="30" y="30"/>
                </a:lnTo>
                <a:lnTo>
                  <a:pt x="26" y="30"/>
                </a:lnTo>
                <a:lnTo>
                  <a:pt x="26" y="26"/>
                </a:lnTo>
                <a:lnTo>
                  <a:pt x="22" y="22"/>
                </a:lnTo>
                <a:lnTo>
                  <a:pt x="26" y="18"/>
                </a:lnTo>
                <a:lnTo>
                  <a:pt x="22" y="18"/>
                </a:lnTo>
                <a:lnTo>
                  <a:pt x="22" y="16"/>
                </a:lnTo>
                <a:lnTo>
                  <a:pt x="18" y="16"/>
                </a:lnTo>
                <a:lnTo>
                  <a:pt x="18" y="12"/>
                </a:lnTo>
                <a:lnTo>
                  <a:pt x="18" y="8"/>
                </a:lnTo>
                <a:lnTo>
                  <a:pt x="18" y="4"/>
                </a:lnTo>
                <a:lnTo>
                  <a:pt x="22" y="4"/>
                </a:lnTo>
                <a:lnTo>
                  <a:pt x="26" y="4"/>
                </a:lnTo>
                <a:lnTo>
                  <a:pt x="30" y="4"/>
                </a:lnTo>
                <a:lnTo>
                  <a:pt x="32" y="4"/>
                </a:lnTo>
                <a:lnTo>
                  <a:pt x="36" y="4"/>
                </a:lnTo>
                <a:lnTo>
                  <a:pt x="40" y="4"/>
                </a:lnTo>
                <a:lnTo>
                  <a:pt x="44" y="4"/>
                </a:lnTo>
                <a:lnTo>
                  <a:pt x="48" y="0"/>
                </a:lnTo>
                <a:lnTo>
                  <a:pt x="52" y="0"/>
                </a:lnTo>
                <a:lnTo>
                  <a:pt x="52" y="4"/>
                </a:lnTo>
                <a:lnTo>
                  <a:pt x="48" y="4"/>
                </a:lnTo>
                <a:lnTo>
                  <a:pt x="52" y="8"/>
                </a:lnTo>
                <a:lnTo>
                  <a:pt x="56" y="8"/>
                </a:lnTo>
                <a:lnTo>
                  <a:pt x="60" y="12"/>
                </a:lnTo>
                <a:lnTo>
                  <a:pt x="62" y="12"/>
                </a:lnTo>
                <a:lnTo>
                  <a:pt x="66" y="12"/>
                </a:lnTo>
                <a:lnTo>
                  <a:pt x="70" y="16"/>
                </a:lnTo>
                <a:lnTo>
                  <a:pt x="74" y="16"/>
                </a:lnTo>
                <a:lnTo>
                  <a:pt x="78" y="16"/>
                </a:lnTo>
                <a:lnTo>
                  <a:pt x="82" y="18"/>
                </a:lnTo>
                <a:lnTo>
                  <a:pt x="86" y="18"/>
                </a:lnTo>
                <a:lnTo>
                  <a:pt x="90" y="22"/>
                </a:lnTo>
                <a:lnTo>
                  <a:pt x="96" y="26"/>
                </a:lnTo>
                <a:lnTo>
                  <a:pt x="104" y="26"/>
                </a:lnTo>
                <a:lnTo>
                  <a:pt x="110" y="26"/>
                </a:lnTo>
                <a:lnTo>
                  <a:pt x="114" y="26"/>
                </a:lnTo>
                <a:lnTo>
                  <a:pt x="118" y="26"/>
                </a:lnTo>
                <a:lnTo>
                  <a:pt x="122" y="26"/>
                </a:lnTo>
                <a:lnTo>
                  <a:pt x="130" y="26"/>
                </a:lnTo>
                <a:lnTo>
                  <a:pt x="132" y="26"/>
                </a:lnTo>
                <a:lnTo>
                  <a:pt x="140" y="26"/>
                </a:lnTo>
                <a:lnTo>
                  <a:pt x="140" y="22"/>
                </a:lnTo>
                <a:lnTo>
                  <a:pt x="140" y="18"/>
                </a:lnTo>
                <a:lnTo>
                  <a:pt x="148" y="18"/>
                </a:lnTo>
                <a:lnTo>
                  <a:pt x="152" y="18"/>
                </a:lnTo>
                <a:lnTo>
                  <a:pt x="156" y="18"/>
                </a:lnTo>
                <a:lnTo>
                  <a:pt x="160" y="18"/>
                </a:lnTo>
                <a:lnTo>
                  <a:pt x="162" y="18"/>
                </a:lnTo>
                <a:lnTo>
                  <a:pt x="166" y="18"/>
                </a:lnTo>
                <a:lnTo>
                  <a:pt x="166" y="22"/>
                </a:lnTo>
                <a:lnTo>
                  <a:pt x="170" y="22"/>
                </a:lnTo>
                <a:lnTo>
                  <a:pt x="170" y="26"/>
                </a:lnTo>
                <a:lnTo>
                  <a:pt x="174" y="26"/>
                </a:lnTo>
                <a:lnTo>
                  <a:pt x="174" y="30"/>
                </a:lnTo>
                <a:lnTo>
                  <a:pt x="178" y="30"/>
                </a:lnTo>
                <a:lnTo>
                  <a:pt x="178" y="34"/>
                </a:lnTo>
                <a:lnTo>
                  <a:pt x="182" y="34"/>
                </a:lnTo>
                <a:lnTo>
                  <a:pt x="182" y="38"/>
                </a:lnTo>
                <a:lnTo>
                  <a:pt x="186" y="38"/>
                </a:lnTo>
                <a:lnTo>
                  <a:pt x="188" y="42"/>
                </a:lnTo>
                <a:lnTo>
                  <a:pt x="188" y="46"/>
                </a:lnTo>
                <a:lnTo>
                  <a:pt x="192" y="48"/>
                </a:lnTo>
                <a:lnTo>
                  <a:pt x="192" y="52"/>
                </a:lnTo>
                <a:lnTo>
                  <a:pt x="192" y="56"/>
                </a:lnTo>
                <a:lnTo>
                  <a:pt x="196" y="60"/>
                </a:lnTo>
                <a:lnTo>
                  <a:pt x="200" y="60"/>
                </a:lnTo>
                <a:lnTo>
                  <a:pt x="200" y="64"/>
                </a:lnTo>
                <a:lnTo>
                  <a:pt x="204" y="64"/>
                </a:lnTo>
                <a:lnTo>
                  <a:pt x="204" y="68"/>
                </a:lnTo>
                <a:lnTo>
                  <a:pt x="208" y="68"/>
                </a:lnTo>
                <a:lnTo>
                  <a:pt x="212" y="72"/>
                </a:lnTo>
                <a:lnTo>
                  <a:pt x="216" y="72"/>
                </a:lnTo>
                <a:lnTo>
                  <a:pt x="216" y="68"/>
                </a:lnTo>
                <a:lnTo>
                  <a:pt x="218" y="68"/>
                </a:lnTo>
                <a:lnTo>
                  <a:pt x="218" y="64"/>
                </a:lnTo>
                <a:lnTo>
                  <a:pt x="218" y="60"/>
                </a:lnTo>
                <a:lnTo>
                  <a:pt x="218" y="56"/>
                </a:lnTo>
                <a:lnTo>
                  <a:pt x="222" y="56"/>
                </a:lnTo>
                <a:lnTo>
                  <a:pt x="226" y="56"/>
                </a:lnTo>
                <a:lnTo>
                  <a:pt x="226" y="52"/>
                </a:lnTo>
                <a:lnTo>
                  <a:pt x="226" y="56"/>
                </a:lnTo>
                <a:lnTo>
                  <a:pt x="230" y="56"/>
                </a:lnTo>
                <a:lnTo>
                  <a:pt x="234" y="56"/>
                </a:lnTo>
                <a:lnTo>
                  <a:pt x="238" y="56"/>
                </a:lnTo>
                <a:lnTo>
                  <a:pt x="238" y="60"/>
                </a:lnTo>
                <a:lnTo>
                  <a:pt x="242" y="60"/>
                </a:lnTo>
                <a:lnTo>
                  <a:pt x="244" y="60"/>
                </a:lnTo>
                <a:lnTo>
                  <a:pt x="244" y="64"/>
                </a:lnTo>
                <a:lnTo>
                  <a:pt x="248" y="68"/>
                </a:lnTo>
                <a:lnTo>
                  <a:pt x="248" y="72"/>
                </a:lnTo>
                <a:lnTo>
                  <a:pt x="252" y="74"/>
                </a:lnTo>
                <a:lnTo>
                  <a:pt x="252" y="78"/>
                </a:lnTo>
                <a:lnTo>
                  <a:pt x="252" y="82"/>
                </a:lnTo>
                <a:lnTo>
                  <a:pt x="256" y="82"/>
                </a:lnTo>
                <a:lnTo>
                  <a:pt x="256" y="86"/>
                </a:lnTo>
                <a:lnTo>
                  <a:pt x="260" y="90"/>
                </a:lnTo>
                <a:lnTo>
                  <a:pt x="260" y="94"/>
                </a:lnTo>
                <a:lnTo>
                  <a:pt x="264" y="94"/>
                </a:lnTo>
                <a:lnTo>
                  <a:pt x="264" y="98"/>
                </a:lnTo>
                <a:lnTo>
                  <a:pt x="268" y="98"/>
                </a:lnTo>
                <a:lnTo>
                  <a:pt x="268" y="102"/>
                </a:lnTo>
                <a:lnTo>
                  <a:pt x="268" y="104"/>
                </a:lnTo>
                <a:lnTo>
                  <a:pt x="268" y="108"/>
                </a:lnTo>
                <a:lnTo>
                  <a:pt x="272" y="112"/>
                </a:lnTo>
                <a:lnTo>
                  <a:pt x="272" y="116"/>
                </a:lnTo>
                <a:lnTo>
                  <a:pt x="274" y="116"/>
                </a:lnTo>
                <a:lnTo>
                  <a:pt x="274" y="120"/>
                </a:lnTo>
                <a:lnTo>
                  <a:pt x="278" y="120"/>
                </a:lnTo>
                <a:lnTo>
                  <a:pt x="282" y="120"/>
                </a:lnTo>
                <a:lnTo>
                  <a:pt x="282" y="124"/>
                </a:lnTo>
                <a:lnTo>
                  <a:pt x="286" y="124"/>
                </a:lnTo>
                <a:lnTo>
                  <a:pt x="290" y="124"/>
                </a:lnTo>
                <a:lnTo>
                  <a:pt x="294" y="124"/>
                </a:lnTo>
                <a:lnTo>
                  <a:pt x="294" y="128"/>
                </a:lnTo>
                <a:lnTo>
                  <a:pt x="298" y="128"/>
                </a:lnTo>
                <a:lnTo>
                  <a:pt x="298" y="124"/>
                </a:lnTo>
                <a:lnTo>
                  <a:pt x="298" y="128"/>
                </a:lnTo>
                <a:lnTo>
                  <a:pt x="298" y="132"/>
                </a:lnTo>
                <a:lnTo>
                  <a:pt x="298" y="134"/>
                </a:lnTo>
                <a:lnTo>
                  <a:pt x="294" y="138"/>
                </a:lnTo>
                <a:lnTo>
                  <a:pt x="294" y="142"/>
                </a:lnTo>
                <a:lnTo>
                  <a:pt x="294" y="146"/>
                </a:lnTo>
                <a:lnTo>
                  <a:pt x="294" y="150"/>
                </a:lnTo>
                <a:lnTo>
                  <a:pt x="290" y="150"/>
                </a:lnTo>
                <a:lnTo>
                  <a:pt x="290" y="154"/>
                </a:lnTo>
                <a:lnTo>
                  <a:pt x="290" y="158"/>
                </a:lnTo>
                <a:lnTo>
                  <a:pt x="290" y="160"/>
                </a:lnTo>
                <a:lnTo>
                  <a:pt x="290" y="164"/>
                </a:lnTo>
                <a:lnTo>
                  <a:pt x="290" y="168"/>
                </a:lnTo>
                <a:lnTo>
                  <a:pt x="290" y="172"/>
                </a:lnTo>
                <a:lnTo>
                  <a:pt x="290" y="176"/>
                </a:lnTo>
                <a:lnTo>
                  <a:pt x="290" y="180"/>
                </a:lnTo>
                <a:lnTo>
                  <a:pt x="290" y="184"/>
                </a:lnTo>
                <a:lnTo>
                  <a:pt x="290" y="188"/>
                </a:lnTo>
                <a:lnTo>
                  <a:pt x="290" y="190"/>
                </a:lnTo>
                <a:lnTo>
                  <a:pt x="290" y="194"/>
                </a:lnTo>
                <a:lnTo>
                  <a:pt x="290" y="198"/>
                </a:lnTo>
                <a:lnTo>
                  <a:pt x="294" y="198"/>
                </a:lnTo>
                <a:lnTo>
                  <a:pt x="294" y="202"/>
                </a:lnTo>
                <a:lnTo>
                  <a:pt x="298" y="202"/>
                </a:lnTo>
                <a:lnTo>
                  <a:pt x="298" y="206"/>
                </a:lnTo>
                <a:lnTo>
                  <a:pt x="294" y="210"/>
                </a:lnTo>
                <a:lnTo>
                  <a:pt x="294" y="206"/>
                </a:lnTo>
                <a:lnTo>
                  <a:pt x="298" y="206"/>
                </a:lnTo>
                <a:lnTo>
                  <a:pt x="294" y="206"/>
                </a:lnTo>
                <a:lnTo>
                  <a:pt x="294" y="202"/>
                </a:lnTo>
                <a:lnTo>
                  <a:pt x="294" y="198"/>
                </a:lnTo>
                <a:lnTo>
                  <a:pt x="290" y="198"/>
                </a:lnTo>
                <a:lnTo>
                  <a:pt x="290" y="194"/>
                </a:lnTo>
                <a:lnTo>
                  <a:pt x="290" y="198"/>
                </a:lnTo>
                <a:lnTo>
                  <a:pt x="290" y="202"/>
                </a:lnTo>
                <a:lnTo>
                  <a:pt x="294" y="206"/>
                </a:lnTo>
                <a:lnTo>
                  <a:pt x="294" y="210"/>
                </a:lnTo>
                <a:lnTo>
                  <a:pt x="294" y="214"/>
                </a:lnTo>
                <a:lnTo>
                  <a:pt x="298" y="214"/>
                </a:lnTo>
                <a:lnTo>
                  <a:pt x="298" y="218"/>
                </a:lnTo>
                <a:lnTo>
                  <a:pt x="298" y="220"/>
                </a:lnTo>
                <a:lnTo>
                  <a:pt x="302" y="220"/>
                </a:lnTo>
                <a:lnTo>
                  <a:pt x="304" y="228"/>
                </a:lnTo>
                <a:lnTo>
                  <a:pt x="308" y="232"/>
                </a:lnTo>
                <a:lnTo>
                  <a:pt x="308" y="234"/>
                </a:lnTo>
                <a:lnTo>
                  <a:pt x="308" y="238"/>
                </a:lnTo>
                <a:lnTo>
                  <a:pt x="312" y="242"/>
                </a:lnTo>
                <a:lnTo>
                  <a:pt x="312" y="246"/>
                </a:lnTo>
                <a:lnTo>
                  <a:pt x="316" y="246"/>
                </a:lnTo>
                <a:lnTo>
                  <a:pt x="316" y="250"/>
                </a:lnTo>
                <a:lnTo>
                  <a:pt x="316" y="254"/>
                </a:lnTo>
                <a:lnTo>
                  <a:pt x="320" y="254"/>
                </a:lnTo>
                <a:lnTo>
                  <a:pt x="324" y="254"/>
                </a:lnTo>
                <a:lnTo>
                  <a:pt x="328" y="254"/>
                </a:lnTo>
                <a:lnTo>
                  <a:pt x="328" y="258"/>
                </a:lnTo>
                <a:lnTo>
                  <a:pt x="330" y="258"/>
                </a:lnTo>
                <a:lnTo>
                  <a:pt x="330" y="262"/>
                </a:lnTo>
                <a:lnTo>
                  <a:pt x="334" y="264"/>
                </a:lnTo>
                <a:lnTo>
                  <a:pt x="338" y="264"/>
                </a:lnTo>
                <a:lnTo>
                  <a:pt x="342" y="262"/>
                </a:lnTo>
                <a:lnTo>
                  <a:pt x="346" y="262"/>
                </a:lnTo>
                <a:lnTo>
                  <a:pt x="350" y="262"/>
                </a:lnTo>
                <a:lnTo>
                  <a:pt x="350" y="258"/>
                </a:lnTo>
                <a:lnTo>
                  <a:pt x="346" y="262"/>
                </a:lnTo>
                <a:lnTo>
                  <a:pt x="350" y="258"/>
                </a:lnTo>
                <a:lnTo>
                  <a:pt x="354" y="258"/>
                </a:lnTo>
                <a:lnTo>
                  <a:pt x="354" y="262"/>
                </a:lnTo>
                <a:lnTo>
                  <a:pt x="358" y="262"/>
                </a:lnTo>
                <a:lnTo>
                  <a:pt x="358" y="258"/>
                </a:lnTo>
                <a:lnTo>
                  <a:pt x="360" y="258"/>
                </a:lnTo>
                <a:lnTo>
                  <a:pt x="364" y="254"/>
                </a:lnTo>
                <a:lnTo>
                  <a:pt x="368" y="254"/>
                </a:lnTo>
                <a:lnTo>
                  <a:pt x="372" y="254"/>
                </a:lnTo>
                <a:lnTo>
                  <a:pt x="372" y="258"/>
                </a:lnTo>
                <a:lnTo>
                  <a:pt x="376" y="258"/>
                </a:lnTo>
                <a:lnTo>
                  <a:pt x="372" y="258"/>
                </a:lnTo>
                <a:lnTo>
                  <a:pt x="376" y="262"/>
                </a:lnTo>
                <a:lnTo>
                  <a:pt x="376" y="258"/>
                </a:lnTo>
                <a:lnTo>
                  <a:pt x="380" y="258"/>
                </a:lnTo>
                <a:lnTo>
                  <a:pt x="384" y="254"/>
                </a:lnTo>
                <a:lnTo>
                  <a:pt x="380" y="254"/>
                </a:lnTo>
                <a:lnTo>
                  <a:pt x="380" y="250"/>
                </a:lnTo>
                <a:lnTo>
                  <a:pt x="384" y="250"/>
                </a:lnTo>
                <a:lnTo>
                  <a:pt x="386" y="246"/>
                </a:lnTo>
                <a:lnTo>
                  <a:pt x="390" y="242"/>
                </a:lnTo>
                <a:lnTo>
                  <a:pt x="390" y="238"/>
                </a:lnTo>
                <a:lnTo>
                  <a:pt x="390" y="234"/>
                </a:lnTo>
                <a:lnTo>
                  <a:pt x="394" y="232"/>
                </a:lnTo>
                <a:lnTo>
                  <a:pt x="394" y="228"/>
                </a:lnTo>
                <a:lnTo>
                  <a:pt x="394" y="224"/>
                </a:lnTo>
                <a:lnTo>
                  <a:pt x="394" y="220"/>
                </a:lnTo>
                <a:lnTo>
                  <a:pt x="394" y="218"/>
                </a:lnTo>
                <a:lnTo>
                  <a:pt x="394" y="214"/>
                </a:lnTo>
                <a:lnTo>
                  <a:pt x="394" y="218"/>
                </a:lnTo>
                <a:lnTo>
                  <a:pt x="394" y="214"/>
                </a:lnTo>
                <a:lnTo>
                  <a:pt x="398" y="214"/>
                </a:lnTo>
                <a:lnTo>
                  <a:pt x="398" y="210"/>
                </a:lnTo>
                <a:lnTo>
                  <a:pt x="402" y="210"/>
                </a:lnTo>
                <a:lnTo>
                  <a:pt x="406" y="210"/>
                </a:lnTo>
                <a:lnTo>
                  <a:pt x="410" y="210"/>
                </a:lnTo>
                <a:lnTo>
                  <a:pt x="414" y="206"/>
                </a:lnTo>
                <a:lnTo>
                  <a:pt x="416" y="206"/>
                </a:lnTo>
                <a:lnTo>
                  <a:pt x="420" y="206"/>
                </a:lnTo>
                <a:lnTo>
                  <a:pt x="424" y="206"/>
                </a:lnTo>
                <a:lnTo>
                  <a:pt x="428" y="202"/>
                </a:lnTo>
                <a:lnTo>
                  <a:pt x="424" y="202"/>
                </a:lnTo>
                <a:lnTo>
                  <a:pt x="424" y="206"/>
                </a:lnTo>
                <a:lnTo>
                  <a:pt x="424" y="202"/>
                </a:lnTo>
                <a:lnTo>
                  <a:pt x="428" y="202"/>
                </a:lnTo>
                <a:lnTo>
                  <a:pt x="430" y="206"/>
                </a:lnTo>
                <a:lnTo>
                  <a:pt x="434" y="206"/>
                </a:lnTo>
                <a:lnTo>
                  <a:pt x="438" y="206"/>
                </a:lnTo>
                <a:lnTo>
                  <a:pt x="434" y="206"/>
                </a:lnTo>
                <a:lnTo>
                  <a:pt x="438" y="206"/>
                </a:lnTo>
                <a:lnTo>
                  <a:pt x="438" y="202"/>
                </a:lnTo>
                <a:lnTo>
                  <a:pt x="442" y="202"/>
                </a:lnTo>
                <a:lnTo>
                  <a:pt x="442" y="206"/>
                </a:lnTo>
                <a:lnTo>
                  <a:pt x="446" y="206"/>
                </a:lnTo>
                <a:lnTo>
                  <a:pt x="446" y="210"/>
                </a:lnTo>
                <a:lnTo>
                  <a:pt x="446" y="214"/>
                </a:lnTo>
                <a:lnTo>
                  <a:pt x="442" y="218"/>
                </a:lnTo>
                <a:lnTo>
                  <a:pt x="442" y="220"/>
                </a:lnTo>
                <a:lnTo>
                  <a:pt x="438" y="220"/>
                </a:lnTo>
                <a:lnTo>
                  <a:pt x="438" y="224"/>
                </a:lnTo>
                <a:lnTo>
                  <a:pt x="434" y="228"/>
                </a:lnTo>
                <a:lnTo>
                  <a:pt x="434" y="232"/>
                </a:lnTo>
                <a:lnTo>
                  <a:pt x="434" y="234"/>
                </a:lnTo>
                <a:lnTo>
                  <a:pt x="434" y="232"/>
                </a:lnTo>
                <a:lnTo>
                  <a:pt x="434" y="234"/>
                </a:lnTo>
                <a:lnTo>
                  <a:pt x="430" y="234"/>
                </a:lnTo>
                <a:lnTo>
                  <a:pt x="430" y="238"/>
                </a:lnTo>
                <a:lnTo>
                  <a:pt x="434" y="238"/>
                </a:lnTo>
                <a:lnTo>
                  <a:pt x="434" y="242"/>
                </a:lnTo>
                <a:lnTo>
                  <a:pt x="430" y="242"/>
                </a:lnTo>
                <a:lnTo>
                  <a:pt x="430" y="246"/>
                </a:lnTo>
                <a:lnTo>
                  <a:pt x="434" y="242"/>
                </a:lnTo>
                <a:lnTo>
                  <a:pt x="434" y="246"/>
                </a:lnTo>
                <a:lnTo>
                  <a:pt x="434" y="250"/>
                </a:lnTo>
                <a:lnTo>
                  <a:pt x="430" y="250"/>
                </a:lnTo>
                <a:lnTo>
                  <a:pt x="430" y="254"/>
                </a:lnTo>
                <a:lnTo>
                  <a:pt x="430" y="258"/>
                </a:lnTo>
                <a:lnTo>
                  <a:pt x="430" y="262"/>
                </a:lnTo>
                <a:lnTo>
                  <a:pt x="428" y="262"/>
                </a:lnTo>
                <a:lnTo>
                  <a:pt x="428" y="258"/>
                </a:lnTo>
                <a:lnTo>
                  <a:pt x="428" y="254"/>
                </a:lnTo>
                <a:lnTo>
                  <a:pt x="428" y="250"/>
                </a:lnTo>
                <a:lnTo>
                  <a:pt x="428" y="254"/>
                </a:lnTo>
                <a:lnTo>
                  <a:pt x="424" y="254"/>
                </a:lnTo>
                <a:lnTo>
                  <a:pt x="424" y="258"/>
                </a:lnTo>
                <a:lnTo>
                  <a:pt x="420" y="258"/>
                </a:lnTo>
                <a:lnTo>
                  <a:pt x="420" y="262"/>
                </a:lnTo>
                <a:lnTo>
                  <a:pt x="416" y="262"/>
                </a:lnTo>
                <a:lnTo>
                  <a:pt x="416" y="264"/>
                </a:lnTo>
                <a:lnTo>
                  <a:pt x="416" y="268"/>
                </a:lnTo>
                <a:lnTo>
                  <a:pt x="414" y="268"/>
                </a:lnTo>
                <a:lnTo>
                  <a:pt x="414" y="264"/>
                </a:lnTo>
                <a:lnTo>
                  <a:pt x="414" y="268"/>
                </a:lnTo>
                <a:lnTo>
                  <a:pt x="410" y="268"/>
                </a:lnTo>
                <a:lnTo>
                  <a:pt x="402" y="268"/>
                </a:lnTo>
                <a:lnTo>
                  <a:pt x="398" y="268"/>
                </a:lnTo>
                <a:lnTo>
                  <a:pt x="390" y="268"/>
                </a:lnTo>
                <a:lnTo>
                  <a:pt x="386" y="268"/>
                </a:lnTo>
                <a:lnTo>
                  <a:pt x="386" y="272"/>
                </a:lnTo>
                <a:lnTo>
                  <a:pt x="386" y="280"/>
                </a:lnTo>
                <a:lnTo>
                  <a:pt x="380" y="280"/>
                </a:lnTo>
                <a:lnTo>
                  <a:pt x="384" y="280"/>
                </a:lnTo>
                <a:lnTo>
                  <a:pt x="384" y="284"/>
                </a:lnTo>
                <a:lnTo>
                  <a:pt x="386" y="288"/>
                </a:lnTo>
                <a:lnTo>
                  <a:pt x="390" y="288"/>
                </a:lnTo>
                <a:lnTo>
                  <a:pt x="390" y="290"/>
                </a:lnTo>
                <a:lnTo>
                  <a:pt x="390" y="294"/>
                </a:lnTo>
                <a:lnTo>
                  <a:pt x="394" y="294"/>
                </a:lnTo>
                <a:lnTo>
                  <a:pt x="394" y="298"/>
                </a:lnTo>
                <a:lnTo>
                  <a:pt x="390" y="298"/>
                </a:lnTo>
                <a:lnTo>
                  <a:pt x="386" y="298"/>
                </a:lnTo>
                <a:lnTo>
                  <a:pt x="380" y="298"/>
                </a:lnTo>
                <a:lnTo>
                  <a:pt x="376" y="298"/>
                </a:lnTo>
                <a:lnTo>
                  <a:pt x="376" y="302"/>
                </a:lnTo>
                <a:lnTo>
                  <a:pt x="368" y="310"/>
                </a:lnTo>
                <a:lnTo>
                  <a:pt x="368" y="314"/>
                </a:lnTo>
                <a:lnTo>
                  <a:pt x="372" y="318"/>
                </a:lnTo>
                <a:lnTo>
                  <a:pt x="368" y="320"/>
                </a:lnTo>
                <a:lnTo>
                  <a:pt x="368" y="324"/>
                </a:lnTo>
                <a:lnTo>
                  <a:pt x="364" y="324"/>
                </a:lnTo>
                <a:lnTo>
                  <a:pt x="364" y="320"/>
                </a:lnTo>
                <a:lnTo>
                  <a:pt x="360" y="320"/>
                </a:lnTo>
                <a:lnTo>
                  <a:pt x="360" y="318"/>
                </a:lnTo>
                <a:lnTo>
                  <a:pt x="360" y="314"/>
                </a:lnTo>
                <a:lnTo>
                  <a:pt x="358" y="314"/>
                </a:lnTo>
                <a:lnTo>
                  <a:pt x="358" y="310"/>
                </a:lnTo>
                <a:lnTo>
                  <a:pt x="354" y="310"/>
                </a:lnTo>
                <a:lnTo>
                  <a:pt x="354" y="306"/>
                </a:lnTo>
                <a:lnTo>
                  <a:pt x="350" y="306"/>
                </a:lnTo>
                <a:lnTo>
                  <a:pt x="346" y="302"/>
                </a:lnTo>
                <a:lnTo>
                  <a:pt x="346" y="298"/>
                </a:lnTo>
                <a:lnTo>
                  <a:pt x="342" y="298"/>
                </a:lnTo>
                <a:lnTo>
                  <a:pt x="338" y="298"/>
                </a:lnTo>
                <a:lnTo>
                  <a:pt x="338" y="294"/>
                </a:lnTo>
                <a:lnTo>
                  <a:pt x="338" y="298"/>
                </a:lnTo>
                <a:lnTo>
                  <a:pt x="342" y="298"/>
                </a:lnTo>
                <a:lnTo>
                  <a:pt x="342" y="302"/>
                </a:lnTo>
                <a:lnTo>
                  <a:pt x="338" y="298"/>
                </a:lnTo>
                <a:lnTo>
                  <a:pt x="334" y="298"/>
                </a:lnTo>
                <a:lnTo>
                  <a:pt x="334" y="294"/>
                </a:lnTo>
                <a:lnTo>
                  <a:pt x="330" y="298"/>
                </a:lnTo>
                <a:lnTo>
                  <a:pt x="330" y="294"/>
                </a:lnTo>
                <a:lnTo>
                  <a:pt x="328" y="294"/>
                </a:lnTo>
                <a:lnTo>
                  <a:pt x="328" y="298"/>
                </a:lnTo>
                <a:lnTo>
                  <a:pt x="330" y="298"/>
                </a:lnTo>
                <a:lnTo>
                  <a:pt x="328" y="298"/>
                </a:lnTo>
                <a:lnTo>
                  <a:pt x="324" y="302"/>
                </a:lnTo>
                <a:lnTo>
                  <a:pt x="320" y="302"/>
                </a:lnTo>
                <a:lnTo>
                  <a:pt x="316" y="306"/>
                </a:lnTo>
                <a:lnTo>
                  <a:pt x="312" y="306"/>
                </a:lnTo>
                <a:lnTo>
                  <a:pt x="308" y="306"/>
                </a:lnTo>
                <a:lnTo>
                  <a:pt x="304" y="306"/>
                </a:lnTo>
                <a:lnTo>
                  <a:pt x="302" y="302"/>
                </a:lnTo>
                <a:lnTo>
                  <a:pt x="298" y="302"/>
                </a:lnTo>
                <a:lnTo>
                  <a:pt x="294" y="302"/>
                </a:lnTo>
                <a:lnTo>
                  <a:pt x="290" y="302"/>
                </a:lnTo>
                <a:lnTo>
                  <a:pt x="286" y="298"/>
                </a:lnTo>
                <a:lnTo>
                  <a:pt x="282" y="298"/>
                </a:lnTo>
                <a:lnTo>
                  <a:pt x="282" y="294"/>
                </a:lnTo>
                <a:lnTo>
                  <a:pt x="278" y="294"/>
                </a:lnTo>
                <a:lnTo>
                  <a:pt x="274" y="294"/>
                </a:lnTo>
                <a:lnTo>
                  <a:pt x="274" y="290"/>
                </a:lnTo>
                <a:lnTo>
                  <a:pt x="272" y="290"/>
                </a:lnTo>
                <a:lnTo>
                  <a:pt x="268" y="290"/>
                </a:lnTo>
                <a:lnTo>
                  <a:pt x="264" y="290"/>
                </a:lnTo>
                <a:lnTo>
                  <a:pt x="264" y="288"/>
                </a:lnTo>
                <a:lnTo>
                  <a:pt x="260" y="288"/>
                </a:lnTo>
                <a:lnTo>
                  <a:pt x="256" y="284"/>
                </a:lnTo>
                <a:lnTo>
                  <a:pt x="252" y="284"/>
                </a:lnTo>
                <a:lnTo>
                  <a:pt x="248" y="280"/>
                </a:lnTo>
                <a:lnTo>
                  <a:pt x="244" y="280"/>
                </a:lnTo>
                <a:lnTo>
                  <a:pt x="242" y="280"/>
                </a:lnTo>
                <a:lnTo>
                  <a:pt x="242" y="276"/>
                </a:lnTo>
                <a:lnTo>
                  <a:pt x="238" y="276"/>
                </a:lnTo>
                <a:lnTo>
                  <a:pt x="238" y="272"/>
                </a:lnTo>
                <a:lnTo>
                  <a:pt x="234" y="272"/>
                </a:lnTo>
                <a:lnTo>
                  <a:pt x="234" y="268"/>
                </a:lnTo>
                <a:lnTo>
                  <a:pt x="230" y="268"/>
                </a:lnTo>
                <a:lnTo>
                  <a:pt x="230" y="264"/>
                </a:lnTo>
                <a:lnTo>
                  <a:pt x="230" y="268"/>
                </a:lnTo>
                <a:lnTo>
                  <a:pt x="226" y="268"/>
                </a:lnTo>
                <a:lnTo>
                  <a:pt x="222" y="264"/>
                </a:lnTo>
                <a:lnTo>
                  <a:pt x="218" y="264"/>
                </a:lnTo>
                <a:lnTo>
                  <a:pt x="216" y="264"/>
                </a:lnTo>
                <a:lnTo>
                  <a:pt x="216" y="262"/>
                </a:lnTo>
                <a:lnTo>
                  <a:pt x="212" y="262"/>
                </a:lnTo>
                <a:lnTo>
                  <a:pt x="208" y="262"/>
                </a:lnTo>
                <a:lnTo>
                  <a:pt x="208" y="258"/>
                </a:lnTo>
                <a:lnTo>
                  <a:pt x="204" y="254"/>
                </a:lnTo>
                <a:lnTo>
                  <a:pt x="204" y="250"/>
                </a:lnTo>
                <a:lnTo>
                  <a:pt x="200" y="250"/>
                </a:lnTo>
                <a:lnTo>
                  <a:pt x="196" y="250"/>
                </a:lnTo>
                <a:lnTo>
                  <a:pt x="196" y="246"/>
                </a:lnTo>
                <a:lnTo>
                  <a:pt x="192" y="246"/>
                </a:lnTo>
                <a:lnTo>
                  <a:pt x="188" y="242"/>
                </a:lnTo>
                <a:lnTo>
                  <a:pt x="186" y="242"/>
                </a:lnTo>
                <a:lnTo>
                  <a:pt x="186" y="238"/>
                </a:lnTo>
                <a:lnTo>
                  <a:pt x="186" y="234"/>
                </a:lnTo>
                <a:lnTo>
                  <a:pt x="182" y="234"/>
                </a:lnTo>
                <a:lnTo>
                  <a:pt x="182" y="232"/>
                </a:lnTo>
                <a:lnTo>
                  <a:pt x="178" y="232"/>
                </a:lnTo>
                <a:lnTo>
                  <a:pt x="178" y="228"/>
                </a:lnTo>
                <a:lnTo>
                  <a:pt x="178" y="224"/>
                </a:lnTo>
                <a:lnTo>
                  <a:pt x="182" y="224"/>
                </a:lnTo>
                <a:lnTo>
                  <a:pt x="182" y="220"/>
                </a:lnTo>
                <a:lnTo>
                  <a:pt x="186" y="220"/>
                </a:lnTo>
                <a:lnTo>
                  <a:pt x="182" y="218"/>
                </a:lnTo>
                <a:lnTo>
                  <a:pt x="182" y="214"/>
                </a:lnTo>
                <a:lnTo>
                  <a:pt x="186" y="214"/>
                </a:lnTo>
                <a:lnTo>
                  <a:pt x="186" y="210"/>
                </a:lnTo>
                <a:lnTo>
                  <a:pt x="186" y="206"/>
                </a:lnTo>
                <a:lnTo>
                  <a:pt x="182" y="206"/>
                </a:lnTo>
                <a:lnTo>
                  <a:pt x="182" y="202"/>
                </a:lnTo>
                <a:lnTo>
                  <a:pt x="182" y="198"/>
                </a:lnTo>
                <a:lnTo>
                  <a:pt x="178" y="198"/>
                </a:lnTo>
                <a:lnTo>
                  <a:pt x="178" y="194"/>
                </a:lnTo>
                <a:lnTo>
                  <a:pt x="178" y="190"/>
                </a:lnTo>
                <a:lnTo>
                  <a:pt x="178" y="188"/>
                </a:lnTo>
                <a:lnTo>
                  <a:pt x="178" y="184"/>
                </a:lnTo>
                <a:lnTo>
                  <a:pt x="174" y="184"/>
                </a:lnTo>
                <a:lnTo>
                  <a:pt x="170" y="180"/>
                </a:lnTo>
                <a:lnTo>
                  <a:pt x="170" y="176"/>
                </a:lnTo>
                <a:lnTo>
                  <a:pt x="166" y="176"/>
                </a:lnTo>
                <a:lnTo>
                  <a:pt x="166" y="172"/>
                </a:lnTo>
                <a:lnTo>
                  <a:pt x="162" y="168"/>
                </a:lnTo>
                <a:lnTo>
                  <a:pt x="162" y="164"/>
                </a:lnTo>
                <a:lnTo>
                  <a:pt x="160" y="164"/>
                </a:lnTo>
                <a:lnTo>
                  <a:pt x="160" y="160"/>
                </a:lnTo>
                <a:lnTo>
                  <a:pt x="152" y="158"/>
                </a:lnTo>
                <a:lnTo>
                  <a:pt x="152" y="154"/>
                </a:lnTo>
                <a:lnTo>
                  <a:pt x="148" y="154"/>
                </a:lnTo>
                <a:lnTo>
                  <a:pt x="152" y="154"/>
                </a:lnTo>
                <a:lnTo>
                  <a:pt x="152" y="150"/>
                </a:lnTo>
                <a:lnTo>
                  <a:pt x="148" y="154"/>
                </a:lnTo>
                <a:lnTo>
                  <a:pt x="148" y="150"/>
                </a:lnTo>
                <a:lnTo>
                  <a:pt x="144" y="150"/>
                </a:lnTo>
                <a:lnTo>
                  <a:pt x="148" y="150"/>
                </a:lnTo>
                <a:lnTo>
                  <a:pt x="144" y="150"/>
                </a:lnTo>
                <a:lnTo>
                  <a:pt x="144" y="146"/>
                </a:lnTo>
                <a:lnTo>
                  <a:pt x="144" y="142"/>
                </a:lnTo>
                <a:lnTo>
                  <a:pt x="144" y="146"/>
                </a:lnTo>
                <a:lnTo>
                  <a:pt x="140" y="142"/>
                </a:lnTo>
                <a:lnTo>
                  <a:pt x="144" y="142"/>
                </a:lnTo>
                <a:lnTo>
                  <a:pt x="140" y="138"/>
                </a:lnTo>
                <a:lnTo>
                  <a:pt x="136" y="138"/>
                </a:lnTo>
                <a:lnTo>
                  <a:pt x="136" y="134"/>
                </a:lnTo>
                <a:lnTo>
                  <a:pt x="132" y="134"/>
                </a:lnTo>
                <a:lnTo>
                  <a:pt x="132" y="132"/>
                </a:lnTo>
                <a:lnTo>
                  <a:pt x="132" y="134"/>
                </a:lnTo>
                <a:lnTo>
                  <a:pt x="130" y="134"/>
                </a:lnTo>
                <a:lnTo>
                  <a:pt x="130" y="132"/>
                </a:lnTo>
                <a:lnTo>
                  <a:pt x="132" y="132"/>
                </a:lnTo>
                <a:lnTo>
                  <a:pt x="132" y="128"/>
                </a:lnTo>
                <a:lnTo>
                  <a:pt x="132" y="132"/>
                </a:lnTo>
                <a:lnTo>
                  <a:pt x="130" y="132"/>
                </a:lnTo>
                <a:lnTo>
                  <a:pt x="126" y="132"/>
                </a:lnTo>
                <a:lnTo>
                  <a:pt x="126" y="128"/>
                </a:lnTo>
                <a:lnTo>
                  <a:pt x="126" y="124"/>
                </a:lnTo>
                <a:lnTo>
                  <a:pt x="126" y="120"/>
                </a:lnTo>
                <a:lnTo>
                  <a:pt x="126" y="124"/>
                </a:lnTo>
                <a:lnTo>
                  <a:pt x="126" y="120"/>
                </a:lnTo>
                <a:lnTo>
                  <a:pt x="130" y="120"/>
                </a:lnTo>
                <a:lnTo>
                  <a:pt x="126" y="116"/>
                </a:lnTo>
                <a:lnTo>
                  <a:pt x="126" y="112"/>
                </a:lnTo>
                <a:lnTo>
                  <a:pt x="122" y="112"/>
                </a:lnTo>
                <a:lnTo>
                  <a:pt x="118" y="112"/>
                </a:lnTo>
                <a:lnTo>
                  <a:pt x="118" y="108"/>
                </a:lnTo>
                <a:lnTo>
                  <a:pt x="118" y="104"/>
                </a:lnTo>
                <a:lnTo>
                  <a:pt x="114" y="104"/>
                </a:lnTo>
                <a:lnTo>
                  <a:pt x="110" y="104"/>
                </a:lnTo>
                <a:lnTo>
                  <a:pt x="110" y="102"/>
                </a:lnTo>
                <a:lnTo>
                  <a:pt x="106" y="98"/>
                </a:lnTo>
                <a:lnTo>
                  <a:pt x="106" y="94"/>
                </a:lnTo>
                <a:lnTo>
                  <a:pt x="106" y="90"/>
                </a:lnTo>
                <a:lnTo>
                  <a:pt x="110" y="90"/>
                </a:lnTo>
                <a:lnTo>
                  <a:pt x="106" y="90"/>
                </a:lnTo>
                <a:lnTo>
                  <a:pt x="104" y="90"/>
                </a:lnTo>
                <a:lnTo>
                  <a:pt x="100" y="90"/>
                </a:lnTo>
                <a:lnTo>
                  <a:pt x="100" y="86"/>
                </a:lnTo>
                <a:lnTo>
                  <a:pt x="96" y="86"/>
                </a:lnTo>
                <a:lnTo>
                  <a:pt x="96" y="82"/>
                </a:lnTo>
                <a:lnTo>
                  <a:pt x="92" y="78"/>
                </a:lnTo>
                <a:lnTo>
                  <a:pt x="92" y="74"/>
                </a:lnTo>
                <a:lnTo>
                  <a:pt x="90" y="74"/>
                </a:lnTo>
                <a:lnTo>
                  <a:pt x="90" y="72"/>
                </a:lnTo>
                <a:lnTo>
                  <a:pt x="86" y="72"/>
                </a:lnTo>
                <a:lnTo>
                  <a:pt x="86" y="68"/>
                </a:lnTo>
                <a:lnTo>
                  <a:pt x="86" y="64"/>
                </a:lnTo>
                <a:lnTo>
                  <a:pt x="82" y="64"/>
                </a:lnTo>
                <a:lnTo>
                  <a:pt x="86" y="60"/>
                </a:lnTo>
                <a:lnTo>
                  <a:pt x="82" y="60"/>
                </a:lnTo>
                <a:lnTo>
                  <a:pt x="82" y="56"/>
                </a:lnTo>
                <a:lnTo>
                  <a:pt x="78" y="52"/>
                </a:lnTo>
                <a:lnTo>
                  <a:pt x="78" y="48"/>
                </a:lnTo>
                <a:lnTo>
                  <a:pt x="78" y="46"/>
                </a:lnTo>
                <a:lnTo>
                  <a:pt x="74" y="42"/>
                </a:lnTo>
                <a:lnTo>
                  <a:pt x="74" y="38"/>
                </a:lnTo>
                <a:lnTo>
                  <a:pt x="74" y="34"/>
                </a:lnTo>
                <a:lnTo>
                  <a:pt x="74" y="30"/>
                </a:lnTo>
                <a:lnTo>
                  <a:pt x="70" y="30"/>
                </a:lnTo>
                <a:lnTo>
                  <a:pt x="66" y="30"/>
                </a:lnTo>
                <a:lnTo>
                  <a:pt x="66" y="26"/>
                </a:lnTo>
                <a:lnTo>
                  <a:pt x="66" y="22"/>
                </a:lnTo>
                <a:lnTo>
                  <a:pt x="62" y="22"/>
                </a:lnTo>
                <a:lnTo>
                  <a:pt x="60" y="22"/>
                </a:lnTo>
                <a:lnTo>
                  <a:pt x="62" y="22"/>
                </a:lnTo>
                <a:lnTo>
                  <a:pt x="60" y="22"/>
                </a:lnTo>
                <a:lnTo>
                  <a:pt x="56" y="22"/>
                </a:lnTo>
                <a:lnTo>
                  <a:pt x="52" y="18"/>
                </a:lnTo>
                <a:lnTo>
                  <a:pt x="48" y="18"/>
                </a:lnTo>
                <a:lnTo>
                  <a:pt x="48" y="16"/>
                </a:lnTo>
                <a:lnTo>
                  <a:pt x="44" y="16"/>
                </a:lnTo>
                <a:lnTo>
                  <a:pt x="48" y="16"/>
                </a:lnTo>
                <a:lnTo>
                  <a:pt x="48" y="18"/>
                </a:lnTo>
                <a:lnTo>
                  <a:pt x="48" y="22"/>
                </a:lnTo>
                <a:lnTo>
                  <a:pt x="48" y="26"/>
                </a:lnTo>
                <a:lnTo>
                  <a:pt x="48" y="30"/>
                </a:lnTo>
                <a:lnTo>
                  <a:pt x="48" y="34"/>
                </a:lnTo>
                <a:lnTo>
                  <a:pt x="52" y="34"/>
                </a:lnTo>
                <a:lnTo>
                  <a:pt x="52" y="38"/>
                </a:lnTo>
                <a:lnTo>
                  <a:pt x="52" y="42"/>
                </a:lnTo>
                <a:lnTo>
                  <a:pt x="52" y="46"/>
                </a:lnTo>
                <a:lnTo>
                  <a:pt x="52" y="48"/>
                </a:lnTo>
                <a:lnTo>
                  <a:pt x="52" y="52"/>
                </a:lnTo>
                <a:lnTo>
                  <a:pt x="56" y="52"/>
                </a:lnTo>
                <a:lnTo>
                  <a:pt x="56" y="56"/>
                </a:lnTo>
                <a:lnTo>
                  <a:pt x="60" y="56"/>
                </a:lnTo>
                <a:lnTo>
                  <a:pt x="60" y="60"/>
                </a:lnTo>
                <a:lnTo>
                  <a:pt x="62" y="60"/>
                </a:lnTo>
                <a:lnTo>
                  <a:pt x="62" y="64"/>
                </a:lnTo>
                <a:lnTo>
                  <a:pt x="66" y="64"/>
                </a:lnTo>
                <a:lnTo>
                  <a:pt x="66" y="68"/>
                </a:lnTo>
                <a:lnTo>
                  <a:pt x="66" y="72"/>
                </a:lnTo>
                <a:lnTo>
                  <a:pt x="70" y="72"/>
                </a:lnTo>
                <a:lnTo>
                  <a:pt x="70" y="74"/>
                </a:lnTo>
                <a:lnTo>
                  <a:pt x="74" y="74"/>
                </a:lnTo>
                <a:lnTo>
                  <a:pt x="74" y="78"/>
                </a:lnTo>
                <a:lnTo>
                  <a:pt x="78" y="82"/>
                </a:lnTo>
                <a:lnTo>
                  <a:pt x="78" y="86"/>
                </a:lnTo>
                <a:lnTo>
                  <a:pt x="78" y="90"/>
                </a:lnTo>
                <a:lnTo>
                  <a:pt x="78" y="94"/>
                </a:lnTo>
                <a:lnTo>
                  <a:pt x="82" y="94"/>
                </a:lnTo>
                <a:lnTo>
                  <a:pt x="86" y="98"/>
                </a:lnTo>
                <a:lnTo>
                  <a:pt x="86" y="102"/>
                </a:lnTo>
                <a:lnTo>
                  <a:pt x="90" y="104"/>
                </a:lnTo>
                <a:lnTo>
                  <a:pt x="90" y="108"/>
                </a:lnTo>
                <a:lnTo>
                  <a:pt x="90" y="112"/>
                </a:lnTo>
                <a:lnTo>
                  <a:pt x="92" y="112"/>
                </a:lnTo>
                <a:lnTo>
                  <a:pt x="92" y="116"/>
                </a:lnTo>
                <a:lnTo>
                  <a:pt x="92" y="112"/>
                </a:lnTo>
                <a:lnTo>
                  <a:pt x="92" y="108"/>
                </a:lnTo>
                <a:lnTo>
                  <a:pt x="92" y="112"/>
                </a:lnTo>
                <a:lnTo>
                  <a:pt x="96" y="112"/>
                </a:lnTo>
                <a:lnTo>
                  <a:pt x="96" y="116"/>
                </a:lnTo>
                <a:lnTo>
                  <a:pt x="96" y="120"/>
                </a:lnTo>
                <a:lnTo>
                  <a:pt x="96" y="124"/>
                </a:lnTo>
                <a:lnTo>
                  <a:pt x="96" y="128"/>
                </a:lnTo>
                <a:lnTo>
                  <a:pt x="100" y="128"/>
                </a:lnTo>
                <a:lnTo>
                  <a:pt x="100" y="132"/>
                </a:lnTo>
                <a:lnTo>
                  <a:pt x="104" y="134"/>
                </a:lnTo>
                <a:lnTo>
                  <a:pt x="104" y="138"/>
                </a:lnTo>
                <a:lnTo>
                  <a:pt x="104" y="142"/>
                </a:lnTo>
                <a:lnTo>
                  <a:pt x="106" y="142"/>
                </a:lnTo>
                <a:lnTo>
                  <a:pt x="106" y="146"/>
                </a:lnTo>
                <a:lnTo>
                  <a:pt x="106" y="150"/>
                </a:lnTo>
                <a:lnTo>
                  <a:pt x="106" y="154"/>
                </a:lnTo>
                <a:lnTo>
                  <a:pt x="106" y="158"/>
                </a:lnTo>
                <a:lnTo>
                  <a:pt x="110" y="158"/>
                </a:lnTo>
                <a:lnTo>
                  <a:pt x="114" y="158"/>
                </a:lnTo>
                <a:lnTo>
                  <a:pt x="110" y="158"/>
                </a:lnTo>
                <a:lnTo>
                  <a:pt x="110" y="154"/>
                </a:lnTo>
                <a:lnTo>
                  <a:pt x="114" y="154"/>
                </a:lnTo>
                <a:lnTo>
                  <a:pt x="114" y="158"/>
                </a:lnTo>
                <a:lnTo>
                  <a:pt x="118" y="158"/>
                </a:lnTo>
                <a:lnTo>
                  <a:pt x="118" y="160"/>
                </a:lnTo>
                <a:lnTo>
                  <a:pt x="118" y="164"/>
                </a:lnTo>
                <a:lnTo>
                  <a:pt x="122" y="164"/>
                </a:lnTo>
                <a:lnTo>
                  <a:pt x="122" y="168"/>
                </a:lnTo>
                <a:lnTo>
                  <a:pt x="126" y="168"/>
                </a:lnTo>
                <a:lnTo>
                  <a:pt x="126" y="172"/>
                </a:lnTo>
                <a:lnTo>
                  <a:pt x="126" y="176"/>
                </a:lnTo>
                <a:lnTo>
                  <a:pt x="122" y="176"/>
                </a:lnTo>
                <a:lnTo>
                  <a:pt x="122" y="180"/>
                </a:lnTo>
                <a:lnTo>
                  <a:pt x="118" y="180"/>
                </a:lnTo>
                <a:lnTo>
                  <a:pt x="114" y="180"/>
                </a:lnTo>
                <a:lnTo>
                  <a:pt x="114" y="176"/>
                </a:lnTo>
                <a:lnTo>
                  <a:pt x="114" y="172"/>
                </a:lnTo>
                <a:lnTo>
                  <a:pt x="110" y="168"/>
                </a:lnTo>
                <a:lnTo>
                  <a:pt x="106" y="164"/>
                </a:lnTo>
                <a:lnTo>
                  <a:pt x="104" y="160"/>
                </a:lnTo>
                <a:lnTo>
                  <a:pt x="104" y="158"/>
                </a:lnTo>
                <a:lnTo>
                  <a:pt x="100" y="158"/>
                </a:lnTo>
                <a:lnTo>
                  <a:pt x="96" y="154"/>
                </a:lnTo>
                <a:lnTo>
                  <a:pt x="96" y="154"/>
                </a:lnTo>
                <a:lnTo>
                  <a:pt x="96" y="154"/>
                </a:lnTo>
                <a:close/>
                <a:moveTo>
                  <a:pt x="106" y="142"/>
                </a:moveTo>
                <a:lnTo>
                  <a:pt x="110" y="146"/>
                </a:lnTo>
                <a:lnTo>
                  <a:pt x="106" y="146"/>
                </a:lnTo>
                <a:lnTo>
                  <a:pt x="106" y="142"/>
                </a:lnTo>
                <a:lnTo>
                  <a:pt x="106" y="142"/>
                </a:lnTo>
                <a:lnTo>
                  <a:pt x="106" y="142"/>
                </a:lnTo>
                <a:close/>
                <a:moveTo>
                  <a:pt x="86" y="138"/>
                </a:moveTo>
                <a:lnTo>
                  <a:pt x="90" y="138"/>
                </a:lnTo>
                <a:lnTo>
                  <a:pt x="86" y="138"/>
                </a:lnTo>
                <a:lnTo>
                  <a:pt x="86" y="142"/>
                </a:lnTo>
                <a:lnTo>
                  <a:pt x="86" y="146"/>
                </a:lnTo>
                <a:lnTo>
                  <a:pt x="90" y="150"/>
                </a:lnTo>
                <a:lnTo>
                  <a:pt x="86" y="150"/>
                </a:lnTo>
                <a:lnTo>
                  <a:pt x="86" y="146"/>
                </a:lnTo>
                <a:lnTo>
                  <a:pt x="86" y="142"/>
                </a:lnTo>
                <a:lnTo>
                  <a:pt x="86" y="138"/>
                </a:lnTo>
                <a:lnTo>
                  <a:pt x="86" y="138"/>
                </a:lnTo>
                <a:lnTo>
                  <a:pt x="86" y="138"/>
                </a:lnTo>
                <a:close/>
                <a:moveTo>
                  <a:pt x="104" y="254"/>
                </a:moveTo>
                <a:lnTo>
                  <a:pt x="100" y="254"/>
                </a:lnTo>
                <a:lnTo>
                  <a:pt x="104" y="254"/>
                </a:lnTo>
                <a:lnTo>
                  <a:pt x="104" y="250"/>
                </a:lnTo>
                <a:lnTo>
                  <a:pt x="104" y="254"/>
                </a:lnTo>
                <a:lnTo>
                  <a:pt x="104" y="254"/>
                </a:lnTo>
                <a:lnTo>
                  <a:pt x="104" y="254"/>
                </a:lnTo>
                <a:close/>
                <a:moveTo>
                  <a:pt x="74" y="72"/>
                </a:moveTo>
                <a:lnTo>
                  <a:pt x="70" y="72"/>
                </a:lnTo>
                <a:lnTo>
                  <a:pt x="70" y="68"/>
                </a:lnTo>
                <a:lnTo>
                  <a:pt x="66" y="64"/>
                </a:lnTo>
                <a:lnTo>
                  <a:pt x="66" y="60"/>
                </a:lnTo>
                <a:lnTo>
                  <a:pt x="70" y="60"/>
                </a:lnTo>
                <a:lnTo>
                  <a:pt x="70" y="64"/>
                </a:lnTo>
                <a:lnTo>
                  <a:pt x="70" y="68"/>
                </a:lnTo>
                <a:lnTo>
                  <a:pt x="74" y="68"/>
                </a:lnTo>
                <a:lnTo>
                  <a:pt x="74" y="72"/>
                </a:lnTo>
                <a:lnTo>
                  <a:pt x="74" y="72"/>
                </a:lnTo>
                <a:lnTo>
                  <a:pt x="74" y="72"/>
                </a:lnTo>
                <a:close/>
                <a:moveTo>
                  <a:pt x="86" y="74"/>
                </a:moveTo>
                <a:lnTo>
                  <a:pt x="82" y="74"/>
                </a:lnTo>
                <a:lnTo>
                  <a:pt x="82" y="72"/>
                </a:lnTo>
                <a:lnTo>
                  <a:pt x="82" y="68"/>
                </a:lnTo>
                <a:lnTo>
                  <a:pt x="86" y="68"/>
                </a:lnTo>
                <a:lnTo>
                  <a:pt x="86" y="72"/>
                </a:lnTo>
                <a:lnTo>
                  <a:pt x="86" y="74"/>
                </a:lnTo>
                <a:lnTo>
                  <a:pt x="86" y="74"/>
                </a:lnTo>
                <a:lnTo>
                  <a:pt x="86" y="74"/>
                </a:lnTo>
                <a:close/>
                <a:moveTo>
                  <a:pt x="0" y="72"/>
                </a:moveTo>
                <a:lnTo>
                  <a:pt x="0" y="68"/>
                </a:lnTo>
                <a:lnTo>
                  <a:pt x="0" y="72"/>
                </a:lnTo>
                <a:lnTo>
                  <a:pt x="0" y="72"/>
                </a:lnTo>
                <a:lnTo>
                  <a:pt x="0" y="72"/>
                </a:lnTo>
                <a:close/>
                <a:moveTo>
                  <a:pt x="44" y="90"/>
                </a:moveTo>
                <a:lnTo>
                  <a:pt x="44" y="86"/>
                </a:lnTo>
                <a:lnTo>
                  <a:pt x="40" y="86"/>
                </a:lnTo>
                <a:lnTo>
                  <a:pt x="44" y="86"/>
                </a:lnTo>
                <a:lnTo>
                  <a:pt x="44" y="82"/>
                </a:lnTo>
                <a:lnTo>
                  <a:pt x="44" y="86"/>
                </a:lnTo>
                <a:lnTo>
                  <a:pt x="44" y="90"/>
                </a:lnTo>
                <a:lnTo>
                  <a:pt x="44" y="90"/>
                </a:lnTo>
                <a:lnTo>
                  <a:pt x="44" y="90"/>
                </a:lnTo>
                <a:close/>
                <a:moveTo>
                  <a:pt x="100" y="128"/>
                </a:moveTo>
                <a:lnTo>
                  <a:pt x="100" y="124"/>
                </a:lnTo>
                <a:lnTo>
                  <a:pt x="100" y="128"/>
                </a:lnTo>
                <a:lnTo>
                  <a:pt x="100" y="128"/>
                </a:lnTo>
                <a:lnTo>
                  <a:pt x="100" y="128"/>
                </a:lnTo>
                <a:close/>
                <a:moveTo>
                  <a:pt x="110" y="154"/>
                </a:moveTo>
                <a:lnTo>
                  <a:pt x="110" y="150"/>
                </a:lnTo>
                <a:lnTo>
                  <a:pt x="110" y="154"/>
                </a:lnTo>
                <a:lnTo>
                  <a:pt x="110" y="154"/>
                </a:lnTo>
                <a:lnTo>
                  <a:pt x="110" y="154"/>
                </a:lnTo>
                <a:close/>
                <a:moveTo>
                  <a:pt x="92" y="154"/>
                </a:moveTo>
                <a:lnTo>
                  <a:pt x="90" y="154"/>
                </a:lnTo>
                <a:lnTo>
                  <a:pt x="90" y="150"/>
                </a:lnTo>
                <a:lnTo>
                  <a:pt x="92" y="150"/>
                </a:lnTo>
                <a:lnTo>
                  <a:pt x="92" y="154"/>
                </a:lnTo>
                <a:lnTo>
                  <a:pt x="92" y="154"/>
                </a:lnTo>
                <a:lnTo>
                  <a:pt x="92" y="154"/>
                </a:lnTo>
                <a:close/>
                <a:moveTo>
                  <a:pt x="118" y="158"/>
                </a:moveTo>
                <a:lnTo>
                  <a:pt x="118" y="154"/>
                </a:lnTo>
                <a:lnTo>
                  <a:pt x="118" y="158"/>
                </a:lnTo>
                <a:lnTo>
                  <a:pt x="118" y="158"/>
                </a:lnTo>
                <a:lnTo>
                  <a:pt x="118" y="158"/>
                </a:lnTo>
                <a:close/>
                <a:moveTo>
                  <a:pt x="162" y="206"/>
                </a:moveTo>
                <a:lnTo>
                  <a:pt x="162" y="202"/>
                </a:lnTo>
                <a:lnTo>
                  <a:pt x="166" y="202"/>
                </a:lnTo>
                <a:lnTo>
                  <a:pt x="166" y="206"/>
                </a:lnTo>
                <a:lnTo>
                  <a:pt x="162" y="206"/>
                </a:lnTo>
                <a:lnTo>
                  <a:pt x="162" y="206"/>
                </a:lnTo>
                <a:lnTo>
                  <a:pt x="162" y="206"/>
                </a:lnTo>
                <a:close/>
                <a:moveTo>
                  <a:pt x="166" y="206"/>
                </a:moveTo>
                <a:lnTo>
                  <a:pt x="170" y="206"/>
                </a:lnTo>
                <a:lnTo>
                  <a:pt x="166" y="206"/>
                </a:lnTo>
                <a:lnTo>
                  <a:pt x="166" y="206"/>
                </a:lnTo>
                <a:lnTo>
                  <a:pt x="166" y="206"/>
                </a:lnTo>
                <a:close/>
                <a:moveTo>
                  <a:pt x="442" y="228"/>
                </a:moveTo>
                <a:lnTo>
                  <a:pt x="442" y="224"/>
                </a:lnTo>
                <a:lnTo>
                  <a:pt x="442" y="220"/>
                </a:lnTo>
                <a:lnTo>
                  <a:pt x="446" y="220"/>
                </a:lnTo>
                <a:lnTo>
                  <a:pt x="446" y="224"/>
                </a:lnTo>
                <a:lnTo>
                  <a:pt x="442" y="224"/>
                </a:lnTo>
                <a:lnTo>
                  <a:pt x="442" y="228"/>
                </a:lnTo>
                <a:lnTo>
                  <a:pt x="442" y="228"/>
                </a:lnTo>
                <a:lnTo>
                  <a:pt x="442" y="228"/>
                </a:lnTo>
                <a:close/>
                <a:moveTo>
                  <a:pt x="376" y="254"/>
                </a:moveTo>
                <a:lnTo>
                  <a:pt x="372" y="254"/>
                </a:lnTo>
                <a:lnTo>
                  <a:pt x="376" y="254"/>
                </a:lnTo>
                <a:lnTo>
                  <a:pt x="380" y="254"/>
                </a:lnTo>
                <a:lnTo>
                  <a:pt x="376" y="254"/>
                </a:lnTo>
                <a:lnTo>
                  <a:pt x="376" y="254"/>
                </a:lnTo>
                <a:lnTo>
                  <a:pt x="376" y="254"/>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72" name="Freeform 79"/>
          <p:cNvSpPr>
            <a:spLocks noEditPoints="1"/>
          </p:cNvSpPr>
          <p:nvPr/>
        </p:nvSpPr>
        <p:spPr bwMode="auto">
          <a:xfrm>
            <a:off x="3095625" y="3445668"/>
            <a:ext cx="11906" cy="4763"/>
          </a:xfrm>
          <a:custGeom>
            <a:avLst/>
            <a:gdLst>
              <a:gd name="T0" fmla="*/ 4 w 10"/>
              <a:gd name="T1" fmla="*/ 4 h 4"/>
              <a:gd name="T2" fmla="*/ 4 w 10"/>
              <a:gd name="T3" fmla="*/ 4 h 4"/>
              <a:gd name="T4" fmla="*/ 4 w 10"/>
              <a:gd name="T5" fmla="*/ 4 h 4"/>
              <a:gd name="T6" fmla="*/ 4 w 10"/>
              <a:gd name="T7" fmla="*/ 4 h 4"/>
              <a:gd name="T8" fmla="*/ 0 w 10"/>
              <a:gd name="T9" fmla="*/ 4 h 4"/>
              <a:gd name="T10" fmla="*/ 0 w 10"/>
              <a:gd name="T11" fmla="*/ 0 h 4"/>
              <a:gd name="T12" fmla="*/ 0 w 10"/>
              <a:gd name="T13" fmla="*/ 0 h 4"/>
              <a:gd name="T14" fmla="*/ 0 w 10"/>
              <a:gd name="T15" fmla="*/ 0 h 4"/>
              <a:gd name="T16" fmla="*/ 0 w 10"/>
              <a:gd name="T17" fmla="*/ 0 h 4"/>
              <a:gd name="T18" fmla="*/ 0 w 10"/>
              <a:gd name="T19" fmla="*/ 0 h 4"/>
              <a:gd name="T20" fmla="*/ 0 w 10"/>
              <a:gd name="T21" fmla="*/ 0 h 4"/>
              <a:gd name="T22" fmla="*/ 0 w 10"/>
              <a:gd name="T23" fmla="*/ 0 h 4"/>
              <a:gd name="T24" fmla="*/ 0 w 10"/>
              <a:gd name="T25" fmla="*/ 0 h 4"/>
              <a:gd name="T26" fmla="*/ 0 w 10"/>
              <a:gd name="T27" fmla="*/ 0 h 4"/>
              <a:gd name="T28" fmla="*/ 0 w 10"/>
              <a:gd name="T29" fmla="*/ 0 h 4"/>
              <a:gd name="T30" fmla="*/ 0 w 10"/>
              <a:gd name="T31" fmla="*/ 0 h 4"/>
              <a:gd name="T32" fmla="*/ 0 w 10"/>
              <a:gd name="T33" fmla="*/ 0 h 4"/>
              <a:gd name="T34" fmla="*/ 0 w 10"/>
              <a:gd name="T35" fmla="*/ 0 h 4"/>
              <a:gd name="T36" fmla="*/ 0 w 10"/>
              <a:gd name="T37" fmla="*/ 0 h 4"/>
              <a:gd name="T38" fmla="*/ 0 w 10"/>
              <a:gd name="T39" fmla="*/ 0 h 4"/>
              <a:gd name="T40" fmla="*/ 0 w 10"/>
              <a:gd name="T41" fmla="*/ 0 h 4"/>
              <a:gd name="T42" fmla="*/ 0 w 10"/>
              <a:gd name="T43" fmla="*/ 0 h 4"/>
              <a:gd name="T44" fmla="*/ 4 w 10"/>
              <a:gd name="T45" fmla="*/ 0 h 4"/>
              <a:gd name="T46" fmla="*/ 4 w 10"/>
              <a:gd name="T47" fmla="*/ 0 h 4"/>
              <a:gd name="T48" fmla="*/ 4 w 10"/>
              <a:gd name="T49" fmla="*/ 4 h 4"/>
              <a:gd name="T50" fmla="*/ 4 w 10"/>
              <a:gd name="T51" fmla="*/ 4 h 4"/>
              <a:gd name="T52" fmla="*/ 4 w 10"/>
              <a:gd name="T53" fmla="*/ 4 h 4"/>
              <a:gd name="T54" fmla="*/ 4 w 10"/>
              <a:gd name="T55" fmla="*/ 4 h 4"/>
              <a:gd name="T56" fmla="*/ 4 w 10"/>
              <a:gd name="T57" fmla="*/ 4 h 4"/>
              <a:gd name="T58" fmla="*/ 4 w 10"/>
              <a:gd name="T59" fmla="*/ 4 h 4"/>
              <a:gd name="T60" fmla="*/ 4 w 10"/>
              <a:gd name="T61" fmla="*/ 4 h 4"/>
              <a:gd name="T62" fmla="*/ 10 w 10"/>
              <a:gd name="T63" fmla="*/ 4 h 4"/>
              <a:gd name="T64" fmla="*/ 10 w 10"/>
              <a:gd name="T65" fmla="*/ 4 h 4"/>
              <a:gd name="T66" fmla="*/ 10 w 10"/>
              <a:gd name="T67" fmla="*/ 4 h 4"/>
              <a:gd name="T68" fmla="*/ 10 w 10"/>
              <a:gd name="T69" fmla="*/ 4 h 4"/>
              <a:gd name="T70" fmla="*/ 10 w 10"/>
              <a:gd name="T71" fmla="*/ 4 h 4"/>
              <a:gd name="T72" fmla="*/ 10 w 10"/>
              <a:gd name="T73" fmla="*/ 4 h 4"/>
              <a:gd name="T74" fmla="*/ 10 w 10"/>
              <a:gd name="T75" fmla="*/ 4 h 4"/>
              <a:gd name="T76" fmla="*/ 10 w 10"/>
              <a:gd name="T77" fmla="*/ 4 h 4"/>
              <a:gd name="T78" fmla="*/ 10 w 10"/>
              <a:gd name="T79" fmla="*/ 0 h 4"/>
              <a:gd name="T80" fmla="*/ 10 w 10"/>
              <a:gd name="T81" fmla="*/ 0 h 4"/>
              <a:gd name="T82" fmla="*/ 10 w 10"/>
              <a:gd name="T83" fmla="*/ 0 h 4"/>
              <a:gd name="T84" fmla="*/ 10 w 10"/>
              <a:gd name="T85" fmla="*/ 0 h 4"/>
              <a:gd name="T86" fmla="*/ 10 w 10"/>
              <a:gd name="T87" fmla="*/ 0 h 4"/>
              <a:gd name="T88" fmla="*/ 8 w 10"/>
              <a:gd name="T89" fmla="*/ 0 h 4"/>
              <a:gd name="T90" fmla="*/ 8 w 10"/>
              <a:gd name="T91" fmla="*/ 0 h 4"/>
              <a:gd name="T92" fmla="*/ 8 w 10"/>
              <a:gd name="T93" fmla="*/ 0 h 4"/>
              <a:gd name="T94" fmla="*/ 8 w 10"/>
              <a:gd name="T95" fmla="*/ 0 h 4"/>
              <a:gd name="T96" fmla="*/ 8 w 10"/>
              <a:gd name="T97" fmla="*/ 0 h 4"/>
              <a:gd name="T98" fmla="*/ 8 w 10"/>
              <a:gd name="T99" fmla="*/ 0 h 4"/>
              <a:gd name="T100" fmla="*/ 10 w 10"/>
              <a:gd name="T101" fmla="*/ 0 h 4"/>
              <a:gd name="T102" fmla="*/ 10 w 10"/>
              <a:gd name="T103" fmla="*/ 0 h 4"/>
              <a:gd name="T104" fmla="*/ 10 w 10"/>
              <a:gd name="T105" fmla="*/ 0 h 4"/>
              <a:gd name="T106" fmla="*/ 10 w 10"/>
              <a:gd name="T107" fmla="*/ 4 h 4"/>
              <a:gd name="T108" fmla="*/ 10 w 10"/>
              <a:gd name="T109" fmla="*/ 4 h 4"/>
              <a:gd name="T110" fmla="*/ 10 w 10"/>
              <a:gd name="T111" fmla="*/ 4 h 4"/>
              <a:gd name="T112" fmla="*/ 10 w 10"/>
              <a:gd name="T113" fmla="*/ 4 h 4"/>
              <a:gd name="T114" fmla="*/ 10 w 10"/>
              <a:gd name="T115" fmla="*/ 4 h 4"/>
              <a:gd name="T116" fmla="*/ 10 w 10"/>
              <a:gd name="T11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 h="4">
                <a:moveTo>
                  <a:pt x="4" y="4"/>
                </a:moveTo>
                <a:lnTo>
                  <a:pt x="4" y="4"/>
                </a:lnTo>
                <a:lnTo>
                  <a:pt x="4" y="4"/>
                </a:lnTo>
                <a:lnTo>
                  <a:pt x="4" y="4"/>
                </a:lnTo>
                <a:lnTo>
                  <a:pt x="0" y="4"/>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4" y="0"/>
                </a:lnTo>
                <a:lnTo>
                  <a:pt x="4" y="0"/>
                </a:lnTo>
                <a:lnTo>
                  <a:pt x="4" y="4"/>
                </a:lnTo>
                <a:lnTo>
                  <a:pt x="4" y="4"/>
                </a:lnTo>
                <a:lnTo>
                  <a:pt x="4" y="4"/>
                </a:lnTo>
                <a:lnTo>
                  <a:pt x="4" y="4"/>
                </a:lnTo>
                <a:lnTo>
                  <a:pt x="4" y="4"/>
                </a:lnTo>
                <a:lnTo>
                  <a:pt x="4" y="4"/>
                </a:lnTo>
                <a:lnTo>
                  <a:pt x="4" y="4"/>
                </a:lnTo>
                <a:close/>
                <a:moveTo>
                  <a:pt x="10" y="4"/>
                </a:moveTo>
                <a:lnTo>
                  <a:pt x="10" y="4"/>
                </a:lnTo>
                <a:lnTo>
                  <a:pt x="10" y="4"/>
                </a:lnTo>
                <a:lnTo>
                  <a:pt x="10" y="4"/>
                </a:lnTo>
                <a:lnTo>
                  <a:pt x="10" y="4"/>
                </a:lnTo>
                <a:lnTo>
                  <a:pt x="10" y="4"/>
                </a:lnTo>
                <a:lnTo>
                  <a:pt x="10" y="4"/>
                </a:lnTo>
                <a:lnTo>
                  <a:pt x="10" y="4"/>
                </a:lnTo>
                <a:lnTo>
                  <a:pt x="10" y="0"/>
                </a:lnTo>
                <a:lnTo>
                  <a:pt x="10" y="0"/>
                </a:lnTo>
                <a:lnTo>
                  <a:pt x="10" y="0"/>
                </a:lnTo>
                <a:lnTo>
                  <a:pt x="10" y="0"/>
                </a:lnTo>
                <a:lnTo>
                  <a:pt x="10" y="0"/>
                </a:lnTo>
                <a:lnTo>
                  <a:pt x="8" y="0"/>
                </a:lnTo>
                <a:lnTo>
                  <a:pt x="8" y="0"/>
                </a:lnTo>
                <a:lnTo>
                  <a:pt x="8" y="0"/>
                </a:lnTo>
                <a:lnTo>
                  <a:pt x="8" y="0"/>
                </a:lnTo>
                <a:lnTo>
                  <a:pt x="8" y="0"/>
                </a:lnTo>
                <a:lnTo>
                  <a:pt x="8" y="0"/>
                </a:lnTo>
                <a:lnTo>
                  <a:pt x="10" y="0"/>
                </a:lnTo>
                <a:lnTo>
                  <a:pt x="10" y="0"/>
                </a:lnTo>
                <a:lnTo>
                  <a:pt x="10" y="0"/>
                </a:lnTo>
                <a:lnTo>
                  <a:pt x="10" y="4"/>
                </a:lnTo>
                <a:lnTo>
                  <a:pt x="10" y="4"/>
                </a:lnTo>
                <a:lnTo>
                  <a:pt x="10" y="4"/>
                </a:lnTo>
                <a:lnTo>
                  <a:pt x="10" y="4"/>
                </a:lnTo>
                <a:lnTo>
                  <a:pt x="10" y="4"/>
                </a:lnTo>
                <a:lnTo>
                  <a:pt x="10" y="4"/>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73" name="Freeform 80"/>
          <p:cNvSpPr>
            <a:spLocks/>
          </p:cNvSpPr>
          <p:nvPr/>
        </p:nvSpPr>
        <p:spPr bwMode="auto">
          <a:xfrm>
            <a:off x="2778918" y="3388518"/>
            <a:ext cx="80963" cy="90488"/>
          </a:xfrm>
          <a:custGeom>
            <a:avLst/>
            <a:gdLst>
              <a:gd name="T0" fmla="*/ 64 w 68"/>
              <a:gd name="T1" fmla="*/ 4 h 76"/>
              <a:gd name="T2" fmla="*/ 64 w 68"/>
              <a:gd name="T3" fmla="*/ 8 h 76"/>
              <a:gd name="T4" fmla="*/ 64 w 68"/>
              <a:gd name="T5" fmla="*/ 12 h 76"/>
              <a:gd name="T6" fmla="*/ 64 w 68"/>
              <a:gd name="T7" fmla="*/ 20 h 76"/>
              <a:gd name="T8" fmla="*/ 60 w 68"/>
              <a:gd name="T9" fmla="*/ 24 h 76"/>
              <a:gd name="T10" fmla="*/ 60 w 68"/>
              <a:gd name="T11" fmla="*/ 30 h 76"/>
              <a:gd name="T12" fmla="*/ 60 w 68"/>
              <a:gd name="T13" fmla="*/ 34 h 76"/>
              <a:gd name="T14" fmla="*/ 60 w 68"/>
              <a:gd name="T15" fmla="*/ 42 h 76"/>
              <a:gd name="T16" fmla="*/ 60 w 68"/>
              <a:gd name="T17" fmla="*/ 46 h 76"/>
              <a:gd name="T18" fmla="*/ 60 w 68"/>
              <a:gd name="T19" fmla="*/ 46 h 76"/>
              <a:gd name="T20" fmla="*/ 60 w 68"/>
              <a:gd name="T21" fmla="*/ 46 h 76"/>
              <a:gd name="T22" fmla="*/ 60 w 68"/>
              <a:gd name="T23" fmla="*/ 42 h 76"/>
              <a:gd name="T24" fmla="*/ 56 w 68"/>
              <a:gd name="T25" fmla="*/ 46 h 76"/>
              <a:gd name="T26" fmla="*/ 56 w 68"/>
              <a:gd name="T27" fmla="*/ 54 h 76"/>
              <a:gd name="T28" fmla="*/ 56 w 68"/>
              <a:gd name="T29" fmla="*/ 58 h 76"/>
              <a:gd name="T30" fmla="*/ 56 w 68"/>
              <a:gd name="T31" fmla="*/ 58 h 76"/>
              <a:gd name="T32" fmla="*/ 60 w 68"/>
              <a:gd name="T33" fmla="*/ 60 h 76"/>
              <a:gd name="T34" fmla="*/ 56 w 68"/>
              <a:gd name="T35" fmla="*/ 64 h 76"/>
              <a:gd name="T36" fmla="*/ 56 w 68"/>
              <a:gd name="T37" fmla="*/ 68 h 76"/>
              <a:gd name="T38" fmla="*/ 56 w 68"/>
              <a:gd name="T39" fmla="*/ 72 h 76"/>
              <a:gd name="T40" fmla="*/ 60 w 68"/>
              <a:gd name="T41" fmla="*/ 76 h 76"/>
              <a:gd name="T42" fmla="*/ 56 w 68"/>
              <a:gd name="T43" fmla="*/ 76 h 76"/>
              <a:gd name="T44" fmla="*/ 52 w 68"/>
              <a:gd name="T45" fmla="*/ 76 h 76"/>
              <a:gd name="T46" fmla="*/ 48 w 68"/>
              <a:gd name="T47" fmla="*/ 76 h 76"/>
              <a:gd name="T48" fmla="*/ 38 w 68"/>
              <a:gd name="T49" fmla="*/ 72 h 76"/>
              <a:gd name="T50" fmla="*/ 38 w 68"/>
              <a:gd name="T51" fmla="*/ 72 h 76"/>
              <a:gd name="T52" fmla="*/ 30 w 68"/>
              <a:gd name="T53" fmla="*/ 68 h 76"/>
              <a:gd name="T54" fmla="*/ 26 w 68"/>
              <a:gd name="T55" fmla="*/ 68 h 76"/>
              <a:gd name="T56" fmla="*/ 22 w 68"/>
              <a:gd name="T57" fmla="*/ 64 h 76"/>
              <a:gd name="T58" fmla="*/ 20 w 68"/>
              <a:gd name="T59" fmla="*/ 58 h 76"/>
              <a:gd name="T60" fmla="*/ 16 w 68"/>
              <a:gd name="T61" fmla="*/ 54 h 76"/>
              <a:gd name="T62" fmla="*/ 16 w 68"/>
              <a:gd name="T63" fmla="*/ 50 h 76"/>
              <a:gd name="T64" fmla="*/ 12 w 68"/>
              <a:gd name="T65" fmla="*/ 46 h 76"/>
              <a:gd name="T66" fmla="*/ 4 w 68"/>
              <a:gd name="T67" fmla="*/ 42 h 76"/>
              <a:gd name="T68" fmla="*/ 0 w 68"/>
              <a:gd name="T69" fmla="*/ 38 h 76"/>
              <a:gd name="T70" fmla="*/ 4 w 68"/>
              <a:gd name="T71" fmla="*/ 38 h 76"/>
              <a:gd name="T72" fmla="*/ 8 w 68"/>
              <a:gd name="T73" fmla="*/ 38 h 76"/>
              <a:gd name="T74" fmla="*/ 12 w 68"/>
              <a:gd name="T75" fmla="*/ 38 h 76"/>
              <a:gd name="T76" fmla="*/ 12 w 68"/>
              <a:gd name="T77" fmla="*/ 34 h 76"/>
              <a:gd name="T78" fmla="*/ 16 w 68"/>
              <a:gd name="T79" fmla="*/ 30 h 76"/>
              <a:gd name="T80" fmla="*/ 16 w 68"/>
              <a:gd name="T81" fmla="*/ 30 h 76"/>
              <a:gd name="T82" fmla="*/ 16 w 68"/>
              <a:gd name="T83" fmla="*/ 24 h 76"/>
              <a:gd name="T84" fmla="*/ 22 w 68"/>
              <a:gd name="T85" fmla="*/ 20 h 76"/>
              <a:gd name="T86" fmla="*/ 26 w 68"/>
              <a:gd name="T87" fmla="*/ 20 h 76"/>
              <a:gd name="T88" fmla="*/ 30 w 68"/>
              <a:gd name="T89" fmla="*/ 24 h 76"/>
              <a:gd name="T90" fmla="*/ 34 w 68"/>
              <a:gd name="T91" fmla="*/ 16 h 76"/>
              <a:gd name="T92" fmla="*/ 34 w 68"/>
              <a:gd name="T93" fmla="*/ 16 h 76"/>
              <a:gd name="T94" fmla="*/ 38 w 68"/>
              <a:gd name="T95" fmla="*/ 12 h 76"/>
              <a:gd name="T96" fmla="*/ 38 w 68"/>
              <a:gd name="T97" fmla="*/ 12 h 76"/>
              <a:gd name="T98" fmla="*/ 38 w 68"/>
              <a:gd name="T99" fmla="*/ 8 h 76"/>
              <a:gd name="T100" fmla="*/ 46 w 68"/>
              <a:gd name="T101" fmla="*/ 8 h 76"/>
              <a:gd name="T102" fmla="*/ 52 w 68"/>
              <a:gd name="T103" fmla="*/ 8 h 76"/>
              <a:gd name="T104" fmla="*/ 60 w 68"/>
              <a:gd name="T105" fmla="*/ 4 h 76"/>
              <a:gd name="T106" fmla="*/ 64 w 68"/>
              <a:gd name="T107"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8" h="76">
                <a:moveTo>
                  <a:pt x="68" y="0"/>
                </a:moveTo>
                <a:lnTo>
                  <a:pt x="64" y="4"/>
                </a:lnTo>
                <a:lnTo>
                  <a:pt x="64" y="4"/>
                </a:lnTo>
                <a:lnTo>
                  <a:pt x="64" y="4"/>
                </a:lnTo>
                <a:lnTo>
                  <a:pt x="64" y="4"/>
                </a:lnTo>
                <a:lnTo>
                  <a:pt x="64" y="4"/>
                </a:lnTo>
                <a:lnTo>
                  <a:pt x="60" y="4"/>
                </a:lnTo>
                <a:lnTo>
                  <a:pt x="64" y="8"/>
                </a:lnTo>
                <a:lnTo>
                  <a:pt x="64" y="8"/>
                </a:lnTo>
                <a:lnTo>
                  <a:pt x="64" y="8"/>
                </a:lnTo>
                <a:lnTo>
                  <a:pt x="64" y="8"/>
                </a:lnTo>
                <a:lnTo>
                  <a:pt x="64" y="8"/>
                </a:lnTo>
                <a:lnTo>
                  <a:pt x="64" y="12"/>
                </a:lnTo>
                <a:lnTo>
                  <a:pt x="64" y="12"/>
                </a:lnTo>
                <a:lnTo>
                  <a:pt x="64" y="12"/>
                </a:lnTo>
                <a:lnTo>
                  <a:pt x="64" y="16"/>
                </a:lnTo>
                <a:lnTo>
                  <a:pt x="64" y="16"/>
                </a:lnTo>
                <a:lnTo>
                  <a:pt x="64" y="16"/>
                </a:lnTo>
                <a:lnTo>
                  <a:pt x="64" y="16"/>
                </a:lnTo>
                <a:lnTo>
                  <a:pt x="64" y="20"/>
                </a:lnTo>
                <a:lnTo>
                  <a:pt x="64" y="20"/>
                </a:lnTo>
                <a:lnTo>
                  <a:pt x="64" y="20"/>
                </a:lnTo>
                <a:lnTo>
                  <a:pt x="60" y="20"/>
                </a:lnTo>
                <a:lnTo>
                  <a:pt x="60" y="20"/>
                </a:lnTo>
                <a:lnTo>
                  <a:pt x="60" y="24"/>
                </a:lnTo>
                <a:lnTo>
                  <a:pt x="60" y="24"/>
                </a:lnTo>
                <a:lnTo>
                  <a:pt x="60" y="24"/>
                </a:lnTo>
                <a:lnTo>
                  <a:pt x="60" y="28"/>
                </a:lnTo>
                <a:lnTo>
                  <a:pt x="60" y="30"/>
                </a:lnTo>
                <a:lnTo>
                  <a:pt x="60" y="30"/>
                </a:lnTo>
                <a:lnTo>
                  <a:pt x="60" y="30"/>
                </a:lnTo>
                <a:lnTo>
                  <a:pt x="60" y="30"/>
                </a:lnTo>
                <a:lnTo>
                  <a:pt x="60" y="34"/>
                </a:lnTo>
                <a:lnTo>
                  <a:pt x="60" y="34"/>
                </a:lnTo>
                <a:lnTo>
                  <a:pt x="60" y="34"/>
                </a:lnTo>
                <a:lnTo>
                  <a:pt x="60" y="34"/>
                </a:lnTo>
                <a:lnTo>
                  <a:pt x="60" y="38"/>
                </a:lnTo>
                <a:lnTo>
                  <a:pt x="60" y="38"/>
                </a:lnTo>
                <a:lnTo>
                  <a:pt x="60" y="38"/>
                </a:lnTo>
                <a:lnTo>
                  <a:pt x="60" y="42"/>
                </a:lnTo>
                <a:lnTo>
                  <a:pt x="60" y="42"/>
                </a:lnTo>
                <a:lnTo>
                  <a:pt x="60" y="46"/>
                </a:lnTo>
                <a:lnTo>
                  <a:pt x="60" y="46"/>
                </a:lnTo>
                <a:lnTo>
                  <a:pt x="60" y="46"/>
                </a:lnTo>
                <a:lnTo>
                  <a:pt x="60" y="46"/>
                </a:lnTo>
                <a:lnTo>
                  <a:pt x="60" y="46"/>
                </a:lnTo>
                <a:lnTo>
                  <a:pt x="60" y="46"/>
                </a:lnTo>
                <a:lnTo>
                  <a:pt x="60" y="50"/>
                </a:lnTo>
                <a:lnTo>
                  <a:pt x="60" y="50"/>
                </a:lnTo>
                <a:lnTo>
                  <a:pt x="60" y="46"/>
                </a:lnTo>
                <a:lnTo>
                  <a:pt x="60" y="46"/>
                </a:lnTo>
                <a:lnTo>
                  <a:pt x="60" y="46"/>
                </a:lnTo>
                <a:lnTo>
                  <a:pt x="60" y="46"/>
                </a:lnTo>
                <a:lnTo>
                  <a:pt x="60" y="46"/>
                </a:lnTo>
                <a:lnTo>
                  <a:pt x="60" y="46"/>
                </a:lnTo>
                <a:lnTo>
                  <a:pt x="60" y="42"/>
                </a:lnTo>
                <a:lnTo>
                  <a:pt x="60" y="42"/>
                </a:lnTo>
                <a:lnTo>
                  <a:pt x="60" y="42"/>
                </a:lnTo>
                <a:lnTo>
                  <a:pt x="60" y="42"/>
                </a:lnTo>
                <a:lnTo>
                  <a:pt x="60" y="42"/>
                </a:lnTo>
                <a:lnTo>
                  <a:pt x="60" y="42"/>
                </a:lnTo>
                <a:lnTo>
                  <a:pt x="60" y="42"/>
                </a:lnTo>
                <a:lnTo>
                  <a:pt x="60" y="42"/>
                </a:lnTo>
                <a:lnTo>
                  <a:pt x="60" y="42"/>
                </a:lnTo>
                <a:lnTo>
                  <a:pt x="56" y="46"/>
                </a:lnTo>
                <a:lnTo>
                  <a:pt x="56" y="46"/>
                </a:lnTo>
                <a:lnTo>
                  <a:pt x="56" y="50"/>
                </a:lnTo>
                <a:lnTo>
                  <a:pt x="56" y="50"/>
                </a:lnTo>
                <a:lnTo>
                  <a:pt x="56" y="50"/>
                </a:lnTo>
                <a:lnTo>
                  <a:pt x="56" y="54"/>
                </a:lnTo>
                <a:lnTo>
                  <a:pt x="56" y="54"/>
                </a:lnTo>
                <a:lnTo>
                  <a:pt x="56" y="54"/>
                </a:lnTo>
                <a:lnTo>
                  <a:pt x="56" y="54"/>
                </a:lnTo>
                <a:lnTo>
                  <a:pt x="56" y="58"/>
                </a:lnTo>
                <a:lnTo>
                  <a:pt x="56" y="58"/>
                </a:lnTo>
                <a:lnTo>
                  <a:pt x="56" y="58"/>
                </a:lnTo>
                <a:lnTo>
                  <a:pt x="56" y="58"/>
                </a:lnTo>
                <a:lnTo>
                  <a:pt x="56" y="58"/>
                </a:lnTo>
                <a:lnTo>
                  <a:pt x="56" y="58"/>
                </a:lnTo>
                <a:lnTo>
                  <a:pt x="56" y="58"/>
                </a:lnTo>
                <a:lnTo>
                  <a:pt x="56" y="58"/>
                </a:lnTo>
                <a:lnTo>
                  <a:pt x="56" y="58"/>
                </a:lnTo>
                <a:lnTo>
                  <a:pt x="56" y="58"/>
                </a:lnTo>
                <a:lnTo>
                  <a:pt x="56" y="60"/>
                </a:lnTo>
                <a:lnTo>
                  <a:pt x="60" y="60"/>
                </a:lnTo>
                <a:lnTo>
                  <a:pt x="60" y="60"/>
                </a:lnTo>
                <a:lnTo>
                  <a:pt x="56" y="60"/>
                </a:lnTo>
                <a:lnTo>
                  <a:pt x="56" y="60"/>
                </a:lnTo>
                <a:lnTo>
                  <a:pt x="56" y="64"/>
                </a:lnTo>
                <a:lnTo>
                  <a:pt x="56" y="64"/>
                </a:lnTo>
                <a:lnTo>
                  <a:pt x="56" y="64"/>
                </a:lnTo>
                <a:lnTo>
                  <a:pt x="56" y="64"/>
                </a:lnTo>
                <a:lnTo>
                  <a:pt x="56" y="68"/>
                </a:lnTo>
                <a:lnTo>
                  <a:pt x="56" y="68"/>
                </a:lnTo>
                <a:lnTo>
                  <a:pt x="56" y="68"/>
                </a:lnTo>
                <a:lnTo>
                  <a:pt x="56" y="72"/>
                </a:lnTo>
                <a:lnTo>
                  <a:pt x="56" y="72"/>
                </a:lnTo>
                <a:lnTo>
                  <a:pt x="56" y="72"/>
                </a:lnTo>
                <a:lnTo>
                  <a:pt x="56" y="72"/>
                </a:lnTo>
                <a:lnTo>
                  <a:pt x="56" y="72"/>
                </a:lnTo>
                <a:lnTo>
                  <a:pt x="60" y="72"/>
                </a:lnTo>
                <a:lnTo>
                  <a:pt x="60" y="72"/>
                </a:lnTo>
                <a:lnTo>
                  <a:pt x="60" y="72"/>
                </a:lnTo>
                <a:lnTo>
                  <a:pt x="60" y="76"/>
                </a:lnTo>
                <a:lnTo>
                  <a:pt x="60" y="76"/>
                </a:lnTo>
                <a:lnTo>
                  <a:pt x="56" y="76"/>
                </a:lnTo>
                <a:lnTo>
                  <a:pt x="56" y="76"/>
                </a:lnTo>
                <a:lnTo>
                  <a:pt x="56" y="76"/>
                </a:lnTo>
                <a:lnTo>
                  <a:pt x="56" y="76"/>
                </a:lnTo>
                <a:lnTo>
                  <a:pt x="56" y="76"/>
                </a:lnTo>
                <a:lnTo>
                  <a:pt x="56" y="76"/>
                </a:lnTo>
                <a:lnTo>
                  <a:pt x="56" y="76"/>
                </a:lnTo>
                <a:lnTo>
                  <a:pt x="52" y="76"/>
                </a:lnTo>
                <a:lnTo>
                  <a:pt x="52" y="76"/>
                </a:lnTo>
                <a:lnTo>
                  <a:pt x="52" y="76"/>
                </a:lnTo>
                <a:lnTo>
                  <a:pt x="52" y="76"/>
                </a:lnTo>
                <a:lnTo>
                  <a:pt x="52" y="76"/>
                </a:lnTo>
                <a:lnTo>
                  <a:pt x="52" y="76"/>
                </a:lnTo>
                <a:lnTo>
                  <a:pt x="52" y="76"/>
                </a:lnTo>
                <a:lnTo>
                  <a:pt x="48" y="76"/>
                </a:lnTo>
                <a:lnTo>
                  <a:pt x="48" y="72"/>
                </a:lnTo>
                <a:lnTo>
                  <a:pt x="48" y="72"/>
                </a:lnTo>
                <a:lnTo>
                  <a:pt x="46" y="72"/>
                </a:lnTo>
                <a:lnTo>
                  <a:pt x="42" y="72"/>
                </a:lnTo>
                <a:lnTo>
                  <a:pt x="38" y="72"/>
                </a:lnTo>
                <a:lnTo>
                  <a:pt x="38" y="72"/>
                </a:lnTo>
                <a:lnTo>
                  <a:pt x="38" y="72"/>
                </a:lnTo>
                <a:lnTo>
                  <a:pt x="38" y="72"/>
                </a:lnTo>
                <a:lnTo>
                  <a:pt x="38" y="72"/>
                </a:lnTo>
                <a:lnTo>
                  <a:pt x="38" y="72"/>
                </a:lnTo>
                <a:lnTo>
                  <a:pt x="34" y="72"/>
                </a:lnTo>
                <a:lnTo>
                  <a:pt x="34" y="68"/>
                </a:lnTo>
                <a:lnTo>
                  <a:pt x="34" y="68"/>
                </a:lnTo>
                <a:lnTo>
                  <a:pt x="30" y="68"/>
                </a:lnTo>
                <a:lnTo>
                  <a:pt x="30" y="68"/>
                </a:lnTo>
                <a:lnTo>
                  <a:pt x="30" y="68"/>
                </a:lnTo>
                <a:lnTo>
                  <a:pt x="30" y="72"/>
                </a:lnTo>
                <a:lnTo>
                  <a:pt x="30" y="72"/>
                </a:lnTo>
                <a:lnTo>
                  <a:pt x="26" y="68"/>
                </a:lnTo>
                <a:lnTo>
                  <a:pt x="26" y="68"/>
                </a:lnTo>
                <a:lnTo>
                  <a:pt x="26" y="68"/>
                </a:lnTo>
                <a:lnTo>
                  <a:pt x="26" y="68"/>
                </a:lnTo>
                <a:lnTo>
                  <a:pt x="22" y="64"/>
                </a:lnTo>
                <a:lnTo>
                  <a:pt x="22" y="64"/>
                </a:lnTo>
                <a:lnTo>
                  <a:pt x="22" y="64"/>
                </a:lnTo>
                <a:lnTo>
                  <a:pt x="22" y="60"/>
                </a:lnTo>
                <a:lnTo>
                  <a:pt x="20" y="60"/>
                </a:lnTo>
                <a:lnTo>
                  <a:pt x="20" y="60"/>
                </a:lnTo>
                <a:lnTo>
                  <a:pt x="20" y="58"/>
                </a:lnTo>
                <a:lnTo>
                  <a:pt x="20" y="58"/>
                </a:lnTo>
                <a:lnTo>
                  <a:pt x="20" y="58"/>
                </a:lnTo>
                <a:lnTo>
                  <a:pt x="20" y="58"/>
                </a:lnTo>
                <a:lnTo>
                  <a:pt x="16" y="54"/>
                </a:lnTo>
                <a:lnTo>
                  <a:pt x="16" y="54"/>
                </a:lnTo>
                <a:lnTo>
                  <a:pt x="16" y="54"/>
                </a:lnTo>
                <a:lnTo>
                  <a:pt x="16" y="54"/>
                </a:lnTo>
                <a:lnTo>
                  <a:pt x="16" y="54"/>
                </a:lnTo>
                <a:lnTo>
                  <a:pt x="16" y="54"/>
                </a:lnTo>
                <a:lnTo>
                  <a:pt x="16" y="54"/>
                </a:lnTo>
                <a:lnTo>
                  <a:pt x="16" y="50"/>
                </a:lnTo>
                <a:lnTo>
                  <a:pt x="16" y="50"/>
                </a:lnTo>
                <a:lnTo>
                  <a:pt x="12" y="50"/>
                </a:lnTo>
                <a:lnTo>
                  <a:pt x="12" y="50"/>
                </a:lnTo>
                <a:lnTo>
                  <a:pt x="12" y="50"/>
                </a:lnTo>
                <a:lnTo>
                  <a:pt x="12" y="46"/>
                </a:lnTo>
                <a:lnTo>
                  <a:pt x="8" y="46"/>
                </a:lnTo>
                <a:lnTo>
                  <a:pt x="8" y="46"/>
                </a:lnTo>
                <a:lnTo>
                  <a:pt x="8" y="46"/>
                </a:lnTo>
                <a:lnTo>
                  <a:pt x="8" y="46"/>
                </a:lnTo>
                <a:lnTo>
                  <a:pt x="4" y="42"/>
                </a:lnTo>
                <a:lnTo>
                  <a:pt x="4" y="42"/>
                </a:lnTo>
                <a:lnTo>
                  <a:pt x="4" y="38"/>
                </a:lnTo>
                <a:lnTo>
                  <a:pt x="0" y="38"/>
                </a:lnTo>
                <a:lnTo>
                  <a:pt x="0" y="38"/>
                </a:lnTo>
                <a:lnTo>
                  <a:pt x="0" y="38"/>
                </a:lnTo>
                <a:lnTo>
                  <a:pt x="4" y="34"/>
                </a:lnTo>
                <a:lnTo>
                  <a:pt x="4" y="34"/>
                </a:lnTo>
                <a:lnTo>
                  <a:pt x="4" y="38"/>
                </a:lnTo>
                <a:lnTo>
                  <a:pt x="4" y="38"/>
                </a:lnTo>
                <a:lnTo>
                  <a:pt x="4" y="38"/>
                </a:lnTo>
                <a:lnTo>
                  <a:pt x="4" y="38"/>
                </a:lnTo>
                <a:lnTo>
                  <a:pt x="4" y="38"/>
                </a:lnTo>
                <a:lnTo>
                  <a:pt x="4" y="38"/>
                </a:lnTo>
                <a:lnTo>
                  <a:pt x="4" y="38"/>
                </a:lnTo>
                <a:lnTo>
                  <a:pt x="8" y="38"/>
                </a:lnTo>
                <a:lnTo>
                  <a:pt x="8" y="38"/>
                </a:lnTo>
                <a:lnTo>
                  <a:pt x="8" y="38"/>
                </a:lnTo>
                <a:lnTo>
                  <a:pt x="8" y="38"/>
                </a:lnTo>
                <a:lnTo>
                  <a:pt x="8" y="38"/>
                </a:lnTo>
                <a:lnTo>
                  <a:pt x="12" y="38"/>
                </a:lnTo>
                <a:lnTo>
                  <a:pt x="12" y="38"/>
                </a:lnTo>
                <a:lnTo>
                  <a:pt x="12" y="38"/>
                </a:lnTo>
                <a:lnTo>
                  <a:pt x="12" y="34"/>
                </a:lnTo>
                <a:lnTo>
                  <a:pt x="12" y="34"/>
                </a:lnTo>
                <a:lnTo>
                  <a:pt x="12" y="34"/>
                </a:lnTo>
                <a:lnTo>
                  <a:pt x="12" y="34"/>
                </a:lnTo>
                <a:lnTo>
                  <a:pt x="12" y="30"/>
                </a:lnTo>
                <a:lnTo>
                  <a:pt x="16" y="30"/>
                </a:lnTo>
                <a:lnTo>
                  <a:pt x="16" y="30"/>
                </a:lnTo>
                <a:lnTo>
                  <a:pt x="16" y="30"/>
                </a:lnTo>
                <a:lnTo>
                  <a:pt x="16" y="30"/>
                </a:lnTo>
                <a:lnTo>
                  <a:pt x="16" y="30"/>
                </a:lnTo>
                <a:lnTo>
                  <a:pt x="16" y="30"/>
                </a:lnTo>
                <a:lnTo>
                  <a:pt x="16" y="30"/>
                </a:lnTo>
                <a:lnTo>
                  <a:pt x="16" y="30"/>
                </a:lnTo>
                <a:lnTo>
                  <a:pt x="16" y="28"/>
                </a:lnTo>
                <a:lnTo>
                  <a:pt x="16" y="24"/>
                </a:lnTo>
                <a:lnTo>
                  <a:pt x="16" y="24"/>
                </a:lnTo>
                <a:lnTo>
                  <a:pt x="16" y="24"/>
                </a:lnTo>
                <a:lnTo>
                  <a:pt x="16" y="24"/>
                </a:lnTo>
                <a:lnTo>
                  <a:pt x="20" y="24"/>
                </a:lnTo>
                <a:lnTo>
                  <a:pt x="20" y="24"/>
                </a:lnTo>
                <a:lnTo>
                  <a:pt x="20" y="24"/>
                </a:lnTo>
                <a:lnTo>
                  <a:pt x="22" y="20"/>
                </a:lnTo>
                <a:lnTo>
                  <a:pt x="22" y="20"/>
                </a:lnTo>
                <a:lnTo>
                  <a:pt x="22" y="20"/>
                </a:lnTo>
                <a:lnTo>
                  <a:pt x="26" y="20"/>
                </a:lnTo>
                <a:lnTo>
                  <a:pt x="26" y="20"/>
                </a:lnTo>
                <a:lnTo>
                  <a:pt x="26" y="20"/>
                </a:lnTo>
                <a:lnTo>
                  <a:pt x="26" y="20"/>
                </a:lnTo>
                <a:lnTo>
                  <a:pt x="26" y="24"/>
                </a:lnTo>
                <a:lnTo>
                  <a:pt x="26" y="24"/>
                </a:lnTo>
                <a:lnTo>
                  <a:pt x="30" y="24"/>
                </a:lnTo>
                <a:lnTo>
                  <a:pt x="30" y="24"/>
                </a:lnTo>
                <a:lnTo>
                  <a:pt x="30" y="24"/>
                </a:lnTo>
                <a:lnTo>
                  <a:pt x="30" y="24"/>
                </a:lnTo>
                <a:lnTo>
                  <a:pt x="30" y="20"/>
                </a:lnTo>
                <a:lnTo>
                  <a:pt x="30" y="20"/>
                </a:lnTo>
                <a:lnTo>
                  <a:pt x="30" y="20"/>
                </a:lnTo>
                <a:lnTo>
                  <a:pt x="34" y="16"/>
                </a:lnTo>
                <a:lnTo>
                  <a:pt x="34" y="16"/>
                </a:lnTo>
                <a:lnTo>
                  <a:pt x="34" y="16"/>
                </a:lnTo>
                <a:lnTo>
                  <a:pt x="34" y="16"/>
                </a:lnTo>
                <a:lnTo>
                  <a:pt x="34" y="16"/>
                </a:lnTo>
                <a:lnTo>
                  <a:pt x="34" y="16"/>
                </a:lnTo>
                <a:lnTo>
                  <a:pt x="34" y="16"/>
                </a:lnTo>
                <a:lnTo>
                  <a:pt x="34" y="16"/>
                </a:lnTo>
                <a:lnTo>
                  <a:pt x="38" y="16"/>
                </a:lnTo>
                <a:lnTo>
                  <a:pt x="38" y="16"/>
                </a:lnTo>
                <a:lnTo>
                  <a:pt x="38" y="12"/>
                </a:lnTo>
                <a:lnTo>
                  <a:pt x="38" y="12"/>
                </a:lnTo>
                <a:lnTo>
                  <a:pt x="38" y="12"/>
                </a:lnTo>
                <a:lnTo>
                  <a:pt x="38" y="12"/>
                </a:lnTo>
                <a:lnTo>
                  <a:pt x="38" y="12"/>
                </a:lnTo>
                <a:lnTo>
                  <a:pt x="38" y="12"/>
                </a:lnTo>
                <a:lnTo>
                  <a:pt x="38" y="8"/>
                </a:lnTo>
                <a:lnTo>
                  <a:pt x="38" y="8"/>
                </a:lnTo>
                <a:lnTo>
                  <a:pt x="38" y="8"/>
                </a:lnTo>
                <a:lnTo>
                  <a:pt x="38" y="8"/>
                </a:lnTo>
                <a:lnTo>
                  <a:pt x="38" y="8"/>
                </a:lnTo>
                <a:lnTo>
                  <a:pt x="38" y="8"/>
                </a:lnTo>
                <a:lnTo>
                  <a:pt x="42" y="4"/>
                </a:lnTo>
                <a:lnTo>
                  <a:pt x="42" y="4"/>
                </a:lnTo>
                <a:lnTo>
                  <a:pt x="42" y="4"/>
                </a:lnTo>
                <a:lnTo>
                  <a:pt x="46" y="8"/>
                </a:lnTo>
                <a:lnTo>
                  <a:pt x="46" y="8"/>
                </a:lnTo>
                <a:lnTo>
                  <a:pt x="48" y="8"/>
                </a:lnTo>
                <a:lnTo>
                  <a:pt x="48" y="8"/>
                </a:lnTo>
                <a:lnTo>
                  <a:pt x="52" y="8"/>
                </a:lnTo>
                <a:lnTo>
                  <a:pt x="52" y="8"/>
                </a:lnTo>
                <a:lnTo>
                  <a:pt x="52" y="8"/>
                </a:lnTo>
                <a:lnTo>
                  <a:pt x="56" y="4"/>
                </a:lnTo>
                <a:lnTo>
                  <a:pt x="56" y="4"/>
                </a:lnTo>
                <a:lnTo>
                  <a:pt x="60" y="4"/>
                </a:lnTo>
                <a:lnTo>
                  <a:pt x="60" y="4"/>
                </a:lnTo>
                <a:lnTo>
                  <a:pt x="60" y="0"/>
                </a:lnTo>
                <a:lnTo>
                  <a:pt x="64" y="0"/>
                </a:lnTo>
                <a:lnTo>
                  <a:pt x="64" y="0"/>
                </a:lnTo>
                <a:lnTo>
                  <a:pt x="64" y="0"/>
                </a:lnTo>
                <a:lnTo>
                  <a:pt x="64" y="0"/>
                </a:lnTo>
                <a:lnTo>
                  <a:pt x="64" y="0"/>
                </a:lnTo>
                <a:lnTo>
                  <a:pt x="68" y="0"/>
                </a:lnTo>
                <a:lnTo>
                  <a:pt x="68" y="0"/>
                </a:lnTo>
                <a:lnTo>
                  <a:pt x="68" y="0"/>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74" name="Freeform 81"/>
          <p:cNvSpPr>
            <a:spLocks noEditPoints="1"/>
          </p:cNvSpPr>
          <p:nvPr/>
        </p:nvSpPr>
        <p:spPr bwMode="auto">
          <a:xfrm>
            <a:off x="2859881" y="3500437"/>
            <a:ext cx="97631" cy="50006"/>
          </a:xfrm>
          <a:custGeom>
            <a:avLst/>
            <a:gdLst>
              <a:gd name="T0" fmla="*/ 38 w 82"/>
              <a:gd name="T1" fmla="*/ 22 h 42"/>
              <a:gd name="T2" fmla="*/ 38 w 82"/>
              <a:gd name="T3" fmla="*/ 30 h 42"/>
              <a:gd name="T4" fmla="*/ 40 w 82"/>
              <a:gd name="T5" fmla="*/ 34 h 42"/>
              <a:gd name="T6" fmla="*/ 40 w 82"/>
              <a:gd name="T7" fmla="*/ 38 h 42"/>
              <a:gd name="T8" fmla="*/ 34 w 82"/>
              <a:gd name="T9" fmla="*/ 42 h 42"/>
              <a:gd name="T10" fmla="*/ 30 w 82"/>
              <a:gd name="T11" fmla="*/ 42 h 42"/>
              <a:gd name="T12" fmla="*/ 30 w 82"/>
              <a:gd name="T13" fmla="*/ 34 h 42"/>
              <a:gd name="T14" fmla="*/ 26 w 82"/>
              <a:gd name="T15" fmla="*/ 30 h 42"/>
              <a:gd name="T16" fmla="*/ 22 w 82"/>
              <a:gd name="T17" fmla="*/ 34 h 42"/>
              <a:gd name="T18" fmla="*/ 18 w 82"/>
              <a:gd name="T19" fmla="*/ 30 h 42"/>
              <a:gd name="T20" fmla="*/ 18 w 82"/>
              <a:gd name="T21" fmla="*/ 26 h 42"/>
              <a:gd name="T22" fmla="*/ 10 w 82"/>
              <a:gd name="T23" fmla="*/ 26 h 42"/>
              <a:gd name="T24" fmla="*/ 8 w 82"/>
              <a:gd name="T25" fmla="*/ 26 h 42"/>
              <a:gd name="T26" fmla="*/ 4 w 82"/>
              <a:gd name="T27" fmla="*/ 22 h 42"/>
              <a:gd name="T28" fmla="*/ 4 w 82"/>
              <a:gd name="T29" fmla="*/ 30 h 42"/>
              <a:gd name="T30" fmla="*/ 0 w 82"/>
              <a:gd name="T31" fmla="*/ 26 h 42"/>
              <a:gd name="T32" fmla="*/ 4 w 82"/>
              <a:gd name="T33" fmla="*/ 22 h 42"/>
              <a:gd name="T34" fmla="*/ 0 w 82"/>
              <a:gd name="T35" fmla="*/ 16 h 42"/>
              <a:gd name="T36" fmla="*/ 0 w 82"/>
              <a:gd name="T37" fmla="*/ 12 h 42"/>
              <a:gd name="T38" fmla="*/ 4 w 82"/>
              <a:gd name="T39" fmla="*/ 0 h 42"/>
              <a:gd name="T40" fmla="*/ 8 w 82"/>
              <a:gd name="T41" fmla="*/ 4 h 42"/>
              <a:gd name="T42" fmla="*/ 10 w 82"/>
              <a:gd name="T43" fmla="*/ 12 h 42"/>
              <a:gd name="T44" fmla="*/ 14 w 82"/>
              <a:gd name="T45" fmla="*/ 12 h 42"/>
              <a:gd name="T46" fmla="*/ 18 w 82"/>
              <a:gd name="T47" fmla="*/ 16 h 42"/>
              <a:gd name="T48" fmla="*/ 26 w 82"/>
              <a:gd name="T49" fmla="*/ 16 h 42"/>
              <a:gd name="T50" fmla="*/ 30 w 82"/>
              <a:gd name="T51" fmla="*/ 16 h 42"/>
              <a:gd name="T52" fmla="*/ 38 w 82"/>
              <a:gd name="T53" fmla="*/ 12 h 42"/>
              <a:gd name="T54" fmla="*/ 40 w 82"/>
              <a:gd name="T55" fmla="*/ 8 h 42"/>
              <a:gd name="T56" fmla="*/ 48 w 82"/>
              <a:gd name="T57" fmla="*/ 4 h 42"/>
              <a:gd name="T58" fmla="*/ 56 w 82"/>
              <a:gd name="T59" fmla="*/ 4 h 42"/>
              <a:gd name="T60" fmla="*/ 56 w 82"/>
              <a:gd name="T61" fmla="*/ 4 h 42"/>
              <a:gd name="T62" fmla="*/ 64 w 82"/>
              <a:gd name="T63" fmla="*/ 4 h 42"/>
              <a:gd name="T64" fmla="*/ 70 w 82"/>
              <a:gd name="T65" fmla="*/ 12 h 42"/>
              <a:gd name="T66" fmla="*/ 78 w 82"/>
              <a:gd name="T67" fmla="*/ 16 h 42"/>
              <a:gd name="T68" fmla="*/ 78 w 82"/>
              <a:gd name="T69" fmla="*/ 18 h 42"/>
              <a:gd name="T70" fmla="*/ 78 w 82"/>
              <a:gd name="T71" fmla="*/ 22 h 42"/>
              <a:gd name="T72" fmla="*/ 82 w 82"/>
              <a:gd name="T73" fmla="*/ 26 h 42"/>
              <a:gd name="T74" fmla="*/ 82 w 82"/>
              <a:gd name="T75" fmla="*/ 34 h 42"/>
              <a:gd name="T76" fmla="*/ 74 w 82"/>
              <a:gd name="T77" fmla="*/ 34 h 42"/>
              <a:gd name="T78" fmla="*/ 74 w 82"/>
              <a:gd name="T79" fmla="*/ 38 h 42"/>
              <a:gd name="T80" fmla="*/ 68 w 82"/>
              <a:gd name="T81" fmla="*/ 38 h 42"/>
              <a:gd name="T82" fmla="*/ 68 w 82"/>
              <a:gd name="T83" fmla="*/ 30 h 42"/>
              <a:gd name="T84" fmla="*/ 68 w 82"/>
              <a:gd name="T85" fmla="*/ 30 h 42"/>
              <a:gd name="T86" fmla="*/ 68 w 82"/>
              <a:gd name="T87" fmla="*/ 26 h 42"/>
              <a:gd name="T88" fmla="*/ 70 w 82"/>
              <a:gd name="T89" fmla="*/ 26 h 42"/>
              <a:gd name="T90" fmla="*/ 74 w 82"/>
              <a:gd name="T91" fmla="*/ 26 h 42"/>
              <a:gd name="T92" fmla="*/ 70 w 82"/>
              <a:gd name="T93" fmla="*/ 22 h 42"/>
              <a:gd name="T94" fmla="*/ 64 w 82"/>
              <a:gd name="T95" fmla="*/ 22 h 42"/>
              <a:gd name="T96" fmla="*/ 60 w 82"/>
              <a:gd name="T97" fmla="*/ 16 h 42"/>
              <a:gd name="T98" fmla="*/ 56 w 82"/>
              <a:gd name="T99" fmla="*/ 12 h 42"/>
              <a:gd name="T100" fmla="*/ 56 w 82"/>
              <a:gd name="T101" fmla="*/ 12 h 42"/>
              <a:gd name="T102" fmla="*/ 48 w 82"/>
              <a:gd name="T103" fmla="*/ 12 h 42"/>
              <a:gd name="T104" fmla="*/ 44 w 82"/>
              <a:gd name="T105" fmla="*/ 16 h 42"/>
              <a:gd name="T106" fmla="*/ 40 w 82"/>
              <a:gd name="T107" fmla="*/ 22 h 42"/>
              <a:gd name="T108" fmla="*/ 10 w 82"/>
              <a:gd name="T109" fmla="*/ 8 h 42"/>
              <a:gd name="T110" fmla="*/ 60 w 82"/>
              <a:gd name="T111" fmla="*/ 22 h 42"/>
              <a:gd name="T112" fmla="*/ 56 w 82"/>
              <a:gd name="T113" fmla="*/ 22 h 42"/>
              <a:gd name="T114" fmla="*/ 18 w 82"/>
              <a:gd name="T115" fmla="*/ 38 h 42"/>
              <a:gd name="T116" fmla="*/ 18 w 82"/>
              <a:gd name="T117" fmla="*/ 42 h 42"/>
              <a:gd name="T118" fmla="*/ 18 w 82"/>
              <a:gd name="T119" fmla="*/ 42 h 42"/>
              <a:gd name="T120" fmla="*/ 18 w 82"/>
              <a:gd name="T121" fmla="*/ 3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2" h="42">
                <a:moveTo>
                  <a:pt x="40" y="22"/>
                </a:moveTo>
                <a:lnTo>
                  <a:pt x="40" y="22"/>
                </a:lnTo>
                <a:lnTo>
                  <a:pt x="40" y="22"/>
                </a:lnTo>
                <a:lnTo>
                  <a:pt x="40" y="22"/>
                </a:lnTo>
                <a:lnTo>
                  <a:pt x="40" y="22"/>
                </a:lnTo>
                <a:lnTo>
                  <a:pt x="38" y="22"/>
                </a:lnTo>
                <a:lnTo>
                  <a:pt x="38" y="22"/>
                </a:lnTo>
                <a:lnTo>
                  <a:pt x="38" y="26"/>
                </a:lnTo>
                <a:lnTo>
                  <a:pt x="38" y="26"/>
                </a:lnTo>
                <a:lnTo>
                  <a:pt x="38" y="26"/>
                </a:lnTo>
                <a:lnTo>
                  <a:pt x="38" y="26"/>
                </a:lnTo>
                <a:lnTo>
                  <a:pt x="38" y="26"/>
                </a:lnTo>
                <a:lnTo>
                  <a:pt x="38" y="26"/>
                </a:lnTo>
                <a:lnTo>
                  <a:pt x="38" y="30"/>
                </a:lnTo>
                <a:lnTo>
                  <a:pt x="38" y="30"/>
                </a:lnTo>
                <a:lnTo>
                  <a:pt x="38" y="30"/>
                </a:lnTo>
                <a:lnTo>
                  <a:pt x="38" y="30"/>
                </a:lnTo>
                <a:lnTo>
                  <a:pt x="38" y="30"/>
                </a:lnTo>
                <a:lnTo>
                  <a:pt x="38" y="30"/>
                </a:lnTo>
                <a:lnTo>
                  <a:pt x="38" y="30"/>
                </a:lnTo>
                <a:lnTo>
                  <a:pt x="40" y="34"/>
                </a:lnTo>
                <a:lnTo>
                  <a:pt x="40" y="34"/>
                </a:lnTo>
                <a:lnTo>
                  <a:pt x="40" y="38"/>
                </a:lnTo>
                <a:lnTo>
                  <a:pt x="40" y="38"/>
                </a:lnTo>
                <a:lnTo>
                  <a:pt x="40" y="38"/>
                </a:lnTo>
                <a:lnTo>
                  <a:pt x="40" y="38"/>
                </a:lnTo>
                <a:lnTo>
                  <a:pt x="40" y="38"/>
                </a:lnTo>
                <a:lnTo>
                  <a:pt x="40" y="38"/>
                </a:lnTo>
                <a:lnTo>
                  <a:pt x="38" y="38"/>
                </a:lnTo>
                <a:lnTo>
                  <a:pt x="38" y="38"/>
                </a:lnTo>
                <a:lnTo>
                  <a:pt x="38" y="38"/>
                </a:lnTo>
                <a:lnTo>
                  <a:pt x="38" y="42"/>
                </a:lnTo>
                <a:lnTo>
                  <a:pt x="38" y="42"/>
                </a:lnTo>
                <a:lnTo>
                  <a:pt x="38" y="42"/>
                </a:lnTo>
                <a:lnTo>
                  <a:pt x="34" y="42"/>
                </a:lnTo>
                <a:lnTo>
                  <a:pt x="34" y="42"/>
                </a:lnTo>
                <a:lnTo>
                  <a:pt x="34" y="42"/>
                </a:lnTo>
                <a:lnTo>
                  <a:pt x="34" y="42"/>
                </a:lnTo>
                <a:lnTo>
                  <a:pt x="34" y="42"/>
                </a:lnTo>
                <a:lnTo>
                  <a:pt x="30" y="42"/>
                </a:lnTo>
                <a:lnTo>
                  <a:pt x="30" y="42"/>
                </a:lnTo>
                <a:lnTo>
                  <a:pt x="30" y="42"/>
                </a:lnTo>
                <a:lnTo>
                  <a:pt x="30" y="42"/>
                </a:lnTo>
                <a:lnTo>
                  <a:pt x="30" y="42"/>
                </a:lnTo>
                <a:lnTo>
                  <a:pt x="30" y="42"/>
                </a:lnTo>
                <a:lnTo>
                  <a:pt x="30" y="38"/>
                </a:lnTo>
                <a:lnTo>
                  <a:pt x="30" y="38"/>
                </a:lnTo>
                <a:lnTo>
                  <a:pt x="30" y="38"/>
                </a:lnTo>
                <a:lnTo>
                  <a:pt x="30" y="34"/>
                </a:lnTo>
                <a:lnTo>
                  <a:pt x="26" y="34"/>
                </a:lnTo>
                <a:lnTo>
                  <a:pt x="26" y="34"/>
                </a:lnTo>
                <a:lnTo>
                  <a:pt x="26" y="34"/>
                </a:lnTo>
                <a:lnTo>
                  <a:pt x="26" y="30"/>
                </a:lnTo>
                <a:lnTo>
                  <a:pt x="26" y="34"/>
                </a:lnTo>
                <a:lnTo>
                  <a:pt x="26" y="30"/>
                </a:lnTo>
                <a:lnTo>
                  <a:pt x="26" y="30"/>
                </a:lnTo>
                <a:lnTo>
                  <a:pt x="26" y="34"/>
                </a:lnTo>
                <a:lnTo>
                  <a:pt x="26" y="34"/>
                </a:lnTo>
                <a:lnTo>
                  <a:pt x="26" y="34"/>
                </a:lnTo>
                <a:lnTo>
                  <a:pt x="26" y="34"/>
                </a:lnTo>
                <a:lnTo>
                  <a:pt x="26" y="38"/>
                </a:lnTo>
                <a:lnTo>
                  <a:pt x="26" y="34"/>
                </a:lnTo>
                <a:lnTo>
                  <a:pt x="22" y="34"/>
                </a:lnTo>
                <a:lnTo>
                  <a:pt x="22" y="34"/>
                </a:lnTo>
                <a:lnTo>
                  <a:pt x="22" y="34"/>
                </a:lnTo>
                <a:lnTo>
                  <a:pt x="22" y="34"/>
                </a:lnTo>
                <a:lnTo>
                  <a:pt x="18" y="34"/>
                </a:lnTo>
                <a:lnTo>
                  <a:pt x="18" y="34"/>
                </a:lnTo>
                <a:lnTo>
                  <a:pt x="18" y="30"/>
                </a:lnTo>
                <a:lnTo>
                  <a:pt x="18" y="30"/>
                </a:lnTo>
                <a:lnTo>
                  <a:pt x="18" y="30"/>
                </a:lnTo>
                <a:lnTo>
                  <a:pt x="18" y="30"/>
                </a:lnTo>
                <a:lnTo>
                  <a:pt x="18" y="30"/>
                </a:lnTo>
                <a:lnTo>
                  <a:pt x="18" y="30"/>
                </a:lnTo>
                <a:lnTo>
                  <a:pt x="18" y="30"/>
                </a:lnTo>
                <a:lnTo>
                  <a:pt x="18" y="26"/>
                </a:lnTo>
                <a:lnTo>
                  <a:pt x="18" y="26"/>
                </a:lnTo>
                <a:lnTo>
                  <a:pt x="18" y="26"/>
                </a:lnTo>
                <a:lnTo>
                  <a:pt x="18" y="26"/>
                </a:lnTo>
                <a:lnTo>
                  <a:pt x="14" y="26"/>
                </a:lnTo>
                <a:lnTo>
                  <a:pt x="10" y="26"/>
                </a:lnTo>
                <a:lnTo>
                  <a:pt x="10" y="26"/>
                </a:lnTo>
                <a:lnTo>
                  <a:pt x="10" y="26"/>
                </a:lnTo>
                <a:lnTo>
                  <a:pt x="10" y="26"/>
                </a:lnTo>
                <a:lnTo>
                  <a:pt x="10" y="26"/>
                </a:lnTo>
                <a:lnTo>
                  <a:pt x="10" y="22"/>
                </a:lnTo>
                <a:lnTo>
                  <a:pt x="10" y="22"/>
                </a:lnTo>
                <a:lnTo>
                  <a:pt x="10" y="22"/>
                </a:lnTo>
                <a:lnTo>
                  <a:pt x="8" y="22"/>
                </a:lnTo>
                <a:lnTo>
                  <a:pt x="8" y="22"/>
                </a:lnTo>
                <a:lnTo>
                  <a:pt x="8" y="26"/>
                </a:lnTo>
                <a:lnTo>
                  <a:pt x="8" y="26"/>
                </a:lnTo>
                <a:lnTo>
                  <a:pt x="8" y="26"/>
                </a:lnTo>
                <a:lnTo>
                  <a:pt x="8" y="22"/>
                </a:lnTo>
                <a:lnTo>
                  <a:pt x="8" y="22"/>
                </a:lnTo>
                <a:lnTo>
                  <a:pt x="4" y="22"/>
                </a:lnTo>
                <a:lnTo>
                  <a:pt x="4" y="22"/>
                </a:lnTo>
                <a:lnTo>
                  <a:pt x="4" y="22"/>
                </a:lnTo>
                <a:lnTo>
                  <a:pt x="4" y="22"/>
                </a:lnTo>
                <a:lnTo>
                  <a:pt x="4" y="26"/>
                </a:lnTo>
                <a:lnTo>
                  <a:pt x="4" y="26"/>
                </a:lnTo>
                <a:lnTo>
                  <a:pt x="4" y="26"/>
                </a:lnTo>
                <a:lnTo>
                  <a:pt x="4" y="26"/>
                </a:lnTo>
                <a:lnTo>
                  <a:pt x="4" y="30"/>
                </a:lnTo>
                <a:lnTo>
                  <a:pt x="4" y="30"/>
                </a:lnTo>
                <a:lnTo>
                  <a:pt x="0" y="30"/>
                </a:lnTo>
                <a:lnTo>
                  <a:pt x="0" y="30"/>
                </a:lnTo>
                <a:lnTo>
                  <a:pt x="0" y="26"/>
                </a:lnTo>
                <a:lnTo>
                  <a:pt x="0" y="26"/>
                </a:lnTo>
                <a:lnTo>
                  <a:pt x="0" y="26"/>
                </a:lnTo>
                <a:lnTo>
                  <a:pt x="0" y="26"/>
                </a:lnTo>
                <a:lnTo>
                  <a:pt x="0" y="26"/>
                </a:lnTo>
                <a:lnTo>
                  <a:pt x="0" y="22"/>
                </a:lnTo>
                <a:lnTo>
                  <a:pt x="0" y="22"/>
                </a:lnTo>
                <a:lnTo>
                  <a:pt x="0" y="22"/>
                </a:lnTo>
                <a:lnTo>
                  <a:pt x="0" y="22"/>
                </a:lnTo>
                <a:lnTo>
                  <a:pt x="0" y="22"/>
                </a:lnTo>
                <a:lnTo>
                  <a:pt x="0" y="22"/>
                </a:lnTo>
                <a:lnTo>
                  <a:pt x="4" y="22"/>
                </a:lnTo>
                <a:lnTo>
                  <a:pt x="4" y="18"/>
                </a:lnTo>
                <a:lnTo>
                  <a:pt x="4" y="18"/>
                </a:lnTo>
                <a:lnTo>
                  <a:pt x="0" y="18"/>
                </a:lnTo>
                <a:lnTo>
                  <a:pt x="0" y="18"/>
                </a:lnTo>
                <a:lnTo>
                  <a:pt x="0" y="16"/>
                </a:lnTo>
                <a:lnTo>
                  <a:pt x="0" y="16"/>
                </a:lnTo>
                <a:lnTo>
                  <a:pt x="0" y="16"/>
                </a:lnTo>
                <a:lnTo>
                  <a:pt x="4" y="16"/>
                </a:lnTo>
                <a:lnTo>
                  <a:pt x="4" y="16"/>
                </a:lnTo>
                <a:lnTo>
                  <a:pt x="4" y="16"/>
                </a:lnTo>
                <a:lnTo>
                  <a:pt x="4" y="16"/>
                </a:lnTo>
                <a:lnTo>
                  <a:pt x="4" y="16"/>
                </a:lnTo>
                <a:lnTo>
                  <a:pt x="4" y="12"/>
                </a:lnTo>
                <a:lnTo>
                  <a:pt x="0" y="12"/>
                </a:lnTo>
                <a:lnTo>
                  <a:pt x="0" y="12"/>
                </a:lnTo>
                <a:lnTo>
                  <a:pt x="0" y="8"/>
                </a:lnTo>
                <a:lnTo>
                  <a:pt x="0" y="4"/>
                </a:lnTo>
                <a:lnTo>
                  <a:pt x="4" y="0"/>
                </a:lnTo>
                <a:lnTo>
                  <a:pt x="4" y="0"/>
                </a:lnTo>
                <a:lnTo>
                  <a:pt x="4" y="0"/>
                </a:lnTo>
                <a:lnTo>
                  <a:pt x="4" y="0"/>
                </a:lnTo>
                <a:lnTo>
                  <a:pt x="4" y="4"/>
                </a:lnTo>
                <a:lnTo>
                  <a:pt x="4" y="4"/>
                </a:lnTo>
                <a:lnTo>
                  <a:pt x="4" y="4"/>
                </a:lnTo>
                <a:lnTo>
                  <a:pt x="8" y="4"/>
                </a:lnTo>
                <a:lnTo>
                  <a:pt x="8" y="4"/>
                </a:lnTo>
                <a:lnTo>
                  <a:pt x="8" y="4"/>
                </a:lnTo>
                <a:lnTo>
                  <a:pt x="8" y="4"/>
                </a:lnTo>
                <a:lnTo>
                  <a:pt x="8" y="4"/>
                </a:lnTo>
                <a:lnTo>
                  <a:pt x="8" y="4"/>
                </a:lnTo>
                <a:lnTo>
                  <a:pt x="8" y="8"/>
                </a:lnTo>
                <a:lnTo>
                  <a:pt x="8" y="8"/>
                </a:lnTo>
                <a:lnTo>
                  <a:pt x="10" y="8"/>
                </a:lnTo>
                <a:lnTo>
                  <a:pt x="10" y="12"/>
                </a:lnTo>
                <a:lnTo>
                  <a:pt x="10" y="12"/>
                </a:lnTo>
                <a:lnTo>
                  <a:pt x="10" y="12"/>
                </a:lnTo>
                <a:lnTo>
                  <a:pt x="14" y="16"/>
                </a:lnTo>
                <a:lnTo>
                  <a:pt x="14" y="12"/>
                </a:lnTo>
                <a:lnTo>
                  <a:pt x="18" y="12"/>
                </a:lnTo>
                <a:lnTo>
                  <a:pt x="18" y="12"/>
                </a:lnTo>
                <a:lnTo>
                  <a:pt x="14" y="12"/>
                </a:lnTo>
                <a:lnTo>
                  <a:pt x="14" y="12"/>
                </a:lnTo>
                <a:lnTo>
                  <a:pt x="14" y="8"/>
                </a:lnTo>
                <a:lnTo>
                  <a:pt x="14" y="8"/>
                </a:lnTo>
                <a:lnTo>
                  <a:pt x="14" y="8"/>
                </a:lnTo>
                <a:lnTo>
                  <a:pt x="18" y="12"/>
                </a:lnTo>
                <a:lnTo>
                  <a:pt x="18" y="12"/>
                </a:lnTo>
                <a:lnTo>
                  <a:pt x="18" y="12"/>
                </a:lnTo>
                <a:lnTo>
                  <a:pt x="18" y="16"/>
                </a:lnTo>
                <a:lnTo>
                  <a:pt x="18" y="16"/>
                </a:lnTo>
                <a:lnTo>
                  <a:pt x="18" y="16"/>
                </a:lnTo>
                <a:lnTo>
                  <a:pt x="22" y="16"/>
                </a:lnTo>
                <a:lnTo>
                  <a:pt x="26" y="16"/>
                </a:lnTo>
                <a:lnTo>
                  <a:pt x="26" y="16"/>
                </a:lnTo>
                <a:lnTo>
                  <a:pt x="26" y="16"/>
                </a:lnTo>
                <a:lnTo>
                  <a:pt x="26" y="16"/>
                </a:lnTo>
                <a:lnTo>
                  <a:pt x="26" y="16"/>
                </a:lnTo>
                <a:lnTo>
                  <a:pt x="30" y="16"/>
                </a:lnTo>
                <a:lnTo>
                  <a:pt x="30" y="16"/>
                </a:lnTo>
                <a:lnTo>
                  <a:pt x="30" y="16"/>
                </a:lnTo>
                <a:lnTo>
                  <a:pt x="30" y="16"/>
                </a:lnTo>
                <a:lnTo>
                  <a:pt x="30" y="16"/>
                </a:lnTo>
                <a:lnTo>
                  <a:pt x="30" y="16"/>
                </a:lnTo>
                <a:lnTo>
                  <a:pt x="30" y="16"/>
                </a:lnTo>
                <a:lnTo>
                  <a:pt x="30" y="12"/>
                </a:lnTo>
                <a:lnTo>
                  <a:pt x="34" y="12"/>
                </a:lnTo>
                <a:lnTo>
                  <a:pt x="34" y="12"/>
                </a:lnTo>
                <a:lnTo>
                  <a:pt x="34" y="12"/>
                </a:lnTo>
                <a:lnTo>
                  <a:pt x="34" y="12"/>
                </a:lnTo>
                <a:lnTo>
                  <a:pt x="38" y="12"/>
                </a:lnTo>
                <a:lnTo>
                  <a:pt x="38" y="8"/>
                </a:lnTo>
                <a:lnTo>
                  <a:pt x="38" y="8"/>
                </a:lnTo>
                <a:lnTo>
                  <a:pt x="40" y="8"/>
                </a:lnTo>
                <a:lnTo>
                  <a:pt x="40" y="8"/>
                </a:lnTo>
                <a:lnTo>
                  <a:pt x="40" y="8"/>
                </a:lnTo>
                <a:lnTo>
                  <a:pt x="40" y="8"/>
                </a:lnTo>
                <a:lnTo>
                  <a:pt x="40" y="8"/>
                </a:lnTo>
                <a:lnTo>
                  <a:pt x="40" y="8"/>
                </a:lnTo>
                <a:lnTo>
                  <a:pt x="44" y="8"/>
                </a:lnTo>
                <a:lnTo>
                  <a:pt x="44" y="8"/>
                </a:lnTo>
                <a:lnTo>
                  <a:pt x="44" y="4"/>
                </a:lnTo>
                <a:lnTo>
                  <a:pt x="44" y="4"/>
                </a:lnTo>
                <a:lnTo>
                  <a:pt x="48" y="4"/>
                </a:lnTo>
                <a:lnTo>
                  <a:pt x="48" y="4"/>
                </a:lnTo>
                <a:lnTo>
                  <a:pt x="48" y="0"/>
                </a:lnTo>
                <a:lnTo>
                  <a:pt x="48" y="0"/>
                </a:lnTo>
                <a:lnTo>
                  <a:pt x="48" y="0"/>
                </a:lnTo>
                <a:lnTo>
                  <a:pt x="48" y="4"/>
                </a:lnTo>
                <a:lnTo>
                  <a:pt x="52" y="4"/>
                </a:lnTo>
                <a:lnTo>
                  <a:pt x="56" y="4"/>
                </a:lnTo>
                <a:lnTo>
                  <a:pt x="56" y="4"/>
                </a:lnTo>
                <a:lnTo>
                  <a:pt x="56" y="4"/>
                </a:lnTo>
                <a:lnTo>
                  <a:pt x="56" y="4"/>
                </a:lnTo>
                <a:lnTo>
                  <a:pt x="56" y="4"/>
                </a:lnTo>
                <a:lnTo>
                  <a:pt x="56" y="4"/>
                </a:lnTo>
                <a:lnTo>
                  <a:pt x="56" y="4"/>
                </a:lnTo>
                <a:lnTo>
                  <a:pt x="56" y="4"/>
                </a:lnTo>
                <a:lnTo>
                  <a:pt x="56" y="4"/>
                </a:lnTo>
                <a:lnTo>
                  <a:pt x="56" y="4"/>
                </a:lnTo>
                <a:lnTo>
                  <a:pt x="56" y="4"/>
                </a:lnTo>
                <a:lnTo>
                  <a:pt x="56" y="4"/>
                </a:lnTo>
                <a:lnTo>
                  <a:pt x="60" y="4"/>
                </a:lnTo>
                <a:lnTo>
                  <a:pt x="64" y="4"/>
                </a:lnTo>
                <a:lnTo>
                  <a:pt x="64" y="4"/>
                </a:lnTo>
                <a:lnTo>
                  <a:pt x="64" y="4"/>
                </a:lnTo>
                <a:lnTo>
                  <a:pt x="64" y="8"/>
                </a:lnTo>
                <a:lnTo>
                  <a:pt x="68" y="8"/>
                </a:lnTo>
                <a:lnTo>
                  <a:pt x="68" y="8"/>
                </a:lnTo>
                <a:lnTo>
                  <a:pt x="68" y="8"/>
                </a:lnTo>
                <a:lnTo>
                  <a:pt x="70" y="8"/>
                </a:lnTo>
                <a:lnTo>
                  <a:pt x="70" y="12"/>
                </a:lnTo>
                <a:lnTo>
                  <a:pt x="70" y="12"/>
                </a:lnTo>
                <a:lnTo>
                  <a:pt x="74" y="12"/>
                </a:lnTo>
                <a:lnTo>
                  <a:pt x="74" y="12"/>
                </a:lnTo>
                <a:lnTo>
                  <a:pt x="74" y="12"/>
                </a:lnTo>
                <a:lnTo>
                  <a:pt x="74" y="12"/>
                </a:lnTo>
                <a:lnTo>
                  <a:pt x="74" y="16"/>
                </a:lnTo>
                <a:lnTo>
                  <a:pt x="74" y="16"/>
                </a:lnTo>
                <a:lnTo>
                  <a:pt x="78" y="16"/>
                </a:lnTo>
                <a:lnTo>
                  <a:pt x="78" y="18"/>
                </a:lnTo>
                <a:lnTo>
                  <a:pt x="78" y="18"/>
                </a:lnTo>
                <a:lnTo>
                  <a:pt x="78" y="18"/>
                </a:lnTo>
                <a:lnTo>
                  <a:pt x="78" y="18"/>
                </a:lnTo>
                <a:lnTo>
                  <a:pt x="78" y="18"/>
                </a:lnTo>
                <a:lnTo>
                  <a:pt x="78" y="18"/>
                </a:lnTo>
                <a:lnTo>
                  <a:pt x="78" y="18"/>
                </a:lnTo>
                <a:lnTo>
                  <a:pt x="78" y="18"/>
                </a:lnTo>
                <a:lnTo>
                  <a:pt x="78" y="18"/>
                </a:lnTo>
                <a:lnTo>
                  <a:pt x="78" y="18"/>
                </a:lnTo>
                <a:lnTo>
                  <a:pt x="78" y="22"/>
                </a:lnTo>
                <a:lnTo>
                  <a:pt x="78" y="22"/>
                </a:lnTo>
                <a:lnTo>
                  <a:pt x="78" y="22"/>
                </a:lnTo>
                <a:lnTo>
                  <a:pt x="78" y="22"/>
                </a:lnTo>
                <a:lnTo>
                  <a:pt x="78" y="22"/>
                </a:lnTo>
                <a:lnTo>
                  <a:pt x="78" y="22"/>
                </a:lnTo>
                <a:lnTo>
                  <a:pt x="78" y="22"/>
                </a:lnTo>
                <a:lnTo>
                  <a:pt x="78" y="26"/>
                </a:lnTo>
                <a:lnTo>
                  <a:pt x="82" y="26"/>
                </a:lnTo>
                <a:lnTo>
                  <a:pt x="82" y="26"/>
                </a:lnTo>
                <a:lnTo>
                  <a:pt x="82" y="26"/>
                </a:lnTo>
                <a:lnTo>
                  <a:pt x="82" y="26"/>
                </a:lnTo>
                <a:lnTo>
                  <a:pt x="82" y="30"/>
                </a:lnTo>
                <a:lnTo>
                  <a:pt x="82" y="30"/>
                </a:lnTo>
                <a:lnTo>
                  <a:pt x="82" y="30"/>
                </a:lnTo>
                <a:lnTo>
                  <a:pt x="82" y="30"/>
                </a:lnTo>
                <a:lnTo>
                  <a:pt x="78" y="34"/>
                </a:lnTo>
                <a:lnTo>
                  <a:pt x="82" y="34"/>
                </a:lnTo>
                <a:lnTo>
                  <a:pt x="82" y="34"/>
                </a:lnTo>
                <a:lnTo>
                  <a:pt x="78" y="38"/>
                </a:lnTo>
                <a:lnTo>
                  <a:pt x="78" y="38"/>
                </a:lnTo>
                <a:lnTo>
                  <a:pt x="74" y="38"/>
                </a:lnTo>
                <a:lnTo>
                  <a:pt x="74" y="38"/>
                </a:lnTo>
                <a:lnTo>
                  <a:pt x="74" y="34"/>
                </a:lnTo>
                <a:lnTo>
                  <a:pt x="74" y="34"/>
                </a:lnTo>
                <a:lnTo>
                  <a:pt x="74" y="34"/>
                </a:lnTo>
                <a:lnTo>
                  <a:pt x="74" y="34"/>
                </a:lnTo>
                <a:lnTo>
                  <a:pt x="74" y="34"/>
                </a:lnTo>
                <a:lnTo>
                  <a:pt x="74" y="38"/>
                </a:lnTo>
                <a:lnTo>
                  <a:pt x="74" y="38"/>
                </a:lnTo>
                <a:lnTo>
                  <a:pt x="74" y="38"/>
                </a:lnTo>
                <a:lnTo>
                  <a:pt x="74" y="38"/>
                </a:lnTo>
                <a:lnTo>
                  <a:pt x="74" y="38"/>
                </a:lnTo>
                <a:lnTo>
                  <a:pt x="74" y="38"/>
                </a:lnTo>
                <a:lnTo>
                  <a:pt x="74" y="38"/>
                </a:lnTo>
                <a:lnTo>
                  <a:pt x="70" y="42"/>
                </a:lnTo>
                <a:lnTo>
                  <a:pt x="70" y="42"/>
                </a:lnTo>
                <a:lnTo>
                  <a:pt x="70" y="42"/>
                </a:lnTo>
                <a:lnTo>
                  <a:pt x="68" y="38"/>
                </a:lnTo>
                <a:lnTo>
                  <a:pt x="68" y="38"/>
                </a:lnTo>
                <a:lnTo>
                  <a:pt x="68" y="38"/>
                </a:lnTo>
                <a:lnTo>
                  <a:pt x="68" y="34"/>
                </a:lnTo>
                <a:lnTo>
                  <a:pt x="68" y="34"/>
                </a:lnTo>
                <a:lnTo>
                  <a:pt x="68" y="34"/>
                </a:lnTo>
                <a:lnTo>
                  <a:pt x="68" y="30"/>
                </a:lnTo>
                <a:lnTo>
                  <a:pt x="68" y="30"/>
                </a:lnTo>
                <a:lnTo>
                  <a:pt x="68" y="30"/>
                </a:lnTo>
                <a:lnTo>
                  <a:pt x="64" y="30"/>
                </a:lnTo>
                <a:lnTo>
                  <a:pt x="64" y="30"/>
                </a:lnTo>
                <a:lnTo>
                  <a:pt x="64" y="26"/>
                </a:lnTo>
                <a:lnTo>
                  <a:pt x="64" y="26"/>
                </a:lnTo>
                <a:lnTo>
                  <a:pt x="64" y="26"/>
                </a:lnTo>
                <a:lnTo>
                  <a:pt x="68" y="30"/>
                </a:lnTo>
                <a:lnTo>
                  <a:pt x="68" y="30"/>
                </a:lnTo>
                <a:lnTo>
                  <a:pt x="68" y="26"/>
                </a:lnTo>
                <a:lnTo>
                  <a:pt x="68" y="26"/>
                </a:lnTo>
                <a:lnTo>
                  <a:pt x="68" y="26"/>
                </a:lnTo>
                <a:lnTo>
                  <a:pt x="68" y="26"/>
                </a:lnTo>
                <a:lnTo>
                  <a:pt x="68" y="26"/>
                </a:lnTo>
                <a:lnTo>
                  <a:pt x="68" y="26"/>
                </a:lnTo>
                <a:lnTo>
                  <a:pt x="68" y="26"/>
                </a:lnTo>
                <a:lnTo>
                  <a:pt x="68" y="22"/>
                </a:lnTo>
                <a:lnTo>
                  <a:pt x="68" y="22"/>
                </a:lnTo>
                <a:lnTo>
                  <a:pt x="68" y="22"/>
                </a:lnTo>
                <a:lnTo>
                  <a:pt x="70" y="22"/>
                </a:lnTo>
                <a:lnTo>
                  <a:pt x="70" y="26"/>
                </a:lnTo>
                <a:lnTo>
                  <a:pt x="70" y="26"/>
                </a:lnTo>
                <a:lnTo>
                  <a:pt x="70" y="26"/>
                </a:lnTo>
                <a:lnTo>
                  <a:pt x="70" y="26"/>
                </a:lnTo>
                <a:lnTo>
                  <a:pt x="74" y="26"/>
                </a:lnTo>
                <a:lnTo>
                  <a:pt x="74" y="26"/>
                </a:lnTo>
                <a:lnTo>
                  <a:pt x="74" y="26"/>
                </a:lnTo>
                <a:lnTo>
                  <a:pt x="74" y="26"/>
                </a:lnTo>
                <a:lnTo>
                  <a:pt x="74" y="26"/>
                </a:lnTo>
                <a:lnTo>
                  <a:pt x="70" y="26"/>
                </a:lnTo>
                <a:lnTo>
                  <a:pt x="70" y="26"/>
                </a:lnTo>
                <a:lnTo>
                  <a:pt x="70" y="26"/>
                </a:lnTo>
                <a:lnTo>
                  <a:pt x="70" y="26"/>
                </a:lnTo>
                <a:lnTo>
                  <a:pt x="70" y="22"/>
                </a:lnTo>
                <a:lnTo>
                  <a:pt x="70" y="22"/>
                </a:lnTo>
                <a:lnTo>
                  <a:pt x="70" y="22"/>
                </a:lnTo>
                <a:lnTo>
                  <a:pt x="68" y="22"/>
                </a:lnTo>
                <a:lnTo>
                  <a:pt x="68" y="22"/>
                </a:lnTo>
                <a:lnTo>
                  <a:pt x="68" y="22"/>
                </a:lnTo>
                <a:lnTo>
                  <a:pt x="68" y="22"/>
                </a:lnTo>
                <a:lnTo>
                  <a:pt x="64" y="22"/>
                </a:lnTo>
                <a:lnTo>
                  <a:pt x="64" y="22"/>
                </a:lnTo>
                <a:lnTo>
                  <a:pt x="64" y="22"/>
                </a:lnTo>
                <a:lnTo>
                  <a:pt x="64" y="22"/>
                </a:lnTo>
                <a:lnTo>
                  <a:pt x="64" y="18"/>
                </a:lnTo>
                <a:lnTo>
                  <a:pt x="64" y="18"/>
                </a:lnTo>
                <a:lnTo>
                  <a:pt x="64" y="18"/>
                </a:lnTo>
                <a:lnTo>
                  <a:pt x="64" y="18"/>
                </a:lnTo>
                <a:lnTo>
                  <a:pt x="64" y="18"/>
                </a:lnTo>
                <a:lnTo>
                  <a:pt x="60" y="16"/>
                </a:lnTo>
                <a:lnTo>
                  <a:pt x="60" y="16"/>
                </a:lnTo>
                <a:lnTo>
                  <a:pt x="60" y="16"/>
                </a:lnTo>
                <a:lnTo>
                  <a:pt x="56" y="12"/>
                </a:lnTo>
                <a:lnTo>
                  <a:pt x="56" y="12"/>
                </a:lnTo>
                <a:lnTo>
                  <a:pt x="56" y="12"/>
                </a:lnTo>
                <a:lnTo>
                  <a:pt x="56" y="12"/>
                </a:lnTo>
                <a:lnTo>
                  <a:pt x="56" y="12"/>
                </a:lnTo>
                <a:lnTo>
                  <a:pt x="56" y="12"/>
                </a:lnTo>
                <a:lnTo>
                  <a:pt x="56" y="12"/>
                </a:lnTo>
                <a:lnTo>
                  <a:pt x="56" y="12"/>
                </a:lnTo>
                <a:lnTo>
                  <a:pt x="56" y="12"/>
                </a:lnTo>
                <a:lnTo>
                  <a:pt x="56" y="12"/>
                </a:lnTo>
                <a:lnTo>
                  <a:pt x="56" y="12"/>
                </a:lnTo>
                <a:lnTo>
                  <a:pt x="56" y="12"/>
                </a:lnTo>
                <a:lnTo>
                  <a:pt x="52" y="12"/>
                </a:lnTo>
                <a:lnTo>
                  <a:pt x="52" y="12"/>
                </a:lnTo>
                <a:lnTo>
                  <a:pt x="52" y="12"/>
                </a:lnTo>
                <a:lnTo>
                  <a:pt x="52" y="12"/>
                </a:lnTo>
                <a:lnTo>
                  <a:pt x="52" y="12"/>
                </a:lnTo>
                <a:lnTo>
                  <a:pt x="52" y="12"/>
                </a:lnTo>
                <a:lnTo>
                  <a:pt x="48" y="12"/>
                </a:lnTo>
                <a:lnTo>
                  <a:pt x="48" y="12"/>
                </a:lnTo>
                <a:lnTo>
                  <a:pt x="48" y="16"/>
                </a:lnTo>
                <a:lnTo>
                  <a:pt x="48" y="16"/>
                </a:lnTo>
                <a:lnTo>
                  <a:pt x="48" y="16"/>
                </a:lnTo>
                <a:lnTo>
                  <a:pt x="48" y="16"/>
                </a:lnTo>
                <a:lnTo>
                  <a:pt x="44" y="16"/>
                </a:lnTo>
                <a:lnTo>
                  <a:pt x="44" y="16"/>
                </a:lnTo>
                <a:lnTo>
                  <a:pt x="44" y="16"/>
                </a:lnTo>
                <a:lnTo>
                  <a:pt x="44" y="18"/>
                </a:lnTo>
                <a:lnTo>
                  <a:pt x="44" y="18"/>
                </a:lnTo>
                <a:lnTo>
                  <a:pt x="44" y="22"/>
                </a:lnTo>
                <a:lnTo>
                  <a:pt x="40" y="22"/>
                </a:lnTo>
                <a:lnTo>
                  <a:pt x="40" y="22"/>
                </a:lnTo>
                <a:lnTo>
                  <a:pt x="40" y="22"/>
                </a:lnTo>
                <a:lnTo>
                  <a:pt x="40" y="22"/>
                </a:lnTo>
                <a:close/>
                <a:moveTo>
                  <a:pt x="10" y="4"/>
                </a:moveTo>
                <a:lnTo>
                  <a:pt x="10" y="4"/>
                </a:lnTo>
                <a:lnTo>
                  <a:pt x="10" y="4"/>
                </a:lnTo>
                <a:lnTo>
                  <a:pt x="10" y="4"/>
                </a:lnTo>
                <a:lnTo>
                  <a:pt x="10" y="8"/>
                </a:lnTo>
                <a:lnTo>
                  <a:pt x="10" y="8"/>
                </a:lnTo>
                <a:lnTo>
                  <a:pt x="10" y="8"/>
                </a:lnTo>
                <a:lnTo>
                  <a:pt x="10" y="4"/>
                </a:lnTo>
                <a:lnTo>
                  <a:pt x="10" y="4"/>
                </a:lnTo>
                <a:lnTo>
                  <a:pt x="10" y="4"/>
                </a:lnTo>
                <a:close/>
                <a:moveTo>
                  <a:pt x="60" y="22"/>
                </a:moveTo>
                <a:lnTo>
                  <a:pt x="60" y="22"/>
                </a:lnTo>
                <a:lnTo>
                  <a:pt x="60" y="22"/>
                </a:lnTo>
                <a:lnTo>
                  <a:pt x="60" y="22"/>
                </a:lnTo>
                <a:lnTo>
                  <a:pt x="60" y="22"/>
                </a:lnTo>
                <a:lnTo>
                  <a:pt x="60" y="22"/>
                </a:lnTo>
                <a:lnTo>
                  <a:pt x="60" y="22"/>
                </a:lnTo>
                <a:lnTo>
                  <a:pt x="60" y="26"/>
                </a:lnTo>
                <a:lnTo>
                  <a:pt x="56" y="22"/>
                </a:lnTo>
                <a:lnTo>
                  <a:pt x="56" y="22"/>
                </a:lnTo>
                <a:lnTo>
                  <a:pt x="56" y="22"/>
                </a:lnTo>
                <a:lnTo>
                  <a:pt x="60" y="22"/>
                </a:lnTo>
                <a:lnTo>
                  <a:pt x="60" y="22"/>
                </a:lnTo>
                <a:lnTo>
                  <a:pt x="60" y="22"/>
                </a:lnTo>
                <a:lnTo>
                  <a:pt x="60" y="22"/>
                </a:lnTo>
                <a:close/>
                <a:moveTo>
                  <a:pt x="18" y="34"/>
                </a:moveTo>
                <a:lnTo>
                  <a:pt x="18" y="38"/>
                </a:lnTo>
                <a:lnTo>
                  <a:pt x="18" y="38"/>
                </a:lnTo>
                <a:lnTo>
                  <a:pt x="18" y="38"/>
                </a:lnTo>
                <a:lnTo>
                  <a:pt x="18" y="38"/>
                </a:lnTo>
                <a:lnTo>
                  <a:pt x="18" y="38"/>
                </a:lnTo>
                <a:lnTo>
                  <a:pt x="18" y="38"/>
                </a:lnTo>
                <a:lnTo>
                  <a:pt x="18" y="42"/>
                </a:lnTo>
                <a:lnTo>
                  <a:pt x="18" y="42"/>
                </a:lnTo>
                <a:lnTo>
                  <a:pt x="18" y="42"/>
                </a:lnTo>
                <a:lnTo>
                  <a:pt x="18" y="42"/>
                </a:lnTo>
                <a:lnTo>
                  <a:pt x="18" y="42"/>
                </a:lnTo>
                <a:lnTo>
                  <a:pt x="18" y="42"/>
                </a:lnTo>
                <a:lnTo>
                  <a:pt x="18" y="42"/>
                </a:lnTo>
                <a:lnTo>
                  <a:pt x="18" y="42"/>
                </a:lnTo>
                <a:lnTo>
                  <a:pt x="18" y="42"/>
                </a:lnTo>
                <a:lnTo>
                  <a:pt x="18" y="42"/>
                </a:lnTo>
                <a:lnTo>
                  <a:pt x="14" y="38"/>
                </a:lnTo>
                <a:lnTo>
                  <a:pt x="14" y="38"/>
                </a:lnTo>
                <a:lnTo>
                  <a:pt x="14" y="38"/>
                </a:lnTo>
                <a:lnTo>
                  <a:pt x="14" y="38"/>
                </a:lnTo>
                <a:lnTo>
                  <a:pt x="14" y="38"/>
                </a:lnTo>
                <a:lnTo>
                  <a:pt x="18" y="34"/>
                </a:lnTo>
                <a:lnTo>
                  <a:pt x="18" y="34"/>
                </a:lnTo>
                <a:lnTo>
                  <a:pt x="18" y="34"/>
                </a:lnTo>
                <a:lnTo>
                  <a:pt x="18" y="34"/>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75" name="Freeform 82"/>
          <p:cNvSpPr>
            <a:spLocks noEditPoints="1"/>
          </p:cNvSpPr>
          <p:nvPr/>
        </p:nvSpPr>
        <p:spPr bwMode="auto">
          <a:xfrm>
            <a:off x="3126581" y="3319462"/>
            <a:ext cx="30956" cy="11906"/>
          </a:xfrm>
          <a:custGeom>
            <a:avLst/>
            <a:gdLst>
              <a:gd name="T0" fmla="*/ 18 w 26"/>
              <a:gd name="T1" fmla="*/ 6 h 10"/>
              <a:gd name="T2" fmla="*/ 18 w 26"/>
              <a:gd name="T3" fmla="*/ 6 h 10"/>
              <a:gd name="T4" fmla="*/ 18 w 26"/>
              <a:gd name="T5" fmla="*/ 10 h 10"/>
              <a:gd name="T6" fmla="*/ 16 w 26"/>
              <a:gd name="T7" fmla="*/ 10 h 10"/>
              <a:gd name="T8" fmla="*/ 12 w 26"/>
              <a:gd name="T9" fmla="*/ 10 h 10"/>
              <a:gd name="T10" fmla="*/ 12 w 26"/>
              <a:gd name="T11" fmla="*/ 10 h 10"/>
              <a:gd name="T12" fmla="*/ 8 w 26"/>
              <a:gd name="T13" fmla="*/ 10 h 10"/>
              <a:gd name="T14" fmla="*/ 8 w 26"/>
              <a:gd name="T15" fmla="*/ 10 h 10"/>
              <a:gd name="T16" fmla="*/ 8 w 26"/>
              <a:gd name="T17" fmla="*/ 6 h 10"/>
              <a:gd name="T18" fmla="*/ 4 w 26"/>
              <a:gd name="T19" fmla="*/ 10 h 10"/>
              <a:gd name="T20" fmla="*/ 4 w 26"/>
              <a:gd name="T21" fmla="*/ 10 h 10"/>
              <a:gd name="T22" fmla="*/ 4 w 26"/>
              <a:gd name="T23" fmla="*/ 10 h 10"/>
              <a:gd name="T24" fmla="*/ 0 w 26"/>
              <a:gd name="T25" fmla="*/ 10 h 10"/>
              <a:gd name="T26" fmla="*/ 0 w 26"/>
              <a:gd name="T27" fmla="*/ 10 h 10"/>
              <a:gd name="T28" fmla="*/ 0 w 26"/>
              <a:gd name="T29" fmla="*/ 6 h 10"/>
              <a:gd name="T30" fmla="*/ 0 w 26"/>
              <a:gd name="T31" fmla="*/ 2 h 10"/>
              <a:gd name="T32" fmla="*/ 0 w 26"/>
              <a:gd name="T33" fmla="*/ 2 h 10"/>
              <a:gd name="T34" fmla="*/ 0 w 26"/>
              <a:gd name="T35" fmla="*/ 2 h 10"/>
              <a:gd name="T36" fmla="*/ 0 w 26"/>
              <a:gd name="T37" fmla="*/ 2 h 10"/>
              <a:gd name="T38" fmla="*/ 0 w 26"/>
              <a:gd name="T39" fmla="*/ 2 h 10"/>
              <a:gd name="T40" fmla="*/ 0 w 26"/>
              <a:gd name="T41" fmla="*/ 2 h 10"/>
              <a:gd name="T42" fmla="*/ 0 w 26"/>
              <a:gd name="T43" fmla="*/ 0 h 10"/>
              <a:gd name="T44" fmla="*/ 0 w 26"/>
              <a:gd name="T45" fmla="*/ 0 h 10"/>
              <a:gd name="T46" fmla="*/ 0 w 26"/>
              <a:gd name="T47" fmla="*/ 0 h 10"/>
              <a:gd name="T48" fmla="*/ 4 w 26"/>
              <a:gd name="T49" fmla="*/ 0 h 10"/>
              <a:gd name="T50" fmla="*/ 4 w 26"/>
              <a:gd name="T51" fmla="*/ 0 h 10"/>
              <a:gd name="T52" fmla="*/ 8 w 26"/>
              <a:gd name="T53" fmla="*/ 0 h 10"/>
              <a:gd name="T54" fmla="*/ 12 w 26"/>
              <a:gd name="T55" fmla="*/ 0 h 10"/>
              <a:gd name="T56" fmla="*/ 16 w 26"/>
              <a:gd name="T57" fmla="*/ 0 h 10"/>
              <a:gd name="T58" fmla="*/ 16 w 26"/>
              <a:gd name="T59" fmla="*/ 0 h 10"/>
              <a:gd name="T60" fmla="*/ 16 w 26"/>
              <a:gd name="T61" fmla="*/ 0 h 10"/>
              <a:gd name="T62" fmla="*/ 16 w 26"/>
              <a:gd name="T63" fmla="*/ 0 h 10"/>
              <a:gd name="T64" fmla="*/ 18 w 26"/>
              <a:gd name="T65" fmla="*/ 0 h 10"/>
              <a:gd name="T66" fmla="*/ 18 w 26"/>
              <a:gd name="T67" fmla="*/ 0 h 10"/>
              <a:gd name="T68" fmla="*/ 22 w 26"/>
              <a:gd name="T69" fmla="*/ 2 h 10"/>
              <a:gd name="T70" fmla="*/ 22 w 26"/>
              <a:gd name="T71" fmla="*/ 2 h 10"/>
              <a:gd name="T72" fmla="*/ 22 w 26"/>
              <a:gd name="T73" fmla="*/ 2 h 10"/>
              <a:gd name="T74" fmla="*/ 22 w 26"/>
              <a:gd name="T75" fmla="*/ 2 h 10"/>
              <a:gd name="T76" fmla="*/ 18 w 26"/>
              <a:gd name="T77" fmla="*/ 6 h 10"/>
              <a:gd name="T78" fmla="*/ 18 w 26"/>
              <a:gd name="T79" fmla="*/ 6 h 10"/>
              <a:gd name="T80" fmla="*/ 22 w 26"/>
              <a:gd name="T81" fmla="*/ 6 h 10"/>
              <a:gd name="T82" fmla="*/ 22 w 26"/>
              <a:gd name="T83" fmla="*/ 6 h 10"/>
              <a:gd name="T84" fmla="*/ 22 w 26"/>
              <a:gd name="T85" fmla="*/ 6 h 10"/>
              <a:gd name="T86" fmla="*/ 26 w 26"/>
              <a:gd name="T87" fmla="*/ 6 h 10"/>
              <a:gd name="T88" fmla="*/ 26 w 26"/>
              <a:gd name="T89" fmla="*/ 6 h 10"/>
              <a:gd name="T90" fmla="*/ 26 w 26"/>
              <a:gd name="T91" fmla="*/ 6 h 10"/>
              <a:gd name="T92" fmla="*/ 22 w 26"/>
              <a:gd name="T93" fmla="*/ 6 h 10"/>
              <a:gd name="T94" fmla="*/ 22 w 26"/>
              <a:gd name="T95"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6" h="10">
                <a:moveTo>
                  <a:pt x="18" y="6"/>
                </a:moveTo>
                <a:lnTo>
                  <a:pt x="18" y="6"/>
                </a:lnTo>
                <a:lnTo>
                  <a:pt x="18" y="6"/>
                </a:lnTo>
                <a:lnTo>
                  <a:pt x="18" y="6"/>
                </a:lnTo>
                <a:lnTo>
                  <a:pt x="18" y="6"/>
                </a:lnTo>
                <a:lnTo>
                  <a:pt x="18" y="10"/>
                </a:lnTo>
                <a:lnTo>
                  <a:pt x="18" y="10"/>
                </a:lnTo>
                <a:lnTo>
                  <a:pt x="16" y="10"/>
                </a:lnTo>
                <a:lnTo>
                  <a:pt x="16" y="10"/>
                </a:lnTo>
                <a:lnTo>
                  <a:pt x="12" y="10"/>
                </a:lnTo>
                <a:lnTo>
                  <a:pt x="12" y="10"/>
                </a:lnTo>
                <a:lnTo>
                  <a:pt x="12" y="10"/>
                </a:lnTo>
                <a:lnTo>
                  <a:pt x="12" y="6"/>
                </a:lnTo>
                <a:lnTo>
                  <a:pt x="8" y="10"/>
                </a:lnTo>
                <a:lnTo>
                  <a:pt x="8" y="10"/>
                </a:lnTo>
                <a:lnTo>
                  <a:pt x="8" y="10"/>
                </a:lnTo>
                <a:lnTo>
                  <a:pt x="8" y="10"/>
                </a:lnTo>
                <a:lnTo>
                  <a:pt x="8" y="6"/>
                </a:lnTo>
                <a:lnTo>
                  <a:pt x="8" y="6"/>
                </a:lnTo>
                <a:lnTo>
                  <a:pt x="4" y="10"/>
                </a:lnTo>
                <a:lnTo>
                  <a:pt x="4" y="10"/>
                </a:lnTo>
                <a:lnTo>
                  <a:pt x="4" y="10"/>
                </a:lnTo>
                <a:lnTo>
                  <a:pt x="4" y="10"/>
                </a:lnTo>
                <a:lnTo>
                  <a:pt x="4" y="10"/>
                </a:lnTo>
                <a:lnTo>
                  <a:pt x="4" y="10"/>
                </a:lnTo>
                <a:lnTo>
                  <a:pt x="0" y="10"/>
                </a:lnTo>
                <a:lnTo>
                  <a:pt x="0" y="10"/>
                </a:lnTo>
                <a:lnTo>
                  <a:pt x="0" y="10"/>
                </a:lnTo>
                <a:lnTo>
                  <a:pt x="0" y="10"/>
                </a:lnTo>
                <a:lnTo>
                  <a:pt x="0" y="6"/>
                </a:lnTo>
                <a:lnTo>
                  <a:pt x="0" y="6"/>
                </a:lnTo>
                <a:lnTo>
                  <a:pt x="0" y="2"/>
                </a:lnTo>
                <a:lnTo>
                  <a:pt x="0" y="2"/>
                </a:lnTo>
                <a:lnTo>
                  <a:pt x="0" y="2"/>
                </a:lnTo>
                <a:lnTo>
                  <a:pt x="0" y="2"/>
                </a:lnTo>
                <a:lnTo>
                  <a:pt x="0" y="2"/>
                </a:lnTo>
                <a:lnTo>
                  <a:pt x="0" y="2"/>
                </a:lnTo>
                <a:lnTo>
                  <a:pt x="0" y="2"/>
                </a:lnTo>
                <a:lnTo>
                  <a:pt x="0" y="2"/>
                </a:lnTo>
                <a:lnTo>
                  <a:pt x="0" y="2"/>
                </a:lnTo>
                <a:lnTo>
                  <a:pt x="0" y="2"/>
                </a:lnTo>
                <a:lnTo>
                  <a:pt x="0" y="2"/>
                </a:lnTo>
                <a:lnTo>
                  <a:pt x="0" y="0"/>
                </a:lnTo>
                <a:lnTo>
                  <a:pt x="0" y="0"/>
                </a:lnTo>
                <a:lnTo>
                  <a:pt x="0" y="0"/>
                </a:lnTo>
                <a:lnTo>
                  <a:pt x="0" y="0"/>
                </a:lnTo>
                <a:lnTo>
                  <a:pt x="0" y="0"/>
                </a:lnTo>
                <a:lnTo>
                  <a:pt x="0" y="0"/>
                </a:lnTo>
                <a:lnTo>
                  <a:pt x="4" y="0"/>
                </a:lnTo>
                <a:lnTo>
                  <a:pt x="4" y="0"/>
                </a:lnTo>
                <a:lnTo>
                  <a:pt x="4" y="0"/>
                </a:lnTo>
                <a:lnTo>
                  <a:pt x="4" y="0"/>
                </a:lnTo>
                <a:lnTo>
                  <a:pt x="8" y="0"/>
                </a:lnTo>
                <a:lnTo>
                  <a:pt x="8" y="0"/>
                </a:lnTo>
                <a:lnTo>
                  <a:pt x="8" y="0"/>
                </a:lnTo>
                <a:lnTo>
                  <a:pt x="12" y="0"/>
                </a:lnTo>
                <a:lnTo>
                  <a:pt x="12" y="0"/>
                </a:lnTo>
                <a:lnTo>
                  <a:pt x="16" y="0"/>
                </a:lnTo>
                <a:lnTo>
                  <a:pt x="16" y="0"/>
                </a:lnTo>
                <a:lnTo>
                  <a:pt x="16" y="0"/>
                </a:lnTo>
                <a:lnTo>
                  <a:pt x="16" y="0"/>
                </a:lnTo>
                <a:lnTo>
                  <a:pt x="16" y="0"/>
                </a:lnTo>
                <a:lnTo>
                  <a:pt x="16" y="0"/>
                </a:lnTo>
                <a:lnTo>
                  <a:pt x="16" y="0"/>
                </a:lnTo>
                <a:lnTo>
                  <a:pt x="18" y="0"/>
                </a:lnTo>
                <a:lnTo>
                  <a:pt x="18" y="0"/>
                </a:lnTo>
                <a:lnTo>
                  <a:pt x="18" y="0"/>
                </a:lnTo>
                <a:lnTo>
                  <a:pt x="18" y="0"/>
                </a:lnTo>
                <a:lnTo>
                  <a:pt x="18" y="0"/>
                </a:lnTo>
                <a:lnTo>
                  <a:pt x="22" y="2"/>
                </a:lnTo>
                <a:lnTo>
                  <a:pt x="22" y="2"/>
                </a:lnTo>
                <a:lnTo>
                  <a:pt x="22" y="2"/>
                </a:lnTo>
                <a:lnTo>
                  <a:pt x="22" y="2"/>
                </a:lnTo>
                <a:lnTo>
                  <a:pt x="22" y="2"/>
                </a:lnTo>
                <a:lnTo>
                  <a:pt x="22" y="2"/>
                </a:lnTo>
                <a:lnTo>
                  <a:pt x="22" y="2"/>
                </a:lnTo>
                <a:lnTo>
                  <a:pt x="18" y="6"/>
                </a:lnTo>
                <a:lnTo>
                  <a:pt x="18" y="6"/>
                </a:lnTo>
                <a:lnTo>
                  <a:pt x="18" y="6"/>
                </a:lnTo>
                <a:lnTo>
                  <a:pt x="18" y="6"/>
                </a:lnTo>
                <a:close/>
                <a:moveTo>
                  <a:pt x="22" y="6"/>
                </a:moveTo>
                <a:lnTo>
                  <a:pt x="22" y="6"/>
                </a:lnTo>
                <a:lnTo>
                  <a:pt x="22" y="6"/>
                </a:lnTo>
                <a:lnTo>
                  <a:pt x="22" y="6"/>
                </a:lnTo>
                <a:lnTo>
                  <a:pt x="22" y="6"/>
                </a:lnTo>
                <a:lnTo>
                  <a:pt x="22" y="6"/>
                </a:lnTo>
                <a:lnTo>
                  <a:pt x="22" y="6"/>
                </a:lnTo>
                <a:lnTo>
                  <a:pt x="26" y="6"/>
                </a:lnTo>
                <a:lnTo>
                  <a:pt x="26" y="6"/>
                </a:lnTo>
                <a:lnTo>
                  <a:pt x="26" y="6"/>
                </a:lnTo>
                <a:lnTo>
                  <a:pt x="26" y="6"/>
                </a:lnTo>
                <a:lnTo>
                  <a:pt x="26" y="6"/>
                </a:lnTo>
                <a:lnTo>
                  <a:pt x="26" y="6"/>
                </a:lnTo>
                <a:lnTo>
                  <a:pt x="22" y="6"/>
                </a:lnTo>
                <a:lnTo>
                  <a:pt x="22" y="6"/>
                </a:lnTo>
                <a:lnTo>
                  <a:pt x="22" y="6"/>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76" name="Freeform 83"/>
          <p:cNvSpPr>
            <a:spLocks noEditPoints="1"/>
          </p:cNvSpPr>
          <p:nvPr/>
        </p:nvSpPr>
        <p:spPr bwMode="auto">
          <a:xfrm>
            <a:off x="3307556" y="2683668"/>
            <a:ext cx="4763" cy="9525"/>
          </a:xfrm>
          <a:custGeom>
            <a:avLst/>
            <a:gdLst>
              <a:gd name="T0" fmla="*/ 0 w 4"/>
              <a:gd name="T1" fmla="*/ 0 h 8"/>
              <a:gd name="T2" fmla="*/ 4 w 4"/>
              <a:gd name="T3" fmla="*/ 0 h 8"/>
              <a:gd name="T4" fmla="*/ 4 w 4"/>
              <a:gd name="T5" fmla="*/ 0 h 8"/>
              <a:gd name="T6" fmla="*/ 0 w 4"/>
              <a:gd name="T7" fmla="*/ 0 h 8"/>
              <a:gd name="T8" fmla="*/ 0 w 4"/>
              <a:gd name="T9" fmla="*/ 0 h 8"/>
              <a:gd name="T10" fmla="*/ 0 w 4"/>
              <a:gd name="T11" fmla="*/ 0 h 8"/>
              <a:gd name="T12" fmla="*/ 0 w 4"/>
              <a:gd name="T13" fmla="*/ 0 h 8"/>
              <a:gd name="T14" fmla="*/ 0 w 4"/>
              <a:gd name="T15" fmla="*/ 0 h 8"/>
              <a:gd name="T16" fmla="*/ 0 w 4"/>
              <a:gd name="T17" fmla="*/ 0 h 8"/>
              <a:gd name="T18" fmla="*/ 0 w 4"/>
              <a:gd name="T19" fmla="*/ 0 h 8"/>
              <a:gd name="T20" fmla="*/ 0 w 4"/>
              <a:gd name="T21" fmla="*/ 0 h 8"/>
              <a:gd name="T22" fmla="*/ 0 w 4"/>
              <a:gd name="T23" fmla="*/ 4 h 8"/>
              <a:gd name="T24" fmla="*/ 0 w 4"/>
              <a:gd name="T25" fmla="*/ 4 h 8"/>
              <a:gd name="T26" fmla="*/ 0 w 4"/>
              <a:gd name="T27" fmla="*/ 4 h 8"/>
              <a:gd name="T28" fmla="*/ 0 w 4"/>
              <a:gd name="T29" fmla="*/ 4 h 8"/>
              <a:gd name="T30" fmla="*/ 0 w 4"/>
              <a:gd name="T31" fmla="*/ 4 h 8"/>
              <a:gd name="T32" fmla="*/ 4 w 4"/>
              <a:gd name="T33" fmla="*/ 4 h 8"/>
              <a:gd name="T34" fmla="*/ 4 w 4"/>
              <a:gd name="T35" fmla="*/ 4 h 8"/>
              <a:gd name="T36" fmla="*/ 4 w 4"/>
              <a:gd name="T37" fmla="*/ 4 h 8"/>
              <a:gd name="T38" fmla="*/ 4 w 4"/>
              <a:gd name="T39" fmla="*/ 4 h 8"/>
              <a:gd name="T40" fmla="*/ 4 w 4"/>
              <a:gd name="T41" fmla="*/ 4 h 8"/>
              <a:gd name="T42" fmla="*/ 4 w 4"/>
              <a:gd name="T43" fmla="*/ 4 h 8"/>
              <a:gd name="T44" fmla="*/ 0 w 4"/>
              <a:gd name="T45" fmla="*/ 4 h 8"/>
              <a:gd name="T46" fmla="*/ 0 w 4"/>
              <a:gd name="T47" fmla="*/ 4 h 8"/>
              <a:gd name="T48" fmla="*/ 0 w 4"/>
              <a:gd name="T49" fmla="*/ 4 h 8"/>
              <a:gd name="T50" fmla="*/ 0 w 4"/>
              <a:gd name="T51" fmla="*/ 4 h 8"/>
              <a:gd name="T52" fmla="*/ 0 w 4"/>
              <a:gd name="T53" fmla="*/ 4 h 8"/>
              <a:gd name="T54" fmla="*/ 0 w 4"/>
              <a:gd name="T55" fmla="*/ 4 h 8"/>
              <a:gd name="T56" fmla="*/ 0 w 4"/>
              <a:gd name="T57" fmla="*/ 4 h 8"/>
              <a:gd name="T58" fmla="*/ 0 w 4"/>
              <a:gd name="T59" fmla="*/ 4 h 8"/>
              <a:gd name="T60" fmla="*/ 0 w 4"/>
              <a:gd name="T61" fmla="*/ 4 h 8"/>
              <a:gd name="T62" fmla="*/ 0 w 4"/>
              <a:gd name="T63" fmla="*/ 4 h 8"/>
              <a:gd name="T64" fmla="*/ 0 w 4"/>
              <a:gd name="T65" fmla="*/ 4 h 8"/>
              <a:gd name="T66" fmla="*/ 0 w 4"/>
              <a:gd name="T67" fmla="*/ 0 h 8"/>
              <a:gd name="T68" fmla="*/ 0 w 4"/>
              <a:gd name="T69" fmla="*/ 0 h 8"/>
              <a:gd name="T70" fmla="*/ 0 w 4"/>
              <a:gd name="T71" fmla="*/ 0 h 8"/>
              <a:gd name="T72" fmla="*/ 0 w 4"/>
              <a:gd name="T73" fmla="*/ 0 h 8"/>
              <a:gd name="T74" fmla="*/ 0 w 4"/>
              <a:gd name="T75" fmla="*/ 0 h 8"/>
              <a:gd name="T76" fmla="*/ 0 w 4"/>
              <a:gd name="T77" fmla="*/ 0 h 8"/>
              <a:gd name="T78" fmla="*/ 0 w 4"/>
              <a:gd name="T79" fmla="*/ 0 h 8"/>
              <a:gd name="T80" fmla="*/ 0 w 4"/>
              <a:gd name="T81" fmla="*/ 0 h 8"/>
              <a:gd name="T82" fmla="*/ 0 w 4"/>
              <a:gd name="T83" fmla="*/ 0 h 8"/>
              <a:gd name="T84" fmla="*/ 0 w 4"/>
              <a:gd name="T85" fmla="*/ 0 h 8"/>
              <a:gd name="T86" fmla="*/ 0 w 4"/>
              <a:gd name="T87" fmla="*/ 0 h 8"/>
              <a:gd name="T88" fmla="*/ 0 w 4"/>
              <a:gd name="T89" fmla="*/ 0 h 8"/>
              <a:gd name="T90" fmla="*/ 0 w 4"/>
              <a:gd name="T91" fmla="*/ 0 h 8"/>
              <a:gd name="T92" fmla="*/ 4 w 4"/>
              <a:gd name="T93" fmla="*/ 4 h 8"/>
              <a:gd name="T94" fmla="*/ 4 w 4"/>
              <a:gd name="T95" fmla="*/ 4 h 8"/>
              <a:gd name="T96" fmla="*/ 4 w 4"/>
              <a:gd name="T97" fmla="*/ 8 h 8"/>
              <a:gd name="T98" fmla="*/ 4 w 4"/>
              <a:gd name="T99" fmla="*/ 8 h 8"/>
              <a:gd name="T100" fmla="*/ 4 w 4"/>
              <a:gd name="T101" fmla="*/ 8 h 8"/>
              <a:gd name="T102" fmla="*/ 4 w 4"/>
              <a:gd name="T103" fmla="*/ 4 h 8"/>
              <a:gd name="T104" fmla="*/ 4 w 4"/>
              <a:gd name="T105" fmla="*/ 4 h 8"/>
              <a:gd name="T106" fmla="*/ 4 w 4"/>
              <a:gd name="T107"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 h="8">
                <a:moveTo>
                  <a:pt x="0" y="0"/>
                </a:moveTo>
                <a:lnTo>
                  <a:pt x="4" y="0"/>
                </a:lnTo>
                <a:lnTo>
                  <a:pt x="4" y="0"/>
                </a:lnTo>
                <a:lnTo>
                  <a:pt x="0" y="0"/>
                </a:lnTo>
                <a:lnTo>
                  <a:pt x="0" y="0"/>
                </a:lnTo>
                <a:lnTo>
                  <a:pt x="0" y="0"/>
                </a:lnTo>
                <a:lnTo>
                  <a:pt x="0" y="0"/>
                </a:lnTo>
                <a:lnTo>
                  <a:pt x="0" y="0"/>
                </a:lnTo>
                <a:lnTo>
                  <a:pt x="0" y="0"/>
                </a:lnTo>
                <a:lnTo>
                  <a:pt x="0" y="0"/>
                </a:lnTo>
                <a:lnTo>
                  <a:pt x="0" y="0"/>
                </a:lnTo>
                <a:lnTo>
                  <a:pt x="0" y="4"/>
                </a:lnTo>
                <a:lnTo>
                  <a:pt x="0" y="4"/>
                </a:lnTo>
                <a:lnTo>
                  <a:pt x="0" y="4"/>
                </a:lnTo>
                <a:lnTo>
                  <a:pt x="0" y="4"/>
                </a:lnTo>
                <a:lnTo>
                  <a:pt x="0" y="4"/>
                </a:lnTo>
                <a:lnTo>
                  <a:pt x="4" y="4"/>
                </a:lnTo>
                <a:lnTo>
                  <a:pt x="4" y="4"/>
                </a:lnTo>
                <a:lnTo>
                  <a:pt x="4" y="4"/>
                </a:lnTo>
                <a:lnTo>
                  <a:pt x="4" y="4"/>
                </a:lnTo>
                <a:lnTo>
                  <a:pt x="4" y="4"/>
                </a:lnTo>
                <a:lnTo>
                  <a:pt x="4" y="4"/>
                </a:lnTo>
                <a:lnTo>
                  <a:pt x="0" y="4"/>
                </a:lnTo>
                <a:lnTo>
                  <a:pt x="0" y="4"/>
                </a:lnTo>
                <a:lnTo>
                  <a:pt x="0" y="4"/>
                </a:lnTo>
                <a:lnTo>
                  <a:pt x="0" y="4"/>
                </a:lnTo>
                <a:lnTo>
                  <a:pt x="0" y="4"/>
                </a:lnTo>
                <a:lnTo>
                  <a:pt x="0" y="4"/>
                </a:lnTo>
                <a:lnTo>
                  <a:pt x="0" y="4"/>
                </a:lnTo>
                <a:lnTo>
                  <a:pt x="0" y="4"/>
                </a:lnTo>
                <a:lnTo>
                  <a:pt x="0" y="4"/>
                </a:lnTo>
                <a:lnTo>
                  <a:pt x="0" y="4"/>
                </a:lnTo>
                <a:lnTo>
                  <a:pt x="0" y="4"/>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moveTo>
                  <a:pt x="4" y="4"/>
                </a:moveTo>
                <a:lnTo>
                  <a:pt x="4" y="4"/>
                </a:lnTo>
                <a:lnTo>
                  <a:pt x="4" y="8"/>
                </a:lnTo>
                <a:lnTo>
                  <a:pt x="4" y="8"/>
                </a:lnTo>
                <a:lnTo>
                  <a:pt x="4" y="8"/>
                </a:lnTo>
                <a:lnTo>
                  <a:pt x="4" y="4"/>
                </a:lnTo>
                <a:lnTo>
                  <a:pt x="4" y="4"/>
                </a:lnTo>
                <a:lnTo>
                  <a:pt x="4" y="4"/>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77" name="Freeform 84"/>
          <p:cNvSpPr>
            <a:spLocks noEditPoints="1"/>
          </p:cNvSpPr>
          <p:nvPr/>
        </p:nvSpPr>
        <p:spPr bwMode="auto">
          <a:xfrm>
            <a:off x="2926556" y="3140868"/>
            <a:ext cx="107156" cy="130969"/>
          </a:xfrm>
          <a:custGeom>
            <a:avLst/>
            <a:gdLst>
              <a:gd name="T0" fmla="*/ 52 w 90"/>
              <a:gd name="T1" fmla="*/ 50 h 110"/>
              <a:gd name="T2" fmla="*/ 48 w 90"/>
              <a:gd name="T3" fmla="*/ 46 h 110"/>
              <a:gd name="T4" fmla="*/ 52 w 90"/>
              <a:gd name="T5" fmla="*/ 50 h 110"/>
              <a:gd name="T6" fmla="*/ 64 w 90"/>
              <a:gd name="T7" fmla="*/ 50 h 110"/>
              <a:gd name="T8" fmla="*/ 64 w 90"/>
              <a:gd name="T9" fmla="*/ 54 h 110"/>
              <a:gd name="T10" fmla="*/ 86 w 90"/>
              <a:gd name="T11" fmla="*/ 82 h 110"/>
              <a:gd name="T12" fmla="*/ 86 w 90"/>
              <a:gd name="T13" fmla="*/ 80 h 110"/>
              <a:gd name="T14" fmla="*/ 90 w 90"/>
              <a:gd name="T15" fmla="*/ 82 h 110"/>
              <a:gd name="T16" fmla="*/ 22 w 90"/>
              <a:gd name="T17" fmla="*/ 0 h 110"/>
              <a:gd name="T18" fmla="*/ 26 w 90"/>
              <a:gd name="T19" fmla="*/ 8 h 110"/>
              <a:gd name="T20" fmla="*/ 26 w 90"/>
              <a:gd name="T21" fmla="*/ 12 h 110"/>
              <a:gd name="T22" fmla="*/ 26 w 90"/>
              <a:gd name="T23" fmla="*/ 16 h 110"/>
              <a:gd name="T24" fmla="*/ 26 w 90"/>
              <a:gd name="T25" fmla="*/ 12 h 110"/>
              <a:gd name="T26" fmla="*/ 22 w 90"/>
              <a:gd name="T27" fmla="*/ 4 h 110"/>
              <a:gd name="T28" fmla="*/ 16 w 90"/>
              <a:gd name="T29" fmla="*/ 0 h 110"/>
              <a:gd name="T30" fmla="*/ 4 w 90"/>
              <a:gd name="T31" fmla="*/ 8 h 110"/>
              <a:gd name="T32" fmla="*/ 8 w 90"/>
              <a:gd name="T33" fmla="*/ 4 h 110"/>
              <a:gd name="T34" fmla="*/ 12 w 90"/>
              <a:gd name="T35" fmla="*/ 4 h 110"/>
              <a:gd name="T36" fmla="*/ 4 w 90"/>
              <a:gd name="T37" fmla="*/ 8 h 110"/>
              <a:gd name="T38" fmla="*/ 34 w 90"/>
              <a:gd name="T39" fmla="*/ 26 h 110"/>
              <a:gd name="T40" fmla="*/ 42 w 90"/>
              <a:gd name="T41" fmla="*/ 30 h 110"/>
              <a:gd name="T42" fmla="*/ 42 w 90"/>
              <a:gd name="T43" fmla="*/ 42 h 110"/>
              <a:gd name="T44" fmla="*/ 42 w 90"/>
              <a:gd name="T45" fmla="*/ 38 h 110"/>
              <a:gd name="T46" fmla="*/ 38 w 90"/>
              <a:gd name="T47" fmla="*/ 30 h 110"/>
              <a:gd name="T48" fmla="*/ 34 w 90"/>
              <a:gd name="T49" fmla="*/ 24 h 110"/>
              <a:gd name="T50" fmla="*/ 12 w 90"/>
              <a:gd name="T51" fmla="*/ 30 h 110"/>
              <a:gd name="T52" fmla="*/ 16 w 90"/>
              <a:gd name="T53" fmla="*/ 38 h 110"/>
              <a:gd name="T54" fmla="*/ 18 w 90"/>
              <a:gd name="T55" fmla="*/ 46 h 110"/>
              <a:gd name="T56" fmla="*/ 12 w 90"/>
              <a:gd name="T57" fmla="*/ 46 h 110"/>
              <a:gd name="T58" fmla="*/ 12 w 90"/>
              <a:gd name="T59" fmla="*/ 42 h 110"/>
              <a:gd name="T60" fmla="*/ 12 w 90"/>
              <a:gd name="T61" fmla="*/ 38 h 110"/>
              <a:gd name="T62" fmla="*/ 12 w 90"/>
              <a:gd name="T63" fmla="*/ 30 h 110"/>
              <a:gd name="T64" fmla="*/ 26 w 90"/>
              <a:gd name="T65" fmla="*/ 34 h 110"/>
              <a:gd name="T66" fmla="*/ 22 w 90"/>
              <a:gd name="T67" fmla="*/ 34 h 110"/>
              <a:gd name="T68" fmla="*/ 18 w 90"/>
              <a:gd name="T69" fmla="*/ 50 h 110"/>
              <a:gd name="T70" fmla="*/ 22 w 90"/>
              <a:gd name="T71" fmla="*/ 56 h 110"/>
              <a:gd name="T72" fmla="*/ 18 w 90"/>
              <a:gd name="T73" fmla="*/ 56 h 110"/>
              <a:gd name="T74" fmla="*/ 18 w 90"/>
              <a:gd name="T75" fmla="*/ 50 h 110"/>
              <a:gd name="T76" fmla="*/ 44 w 90"/>
              <a:gd name="T77" fmla="*/ 60 h 110"/>
              <a:gd name="T78" fmla="*/ 44 w 90"/>
              <a:gd name="T79" fmla="*/ 56 h 110"/>
              <a:gd name="T80" fmla="*/ 52 w 90"/>
              <a:gd name="T81" fmla="*/ 60 h 110"/>
              <a:gd name="T82" fmla="*/ 60 w 90"/>
              <a:gd name="T83" fmla="*/ 68 h 110"/>
              <a:gd name="T84" fmla="*/ 56 w 90"/>
              <a:gd name="T85" fmla="*/ 68 h 110"/>
              <a:gd name="T86" fmla="*/ 52 w 90"/>
              <a:gd name="T87" fmla="*/ 60 h 110"/>
              <a:gd name="T88" fmla="*/ 68 w 90"/>
              <a:gd name="T89" fmla="*/ 76 h 110"/>
              <a:gd name="T90" fmla="*/ 70 w 90"/>
              <a:gd name="T91" fmla="*/ 76 h 110"/>
              <a:gd name="T92" fmla="*/ 68 w 90"/>
              <a:gd name="T93" fmla="*/ 86 h 110"/>
              <a:gd name="T94" fmla="*/ 70 w 90"/>
              <a:gd name="T95" fmla="*/ 80 h 110"/>
              <a:gd name="T96" fmla="*/ 70 w 90"/>
              <a:gd name="T97" fmla="*/ 76 h 110"/>
              <a:gd name="T98" fmla="*/ 70 w 90"/>
              <a:gd name="T99" fmla="*/ 82 h 110"/>
              <a:gd name="T100" fmla="*/ 68 w 90"/>
              <a:gd name="T101" fmla="*/ 86 h 110"/>
              <a:gd name="T102" fmla="*/ 74 w 90"/>
              <a:gd name="T103" fmla="*/ 106 h 110"/>
              <a:gd name="T104" fmla="*/ 82 w 90"/>
              <a:gd name="T105" fmla="*/ 102 h 110"/>
              <a:gd name="T106" fmla="*/ 86 w 90"/>
              <a:gd name="T107" fmla="*/ 102 h 110"/>
              <a:gd name="T108" fmla="*/ 82 w 90"/>
              <a:gd name="T109" fmla="*/ 110 h 110"/>
              <a:gd name="T110" fmla="*/ 74 w 90"/>
              <a:gd name="T111"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0" h="110">
                <a:moveTo>
                  <a:pt x="52" y="50"/>
                </a:moveTo>
                <a:lnTo>
                  <a:pt x="48" y="50"/>
                </a:lnTo>
                <a:lnTo>
                  <a:pt x="52" y="50"/>
                </a:lnTo>
                <a:lnTo>
                  <a:pt x="48" y="46"/>
                </a:lnTo>
                <a:lnTo>
                  <a:pt x="48" y="42"/>
                </a:lnTo>
                <a:lnTo>
                  <a:pt x="48" y="46"/>
                </a:lnTo>
                <a:lnTo>
                  <a:pt x="52" y="46"/>
                </a:lnTo>
                <a:lnTo>
                  <a:pt x="52" y="50"/>
                </a:lnTo>
                <a:lnTo>
                  <a:pt x="52" y="50"/>
                </a:lnTo>
                <a:lnTo>
                  <a:pt x="52" y="50"/>
                </a:lnTo>
                <a:close/>
                <a:moveTo>
                  <a:pt x="64" y="54"/>
                </a:moveTo>
                <a:lnTo>
                  <a:pt x="64" y="50"/>
                </a:lnTo>
                <a:lnTo>
                  <a:pt x="68" y="54"/>
                </a:lnTo>
                <a:lnTo>
                  <a:pt x="64" y="54"/>
                </a:lnTo>
                <a:lnTo>
                  <a:pt x="64" y="54"/>
                </a:lnTo>
                <a:lnTo>
                  <a:pt x="64" y="54"/>
                </a:lnTo>
                <a:close/>
                <a:moveTo>
                  <a:pt x="90" y="82"/>
                </a:moveTo>
                <a:lnTo>
                  <a:pt x="86" y="82"/>
                </a:lnTo>
                <a:lnTo>
                  <a:pt x="82" y="82"/>
                </a:lnTo>
                <a:lnTo>
                  <a:pt x="82" y="80"/>
                </a:lnTo>
                <a:lnTo>
                  <a:pt x="86" y="80"/>
                </a:lnTo>
                <a:lnTo>
                  <a:pt x="90" y="82"/>
                </a:lnTo>
                <a:lnTo>
                  <a:pt x="90" y="82"/>
                </a:lnTo>
                <a:lnTo>
                  <a:pt x="90" y="82"/>
                </a:lnTo>
                <a:close/>
                <a:moveTo>
                  <a:pt x="16" y="0"/>
                </a:moveTo>
                <a:lnTo>
                  <a:pt x="18" y="0"/>
                </a:lnTo>
                <a:lnTo>
                  <a:pt x="22" y="0"/>
                </a:lnTo>
                <a:lnTo>
                  <a:pt x="22" y="4"/>
                </a:lnTo>
                <a:lnTo>
                  <a:pt x="26" y="4"/>
                </a:lnTo>
                <a:lnTo>
                  <a:pt x="26" y="8"/>
                </a:lnTo>
                <a:lnTo>
                  <a:pt x="30" y="8"/>
                </a:lnTo>
                <a:lnTo>
                  <a:pt x="30" y="12"/>
                </a:lnTo>
                <a:lnTo>
                  <a:pt x="26" y="12"/>
                </a:lnTo>
                <a:lnTo>
                  <a:pt x="26" y="16"/>
                </a:lnTo>
                <a:lnTo>
                  <a:pt x="26" y="20"/>
                </a:lnTo>
                <a:lnTo>
                  <a:pt x="26" y="16"/>
                </a:lnTo>
                <a:lnTo>
                  <a:pt x="22" y="16"/>
                </a:lnTo>
                <a:lnTo>
                  <a:pt x="26" y="16"/>
                </a:lnTo>
                <a:lnTo>
                  <a:pt x="26" y="12"/>
                </a:lnTo>
                <a:lnTo>
                  <a:pt x="26" y="8"/>
                </a:lnTo>
                <a:lnTo>
                  <a:pt x="26" y="4"/>
                </a:lnTo>
                <a:lnTo>
                  <a:pt x="22" y="4"/>
                </a:lnTo>
                <a:lnTo>
                  <a:pt x="22" y="0"/>
                </a:lnTo>
                <a:lnTo>
                  <a:pt x="18" y="0"/>
                </a:lnTo>
                <a:lnTo>
                  <a:pt x="16" y="0"/>
                </a:lnTo>
                <a:lnTo>
                  <a:pt x="16" y="0"/>
                </a:lnTo>
                <a:lnTo>
                  <a:pt x="16" y="0"/>
                </a:lnTo>
                <a:close/>
                <a:moveTo>
                  <a:pt x="4" y="8"/>
                </a:moveTo>
                <a:lnTo>
                  <a:pt x="0" y="4"/>
                </a:lnTo>
                <a:lnTo>
                  <a:pt x="4" y="4"/>
                </a:lnTo>
                <a:lnTo>
                  <a:pt x="8" y="4"/>
                </a:lnTo>
                <a:lnTo>
                  <a:pt x="12" y="4"/>
                </a:lnTo>
                <a:lnTo>
                  <a:pt x="16" y="4"/>
                </a:lnTo>
                <a:lnTo>
                  <a:pt x="12" y="4"/>
                </a:lnTo>
                <a:lnTo>
                  <a:pt x="8" y="8"/>
                </a:lnTo>
                <a:lnTo>
                  <a:pt x="4" y="8"/>
                </a:lnTo>
                <a:lnTo>
                  <a:pt x="4" y="8"/>
                </a:lnTo>
                <a:lnTo>
                  <a:pt x="4" y="8"/>
                </a:lnTo>
                <a:close/>
                <a:moveTo>
                  <a:pt x="34" y="24"/>
                </a:moveTo>
                <a:lnTo>
                  <a:pt x="34" y="26"/>
                </a:lnTo>
                <a:lnTo>
                  <a:pt x="38" y="26"/>
                </a:lnTo>
                <a:lnTo>
                  <a:pt x="38" y="30"/>
                </a:lnTo>
                <a:lnTo>
                  <a:pt x="42" y="30"/>
                </a:lnTo>
                <a:lnTo>
                  <a:pt x="42" y="34"/>
                </a:lnTo>
                <a:lnTo>
                  <a:pt x="42" y="38"/>
                </a:lnTo>
                <a:lnTo>
                  <a:pt x="42" y="42"/>
                </a:lnTo>
                <a:lnTo>
                  <a:pt x="42" y="38"/>
                </a:lnTo>
                <a:lnTo>
                  <a:pt x="38" y="38"/>
                </a:lnTo>
                <a:lnTo>
                  <a:pt x="42" y="38"/>
                </a:lnTo>
                <a:lnTo>
                  <a:pt x="42" y="34"/>
                </a:lnTo>
                <a:lnTo>
                  <a:pt x="42" y="30"/>
                </a:lnTo>
                <a:lnTo>
                  <a:pt x="38" y="30"/>
                </a:lnTo>
                <a:lnTo>
                  <a:pt x="38" y="26"/>
                </a:lnTo>
                <a:lnTo>
                  <a:pt x="34" y="26"/>
                </a:lnTo>
                <a:lnTo>
                  <a:pt x="34" y="24"/>
                </a:lnTo>
                <a:lnTo>
                  <a:pt x="34" y="24"/>
                </a:lnTo>
                <a:lnTo>
                  <a:pt x="34" y="24"/>
                </a:lnTo>
                <a:close/>
                <a:moveTo>
                  <a:pt x="12" y="30"/>
                </a:moveTo>
                <a:lnTo>
                  <a:pt x="16" y="30"/>
                </a:lnTo>
                <a:lnTo>
                  <a:pt x="16" y="34"/>
                </a:lnTo>
                <a:lnTo>
                  <a:pt x="16" y="38"/>
                </a:lnTo>
                <a:lnTo>
                  <a:pt x="18" y="38"/>
                </a:lnTo>
                <a:lnTo>
                  <a:pt x="18" y="42"/>
                </a:lnTo>
                <a:lnTo>
                  <a:pt x="18" y="46"/>
                </a:lnTo>
                <a:lnTo>
                  <a:pt x="16" y="50"/>
                </a:lnTo>
                <a:lnTo>
                  <a:pt x="16" y="46"/>
                </a:lnTo>
                <a:lnTo>
                  <a:pt x="12" y="46"/>
                </a:lnTo>
                <a:lnTo>
                  <a:pt x="12" y="42"/>
                </a:lnTo>
                <a:lnTo>
                  <a:pt x="8" y="42"/>
                </a:lnTo>
                <a:lnTo>
                  <a:pt x="12" y="42"/>
                </a:lnTo>
                <a:lnTo>
                  <a:pt x="12" y="38"/>
                </a:lnTo>
                <a:lnTo>
                  <a:pt x="12" y="42"/>
                </a:lnTo>
                <a:lnTo>
                  <a:pt x="12" y="38"/>
                </a:lnTo>
                <a:lnTo>
                  <a:pt x="12" y="34"/>
                </a:lnTo>
                <a:lnTo>
                  <a:pt x="12" y="30"/>
                </a:lnTo>
                <a:lnTo>
                  <a:pt x="12" y="30"/>
                </a:lnTo>
                <a:lnTo>
                  <a:pt x="12" y="30"/>
                </a:lnTo>
                <a:close/>
                <a:moveTo>
                  <a:pt x="22" y="34"/>
                </a:moveTo>
                <a:lnTo>
                  <a:pt x="26" y="34"/>
                </a:lnTo>
                <a:lnTo>
                  <a:pt x="22" y="34"/>
                </a:lnTo>
                <a:lnTo>
                  <a:pt x="22" y="34"/>
                </a:lnTo>
                <a:lnTo>
                  <a:pt x="22" y="34"/>
                </a:lnTo>
                <a:close/>
                <a:moveTo>
                  <a:pt x="18" y="50"/>
                </a:moveTo>
                <a:lnTo>
                  <a:pt x="18" y="54"/>
                </a:lnTo>
                <a:lnTo>
                  <a:pt x="18" y="50"/>
                </a:lnTo>
                <a:lnTo>
                  <a:pt x="22" y="50"/>
                </a:lnTo>
                <a:lnTo>
                  <a:pt x="22" y="54"/>
                </a:lnTo>
                <a:lnTo>
                  <a:pt x="22" y="56"/>
                </a:lnTo>
                <a:lnTo>
                  <a:pt x="18" y="56"/>
                </a:lnTo>
                <a:lnTo>
                  <a:pt x="22" y="56"/>
                </a:lnTo>
                <a:lnTo>
                  <a:pt x="18" y="56"/>
                </a:lnTo>
                <a:lnTo>
                  <a:pt x="16" y="54"/>
                </a:lnTo>
                <a:lnTo>
                  <a:pt x="18" y="50"/>
                </a:lnTo>
                <a:lnTo>
                  <a:pt x="18" y="50"/>
                </a:lnTo>
                <a:lnTo>
                  <a:pt x="18" y="50"/>
                </a:lnTo>
                <a:close/>
                <a:moveTo>
                  <a:pt x="44" y="56"/>
                </a:moveTo>
                <a:lnTo>
                  <a:pt x="44" y="60"/>
                </a:lnTo>
                <a:lnTo>
                  <a:pt x="42" y="60"/>
                </a:lnTo>
                <a:lnTo>
                  <a:pt x="42" y="56"/>
                </a:lnTo>
                <a:lnTo>
                  <a:pt x="44" y="56"/>
                </a:lnTo>
                <a:lnTo>
                  <a:pt x="44" y="56"/>
                </a:lnTo>
                <a:lnTo>
                  <a:pt x="44" y="56"/>
                </a:lnTo>
                <a:close/>
                <a:moveTo>
                  <a:pt x="52" y="60"/>
                </a:moveTo>
                <a:lnTo>
                  <a:pt x="56" y="64"/>
                </a:lnTo>
                <a:lnTo>
                  <a:pt x="56" y="68"/>
                </a:lnTo>
                <a:lnTo>
                  <a:pt x="60" y="68"/>
                </a:lnTo>
                <a:lnTo>
                  <a:pt x="60" y="72"/>
                </a:lnTo>
                <a:lnTo>
                  <a:pt x="60" y="68"/>
                </a:lnTo>
                <a:lnTo>
                  <a:pt x="56" y="68"/>
                </a:lnTo>
                <a:lnTo>
                  <a:pt x="56" y="64"/>
                </a:lnTo>
                <a:lnTo>
                  <a:pt x="52" y="60"/>
                </a:lnTo>
                <a:lnTo>
                  <a:pt x="52" y="60"/>
                </a:lnTo>
                <a:lnTo>
                  <a:pt x="52" y="60"/>
                </a:lnTo>
                <a:close/>
                <a:moveTo>
                  <a:pt x="70" y="76"/>
                </a:moveTo>
                <a:lnTo>
                  <a:pt x="68" y="76"/>
                </a:lnTo>
                <a:lnTo>
                  <a:pt x="68" y="72"/>
                </a:lnTo>
                <a:lnTo>
                  <a:pt x="68" y="76"/>
                </a:lnTo>
                <a:lnTo>
                  <a:pt x="70" y="76"/>
                </a:lnTo>
                <a:lnTo>
                  <a:pt x="70" y="76"/>
                </a:lnTo>
                <a:lnTo>
                  <a:pt x="70" y="76"/>
                </a:lnTo>
                <a:close/>
                <a:moveTo>
                  <a:pt x="68" y="86"/>
                </a:moveTo>
                <a:lnTo>
                  <a:pt x="68" y="82"/>
                </a:lnTo>
                <a:lnTo>
                  <a:pt x="70" y="82"/>
                </a:lnTo>
                <a:lnTo>
                  <a:pt x="70" y="80"/>
                </a:lnTo>
                <a:lnTo>
                  <a:pt x="74" y="80"/>
                </a:lnTo>
                <a:lnTo>
                  <a:pt x="70" y="80"/>
                </a:lnTo>
                <a:lnTo>
                  <a:pt x="70" y="76"/>
                </a:lnTo>
                <a:lnTo>
                  <a:pt x="74" y="76"/>
                </a:lnTo>
                <a:lnTo>
                  <a:pt x="74" y="80"/>
                </a:lnTo>
                <a:lnTo>
                  <a:pt x="70" y="82"/>
                </a:lnTo>
                <a:lnTo>
                  <a:pt x="68" y="82"/>
                </a:lnTo>
                <a:lnTo>
                  <a:pt x="68" y="86"/>
                </a:lnTo>
                <a:lnTo>
                  <a:pt x="68" y="86"/>
                </a:lnTo>
                <a:lnTo>
                  <a:pt x="68" y="86"/>
                </a:lnTo>
                <a:close/>
                <a:moveTo>
                  <a:pt x="74" y="110"/>
                </a:moveTo>
                <a:lnTo>
                  <a:pt x="74" y="106"/>
                </a:lnTo>
                <a:lnTo>
                  <a:pt x="78" y="106"/>
                </a:lnTo>
                <a:lnTo>
                  <a:pt x="78" y="102"/>
                </a:lnTo>
                <a:lnTo>
                  <a:pt x="82" y="102"/>
                </a:lnTo>
                <a:lnTo>
                  <a:pt x="82" y="106"/>
                </a:lnTo>
                <a:lnTo>
                  <a:pt x="82" y="102"/>
                </a:lnTo>
                <a:lnTo>
                  <a:pt x="86" y="102"/>
                </a:lnTo>
                <a:lnTo>
                  <a:pt x="86" y="106"/>
                </a:lnTo>
                <a:lnTo>
                  <a:pt x="82" y="106"/>
                </a:lnTo>
                <a:lnTo>
                  <a:pt x="82" y="110"/>
                </a:lnTo>
                <a:lnTo>
                  <a:pt x="78" y="110"/>
                </a:lnTo>
                <a:lnTo>
                  <a:pt x="78" y="106"/>
                </a:lnTo>
                <a:lnTo>
                  <a:pt x="74" y="110"/>
                </a:lnTo>
                <a:lnTo>
                  <a:pt x="74" y="110"/>
                </a:lnTo>
                <a:lnTo>
                  <a:pt x="74" y="110"/>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78" name="Freeform 85"/>
          <p:cNvSpPr>
            <a:spLocks noEditPoints="1"/>
          </p:cNvSpPr>
          <p:nvPr/>
        </p:nvSpPr>
        <p:spPr bwMode="auto">
          <a:xfrm>
            <a:off x="3214688" y="3464718"/>
            <a:ext cx="21431" cy="26194"/>
          </a:xfrm>
          <a:custGeom>
            <a:avLst/>
            <a:gdLst>
              <a:gd name="T0" fmla="*/ 14 w 18"/>
              <a:gd name="T1" fmla="*/ 4 h 22"/>
              <a:gd name="T2" fmla="*/ 14 w 18"/>
              <a:gd name="T3" fmla="*/ 4 h 22"/>
              <a:gd name="T4" fmla="*/ 18 w 18"/>
              <a:gd name="T5" fmla="*/ 4 h 22"/>
              <a:gd name="T6" fmla="*/ 18 w 18"/>
              <a:gd name="T7" fmla="*/ 0 h 22"/>
              <a:gd name="T8" fmla="*/ 18 w 18"/>
              <a:gd name="T9" fmla="*/ 4 h 22"/>
              <a:gd name="T10" fmla="*/ 18 w 18"/>
              <a:gd name="T11" fmla="*/ 4 h 22"/>
              <a:gd name="T12" fmla="*/ 18 w 18"/>
              <a:gd name="T13" fmla="*/ 4 h 22"/>
              <a:gd name="T14" fmla="*/ 14 w 18"/>
              <a:gd name="T15" fmla="*/ 4 h 22"/>
              <a:gd name="T16" fmla="*/ 14 w 18"/>
              <a:gd name="T17" fmla="*/ 4 h 22"/>
              <a:gd name="T18" fmla="*/ 12 w 18"/>
              <a:gd name="T19" fmla="*/ 12 h 22"/>
              <a:gd name="T20" fmla="*/ 14 w 18"/>
              <a:gd name="T21" fmla="*/ 12 h 22"/>
              <a:gd name="T22" fmla="*/ 14 w 18"/>
              <a:gd name="T23" fmla="*/ 12 h 22"/>
              <a:gd name="T24" fmla="*/ 14 w 18"/>
              <a:gd name="T25" fmla="*/ 12 h 22"/>
              <a:gd name="T26" fmla="*/ 12 w 18"/>
              <a:gd name="T27" fmla="*/ 12 h 22"/>
              <a:gd name="T28" fmla="*/ 12 w 18"/>
              <a:gd name="T29" fmla="*/ 16 h 22"/>
              <a:gd name="T30" fmla="*/ 14 w 18"/>
              <a:gd name="T31" fmla="*/ 18 h 22"/>
              <a:gd name="T32" fmla="*/ 12 w 18"/>
              <a:gd name="T33" fmla="*/ 22 h 22"/>
              <a:gd name="T34" fmla="*/ 12 w 18"/>
              <a:gd name="T35" fmla="*/ 22 h 22"/>
              <a:gd name="T36" fmla="*/ 8 w 18"/>
              <a:gd name="T37" fmla="*/ 22 h 22"/>
              <a:gd name="T38" fmla="*/ 4 w 18"/>
              <a:gd name="T39" fmla="*/ 22 h 22"/>
              <a:gd name="T40" fmla="*/ 0 w 18"/>
              <a:gd name="T41" fmla="*/ 22 h 22"/>
              <a:gd name="T42" fmla="*/ 0 w 18"/>
              <a:gd name="T43" fmla="*/ 22 h 22"/>
              <a:gd name="T44" fmla="*/ 0 w 18"/>
              <a:gd name="T45" fmla="*/ 22 h 22"/>
              <a:gd name="T46" fmla="*/ 0 w 18"/>
              <a:gd name="T47" fmla="*/ 22 h 22"/>
              <a:gd name="T48" fmla="*/ 8 w 18"/>
              <a:gd name="T49" fmla="*/ 18 h 22"/>
              <a:gd name="T50" fmla="*/ 8 w 18"/>
              <a:gd name="T51" fmla="*/ 18 h 22"/>
              <a:gd name="T52" fmla="*/ 8 w 18"/>
              <a:gd name="T53" fmla="*/ 16 h 22"/>
              <a:gd name="T54" fmla="*/ 4 w 18"/>
              <a:gd name="T55" fmla="*/ 12 h 22"/>
              <a:gd name="T56" fmla="*/ 4 w 18"/>
              <a:gd name="T57" fmla="*/ 12 h 22"/>
              <a:gd name="T58" fmla="*/ 4 w 18"/>
              <a:gd name="T59" fmla="*/ 12 h 22"/>
              <a:gd name="T60" fmla="*/ 8 w 18"/>
              <a:gd name="T61" fmla="*/ 12 h 22"/>
              <a:gd name="T62" fmla="*/ 8 w 18"/>
              <a:gd name="T63" fmla="*/ 12 h 22"/>
              <a:gd name="T64" fmla="*/ 12 w 18"/>
              <a:gd name="T65" fmla="*/ 12 h 22"/>
              <a:gd name="T66" fmla="*/ 12 w 18"/>
              <a:gd name="T67" fmla="*/ 12 h 22"/>
              <a:gd name="T68" fmla="*/ 12 w 18"/>
              <a:gd name="T69"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22">
                <a:moveTo>
                  <a:pt x="14" y="4"/>
                </a:moveTo>
                <a:lnTo>
                  <a:pt x="14" y="4"/>
                </a:lnTo>
                <a:lnTo>
                  <a:pt x="14" y="4"/>
                </a:lnTo>
                <a:lnTo>
                  <a:pt x="14" y="4"/>
                </a:lnTo>
                <a:lnTo>
                  <a:pt x="18" y="4"/>
                </a:lnTo>
                <a:lnTo>
                  <a:pt x="18" y="4"/>
                </a:lnTo>
                <a:lnTo>
                  <a:pt x="18" y="0"/>
                </a:lnTo>
                <a:lnTo>
                  <a:pt x="18" y="0"/>
                </a:lnTo>
                <a:lnTo>
                  <a:pt x="18" y="4"/>
                </a:lnTo>
                <a:lnTo>
                  <a:pt x="18" y="4"/>
                </a:lnTo>
                <a:lnTo>
                  <a:pt x="18" y="4"/>
                </a:lnTo>
                <a:lnTo>
                  <a:pt x="18" y="4"/>
                </a:lnTo>
                <a:lnTo>
                  <a:pt x="18" y="4"/>
                </a:lnTo>
                <a:lnTo>
                  <a:pt x="18" y="4"/>
                </a:lnTo>
                <a:lnTo>
                  <a:pt x="14" y="4"/>
                </a:lnTo>
                <a:lnTo>
                  <a:pt x="14" y="4"/>
                </a:lnTo>
                <a:lnTo>
                  <a:pt x="14" y="4"/>
                </a:lnTo>
                <a:lnTo>
                  <a:pt x="14" y="4"/>
                </a:lnTo>
                <a:close/>
                <a:moveTo>
                  <a:pt x="12" y="12"/>
                </a:moveTo>
                <a:lnTo>
                  <a:pt x="12" y="12"/>
                </a:lnTo>
                <a:lnTo>
                  <a:pt x="12" y="12"/>
                </a:lnTo>
                <a:lnTo>
                  <a:pt x="14" y="12"/>
                </a:lnTo>
                <a:lnTo>
                  <a:pt x="14" y="12"/>
                </a:lnTo>
                <a:lnTo>
                  <a:pt x="14" y="12"/>
                </a:lnTo>
                <a:lnTo>
                  <a:pt x="14" y="12"/>
                </a:lnTo>
                <a:lnTo>
                  <a:pt x="14" y="12"/>
                </a:lnTo>
                <a:lnTo>
                  <a:pt x="14" y="12"/>
                </a:lnTo>
                <a:lnTo>
                  <a:pt x="12" y="12"/>
                </a:lnTo>
                <a:lnTo>
                  <a:pt x="12" y="12"/>
                </a:lnTo>
                <a:lnTo>
                  <a:pt x="12" y="16"/>
                </a:lnTo>
                <a:lnTo>
                  <a:pt x="12" y="18"/>
                </a:lnTo>
                <a:lnTo>
                  <a:pt x="14" y="18"/>
                </a:lnTo>
                <a:lnTo>
                  <a:pt x="12" y="22"/>
                </a:lnTo>
                <a:lnTo>
                  <a:pt x="12" y="22"/>
                </a:lnTo>
                <a:lnTo>
                  <a:pt x="12" y="22"/>
                </a:lnTo>
                <a:lnTo>
                  <a:pt x="12" y="22"/>
                </a:lnTo>
                <a:lnTo>
                  <a:pt x="12" y="22"/>
                </a:lnTo>
                <a:lnTo>
                  <a:pt x="8" y="22"/>
                </a:lnTo>
                <a:lnTo>
                  <a:pt x="8" y="22"/>
                </a:lnTo>
                <a:lnTo>
                  <a:pt x="4" y="22"/>
                </a:lnTo>
                <a:lnTo>
                  <a:pt x="4" y="22"/>
                </a:lnTo>
                <a:lnTo>
                  <a:pt x="0" y="22"/>
                </a:lnTo>
                <a:lnTo>
                  <a:pt x="0" y="22"/>
                </a:lnTo>
                <a:lnTo>
                  <a:pt x="0" y="22"/>
                </a:lnTo>
                <a:lnTo>
                  <a:pt x="0" y="22"/>
                </a:lnTo>
                <a:lnTo>
                  <a:pt x="0" y="22"/>
                </a:lnTo>
                <a:lnTo>
                  <a:pt x="0" y="22"/>
                </a:lnTo>
                <a:lnTo>
                  <a:pt x="0" y="22"/>
                </a:lnTo>
                <a:lnTo>
                  <a:pt x="4" y="22"/>
                </a:lnTo>
                <a:lnTo>
                  <a:pt x="8" y="18"/>
                </a:lnTo>
                <a:lnTo>
                  <a:pt x="8" y="18"/>
                </a:lnTo>
                <a:lnTo>
                  <a:pt x="8" y="18"/>
                </a:lnTo>
                <a:lnTo>
                  <a:pt x="8" y="16"/>
                </a:lnTo>
                <a:lnTo>
                  <a:pt x="8" y="16"/>
                </a:lnTo>
                <a:lnTo>
                  <a:pt x="8" y="16"/>
                </a:lnTo>
                <a:lnTo>
                  <a:pt x="4" y="12"/>
                </a:lnTo>
                <a:lnTo>
                  <a:pt x="4" y="12"/>
                </a:lnTo>
                <a:lnTo>
                  <a:pt x="4" y="12"/>
                </a:lnTo>
                <a:lnTo>
                  <a:pt x="4" y="12"/>
                </a:lnTo>
                <a:lnTo>
                  <a:pt x="4" y="12"/>
                </a:lnTo>
                <a:lnTo>
                  <a:pt x="4" y="12"/>
                </a:lnTo>
                <a:lnTo>
                  <a:pt x="8" y="12"/>
                </a:lnTo>
                <a:lnTo>
                  <a:pt x="8" y="12"/>
                </a:lnTo>
                <a:lnTo>
                  <a:pt x="8" y="12"/>
                </a:lnTo>
                <a:lnTo>
                  <a:pt x="12" y="12"/>
                </a:lnTo>
                <a:lnTo>
                  <a:pt x="12" y="12"/>
                </a:lnTo>
                <a:lnTo>
                  <a:pt x="12" y="12"/>
                </a:lnTo>
                <a:lnTo>
                  <a:pt x="12" y="12"/>
                </a:lnTo>
                <a:lnTo>
                  <a:pt x="12" y="12"/>
                </a:lnTo>
                <a:lnTo>
                  <a:pt x="12" y="12"/>
                </a:lnTo>
                <a:lnTo>
                  <a:pt x="12" y="12"/>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79" name="Freeform 86"/>
          <p:cNvSpPr>
            <a:spLocks noEditPoints="1"/>
          </p:cNvSpPr>
          <p:nvPr/>
        </p:nvSpPr>
        <p:spPr bwMode="auto">
          <a:xfrm>
            <a:off x="3048000" y="3248024"/>
            <a:ext cx="11906" cy="9525"/>
          </a:xfrm>
          <a:custGeom>
            <a:avLst/>
            <a:gdLst>
              <a:gd name="T0" fmla="*/ 10 w 10"/>
              <a:gd name="T1" fmla="*/ 8 h 8"/>
              <a:gd name="T2" fmla="*/ 10 w 10"/>
              <a:gd name="T3" fmla="*/ 8 h 8"/>
              <a:gd name="T4" fmla="*/ 10 w 10"/>
              <a:gd name="T5" fmla="*/ 8 h 8"/>
              <a:gd name="T6" fmla="*/ 10 w 10"/>
              <a:gd name="T7" fmla="*/ 8 h 8"/>
              <a:gd name="T8" fmla="*/ 10 w 10"/>
              <a:gd name="T9" fmla="*/ 8 h 8"/>
              <a:gd name="T10" fmla="*/ 10 w 10"/>
              <a:gd name="T11" fmla="*/ 8 h 8"/>
              <a:gd name="T12" fmla="*/ 10 w 10"/>
              <a:gd name="T13" fmla="*/ 8 h 8"/>
              <a:gd name="T14" fmla="*/ 0 w 10"/>
              <a:gd name="T15" fmla="*/ 0 h 8"/>
              <a:gd name="T16" fmla="*/ 0 w 10"/>
              <a:gd name="T17" fmla="*/ 0 h 8"/>
              <a:gd name="T18" fmla="*/ 0 w 10"/>
              <a:gd name="T19" fmla="*/ 0 h 8"/>
              <a:gd name="T20" fmla="*/ 0 w 10"/>
              <a:gd name="T21" fmla="*/ 0 h 8"/>
              <a:gd name="T22" fmla="*/ 0 w 10"/>
              <a:gd name="T23" fmla="*/ 0 h 8"/>
              <a:gd name="T24" fmla="*/ 0 w 10"/>
              <a:gd name="T25" fmla="*/ 0 h 8"/>
              <a:gd name="T26" fmla="*/ 0 w 10"/>
              <a:gd name="T27" fmla="*/ 0 h 8"/>
              <a:gd name="T28" fmla="*/ 0 w 10"/>
              <a:gd name="T29" fmla="*/ 0 h 8"/>
              <a:gd name="T30" fmla="*/ 0 w 10"/>
              <a:gd name="T31" fmla="*/ 0 h 8"/>
              <a:gd name="T32" fmla="*/ 0 w 10"/>
              <a:gd name="T33" fmla="*/ 0 h 8"/>
              <a:gd name="T34" fmla="*/ 0 w 10"/>
              <a:gd name="T35" fmla="*/ 0 h 8"/>
              <a:gd name="T36" fmla="*/ 0 w 10"/>
              <a:gd name="T37" fmla="*/ 0 h 8"/>
              <a:gd name="T38" fmla="*/ 0 w 10"/>
              <a:gd name="T39" fmla="*/ 0 h 8"/>
              <a:gd name="T40" fmla="*/ 0 w 10"/>
              <a:gd name="T41" fmla="*/ 0 h 8"/>
              <a:gd name="T42" fmla="*/ 0 w 10"/>
              <a:gd name="T43" fmla="*/ 0 h 8"/>
              <a:gd name="T44" fmla="*/ 2 w 10"/>
              <a:gd name="T45" fmla="*/ 4 h 8"/>
              <a:gd name="T46" fmla="*/ 2 w 10"/>
              <a:gd name="T47" fmla="*/ 4 h 8"/>
              <a:gd name="T48" fmla="*/ 2 w 10"/>
              <a:gd name="T49" fmla="*/ 4 h 8"/>
              <a:gd name="T50" fmla="*/ 2 w 10"/>
              <a:gd name="T51" fmla="*/ 0 h 8"/>
              <a:gd name="T52" fmla="*/ 2 w 10"/>
              <a:gd name="T53" fmla="*/ 0 h 8"/>
              <a:gd name="T54" fmla="*/ 2 w 10"/>
              <a:gd name="T55" fmla="*/ 0 h 8"/>
              <a:gd name="T56" fmla="*/ 2 w 10"/>
              <a:gd name="T57" fmla="*/ 0 h 8"/>
              <a:gd name="T58" fmla="*/ 0 w 10"/>
              <a:gd name="T59" fmla="*/ 4 h 8"/>
              <a:gd name="T60" fmla="*/ 0 w 10"/>
              <a:gd name="T61" fmla="*/ 4 h 8"/>
              <a:gd name="T62" fmla="*/ 0 w 10"/>
              <a:gd name="T63" fmla="*/ 0 h 8"/>
              <a:gd name="T64" fmla="*/ 0 w 10"/>
              <a:gd name="T65" fmla="*/ 0 h 8"/>
              <a:gd name="T66" fmla="*/ 0 w 10"/>
              <a:gd name="T67" fmla="*/ 0 h 8"/>
              <a:gd name="T68" fmla="*/ 2 w 10"/>
              <a:gd name="T69" fmla="*/ 0 h 8"/>
              <a:gd name="T70" fmla="*/ 2 w 10"/>
              <a:gd name="T71" fmla="*/ 0 h 8"/>
              <a:gd name="T72" fmla="*/ 2 w 10"/>
              <a:gd name="T73" fmla="*/ 0 h 8"/>
              <a:gd name="T74" fmla="*/ 2 w 10"/>
              <a:gd name="T75" fmla="*/ 0 h 8"/>
              <a:gd name="T76" fmla="*/ 2 w 10"/>
              <a:gd name="T77" fmla="*/ 4 h 8"/>
              <a:gd name="T78" fmla="*/ 2 w 10"/>
              <a:gd name="T79" fmla="*/ 4 h 8"/>
              <a:gd name="T80" fmla="*/ 2 w 10"/>
              <a:gd name="T81" fmla="*/ 4 h 8"/>
              <a:gd name="T82" fmla="*/ 2 w 10"/>
              <a:gd name="T83" fmla="*/ 4 h 8"/>
              <a:gd name="T84" fmla="*/ 2 w 10"/>
              <a:gd name="T85" fmla="*/ 4 h 8"/>
              <a:gd name="T86" fmla="*/ 2 w 10"/>
              <a:gd name="T87" fmla="*/ 4 h 8"/>
              <a:gd name="T88" fmla="*/ 2 w 10"/>
              <a:gd name="T89"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 h="8">
                <a:moveTo>
                  <a:pt x="10" y="8"/>
                </a:moveTo>
                <a:lnTo>
                  <a:pt x="10" y="8"/>
                </a:lnTo>
                <a:lnTo>
                  <a:pt x="10" y="8"/>
                </a:lnTo>
                <a:lnTo>
                  <a:pt x="10" y="8"/>
                </a:lnTo>
                <a:lnTo>
                  <a:pt x="10" y="8"/>
                </a:lnTo>
                <a:lnTo>
                  <a:pt x="10" y="8"/>
                </a:lnTo>
                <a:lnTo>
                  <a:pt x="10" y="8"/>
                </a:lnTo>
                <a:close/>
                <a:moveTo>
                  <a:pt x="0" y="0"/>
                </a:move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moveTo>
                  <a:pt x="2" y="4"/>
                </a:moveTo>
                <a:lnTo>
                  <a:pt x="2" y="4"/>
                </a:lnTo>
                <a:lnTo>
                  <a:pt x="2" y="4"/>
                </a:lnTo>
                <a:lnTo>
                  <a:pt x="2" y="0"/>
                </a:lnTo>
                <a:lnTo>
                  <a:pt x="2" y="0"/>
                </a:lnTo>
                <a:lnTo>
                  <a:pt x="2" y="0"/>
                </a:lnTo>
                <a:lnTo>
                  <a:pt x="2" y="0"/>
                </a:lnTo>
                <a:lnTo>
                  <a:pt x="0" y="4"/>
                </a:lnTo>
                <a:lnTo>
                  <a:pt x="0" y="4"/>
                </a:lnTo>
                <a:lnTo>
                  <a:pt x="0" y="0"/>
                </a:lnTo>
                <a:lnTo>
                  <a:pt x="0" y="0"/>
                </a:lnTo>
                <a:lnTo>
                  <a:pt x="0" y="0"/>
                </a:lnTo>
                <a:lnTo>
                  <a:pt x="2" y="0"/>
                </a:lnTo>
                <a:lnTo>
                  <a:pt x="2" y="0"/>
                </a:lnTo>
                <a:lnTo>
                  <a:pt x="2" y="0"/>
                </a:lnTo>
                <a:lnTo>
                  <a:pt x="2" y="0"/>
                </a:lnTo>
                <a:lnTo>
                  <a:pt x="2" y="4"/>
                </a:lnTo>
                <a:lnTo>
                  <a:pt x="2" y="4"/>
                </a:lnTo>
                <a:lnTo>
                  <a:pt x="2" y="4"/>
                </a:lnTo>
                <a:lnTo>
                  <a:pt x="2" y="4"/>
                </a:lnTo>
                <a:lnTo>
                  <a:pt x="2" y="4"/>
                </a:lnTo>
                <a:lnTo>
                  <a:pt x="2" y="4"/>
                </a:lnTo>
                <a:lnTo>
                  <a:pt x="2" y="4"/>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80" name="Freeform 87"/>
          <p:cNvSpPr>
            <a:spLocks/>
          </p:cNvSpPr>
          <p:nvPr/>
        </p:nvSpPr>
        <p:spPr bwMode="auto">
          <a:xfrm>
            <a:off x="4581525" y="2790824"/>
            <a:ext cx="30956" cy="66675"/>
          </a:xfrm>
          <a:custGeom>
            <a:avLst/>
            <a:gdLst>
              <a:gd name="T0" fmla="*/ 4 w 26"/>
              <a:gd name="T1" fmla="*/ 14 h 56"/>
              <a:gd name="T2" fmla="*/ 4 w 26"/>
              <a:gd name="T3" fmla="*/ 14 h 56"/>
              <a:gd name="T4" fmla="*/ 4 w 26"/>
              <a:gd name="T5" fmla="*/ 14 h 56"/>
              <a:gd name="T6" fmla="*/ 4 w 26"/>
              <a:gd name="T7" fmla="*/ 10 h 56"/>
              <a:gd name="T8" fmla="*/ 0 w 26"/>
              <a:gd name="T9" fmla="*/ 6 h 56"/>
              <a:gd name="T10" fmla="*/ 4 w 26"/>
              <a:gd name="T11" fmla="*/ 0 h 56"/>
              <a:gd name="T12" fmla="*/ 8 w 26"/>
              <a:gd name="T13" fmla="*/ 0 h 56"/>
              <a:gd name="T14" fmla="*/ 8 w 26"/>
              <a:gd name="T15" fmla="*/ 0 h 56"/>
              <a:gd name="T16" fmla="*/ 8 w 26"/>
              <a:gd name="T17" fmla="*/ 0 h 56"/>
              <a:gd name="T18" fmla="*/ 12 w 26"/>
              <a:gd name="T19" fmla="*/ 0 h 56"/>
              <a:gd name="T20" fmla="*/ 16 w 26"/>
              <a:gd name="T21" fmla="*/ 0 h 56"/>
              <a:gd name="T22" fmla="*/ 16 w 26"/>
              <a:gd name="T23" fmla="*/ 2 h 56"/>
              <a:gd name="T24" fmla="*/ 18 w 26"/>
              <a:gd name="T25" fmla="*/ 6 h 56"/>
              <a:gd name="T26" fmla="*/ 18 w 26"/>
              <a:gd name="T27" fmla="*/ 10 h 56"/>
              <a:gd name="T28" fmla="*/ 18 w 26"/>
              <a:gd name="T29" fmla="*/ 10 h 56"/>
              <a:gd name="T30" fmla="*/ 18 w 26"/>
              <a:gd name="T31" fmla="*/ 14 h 56"/>
              <a:gd name="T32" fmla="*/ 18 w 26"/>
              <a:gd name="T33" fmla="*/ 18 h 56"/>
              <a:gd name="T34" fmla="*/ 18 w 26"/>
              <a:gd name="T35" fmla="*/ 22 h 56"/>
              <a:gd name="T36" fmla="*/ 18 w 26"/>
              <a:gd name="T37" fmla="*/ 22 h 56"/>
              <a:gd name="T38" fmla="*/ 18 w 26"/>
              <a:gd name="T39" fmla="*/ 26 h 56"/>
              <a:gd name="T40" fmla="*/ 18 w 26"/>
              <a:gd name="T41" fmla="*/ 30 h 56"/>
              <a:gd name="T42" fmla="*/ 22 w 26"/>
              <a:gd name="T43" fmla="*/ 32 h 56"/>
              <a:gd name="T44" fmla="*/ 26 w 26"/>
              <a:gd name="T45" fmla="*/ 32 h 56"/>
              <a:gd name="T46" fmla="*/ 26 w 26"/>
              <a:gd name="T47" fmla="*/ 32 h 56"/>
              <a:gd name="T48" fmla="*/ 26 w 26"/>
              <a:gd name="T49" fmla="*/ 36 h 56"/>
              <a:gd name="T50" fmla="*/ 22 w 26"/>
              <a:gd name="T51" fmla="*/ 40 h 56"/>
              <a:gd name="T52" fmla="*/ 22 w 26"/>
              <a:gd name="T53" fmla="*/ 40 h 56"/>
              <a:gd name="T54" fmla="*/ 22 w 26"/>
              <a:gd name="T55" fmla="*/ 44 h 56"/>
              <a:gd name="T56" fmla="*/ 18 w 26"/>
              <a:gd name="T57" fmla="*/ 48 h 56"/>
              <a:gd name="T58" fmla="*/ 18 w 26"/>
              <a:gd name="T59" fmla="*/ 48 h 56"/>
              <a:gd name="T60" fmla="*/ 18 w 26"/>
              <a:gd name="T61" fmla="*/ 48 h 56"/>
              <a:gd name="T62" fmla="*/ 16 w 26"/>
              <a:gd name="T63" fmla="*/ 52 h 56"/>
              <a:gd name="T64" fmla="*/ 16 w 26"/>
              <a:gd name="T65" fmla="*/ 52 h 56"/>
              <a:gd name="T66" fmla="*/ 16 w 26"/>
              <a:gd name="T67" fmla="*/ 52 h 56"/>
              <a:gd name="T68" fmla="*/ 16 w 26"/>
              <a:gd name="T69" fmla="*/ 56 h 56"/>
              <a:gd name="T70" fmla="*/ 16 w 26"/>
              <a:gd name="T71" fmla="*/ 56 h 56"/>
              <a:gd name="T72" fmla="*/ 12 w 26"/>
              <a:gd name="T73" fmla="*/ 56 h 56"/>
              <a:gd name="T74" fmla="*/ 12 w 26"/>
              <a:gd name="T75" fmla="*/ 56 h 56"/>
              <a:gd name="T76" fmla="*/ 8 w 26"/>
              <a:gd name="T77" fmla="*/ 48 h 56"/>
              <a:gd name="T78" fmla="*/ 8 w 26"/>
              <a:gd name="T79" fmla="*/ 48 h 56"/>
              <a:gd name="T80" fmla="*/ 4 w 26"/>
              <a:gd name="T81" fmla="*/ 44 h 56"/>
              <a:gd name="T82" fmla="*/ 0 w 26"/>
              <a:gd name="T83" fmla="*/ 40 h 56"/>
              <a:gd name="T84" fmla="*/ 4 w 26"/>
              <a:gd name="T85" fmla="*/ 40 h 56"/>
              <a:gd name="T86" fmla="*/ 4 w 26"/>
              <a:gd name="T87" fmla="*/ 44 h 56"/>
              <a:gd name="T88" fmla="*/ 4 w 26"/>
              <a:gd name="T89" fmla="*/ 40 h 56"/>
              <a:gd name="T90" fmla="*/ 4 w 26"/>
              <a:gd name="T91" fmla="*/ 36 h 56"/>
              <a:gd name="T92" fmla="*/ 0 w 26"/>
              <a:gd name="T93" fmla="*/ 36 h 56"/>
              <a:gd name="T94" fmla="*/ 4 w 26"/>
              <a:gd name="T95" fmla="*/ 32 h 56"/>
              <a:gd name="T96" fmla="*/ 4 w 26"/>
              <a:gd name="T97" fmla="*/ 32 h 56"/>
              <a:gd name="T98" fmla="*/ 4 w 26"/>
              <a:gd name="T99" fmla="*/ 30 h 56"/>
              <a:gd name="T100" fmla="*/ 4 w 26"/>
              <a:gd name="T101" fmla="*/ 26 h 56"/>
              <a:gd name="T102" fmla="*/ 4 w 26"/>
              <a:gd name="T103" fmla="*/ 26 h 56"/>
              <a:gd name="T104" fmla="*/ 4 w 26"/>
              <a:gd name="T105" fmla="*/ 18 h 56"/>
              <a:gd name="T106" fmla="*/ 4 w 26"/>
              <a:gd name="T107" fmla="*/ 1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6" h="56">
                <a:moveTo>
                  <a:pt x="4" y="18"/>
                </a:moveTo>
                <a:lnTo>
                  <a:pt x="4" y="18"/>
                </a:lnTo>
                <a:lnTo>
                  <a:pt x="4" y="14"/>
                </a:lnTo>
                <a:lnTo>
                  <a:pt x="4" y="14"/>
                </a:lnTo>
                <a:lnTo>
                  <a:pt x="4" y="14"/>
                </a:lnTo>
                <a:lnTo>
                  <a:pt x="4" y="14"/>
                </a:lnTo>
                <a:lnTo>
                  <a:pt x="4" y="14"/>
                </a:lnTo>
                <a:lnTo>
                  <a:pt x="4" y="14"/>
                </a:lnTo>
                <a:lnTo>
                  <a:pt x="4" y="14"/>
                </a:lnTo>
                <a:lnTo>
                  <a:pt x="0" y="10"/>
                </a:lnTo>
                <a:lnTo>
                  <a:pt x="0" y="10"/>
                </a:lnTo>
                <a:lnTo>
                  <a:pt x="4" y="10"/>
                </a:lnTo>
                <a:lnTo>
                  <a:pt x="4" y="6"/>
                </a:lnTo>
                <a:lnTo>
                  <a:pt x="4" y="6"/>
                </a:lnTo>
                <a:lnTo>
                  <a:pt x="0" y="6"/>
                </a:lnTo>
                <a:lnTo>
                  <a:pt x="0" y="6"/>
                </a:lnTo>
                <a:lnTo>
                  <a:pt x="4" y="2"/>
                </a:lnTo>
                <a:lnTo>
                  <a:pt x="4" y="0"/>
                </a:lnTo>
                <a:lnTo>
                  <a:pt x="4" y="0"/>
                </a:lnTo>
                <a:lnTo>
                  <a:pt x="8" y="0"/>
                </a:lnTo>
                <a:lnTo>
                  <a:pt x="8" y="0"/>
                </a:lnTo>
                <a:lnTo>
                  <a:pt x="8" y="0"/>
                </a:lnTo>
                <a:lnTo>
                  <a:pt x="8" y="0"/>
                </a:lnTo>
                <a:lnTo>
                  <a:pt x="8" y="0"/>
                </a:lnTo>
                <a:lnTo>
                  <a:pt x="8" y="0"/>
                </a:lnTo>
                <a:lnTo>
                  <a:pt x="8" y="0"/>
                </a:lnTo>
                <a:lnTo>
                  <a:pt x="8" y="0"/>
                </a:lnTo>
                <a:lnTo>
                  <a:pt x="8" y="2"/>
                </a:lnTo>
                <a:lnTo>
                  <a:pt x="12" y="0"/>
                </a:lnTo>
                <a:lnTo>
                  <a:pt x="12" y="0"/>
                </a:lnTo>
                <a:lnTo>
                  <a:pt x="12" y="0"/>
                </a:lnTo>
                <a:lnTo>
                  <a:pt x="12" y="0"/>
                </a:lnTo>
                <a:lnTo>
                  <a:pt x="16" y="0"/>
                </a:lnTo>
                <a:lnTo>
                  <a:pt x="16" y="2"/>
                </a:lnTo>
                <a:lnTo>
                  <a:pt x="16" y="2"/>
                </a:lnTo>
                <a:lnTo>
                  <a:pt x="16" y="2"/>
                </a:lnTo>
                <a:lnTo>
                  <a:pt x="16" y="2"/>
                </a:lnTo>
                <a:lnTo>
                  <a:pt x="16" y="2"/>
                </a:lnTo>
                <a:lnTo>
                  <a:pt x="18" y="6"/>
                </a:lnTo>
                <a:lnTo>
                  <a:pt x="18" y="6"/>
                </a:lnTo>
                <a:lnTo>
                  <a:pt x="18" y="6"/>
                </a:lnTo>
                <a:lnTo>
                  <a:pt x="18" y="10"/>
                </a:lnTo>
                <a:lnTo>
                  <a:pt x="18" y="10"/>
                </a:lnTo>
                <a:lnTo>
                  <a:pt x="18" y="10"/>
                </a:lnTo>
                <a:lnTo>
                  <a:pt x="18" y="10"/>
                </a:lnTo>
                <a:lnTo>
                  <a:pt x="18" y="14"/>
                </a:lnTo>
                <a:lnTo>
                  <a:pt x="18" y="14"/>
                </a:lnTo>
                <a:lnTo>
                  <a:pt x="18" y="14"/>
                </a:lnTo>
                <a:lnTo>
                  <a:pt x="18" y="14"/>
                </a:lnTo>
                <a:lnTo>
                  <a:pt x="18" y="18"/>
                </a:lnTo>
                <a:lnTo>
                  <a:pt x="18" y="18"/>
                </a:lnTo>
                <a:lnTo>
                  <a:pt x="18" y="22"/>
                </a:lnTo>
                <a:lnTo>
                  <a:pt x="18" y="22"/>
                </a:lnTo>
                <a:lnTo>
                  <a:pt x="18" y="22"/>
                </a:lnTo>
                <a:lnTo>
                  <a:pt x="18" y="22"/>
                </a:lnTo>
                <a:lnTo>
                  <a:pt x="18" y="22"/>
                </a:lnTo>
                <a:lnTo>
                  <a:pt x="18" y="22"/>
                </a:lnTo>
                <a:lnTo>
                  <a:pt x="18" y="22"/>
                </a:lnTo>
                <a:lnTo>
                  <a:pt x="18" y="26"/>
                </a:lnTo>
                <a:lnTo>
                  <a:pt x="18" y="26"/>
                </a:lnTo>
                <a:lnTo>
                  <a:pt x="18" y="26"/>
                </a:lnTo>
                <a:lnTo>
                  <a:pt x="18" y="30"/>
                </a:lnTo>
                <a:lnTo>
                  <a:pt x="18" y="30"/>
                </a:lnTo>
                <a:lnTo>
                  <a:pt x="22" y="32"/>
                </a:lnTo>
                <a:lnTo>
                  <a:pt x="22" y="32"/>
                </a:lnTo>
                <a:lnTo>
                  <a:pt x="22" y="32"/>
                </a:lnTo>
                <a:lnTo>
                  <a:pt x="22" y="32"/>
                </a:lnTo>
                <a:lnTo>
                  <a:pt x="22" y="32"/>
                </a:lnTo>
                <a:lnTo>
                  <a:pt x="26" y="32"/>
                </a:lnTo>
                <a:lnTo>
                  <a:pt x="26" y="32"/>
                </a:lnTo>
                <a:lnTo>
                  <a:pt x="26" y="32"/>
                </a:lnTo>
                <a:lnTo>
                  <a:pt x="26" y="32"/>
                </a:lnTo>
                <a:lnTo>
                  <a:pt x="26" y="36"/>
                </a:lnTo>
                <a:lnTo>
                  <a:pt x="26" y="36"/>
                </a:lnTo>
                <a:lnTo>
                  <a:pt x="26" y="36"/>
                </a:lnTo>
                <a:lnTo>
                  <a:pt x="26" y="40"/>
                </a:lnTo>
                <a:lnTo>
                  <a:pt x="26" y="40"/>
                </a:lnTo>
                <a:lnTo>
                  <a:pt x="22" y="40"/>
                </a:lnTo>
                <a:lnTo>
                  <a:pt x="22" y="40"/>
                </a:lnTo>
                <a:lnTo>
                  <a:pt x="22" y="40"/>
                </a:lnTo>
                <a:lnTo>
                  <a:pt x="22" y="40"/>
                </a:lnTo>
                <a:lnTo>
                  <a:pt x="22" y="44"/>
                </a:lnTo>
                <a:lnTo>
                  <a:pt x="22" y="44"/>
                </a:lnTo>
                <a:lnTo>
                  <a:pt x="22" y="44"/>
                </a:lnTo>
                <a:lnTo>
                  <a:pt x="22" y="44"/>
                </a:lnTo>
                <a:lnTo>
                  <a:pt x="18" y="48"/>
                </a:lnTo>
                <a:lnTo>
                  <a:pt x="18" y="48"/>
                </a:lnTo>
                <a:lnTo>
                  <a:pt x="18" y="48"/>
                </a:lnTo>
                <a:lnTo>
                  <a:pt x="18" y="48"/>
                </a:lnTo>
                <a:lnTo>
                  <a:pt x="18" y="48"/>
                </a:lnTo>
                <a:lnTo>
                  <a:pt x="18" y="48"/>
                </a:lnTo>
                <a:lnTo>
                  <a:pt x="18" y="48"/>
                </a:lnTo>
                <a:lnTo>
                  <a:pt x="18" y="48"/>
                </a:lnTo>
                <a:lnTo>
                  <a:pt x="18" y="48"/>
                </a:lnTo>
                <a:lnTo>
                  <a:pt x="16" y="48"/>
                </a:lnTo>
                <a:lnTo>
                  <a:pt x="16" y="52"/>
                </a:lnTo>
                <a:lnTo>
                  <a:pt x="16" y="52"/>
                </a:lnTo>
                <a:lnTo>
                  <a:pt x="16" y="52"/>
                </a:lnTo>
                <a:lnTo>
                  <a:pt x="16" y="52"/>
                </a:lnTo>
                <a:lnTo>
                  <a:pt x="16" y="52"/>
                </a:lnTo>
                <a:lnTo>
                  <a:pt x="16" y="56"/>
                </a:lnTo>
                <a:lnTo>
                  <a:pt x="16" y="52"/>
                </a:lnTo>
                <a:lnTo>
                  <a:pt x="16" y="52"/>
                </a:lnTo>
                <a:lnTo>
                  <a:pt x="16" y="56"/>
                </a:lnTo>
                <a:lnTo>
                  <a:pt x="16" y="56"/>
                </a:lnTo>
                <a:lnTo>
                  <a:pt x="16" y="56"/>
                </a:lnTo>
                <a:lnTo>
                  <a:pt x="16" y="56"/>
                </a:lnTo>
                <a:lnTo>
                  <a:pt x="16" y="56"/>
                </a:lnTo>
                <a:lnTo>
                  <a:pt x="12" y="56"/>
                </a:lnTo>
                <a:lnTo>
                  <a:pt x="12" y="56"/>
                </a:lnTo>
                <a:lnTo>
                  <a:pt x="12" y="56"/>
                </a:lnTo>
                <a:lnTo>
                  <a:pt x="12" y="56"/>
                </a:lnTo>
                <a:lnTo>
                  <a:pt x="12" y="56"/>
                </a:lnTo>
                <a:lnTo>
                  <a:pt x="12" y="56"/>
                </a:lnTo>
                <a:lnTo>
                  <a:pt x="12" y="52"/>
                </a:lnTo>
                <a:lnTo>
                  <a:pt x="12" y="52"/>
                </a:lnTo>
                <a:lnTo>
                  <a:pt x="8" y="48"/>
                </a:lnTo>
                <a:lnTo>
                  <a:pt x="8" y="48"/>
                </a:lnTo>
                <a:lnTo>
                  <a:pt x="8" y="48"/>
                </a:lnTo>
                <a:lnTo>
                  <a:pt x="8" y="48"/>
                </a:lnTo>
                <a:lnTo>
                  <a:pt x="8" y="48"/>
                </a:lnTo>
                <a:lnTo>
                  <a:pt x="4" y="48"/>
                </a:lnTo>
                <a:lnTo>
                  <a:pt x="4" y="44"/>
                </a:lnTo>
                <a:lnTo>
                  <a:pt x="4" y="44"/>
                </a:lnTo>
                <a:lnTo>
                  <a:pt x="4" y="44"/>
                </a:lnTo>
                <a:lnTo>
                  <a:pt x="0" y="40"/>
                </a:lnTo>
                <a:lnTo>
                  <a:pt x="0" y="40"/>
                </a:lnTo>
                <a:lnTo>
                  <a:pt x="0" y="40"/>
                </a:lnTo>
                <a:lnTo>
                  <a:pt x="4" y="40"/>
                </a:lnTo>
                <a:lnTo>
                  <a:pt x="4" y="44"/>
                </a:lnTo>
                <a:lnTo>
                  <a:pt x="4" y="44"/>
                </a:lnTo>
                <a:lnTo>
                  <a:pt x="4" y="44"/>
                </a:lnTo>
                <a:lnTo>
                  <a:pt x="4" y="44"/>
                </a:lnTo>
                <a:lnTo>
                  <a:pt x="4" y="44"/>
                </a:lnTo>
                <a:lnTo>
                  <a:pt x="4" y="40"/>
                </a:lnTo>
                <a:lnTo>
                  <a:pt x="4" y="40"/>
                </a:lnTo>
                <a:lnTo>
                  <a:pt x="4" y="36"/>
                </a:lnTo>
                <a:lnTo>
                  <a:pt x="4" y="36"/>
                </a:lnTo>
                <a:lnTo>
                  <a:pt x="0" y="36"/>
                </a:lnTo>
                <a:lnTo>
                  <a:pt x="0" y="36"/>
                </a:lnTo>
                <a:lnTo>
                  <a:pt x="0" y="36"/>
                </a:lnTo>
                <a:lnTo>
                  <a:pt x="4" y="32"/>
                </a:lnTo>
                <a:lnTo>
                  <a:pt x="4" y="32"/>
                </a:lnTo>
                <a:lnTo>
                  <a:pt x="4" y="32"/>
                </a:lnTo>
                <a:lnTo>
                  <a:pt x="4" y="32"/>
                </a:lnTo>
                <a:lnTo>
                  <a:pt x="4" y="32"/>
                </a:lnTo>
                <a:lnTo>
                  <a:pt x="4" y="32"/>
                </a:lnTo>
                <a:lnTo>
                  <a:pt x="4" y="30"/>
                </a:lnTo>
                <a:lnTo>
                  <a:pt x="4" y="30"/>
                </a:lnTo>
                <a:lnTo>
                  <a:pt x="4" y="30"/>
                </a:lnTo>
                <a:lnTo>
                  <a:pt x="4" y="30"/>
                </a:lnTo>
                <a:lnTo>
                  <a:pt x="4" y="26"/>
                </a:lnTo>
                <a:lnTo>
                  <a:pt x="4" y="26"/>
                </a:lnTo>
                <a:lnTo>
                  <a:pt x="4" y="26"/>
                </a:lnTo>
                <a:lnTo>
                  <a:pt x="4" y="26"/>
                </a:lnTo>
                <a:lnTo>
                  <a:pt x="4" y="26"/>
                </a:lnTo>
                <a:lnTo>
                  <a:pt x="4" y="22"/>
                </a:lnTo>
                <a:lnTo>
                  <a:pt x="4" y="18"/>
                </a:lnTo>
                <a:lnTo>
                  <a:pt x="4" y="18"/>
                </a:lnTo>
                <a:lnTo>
                  <a:pt x="4" y="18"/>
                </a:lnTo>
                <a:lnTo>
                  <a:pt x="4" y="18"/>
                </a:lnTo>
                <a:lnTo>
                  <a:pt x="4" y="18"/>
                </a:lnTo>
                <a:lnTo>
                  <a:pt x="4" y="18"/>
                </a:lnTo>
                <a:lnTo>
                  <a:pt x="4" y="18"/>
                </a:lnTo>
                <a:close/>
              </a:path>
            </a:pathLst>
          </a:custGeom>
          <a:solidFill>
            <a:srgbClr val="A0DCFF"/>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81" name="Freeform 88"/>
          <p:cNvSpPr>
            <a:spLocks/>
          </p:cNvSpPr>
          <p:nvPr/>
        </p:nvSpPr>
        <p:spPr bwMode="auto">
          <a:xfrm>
            <a:off x="4279106" y="2790825"/>
            <a:ext cx="9525" cy="2381"/>
          </a:xfrm>
          <a:custGeom>
            <a:avLst/>
            <a:gdLst>
              <a:gd name="T0" fmla="*/ 0 w 8"/>
              <a:gd name="T1" fmla="*/ 0 h 2"/>
              <a:gd name="T2" fmla="*/ 4 w 8"/>
              <a:gd name="T3" fmla="*/ 0 h 2"/>
              <a:gd name="T4" fmla="*/ 4 w 8"/>
              <a:gd name="T5" fmla="*/ 0 h 2"/>
              <a:gd name="T6" fmla="*/ 4 w 8"/>
              <a:gd name="T7" fmla="*/ 0 h 2"/>
              <a:gd name="T8" fmla="*/ 8 w 8"/>
              <a:gd name="T9" fmla="*/ 0 h 2"/>
              <a:gd name="T10" fmla="*/ 8 w 8"/>
              <a:gd name="T11" fmla="*/ 0 h 2"/>
              <a:gd name="T12" fmla="*/ 8 w 8"/>
              <a:gd name="T13" fmla="*/ 0 h 2"/>
              <a:gd name="T14" fmla="*/ 8 w 8"/>
              <a:gd name="T15" fmla="*/ 0 h 2"/>
              <a:gd name="T16" fmla="*/ 8 w 8"/>
              <a:gd name="T17" fmla="*/ 0 h 2"/>
              <a:gd name="T18" fmla="*/ 8 w 8"/>
              <a:gd name="T19" fmla="*/ 0 h 2"/>
              <a:gd name="T20" fmla="*/ 8 w 8"/>
              <a:gd name="T21" fmla="*/ 0 h 2"/>
              <a:gd name="T22" fmla="*/ 4 w 8"/>
              <a:gd name="T23" fmla="*/ 2 h 2"/>
              <a:gd name="T24" fmla="*/ 4 w 8"/>
              <a:gd name="T25" fmla="*/ 2 h 2"/>
              <a:gd name="T26" fmla="*/ 4 w 8"/>
              <a:gd name="T27" fmla="*/ 2 h 2"/>
              <a:gd name="T28" fmla="*/ 4 w 8"/>
              <a:gd name="T29" fmla="*/ 2 h 2"/>
              <a:gd name="T30" fmla="*/ 0 w 8"/>
              <a:gd name="T31" fmla="*/ 0 h 2"/>
              <a:gd name="T32" fmla="*/ 0 w 8"/>
              <a:gd name="T33" fmla="*/ 0 h 2"/>
              <a:gd name="T34" fmla="*/ 0 w 8"/>
              <a:gd name="T35" fmla="*/ 0 h 2"/>
              <a:gd name="T36" fmla="*/ 0 w 8"/>
              <a:gd name="T37" fmla="*/ 0 h 2"/>
              <a:gd name="T38" fmla="*/ 0 w 8"/>
              <a:gd name="T39" fmla="*/ 0 h 2"/>
              <a:gd name="T40" fmla="*/ 0 w 8"/>
              <a:gd name="T4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 h="2">
                <a:moveTo>
                  <a:pt x="0" y="0"/>
                </a:moveTo>
                <a:lnTo>
                  <a:pt x="4" y="0"/>
                </a:lnTo>
                <a:lnTo>
                  <a:pt x="4" y="0"/>
                </a:lnTo>
                <a:lnTo>
                  <a:pt x="4" y="0"/>
                </a:lnTo>
                <a:lnTo>
                  <a:pt x="8" y="0"/>
                </a:lnTo>
                <a:lnTo>
                  <a:pt x="8" y="0"/>
                </a:lnTo>
                <a:lnTo>
                  <a:pt x="8" y="0"/>
                </a:lnTo>
                <a:lnTo>
                  <a:pt x="8" y="0"/>
                </a:lnTo>
                <a:lnTo>
                  <a:pt x="8" y="0"/>
                </a:lnTo>
                <a:lnTo>
                  <a:pt x="8" y="0"/>
                </a:lnTo>
                <a:lnTo>
                  <a:pt x="8" y="0"/>
                </a:lnTo>
                <a:lnTo>
                  <a:pt x="4" y="2"/>
                </a:lnTo>
                <a:lnTo>
                  <a:pt x="4" y="2"/>
                </a:lnTo>
                <a:lnTo>
                  <a:pt x="4" y="2"/>
                </a:lnTo>
                <a:lnTo>
                  <a:pt x="4" y="2"/>
                </a:lnTo>
                <a:lnTo>
                  <a:pt x="0" y="0"/>
                </a:lnTo>
                <a:lnTo>
                  <a:pt x="0" y="0"/>
                </a:lnTo>
                <a:lnTo>
                  <a:pt x="0" y="0"/>
                </a:lnTo>
                <a:lnTo>
                  <a:pt x="0" y="0"/>
                </a:lnTo>
                <a:lnTo>
                  <a:pt x="0" y="0"/>
                </a:lnTo>
                <a:lnTo>
                  <a:pt x="0" y="0"/>
                </a:lnTo>
                <a:close/>
              </a:path>
            </a:pathLst>
          </a:custGeom>
          <a:solidFill>
            <a:srgbClr val="A0DCFF"/>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82" name="Freeform 89"/>
          <p:cNvSpPr>
            <a:spLocks/>
          </p:cNvSpPr>
          <p:nvPr/>
        </p:nvSpPr>
        <p:spPr bwMode="auto">
          <a:xfrm>
            <a:off x="4417218" y="2636043"/>
            <a:ext cx="128588" cy="61913"/>
          </a:xfrm>
          <a:custGeom>
            <a:avLst/>
            <a:gdLst>
              <a:gd name="T0" fmla="*/ 12 w 108"/>
              <a:gd name="T1" fmla="*/ 40 h 52"/>
              <a:gd name="T2" fmla="*/ 8 w 108"/>
              <a:gd name="T3" fmla="*/ 44 h 52"/>
              <a:gd name="T4" fmla="*/ 4 w 108"/>
              <a:gd name="T5" fmla="*/ 40 h 52"/>
              <a:gd name="T6" fmla="*/ 4 w 108"/>
              <a:gd name="T7" fmla="*/ 40 h 52"/>
              <a:gd name="T8" fmla="*/ 4 w 108"/>
              <a:gd name="T9" fmla="*/ 34 h 52"/>
              <a:gd name="T10" fmla="*/ 0 w 108"/>
              <a:gd name="T11" fmla="*/ 30 h 52"/>
              <a:gd name="T12" fmla="*/ 4 w 108"/>
              <a:gd name="T13" fmla="*/ 30 h 52"/>
              <a:gd name="T14" fmla="*/ 12 w 108"/>
              <a:gd name="T15" fmla="*/ 38 h 52"/>
              <a:gd name="T16" fmla="*/ 14 w 108"/>
              <a:gd name="T17" fmla="*/ 34 h 52"/>
              <a:gd name="T18" fmla="*/ 18 w 108"/>
              <a:gd name="T19" fmla="*/ 30 h 52"/>
              <a:gd name="T20" fmla="*/ 26 w 108"/>
              <a:gd name="T21" fmla="*/ 30 h 52"/>
              <a:gd name="T22" fmla="*/ 38 w 108"/>
              <a:gd name="T23" fmla="*/ 30 h 52"/>
              <a:gd name="T24" fmla="*/ 38 w 108"/>
              <a:gd name="T25" fmla="*/ 30 h 52"/>
              <a:gd name="T26" fmla="*/ 44 w 108"/>
              <a:gd name="T27" fmla="*/ 30 h 52"/>
              <a:gd name="T28" fmla="*/ 48 w 108"/>
              <a:gd name="T29" fmla="*/ 34 h 52"/>
              <a:gd name="T30" fmla="*/ 48 w 108"/>
              <a:gd name="T31" fmla="*/ 26 h 52"/>
              <a:gd name="T32" fmla="*/ 48 w 108"/>
              <a:gd name="T33" fmla="*/ 22 h 52"/>
              <a:gd name="T34" fmla="*/ 44 w 108"/>
              <a:gd name="T35" fmla="*/ 18 h 52"/>
              <a:gd name="T36" fmla="*/ 52 w 108"/>
              <a:gd name="T37" fmla="*/ 14 h 52"/>
              <a:gd name="T38" fmla="*/ 56 w 108"/>
              <a:gd name="T39" fmla="*/ 10 h 52"/>
              <a:gd name="T40" fmla="*/ 60 w 108"/>
              <a:gd name="T41" fmla="*/ 10 h 52"/>
              <a:gd name="T42" fmla="*/ 64 w 108"/>
              <a:gd name="T43" fmla="*/ 6 h 52"/>
              <a:gd name="T44" fmla="*/ 70 w 108"/>
              <a:gd name="T45" fmla="*/ 6 h 52"/>
              <a:gd name="T46" fmla="*/ 74 w 108"/>
              <a:gd name="T47" fmla="*/ 6 h 52"/>
              <a:gd name="T48" fmla="*/ 78 w 108"/>
              <a:gd name="T49" fmla="*/ 4 h 52"/>
              <a:gd name="T50" fmla="*/ 82 w 108"/>
              <a:gd name="T51" fmla="*/ 0 h 52"/>
              <a:gd name="T52" fmla="*/ 86 w 108"/>
              <a:gd name="T53" fmla="*/ 4 h 52"/>
              <a:gd name="T54" fmla="*/ 92 w 108"/>
              <a:gd name="T55" fmla="*/ 4 h 52"/>
              <a:gd name="T56" fmla="*/ 96 w 108"/>
              <a:gd name="T57" fmla="*/ 6 h 52"/>
              <a:gd name="T58" fmla="*/ 100 w 108"/>
              <a:gd name="T59" fmla="*/ 6 h 52"/>
              <a:gd name="T60" fmla="*/ 104 w 108"/>
              <a:gd name="T61" fmla="*/ 6 h 52"/>
              <a:gd name="T62" fmla="*/ 104 w 108"/>
              <a:gd name="T63" fmla="*/ 14 h 52"/>
              <a:gd name="T64" fmla="*/ 108 w 108"/>
              <a:gd name="T65" fmla="*/ 18 h 52"/>
              <a:gd name="T66" fmla="*/ 108 w 108"/>
              <a:gd name="T67" fmla="*/ 22 h 52"/>
              <a:gd name="T68" fmla="*/ 108 w 108"/>
              <a:gd name="T69" fmla="*/ 26 h 52"/>
              <a:gd name="T70" fmla="*/ 100 w 108"/>
              <a:gd name="T71" fmla="*/ 26 h 52"/>
              <a:gd name="T72" fmla="*/ 100 w 108"/>
              <a:gd name="T73" fmla="*/ 30 h 52"/>
              <a:gd name="T74" fmla="*/ 100 w 108"/>
              <a:gd name="T75" fmla="*/ 34 h 52"/>
              <a:gd name="T76" fmla="*/ 100 w 108"/>
              <a:gd name="T77" fmla="*/ 38 h 52"/>
              <a:gd name="T78" fmla="*/ 96 w 108"/>
              <a:gd name="T79" fmla="*/ 40 h 52"/>
              <a:gd name="T80" fmla="*/ 92 w 108"/>
              <a:gd name="T81" fmla="*/ 44 h 52"/>
              <a:gd name="T82" fmla="*/ 90 w 108"/>
              <a:gd name="T83" fmla="*/ 48 h 52"/>
              <a:gd name="T84" fmla="*/ 78 w 108"/>
              <a:gd name="T85" fmla="*/ 48 h 52"/>
              <a:gd name="T86" fmla="*/ 70 w 108"/>
              <a:gd name="T87" fmla="*/ 52 h 52"/>
              <a:gd name="T88" fmla="*/ 64 w 108"/>
              <a:gd name="T89" fmla="*/ 52 h 52"/>
              <a:gd name="T90" fmla="*/ 56 w 108"/>
              <a:gd name="T91" fmla="*/ 52 h 52"/>
              <a:gd name="T92" fmla="*/ 44 w 108"/>
              <a:gd name="T93" fmla="*/ 48 h 52"/>
              <a:gd name="T94" fmla="*/ 40 w 108"/>
              <a:gd name="T95" fmla="*/ 48 h 52"/>
              <a:gd name="T96" fmla="*/ 38 w 108"/>
              <a:gd name="T97" fmla="*/ 40 h 52"/>
              <a:gd name="T98" fmla="*/ 38 w 108"/>
              <a:gd name="T99" fmla="*/ 40 h 52"/>
              <a:gd name="T100" fmla="*/ 30 w 108"/>
              <a:gd name="T101" fmla="*/ 40 h 52"/>
              <a:gd name="T102" fmla="*/ 22 w 108"/>
              <a:gd name="T103" fmla="*/ 44 h 52"/>
              <a:gd name="T104" fmla="*/ 18 w 108"/>
              <a:gd name="T105" fmla="*/ 44 h 52"/>
              <a:gd name="T106" fmla="*/ 14 w 108"/>
              <a:gd name="T107" fmla="*/ 4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8" h="52">
                <a:moveTo>
                  <a:pt x="14" y="44"/>
                </a:moveTo>
                <a:lnTo>
                  <a:pt x="14" y="44"/>
                </a:lnTo>
                <a:lnTo>
                  <a:pt x="14" y="40"/>
                </a:lnTo>
                <a:lnTo>
                  <a:pt x="12" y="40"/>
                </a:lnTo>
                <a:lnTo>
                  <a:pt x="12" y="40"/>
                </a:lnTo>
                <a:lnTo>
                  <a:pt x="12" y="40"/>
                </a:lnTo>
                <a:lnTo>
                  <a:pt x="12" y="44"/>
                </a:lnTo>
                <a:lnTo>
                  <a:pt x="12" y="44"/>
                </a:lnTo>
                <a:lnTo>
                  <a:pt x="12" y="44"/>
                </a:lnTo>
                <a:lnTo>
                  <a:pt x="8" y="44"/>
                </a:lnTo>
                <a:lnTo>
                  <a:pt x="8" y="44"/>
                </a:lnTo>
                <a:lnTo>
                  <a:pt x="8" y="44"/>
                </a:lnTo>
                <a:lnTo>
                  <a:pt x="8" y="44"/>
                </a:lnTo>
                <a:lnTo>
                  <a:pt x="8" y="44"/>
                </a:lnTo>
                <a:lnTo>
                  <a:pt x="4" y="44"/>
                </a:lnTo>
                <a:lnTo>
                  <a:pt x="4" y="40"/>
                </a:lnTo>
                <a:lnTo>
                  <a:pt x="8" y="40"/>
                </a:lnTo>
                <a:lnTo>
                  <a:pt x="4" y="40"/>
                </a:lnTo>
                <a:lnTo>
                  <a:pt x="4" y="40"/>
                </a:lnTo>
                <a:lnTo>
                  <a:pt x="4" y="40"/>
                </a:lnTo>
                <a:lnTo>
                  <a:pt x="0" y="40"/>
                </a:lnTo>
                <a:lnTo>
                  <a:pt x="0" y="40"/>
                </a:lnTo>
                <a:lnTo>
                  <a:pt x="4" y="40"/>
                </a:lnTo>
                <a:lnTo>
                  <a:pt x="4" y="40"/>
                </a:lnTo>
                <a:lnTo>
                  <a:pt x="4" y="38"/>
                </a:lnTo>
                <a:lnTo>
                  <a:pt x="0" y="38"/>
                </a:lnTo>
                <a:lnTo>
                  <a:pt x="0" y="38"/>
                </a:lnTo>
                <a:lnTo>
                  <a:pt x="0" y="38"/>
                </a:lnTo>
                <a:lnTo>
                  <a:pt x="0" y="34"/>
                </a:lnTo>
                <a:lnTo>
                  <a:pt x="4" y="34"/>
                </a:lnTo>
                <a:lnTo>
                  <a:pt x="4" y="34"/>
                </a:lnTo>
                <a:lnTo>
                  <a:pt x="4" y="34"/>
                </a:lnTo>
                <a:lnTo>
                  <a:pt x="0" y="34"/>
                </a:lnTo>
                <a:lnTo>
                  <a:pt x="0" y="34"/>
                </a:lnTo>
                <a:lnTo>
                  <a:pt x="0" y="30"/>
                </a:lnTo>
                <a:lnTo>
                  <a:pt x="0" y="30"/>
                </a:lnTo>
                <a:lnTo>
                  <a:pt x="0" y="30"/>
                </a:lnTo>
                <a:lnTo>
                  <a:pt x="4" y="30"/>
                </a:lnTo>
                <a:lnTo>
                  <a:pt x="4" y="30"/>
                </a:lnTo>
                <a:lnTo>
                  <a:pt x="4" y="30"/>
                </a:lnTo>
                <a:lnTo>
                  <a:pt x="4" y="30"/>
                </a:lnTo>
                <a:lnTo>
                  <a:pt x="4" y="30"/>
                </a:lnTo>
                <a:lnTo>
                  <a:pt x="4" y="30"/>
                </a:lnTo>
                <a:lnTo>
                  <a:pt x="8" y="30"/>
                </a:lnTo>
                <a:lnTo>
                  <a:pt x="8" y="34"/>
                </a:lnTo>
                <a:lnTo>
                  <a:pt x="12" y="34"/>
                </a:lnTo>
                <a:lnTo>
                  <a:pt x="12" y="34"/>
                </a:lnTo>
                <a:lnTo>
                  <a:pt x="12" y="38"/>
                </a:lnTo>
                <a:lnTo>
                  <a:pt x="12" y="38"/>
                </a:lnTo>
                <a:lnTo>
                  <a:pt x="12" y="38"/>
                </a:lnTo>
                <a:lnTo>
                  <a:pt x="12" y="38"/>
                </a:lnTo>
                <a:lnTo>
                  <a:pt x="14" y="34"/>
                </a:lnTo>
                <a:lnTo>
                  <a:pt x="14" y="34"/>
                </a:lnTo>
                <a:lnTo>
                  <a:pt x="14" y="34"/>
                </a:lnTo>
                <a:lnTo>
                  <a:pt x="14" y="30"/>
                </a:lnTo>
                <a:lnTo>
                  <a:pt x="14" y="30"/>
                </a:lnTo>
                <a:lnTo>
                  <a:pt x="14" y="30"/>
                </a:lnTo>
                <a:lnTo>
                  <a:pt x="14" y="30"/>
                </a:lnTo>
                <a:lnTo>
                  <a:pt x="18" y="30"/>
                </a:lnTo>
                <a:lnTo>
                  <a:pt x="18" y="30"/>
                </a:lnTo>
                <a:lnTo>
                  <a:pt x="22" y="34"/>
                </a:lnTo>
                <a:lnTo>
                  <a:pt x="22" y="34"/>
                </a:lnTo>
                <a:lnTo>
                  <a:pt x="22" y="34"/>
                </a:lnTo>
                <a:lnTo>
                  <a:pt x="22" y="34"/>
                </a:lnTo>
                <a:lnTo>
                  <a:pt x="26" y="34"/>
                </a:lnTo>
                <a:lnTo>
                  <a:pt x="26" y="30"/>
                </a:lnTo>
                <a:lnTo>
                  <a:pt x="30" y="30"/>
                </a:lnTo>
                <a:lnTo>
                  <a:pt x="30" y="30"/>
                </a:lnTo>
                <a:lnTo>
                  <a:pt x="30" y="30"/>
                </a:lnTo>
                <a:lnTo>
                  <a:pt x="30" y="30"/>
                </a:lnTo>
                <a:lnTo>
                  <a:pt x="34" y="30"/>
                </a:lnTo>
                <a:lnTo>
                  <a:pt x="38" y="30"/>
                </a:lnTo>
                <a:lnTo>
                  <a:pt x="38" y="30"/>
                </a:lnTo>
                <a:lnTo>
                  <a:pt x="38" y="30"/>
                </a:lnTo>
                <a:lnTo>
                  <a:pt x="38" y="30"/>
                </a:lnTo>
                <a:lnTo>
                  <a:pt x="38" y="30"/>
                </a:lnTo>
                <a:lnTo>
                  <a:pt x="38" y="30"/>
                </a:lnTo>
                <a:lnTo>
                  <a:pt x="38" y="30"/>
                </a:lnTo>
                <a:lnTo>
                  <a:pt x="40" y="30"/>
                </a:lnTo>
                <a:lnTo>
                  <a:pt x="40" y="30"/>
                </a:lnTo>
                <a:lnTo>
                  <a:pt x="44" y="30"/>
                </a:lnTo>
                <a:lnTo>
                  <a:pt x="44" y="30"/>
                </a:lnTo>
                <a:lnTo>
                  <a:pt x="44" y="30"/>
                </a:lnTo>
                <a:lnTo>
                  <a:pt x="44" y="30"/>
                </a:lnTo>
                <a:lnTo>
                  <a:pt x="44" y="30"/>
                </a:lnTo>
                <a:lnTo>
                  <a:pt x="48" y="30"/>
                </a:lnTo>
                <a:lnTo>
                  <a:pt x="48" y="30"/>
                </a:lnTo>
                <a:lnTo>
                  <a:pt x="48" y="30"/>
                </a:lnTo>
                <a:lnTo>
                  <a:pt x="48" y="30"/>
                </a:lnTo>
                <a:lnTo>
                  <a:pt x="48" y="34"/>
                </a:lnTo>
                <a:lnTo>
                  <a:pt x="48" y="34"/>
                </a:lnTo>
                <a:lnTo>
                  <a:pt x="52" y="34"/>
                </a:lnTo>
                <a:lnTo>
                  <a:pt x="52" y="30"/>
                </a:lnTo>
                <a:lnTo>
                  <a:pt x="52" y="30"/>
                </a:lnTo>
                <a:lnTo>
                  <a:pt x="52" y="26"/>
                </a:lnTo>
                <a:lnTo>
                  <a:pt x="48" y="26"/>
                </a:lnTo>
                <a:lnTo>
                  <a:pt x="48" y="26"/>
                </a:lnTo>
                <a:lnTo>
                  <a:pt x="48" y="26"/>
                </a:lnTo>
                <a:lnTo>
                  <a:pt x="48" y="26"/>
                </a:lnTo>
                <a:lnTo>
                  <a:pt x="48" y="26"/>
                </a:lnTo>
                <a:lnTo>
                  <a:pt x="48" y="26"/>
                </a:lnTo>
                <a:lnTo>
                  <a:pt x="48" y="22"/>
                </a:lnTo>
                <a:lnTo>
                  <a:pt x="48" y="22"/>
                </a:lnTo>
                <a:lnTo>
                  <a:pt x="48" y="22"/>
                </a:lnTo>
                <a:lnTo>
                  <a:pt x="48" y="22"/>
                </a:lnTo>
                <a:lnTo>
                  <a:pt x="48" y="22"/>
                </a:lnTo>
                <a:lnTo>
                  <a:pt x="48" y="18"/>
                </a:lnTo>
                <a:lnTo>
                  <a:pt x="44" y="18"/>
                </a:lnTo>
                <a:lnTo>
                  <a:pt x="44" y="18"/>
                </a:lnTo>
                <a:lnTo>
                  <a:pt x="48" y="18"/>
                </a:lnTo>
                <a:lnTo>
                  <a:pt x="48" y="14"/>
                </a:lnTo>
                <a:lnTo>
                  <a:pt x="52" y="14"/>
                </a:lnTo>
                <a:lnTo>
                  <a:pt x="52" y="14"/>
                </a:lnTo>
                <a:lnTo>
                  <a:pt x="52" y="14"/>
                </a:lnTo>
                <a:lnTo>
                  <a:pt x="56" y="14"/>
                </a:lnTo>
                <a:lnTo>
                  <a:pt x="56" y="14"/>
                </a:lnTo>
                <a:lnTo>
                  <a:pt x="56" y="14"/>
                </a:lnTo>
                <a:lnTo>
                  <a:pt x="56" y="14"/>
                </a:lnTo>
                <a:lnTo>
                  <a:pt x="56" y="10"/>
                </a:lnTo>
                <a:lnTo>
                  <a:pt x="56" y="10"/>
                </a:lnTo>
                <a:lnTo>
                  <a:pt x="56" y="10"/>
                </a:lnTo>
                <a:lnTo>
                  <a:pt x="56" y="10"/>
                </a:lnTo>
                <a:lnTo>
                  <a:pt x="60" y="10"/>
                </a:lnTo>
                <a:lnTo>
                  <a:pt x="60" y="10"/>
                </a:lnTo>
                <a:lnTo>
                  <a:pt x="60" y="10"/>
                </a:lnTo>
                <a:lnTo>
                  <a:pt x="60" y="10"/>
                </a:lnTo>
                <a:lnTo>
                  <a:pt x="60" y="10"/>
                </a:lnTo>
                <a:lnTo>
                  <a:pt x="60" y="6"/>
                </a:lnTo>
                <a:lnTo>
                  <a:pt x="60" y="6"/>
                </a:lnTo>
                <a:lnTo>
                  <a:pt x="60" y="6"/>
                </a:lnTo>
                <a:lnTo>
                  <a:pt x="64" y="6"/>
                </a:lnTo>
                <a:lnTo>
                  <a:pt x="64" y="6"/>
                </a:lnTo>
                <a:lnTo>
                  <a:pt x="64" y="6"/>
                </a:lnTo>
                <a:lnTo>
                  <a:pt x="64" y="6"/>
                </a:lnTo>
                <a:lnTo>
                  <a:pt x="66" y="10"/>
                </a:lnTo>
                <a:lnTo>
                  <a:pt x="66" y="10"/>
                </a:lnTo>
                <a:lnTo>
                  <a:pt x="70" y="10"/>
                </a:lnTo>
                <a:lnTo>
                  <a:pt x="70" y="6"/>
                </a:lnTo>
                <a:lnTo>
                  <a:pt x="70" y="6"/>
                </a:lnTo>
                <a:lnTo>
                  <a:pt x="70" y="6"/>
                </a:lnTo>
                <a:lnTo>
                  <a:pt x="74" y="6"/>
                </a:lnTo>
                <a:lnTo>
                  <a:pt x="74" y="10"/>
                </a:lnTo>
                <a:lnTo>
                  <a:pt x="74" y="10"/>
                </a:lnTo>
                <a:lnTo>
                  <a:pt x="74" y="6"/>
                </a:lnTo>
                <a:lnTo>
                  <a:pt x="74" y="6"/>
                </a:lnTo>
                <a:lnTo>
                  <a:pt x="74" y="6"/>
                </a:lnTo>
                <a:lnTo>
                  <a:pt x="74" y="4"/>
                </a:lnTo>
                <a:lnTo>
                  <a:pt x="74" y="4"/>
                </a:lnTo>
                <a:lnTo>
                  <a:pt x="74" y="4"/>
                </a:lnTo>
                <a:lnTo>
                  <a:pt x="78" y="4"/>
                </a:lnTo>
                <a:lnTo>
                  <a:pt x="78" y="4"/>
                </a:lnTo>
                <a:lnTo>
                  <a:pt x="78" y="0"/>
                </a:lnTo>
                <a:lnTo>
                  <a:pt x="78" y="0"/>
                </a:lnTo>
                <a:lnTo>
                  <a:pt x="78" y="0"/>
                </a:lnTo>
                <a:lnTo>
                  <a:pt x="78" y="0"/>
                </a:lnTo>
                <a:lnTo>
                  <a:pt x="82" y="0"/>
                </a:lnTo>
                <a:lnTo>
                  <a:pt x="82" y="0"/>
                </a:lnTo>
                <a:lnTo>
                  <a:pt x="82" y="0"/>
                </a:lnTo>
                <a:lnTo>
                  <a:pt x="82" y="0"/>
                </a:lnTo>
                <a:lnTo>
                  <a:pt x="86" y="4"/>
                </a:lnTo>
                <a:lnTo>
                  <a:pt x="86" y="4"/>
                </a:lnTo>
                <a:lnTo>
                  <a:pt x="86" y="4"/>
                </a:lnTo>
                <a:lnTo>
                  <a:pt x="86" y="4"/>
                </a:lnTo>
                <a:lnTo>
                  <a:pt x="86" y="4"/>
                </a:lnTo>
                <a:lnTo>
                  <a:pt x="90" y="4"/>
                </a:lnTo>
                <a:lnTo>
                  <a:pt x="90" y="4"/>
                </a:lnTo>
                <a:lnTo>
                  <a:pt x="90" y="4"/>
                </a:lnTo>
                <a:lnTo>
                  <a:pt x="92" y="4"/>
                </a:lnTo>
                <a:lnTo>
                  <a:pt x="92" y="6"/>
                </a:lnTo>
                <a:lnTo>
                  <a:pt x="92" y="6"/>
                </a:lnTo>
                <a:lnTo>
                  <a:pt x="92" y="6"/>
                </a:lnTo>
                <a:lnTo>
                  <a:pt x="92" y="6"/>
                </a:lnTo>
                <a:lnTo>
                  <a:pt x="96" y="6"/>
                </a:lnTo>
                <a:lnTo>
                  <a:pt x="96" y="6"/>
                </a:lnTo>
                <a:lnTo>
                  <a:pt x="96" y="6"/>
                </a:lnTo>
                <a:lnTo>
                  <a:pt x="96" y="4"/>
                </a:lnTo>
                <a:lnTo>
                  <a:pt x="96" y="4"/>
                </a:lnTo>
                <a:lnTo>
                  <a:pt x="100" y="4"/>
                </a:lnTo>
                <a:lnTo>
                  <a:pt x="100" y="4"/>
                </a:lnTo>
                <a:lnTo>
                  <a:pt x="100" y="6"/>
                </a:lnTo>
                <a:lnTo>
                  <a:pt x="104" y="6"/>
                </a:lnTo>
                <a:lnTo>
                  <a:pt x="104" y="6"/>
                </a:lnTo>
                <a:lnTo>
                  <a:pt x="104" y="6"/>
                </a:lnTo>
                <a:lnTo>
                  <a:pt x="104" y="6"/>
                </a:lnTo>
                <a:lnTo>
                  <a:pt x="104" y="6"/>
                </a:lnTo>
                <a:lnTo>
                  <a:pt x="104" y="6"/>
                </a:lnTo>
                <a:lnTo>
                  <a:pt x="104" y="10"/>
                </a:lnTo>
                <a:lnTo>
                  <a:pt x="104" y="10"/>
                </a:lnTo>
                <a:lnTo>
                  <a:pt x="104" y="10"/>
                </a:lnTo>
                <a:lnTo>
                  <a:pt x="104" y="10"/>
                </a:lnTo>
                <a:lnTo>
                  <a:pt x="104" y="10"/>
                </a:lnTo>
                <a:lnTo>
                  <a:pt x="104" y="14"/>
                </a:lnTo>
                <a:lnTo>
                  <a:pt x="104" y="14"/>
                </a:lnTo>
                <a:lnTo>
                  <a:pt x="104" y="14"/>
                </a:lnTo>
                <a:lnTo>
                  <a:pt x="104" y="14"/>
                </a:lnTo>
                <a:lnTo>
                  <a:pt x="104" y="18"/>
                </a:lnTo>
                <a:lnTo>
                  <a:pt x="108" y="18"/>
                </a:lnTo>
                <a:lnTo>
                  <a:pt x="108" y="18"/>
                </a:lnTo>
                <a:lnTo>
                  <a:pt x="108" y="18"/>
                </a:lnTo>
                <a:lnTo>
                  <a:pt x="108" y="18"/>
                </a:lnTo>
                <a:lnTo>
                  <a:pt x="108" y="22"/>
                </a:lnTo>
                <a:lnTo>
                  <a:pt x="108" y="22"/>
                </a:lnTo>
                <a:lnTo>
                  <a:pt x="108" y="22"/>
                </a:lnTo>
                <a:lnTo>
                  <a:pt x="108" y="22"/>
                </a:lnTo>
                <a:lnTo>
                  <a:pt x="108" y="22"/>
                </a:lnTo>
                <a:lnTo>
                  <a:pt x="108" y="26"/>
                </a:lnTo>
                <a:lnTo>
                  <a:pt x="108" y="26"/>
                </a:lnTo>
                <a:lnTo>
                  <a:pt x="108" y="26"/>
                </a:lnTo>
                <a:lnTo>
                  <a:pt x="108" y="26"/>
                </a:lnTo>
                <a:lnTo>
                  <a:pt x="108" y="26"/>
                </a:lnTo>
                <a:lnTo>
                  <a:pt x="104" y="26"/>
                </a:lnTo>
                <a:lnTo>
                  <a:pt x="104" y="26"/>
                </a:lnTo>
                <a:lnTo>
                  <a:pt x="104" y="30"/>
                </a:lnTo>
                <a:lnTo>
                  <a:pt x="104" y="30"/>
                </a:lnTo>
                <a:lnTo>
                  <a:pt x="104" y="26"/>
                </a:lnTo>
                <a:lnTo>
                  <a:pt x="100" y="26"/>
                </a:lnTo>
                <a:lnTo>
                  <a:pt x="100" y="26"/>
                </a:lnTo>
                <a:lnTo>
                  <a:pt x="100" y="26"/>
                </a:lnTo>
                <a:lnTo>
                  <a:pt x="100" y="26"/>
                </a:lnTo>
                <a:lnTo>
                  <a:pt x="96" y="26"/>
                </a:lnTo>
                <a:lnTo>
                  <a:pt x="96" y="30"/>
                </a:lnTo>
                <a:lnTo>
                  <a:pt x="100" y="30"/>
                </a:lnTo>
                <a:lnTo>
                  <a:pt x="100" y="30"/>
                </a:lnTo>
                <a:lnTo>
                  <a:pt x="100" y="30"/>
                </a:lnTo>
                <a:lnTo>
                  <a:pt x="100" y="30"/>
                </a:lnTo>
                <a:lnTo>
                  <a:pt x="100" y="30"/>
                </a:lnTo>
                <a:lnTo>
                  <a:pt x="100" y="30"/>
                </a:lnTo>
                <a:lnTo>
                  <a:pt x="100" y="34"/>
                </a:lnTo>
                <a:lnTo>
                  <a:pt x="100" y="34"/>
                </a:lnTo>
                <a:lnTo>
                  <a:pt x="100" y="34"/>
                </a:lnTo>
                <a:lnTo>
                  <a:pt x="96" y="34"/>
                </a:lnTo>
                <a:lnTo>
                  <a:pt x="96" y="34"/>
                </a:lnTo>
                <a:lnTo>
                  <a:pt x="100" y="38"/>
                </a:lnTo>
                <a:lnTo>
                  <a:pt x="100" y="38"/>
                </a:lnTo>
                <a:lnTo>
                  <a:pt x="96" y="38"/>
                </a:lnTo>
                <a:lnTo>
                  <a:pt x="96" y="38"/>
                </a:lnTo>
                <a:lnTo>
                  <a:pt x="96" y="38"/>
                </a:lnTo>
                <a:lnTo>
                  <a:pt x="100" y="40"/>
                </a:lnTo>
                <a:lnTo>
                  <a:pt x="100" y="40"/>
                </a:lnTo>
                <a:lnTo>
                  <a:pt x="96" y="40"/>
                </a:lnTo>
                <a:lnTo>
                  <a:pt x="96" y="40"/>
                </a:lnTo>
                <a:lnTo>
                  <a:pt x="96" y="40"/>
                </a:lnTo>
                <a:lnTo>
                  <a:pt x="96" y="40"/>
                </a:lnTo>
                <a:lnTo>
                  <a:pt x="96" y="40"/>
                </a:lnTo>
                <a:lnTo>
                  <a:pt x="96" y="40"/>
                </a:lnTo>
                <a:lnTo>
                  <a:pt x="92" y="44"/>
                </a:lnTo>
                <a:lnTo>
                  <a:pt x="92" y="44"/>
                </a:lnTo>
                <a:lnTo>
                  <a:pt x="92" y="44"/>
                </a:lnTo>
                <a:lnTo>
                  <a:pt x="92" y="44"/>
                </a:lnTo>
                <a:lnTo>
                  <a:pt x="92" y="48"/>
                </a:lnTo>
                <a:lnTo>
                  <a:pt x="90" y="48"/>
                </a:lnTo>
                <a:lnTo>
                  <a:pt x="90" y="48"/>
                </a:lnTo>
                <a:lnTo>
                  <a:pt x="90" y="48"/>
                </a:lnTo>
                <a:lnTo>
                  <a:pt x="86" y="48"/>
                </a:lnTo>
                <a:lnTo>
                  <a:pt x="82" y="48"/>
                </a:lnTo>
                <a:lnTo>
                  <a:pt x="78" y="48"/>
                </a:lnTo>
                <a:lnTo>
                  <a:pt x="78" y="48"/>
                </a:lnTo>
                <a:lnTo>
                  <a:pt x="78" y="48"/>
                </a:lnTo>
                <a:lnTo>
                  <a:pt x="78" y="48"/>
                </a:lnTo>
                <a:lnTo>
                  <a:pt x="74" y="48"/>
                </a:lnTo>
                <a:lnTo>
                  <a:pt x="74" y="52"/>
                </a:lnTo>
                <a:lnTo>
                  <a:pt x="74" y="52"/>
                </a:lnTo>
                <a:lnTo>
                  <a:pt x="74" y="52"/>
                </a:lnTo>
                <a:lnTo>
                  <a:pt x="70" y="52"/>
                </a:lnTo>
                <a:lnTo>
                  <a:pt x="70" y="52"/>
                </a:lnTo>
                <a:lnTo>
                  <a:pt x="66" y="52"/>
                </a:lnTo>
                <a:lnTo>
                  <a:pt x="66" y="52"/>
                </a:lnTo>
                <a:lnTo>
                  <a:pt x="66" y="52"/>
                </a:lnTo>
                <a:lnTo>
                  <a:pt x="64" y="52"/>
                </a:lnTo>
                <a:lnTo>
                  <a:pt x="64" y="52"/>
                </a:lnTo>
                <a:lnTo>
                  <a:pt x="64" y="52"/>
                </a:lnTo>
                <a:lnTo>
                  <a:pt x="60" y="52"/>
                </a:lnTo>
                <a:lnTo>
                  <a:pt x="60" y="52"/>
                </a:lnTo>
                <a:lnTo>
                  <a:pt x="60" y="52"/>
                </a:lnTo>
                <a:lnTo>
                  <a:pt x="56" y="52"/>
                </a:lnTo>
                <a:lnTo>
                  <a:pt x="56" y="52"/>
                </a:lnTo>
                <a:lnTo>
                  <a:pt x="52" y="52"/>
                </a:lnTo>
                <a:lnTo>
                  <a:pt x="48" y="48"/>
                </a:lnTo>
                <a:lnTo>
                  <a:pt x="44" y="48"/>
                </a:lnTo>
                <a:lnTo>
                  <a:pt x="44" y="48"/>
                </a:lnTo>
                <a:lnTo>
                  <a:pt x="44" y="48"/>
                </a:lnTo>
                <a:lnTo>
                  <a:pt x="44" y="48"/>
                </a:lnTo>
                <a:lnTo>
                  <a:pt x="44" y="48"/>
                </a:lnTo>
                <a:lnTo>
                  <a:pt x="44" y="48"/>
                </a:lnTo>
                <a:lnTo>
                  <a:pt x="44" y="48"/>
                </a:lnTo>
                <a:lnTo>
                  <a:pt x="40" y="48"/>
                </a:lnTo>
                <a:lnTo>
                  <a:pt x="40" y="48"/>
                </a:lnTo>
                <a:lnTo>
                  <a:pt x="40" y="48"/>
                </a:lnTo>
                <a:lnTo>
                  <a:pt x="40" y="48"/>
                </a:lnTo>
                <a:lnTo>
                  <a:pt x="40" y="44"/>
                </a:lnTo>
                <a:lnTo>
                  <a:pt x="38" y="44"/>
                </a:lnTo>
                <a:lnTo>
                  <a:pt x="38" y="44"/>
                </a:lnTo>
                <a:lnTo>
                  <a:pt x="38" y="44"/>
                </a:lnTo>
                <a:lnTo>
                  <a:pt x="38" y="40"/>
                </a:lnTo>
                <a:lnTo>
                  <a:pt x="38" y="40"/>
                </a:lnTo>
                <a:lnTo>
                  <a:pt x="38" y="40"/>
                </a:lnTo>
                <a:lnTo>
                  <a:pt x="38" y="40"/>
                </a:lnTo>
                <a:lnTo>
                  <a:pt x="38" y="40"/>
                </a:lnTo>
                <a:lnTo>
                  <a:pt x="38" y="40"/>
                </a:lnTo>
                <a:lnTo>
                  <a:pt x="38" y="40"/>
                </a:lnTo>
                <a:lnTo>
                  <a:pt x="38" y="40"/>
                </a:lnTo>
                <a:lnTo>
                  <a:pt x="38" y="40"/>
                </a:lnTo>
                <a:lnTo>
                  <a:pt x="34" y="40"/>
                </a:lnTo>
                <a:lnTo>
                  <a:pt x="34" y="40"/>
                </a:lnTo>
                <a:lnTo>
                  <a:pt x="30" y="40"/>
                </a:lnTo>
                <a:lnTo>
                  <a:pt x="30" y="40"/>
                </a:lnTo>
                <a:lnTo>
                  <a:pt x="30" y="40"/>
                </a:lnTo>
                <a:lnTo>
                  <a:pt x="22" y="40"/>
                </a:lnTo>
                <a:lnTo>
                  <a:pt x="22" y="44"/>
                </a:lnTo>
                <a:lnTo>
                  <a:pt x="22" y="44"/>
                </a:lnTo>
                <a:lnTo>
                  <a:pt x="22" y="44"/>
                </a:lnTo>
                <a:lnTo>
                  <a:pt x="22" y="44"/>
                </a:lnTo>
                <a:lnTo>
                  <a:pt x="22" y="44"/>
                </a:lnTo>
                <a:lnTo>
                  <a:pt x="18" y="48"/>
                </a:lnTo>
                <a:lnTo>
                  <a:pt x="18" y="44"/>
                </a:lnTo>
                <a:lnTo>
                  <a:pt x="18" y="44"/>
                </a:lnTo>
                <a:lnTo>
                  <a:pt x="18" y="44"/>
                </a:lnTo>
                <a:lnTo>
                  <a:pt x="18" y="44"/>
                </a:lnTo>
                <a:lnTo>
                  <a:pt x="14" y="44"/>
                </a:lnTo>
                <a:lnTo>
                  <a:pt x="14" y="44"/>
                </a:lnTo>
                <a:lnTo>
                  <a:pt x="14" y="44"/>
                </a:lnTo>
                <a:lnTo>
                  <a:pt x="14" y="44"/>
                </a:lnTo>
                <a:lnTo>
                  <a:pt x="14" y="44"/>
                </a:lnTo>
                <a:lnTo>
                  <a:pt x="14" y="44"/>
                </a:lnTo>
                <a:lnTo>
                  <a:pt x="14" y="44"/>
                </a:lnTo>
                <a:lnTo>
                  <a:pt x="14" y="44"/>
                </a:lnTo>
                <a:close/>
              </a:path>
            </a:pathLst>
          </a:custGeom>
          <a:solidFill>
            <a:srgbClr val="A0DCFF"/>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83" name="Freeform 90"/>
          <p:cNvSpPr>
            <a:spLocks/>
          </p:cNvSpPr>
          <p:nvPr/>
        </p:nvSpPr>
        <p:spPr bwMode="auto">
          <a:xfrm>
            <a:off x="4648200" y="2452687"/>
            <a:ext cx="159544" cy="128588"/>
          </a:xfrm>
          <a:custGeom>
            <a:avLst/>
            <a:gdLst>
              <a:gd name="T0" fmla="*/ 26 w 134"/>
              <a:gd name="T1" fmla="*/ 94 h 108"/>
              <a:gd name="T2" fmla="*/ 14 w 134"/>
              <a:gd name="T3" fmla="*/ 98 h 108"/>
              <a:gd name="T4" fmla="*/ 12 w 134"/>
              <a:gd name="T5" fmla="*/ 100 h 108"/>
              <a:gd name="T6" fmla="*/ 4 w 134"/>
              <a:gd name="T7" fmla="*/ 100 h 108"/>
              <a:gd name="T8" fmla="*/ 8 w 134"/>
              <a:gd name="T9" fmla="*/ 90 h 108"/>
              <a:gd name="T10" fmla="*/ 0 w 134"/>
              <a:gd name="T11" fmla="*/ 82 h 108"/>
              <a:gd name="T12" fmla="*/ 8 w 134"/>
              <a:gd name="T13" fmla="*/ 78 h 108"/>
              <a:gd name="T14" fmla="*/ 12 w 134"/>
              <a:gd name="T15" fmla="*/ 74 h 108"/>
              <a:gd name="T16" fmla="*/ 8 w 134"/>
              <a:gd name="T17" fmla="*/ 60 h 108"/>
              <a:gd name="T18" fmla="*/ 4 w 134"/>
              <a:gd name="T19" fmla="*/ 52 h 108"/>
              <a:gd name="T20" fmla="*/ 8 w 134"/>
              <a:gd name="T21" fmla="*/ 48 h 108"/>
              <a:gd name="T22" fmla="*/ 14 w 134"/>
              <a:gd name="T23" fmla="*/ 48 h 108"/>
              <a:gd name="T24" fmla="*/ 18 w 134"/>
              <a:gd name="T25" fmla="*/ 48 h 108"/>
              <a:gd name="T26" fmla="*/ 22 w 134"/>
              <a:gd name="T27" fmla="*/ 44 h 108"/>
              <a:gd name="T28" fmla="*/ 30 w 134"/>
              <a:gd name="T29" fmla="*/ 44 h 108"/>
              <a:gd name="T30" fmla="*/ 34 w 134"/>
              <a:gd name="T31" fmla="*/ 44 h 108"/>
              <a:gd name="T32" fmla="*/ 38 w 134"/>
              <a:gd name="T33" fmla="*/ 40 h 108"/>
              <a:gd name="T34" fmla="*/ 38 w 134"/>
              <a:gd name="T35" fmla="*/ 38 h 108"/>
              <a:gd name="T36" fmla="*/ 38 w 134"/>
              <a:gd name="T37" fmla="*/ 30 h 108"/>
              <a:gd name="T38" fmla="*/ 44 w 134"/>
              <a:gd name="T39" fmla="*/ 22 h 108"/>
              <a:gd name="T40" fmla="*/ 48 w 134"/>
              <a:gd name="T41" fmla="*/ 18 h 108"/>
              <a:gd name="T42" fmla="*/ 48 w 134"/>
              <a:gd name="T43" fmla="*/ 10 h 108"/>
              <a:gd name="T44" fmla="*/ 52 w 134"/>
              <a:gd name="T45" fmla="*/ 10 h 108"/>
              <a:gd name="T46" fmla="*/ 64 w 134"/>
              <a:gd name="T47" fmla="*/ 10 h 108"/>
              <a:gd name="T48" fmla="*/ 68 w 134"/>
              <a:gd name="T49" fmla="*/ 4 h 108"/>
              <a:gd name="T50" fmla="*/ 74 w 134"/>
              <a:gd name="T51" fmla="*/ 4 h 108"/>
              <a:gd name="T52" fmla="*/ 78 w 134"/>
              <a:gd name="T53" fmla="*/ 8 h 108"/>
              <a:gd name="T54" fmla="*/ 88 w 134"/>
              <a:gd name="T55" fmla="*/ 8 h 108"/>
              <a:gd name="T56" fmla="*/ 96 w 134"/>
              <a:gd name="T57" fmla="*/ 8 h 108"/>
              <a:gd name="T58" fmla="*/ 108 w 134"/>
              <a:gd name="T59" fmla="*/ 14 h 108"/>
              <a:gd name="T60" fmla="*/ 108 w 134"/>
              <a:gd name="T61" fmla="*/ 18 h 108"/>
              <a:gd name="T62" fmla="*/ 112 w 134"/>
              <a:gd name="T63" fmla="*/ 26 h 108"/>
              <a:gd name="T64" fmla="*/ 108 w 134"/>
              <a:gd name="T65" fmla="*/ 34 h 108"/>
              <a:gd name="T66" fmla="*/ 112 w 134"/>
              <a:gd name="T67" fmla="*/ 38 h 108"/>
              <a:gd name="T68" fmla="*/ 118 w 134"/>
              <a:gd name="T69" fmla="*/ 44 h 108"/>
              <a:gd name="T70" fmla="*/ 122 w 134"/>
              <a:gd name="T71" fmla="*/ 52 h 108"/>
              <a:gd name="T72" fmla="*/ 130 w 134"/>
              <a:gd name="T73" fmla="*/ 56 h 108"/>
              <a:gd name="T74" fmla="*/ 134 w 134"/>
              <a:gd name="T75" fmla="*/ 60 h 108"/>
              <a:gd name="T76" fmla="*/ 130 w 134"/>
              <a:gd name="T77" fmla="*/ 68 h 108"/>
              <a:gd name="T78" fmla="*/ 122 w 134"/>
              <a:gd name="T79" fmla="*/ 68 h 108"/>
              <a:gd name="T80" fmla="*/ 114 w 134"/>
              <a:gd name="T81" fmla="*/ 70 h 108"/>
              <a:gd name="T82" fmla="*/ 118 w 134"/>
              <a:gd name="T83" fmla="*/ 74 h 108"/>
              <a:gd name="T84" fmla="*/ 118 w 134"/>
              <a:gd name="T85" fmla="*/ 86 h 108"/>
              <a:gd name="T86" fmla="*/ 118 w 134"/>
              <a:gd name="T87" fmla="*/ 90 h 108"/>
              <a:gd name="T88" fmla="*/ 112 w 134"/>
              <a:gd name="T89" fmla="*/ 90 h 108"/>
              <a:gd name="T90" fmla="*/ 104 w 134"/>
              <a:gd name="T91" fmla="*/ 94 h 108"/>
              <a:gd name="T92" fmla="*/ 104 w 134"/>
              <a:gd name="T93" fmla="*/ 104 h 108"/>
              <a:gd name="T94" fmla="*/ 96 w 134"/>
              <a:gd name="T95" fmla="*/ 100 h 108"/>
              <a:gd name="T96" fmla="*/ 92 w 134"/>
              <a:gd name="T97" fmla="*/ 104 h 108"/>
              <a:gd name="T98" fmla="*/ 84 w 134"/>
              <a:gd name="T99" fmla="*/ 100 h 108"/>
              <a:gd name="T100" fmla="*/ 78 w 134"/>
              <a:gd name="T101" fmla="*/ 100 h 108"/>
              <a:gd name="T102" fmla="*/ 78 w 134"/>
              <a:gd name="T103" fmla="*/ 100 h 108"/>
              <a:gd name="T104" fmla="*/ 70 w 134"/>
              <a:gd name="T105" fmla="*/ 100 h 108"/>
              <a:gd name="T106" fmla="*/ 68 w 134"/>
              <a:gd name="T107" fmla="*/ 100 h 108"/>
              <a:gd name="T108" fmla="*/ 64 w 134"/>
              <a:gd name="T109" fmla="*/ 100 h 108"/>
              <a:gd name="T110" fmla="*/ 60 w 134"/>
              <a:gd name="T111" fmla="*/ 100 h 108"/>
              <a:gd name="T112" fmla="*/ 52 w 134"/>
              <a:gd name="T113" fmla="*/ 98 h 108"/>
              <a:gd name="T114" fmla="*/ 48 w 134"/>
              <a:gd name="T115" fmla="*/ 94 h 108"/>
              <a:gd name="T116" fmla="*/ 44 w 134"/>
              <a:gd name="T117" fmla="*/ 94 h 108"/>
              <a:gd name="T118" fmla="*/ 38 w 134"/>
              <a:gd name="T119" fmla="*/ 9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4" h="108">
                <a:moveTo>
                  <a:pt x="34" y="94"/>
                </a:moveTo>
                <a:lnTo>
                  <a:pt x="34" y="94"/>
                </a:lnTo>
                <a:lnTo>
                  <a:pt x="30" y="94"/>
                </a:lnTo>
                <a:lnTo>
                  <a:pt x="30" y="94"/>
                </a:lnTo>
                <a:lnTo>
                  <a:pt x="30" y="94"/>
                </a:lnTo>
                <a:lnTo>
                  <a:pt x="30" y="94"/>
                </a:lnTo>
                <a:lnTo>
                  <a:pt x="30" y="94"/>
                </a:lnTo>
                <a:lnTo>
                  <a:pt x="26" y="94"/>
                </a:lnTo>
                <a:lnTo>
                  <a:pt x="26" y="94"/>
                </a:lnTo>
                <a:lnTo>
                  <a:pt x="26" y="94"/>
                </a:lnTo>
                <a:lnTo>
                  <a:pt x="22" y="94"/>
                </a:lnTo>
                <a:lnTo>
                  <a:pt x="22" y="94"/>
                </a:lnTo>
                <a:lnTo>
                  <a:pt x="22" y="94"/>
                </a:lnTo>
                <a:lnTo>
                  <a:pt x="18" y="94"/>
                </a:lnTo>
                <a:lnTo>
                  <a:pt x="14" y="94"/>
                </a:lnTo>
                <a:lnTo>
                  <a:pt x="14" y="98"/>
                </a:lnTo>
                <a:lnTo>
                  <a:pt x="14" y="98"/>
                </a:lnTo>
                <a:lnTo>
                  <a:pt x="14" y="98"/>
                </a:lnTo>
                <a:lnTo>
                  <a:pt x="12" y="100"/>
                </a:lnTo>
                <a:lnTo>
                  <a:pt x="12" y="100"/>
                </a:lnTo>
                <a:lnTo>
                  <a:pt x="12" y="100"/>
                </a:lnTo>
                <a:lnTo>
                  <a:pt x="12" y="100"/>
                </a:lnTo>
                <a:lnTo>
                  <a:pt x="12" y="100"/>
                </a:lnTo>
                <a:lnTo>
                  <a:pt x="12" y="100"/>
                </a:lnTo>
                <a:lnTo>
                  <a:pt x="12" y="100"/>
                </a:lnTo>
                <a:lnTo>
                  <a:pt x="8" y="98"/>
                </a:lnTo>
                <a:lnTo>
                  <a:pt x="8" y="100"/>
                </a:lnTo>
                <a:lnTo>
                  <a:pt x="8" y="100"/>
                </a:lnTo>
                <a:lnTo>
                  <a:pt x="8" y="100"/>
                </a:lnTo>
                <a:lnTo>
                  <a:pt x="8" y="100"/>
                </a:lnTo>
                <a:lnTo>
                  <a:pt x="8" y="100"/>
                </a:lnTo>
                <a:lnTo>
                  <a:pt x="4" y="100"/>
                </a:lnTo>
                <a:lnTo>
                  <a:pt x="4" y="100"/>
                </a:lnTo>
                <a:lnTo>
                  <a:pt x="4" y="98"/>
                </a:lnTo>
                <a:lnTo>
                  <a:pt x="4" y="98"/>
                </a:lnTo>
                <a:lnTo>
                  <a:pt x="4" y="98"/>
                </a:lnTo>
                <a:lnTo>
                  <a:pt x="4" y="98"/>
                </a:lnTo>
                <a:lnTo>
                  <a:pt x="8" y="94"/>
                </a:lnTo>
                <a:lnTo>
                  <a:pt x="8" y="94"/>
                </a:lnTo>
                <a:lnTo>
                  <a:pt x="8" y="90"/>
                </a:lnTo>
                <a:lnTo>
                  <a:pt x="8" y="90"/>
                </a:lnTo>
                <a:lnTo>
                  <a:pt x="8" y="90"/>
                </a:lnTo>
                <a:lnTo>
                  <a:pt x="4" y="86"/>
                </a:lnTo>
                <a:lnTo>
                  <a:pt x="0" y="86"/>
                </a:lnTo>
                <a:lnTo>
                  <a:pt x="0" y="86"/>
                </a:lnTo>
                <a:lnTo>
                  <a:pt x="0" y="86"/>
                </a:lnTo>
                <a:lnTo>
                  <a:pt x="0" y="86"/>
                </a:lnTo>
                <a:lnTo>
                  <a:pt x="0" y="82"/>
                </a:lnTo>
                <a:lnTo>
                  <a:pt x="4" y="82"/>
                </a:lnTo>
                <a:lnTo>
                  <a:pt x="4" y="82"/>
                </a:lnTo>
                <a:lnTo>
                  <a:pt x="4" y="78"/>
                </a:lnTo>
                <a:lnTo>
                  <a:pt x="4" y="78"/>
                </a:lnTo>
                <a:lnTo>
                  <a:pt x="4" y="78"/>
                </a:lnTo>
                <a:lnTo>
                  <a:pt x="8" y="78"/>
                </a:lnTo>
                <a:lnTo>
                  <a:pt x="8" y="78"/>
                </a:lnTo>
                <a:lnTo>
                  <a:pt x="8" y="78"/>
                </a:lnTo>
                <a:lnTo>
                  <a:pt x="8" y="78"/>
                </a:lnTo>
                <a:lnTo>
                  <a:pt x="8" y="78"/>
                </a:lnTo>
                <a:lnTo>
                  <a:pt x="8" y="78"/>
                </a:lnTo>
                <a:lnTo>
                  <a:pt x="12" y="78"/>
                </a:lnTo>
                <a:lnTo>
                  <a:pt x="12" y="78"/>
                </a:lnTo>
                <a:lnTo>
                  <a:pt x="12" y="74"/>
                </a:lnTo>
                <a:lnTo>
                  <a:pt x="12" y="74"/>
                </a:lnTo>
                <a:lnTo>
                  <a:pt x="12" y="74"/>
                </a:lnTo>
                <a:lnTo>
                  <a:pt x="12" y="74"/>
                </a:lnTo>
                <a:lnTo>
                  <a:pt x="12" y="74"/>
                </a:lnTo>
                <a:lnTo>
                  <a:pt x="12" y="70"/>
                </a:lnTo>
                <a:lnTo>
                  <a:pt x="12" y="70"/>
                </a:lnTo>
                <a:lnTo>
                  <a:pt x="12" y="68"/>
                </a:lnTo>
                <a:lnTo>
                  <a:pt x="8" y="64"/>
                </a:lnTo>
                <a:lnTo>
                  <a:pt x="8" y="60"/>
                </a:lnTo>
                <a:lnTo>
                  <a:pt x="8" y="60"/>
                </a:lnTo>
                <a:lnTo>
                  <a:pt x="8" y="60"/>
                </a:lnTo>
                <a:lnTo>
                  <a:pt x="8" y="56"/>
                </a:lnTo>
                <a:lnTo>
                  <a:pt x="8" y="56"/>
                </a:lnTo>
                <a:lnTo>
                  <a:pt x="8" y="56"/>
                </a:lnTo>
                <a:lnTo>
                  <a:pt x="8" y="56"/>
                </a:lnTo>
                <a:lnTo>
                  <a:pt x="4" y="56"/>
                </a:lnTo>
                <a:lnTo>
                  <a:pt x="4" y="52"/>
                </a:lnTo>
                <a:lnTo>
                  <a:pt x="4" y="52"/>
                </a:lnTo>
                <a:lnTo>
                  <a:pt x="4" y="48"/>
                </a:lnTo>
                <a:lnTo>
                  <a:pt x="4" y="48"/>
                </a:lnTo>
                <a:lnTo>
                  <a:pt x="4" y="48"/>
                </a:lnTo>
                <a:lnTo>
                  <a:pt x="4" y="48"/>
                </a:lnTo>
                <a:lnTo>
                  <a:pt x="4" y="48"/>
                </a:lnTo>
                <a:lnTo>
                  <a:pt x="4" y="48"/>
                </a:lnTo>
                <a:lnTo>
                  <a:pt x="8" y="48"/>
                </a:lnTo>
                <a:lnTo>
                  <a:pt x="8" y="48"/>
                </a:lnTo>
                <a:lnTo>
                  <a:pt x="8" y="48"/>
                </a:lnTo>
                <a:lnTo>
                  <a:pt x="12" y="48"/>
                </a:lnTo>
                <a:lnTo>
                  <a:pt x="12" y="48"/>
                </a:lnTo>
                <a:lnTo>
                  <a:pt x="12" y="48"/>
                </a:lnTo>
                <a:lnTo>
                  <a:pt x="12" y="48"/>
                </a:lnTo>
                <a:lnTo>
                  <a:pt x="14" y="48"/>
                </a:lnTo>
                <a:lnTo>
                  <a:pt x="14" y="48"/>
                </a:lnTo>
                <a:lnTo>
                  <a:pt x="14" y="48"/>
                </a:lnTo>
                <a:lnTo>
                  <a:pt x="14" y="48"/>
                </a:lnTo>
                <a:lnTo>
                  <a:pt x="14" y="48"/>
                </a:lnTo>
                <a:lnTo>
                  <a:pt x="14" y="48"/>
                </a:lnTo>
                <a:lnTo>
                  <a:pt x="14" y="52"/>
                </a:lnTo>
                <a:lnTo>
                  <a:pt x="18" y="52"/>
                </a:lnTo>
                <a:lnTo>
                  <a:pt x="18" y="48"/>
                </a:lnTo>
                <a:lnTo>
                  <a:pt x="18" y="48"/>
                </a:lnTo>
                <a:lnTo>
                  <a:pt x="18" y="48"/>
                </a:lnTo>
                <a:lnTo>
                  <a:pt x="22" y="48"/>
                </a:lnTo>
                <a:lnTo>
                  <a:pt x="22" y="48"/>
                </a:lnTo>
                <a:lnTo>
                  <a:pt x="22" y="48"/>
                </a:lnTo>
                <a:lnTo>
                  <a:pt x="22" y="48"/>
                </a:lnTo>
                <a:lnTo>
                  <a:pt x="22" y="48"/>
                </a:lnTo>
                <a:lnTo>
                  <a:pt x="22" y="48"/>
                </a:lnTo>
                <a:lnTo>
                  <a:pt x="22" y="44"/>
                </a:lnTo>
                <a:lnTo>
                  <a:pt x="22" y="44"/>
                </a:lnTo>
                <a:lnTo>
                  <a:pt x="26" y="44"/>
                </a:lnTo>
                <a:lnTo>
                  <a:pt x="26" y="44"/>
                </a:lnTo>
                <a:lnTo>
                  <a:pt x="26" y="44"/>
                </a:lnTo>
                <a:lnTo>
                  <a:pt x="26" y="44"/>
                </a:lnTo>
                <a:lnTo>
                  <a:pt x="26" y="44"/>
                </a:lnTo>
                <a:lnTo>
                  <a:pt x="26" y="44"/>
                </a:lnTo>
                <a:lnTo>
                  <a:pt x="30" y="44"/>
                </a:lnTo>
                <a:lnTo>
                  <a:pt x="30" y="44"/>
                </a:lnTo>
                <a:lnTo>
                  <a:pt x="30" y="44"/>
                </a:lnTo>
                <a:lnTo>
                  <a:pt x="30" y="44"/>
                </a:lnTo>
                <a:lnTo>
                  <a:pt x="30" y="44"/>
                </a:lnTo>
                <a:lnTo>
                  <a:pt x="30" y="40"/>
                </a:lnTo>
                <a:lnTo>
                  <a:pt x="34" y="40"/>
                </a:lnTo>
                <a:lnTo>
                  <a:pt x="34" y="40"/>
                </a:lnTo>
                <a:lnTo>
                  <a:pt x="34" y="40"/>
                </a:lnTo>
                <a:lnTo>
                  <a:pt x="34" y="44"/>
                </a:lnTo>
                <a:lnTo>
                  <a:pt x="34" y="44"/>
                </a:lnTo>
                <a:lnTo>
                  <a:pt x="34" y="44"/>
                </a:lnTo>
                <a:lnTo>
                  <a:pt x="34" y="44"/>
                </a:lnTo>
                <a:lnTo>
                  <a:pt x="34" y="44"/>
                </a:lnTo>
                <a:lnTo>
                  <a:pt x="38" y="44"/>
                </a:lnTo>
                <a:lnTo>
                  <a:pt x="38" y="44"/>
                </a:lnTo>
                <a:lnTo>
                  <a:pt x="38" y="44"/>
                </a:lnTo>
                <a:lnTo>
                  <a:pt x="38" y="40"/>
                </a:lnTo>
                <a:lnTo>
                  <a:pt x="34" y="40"/>
                </a:lnTo>
                <a:lnTo>
                  <a:pt x="34" y="40"/>
                </a:lnTo>
                <a:lnTo>
                  <a:pt x="34" y="40"/>
                </a:lnTo>
                <a:lnTo>
                  <a:pt x="34" y="40"/>
                </a:lnTo>
                <a:lnTo>
                  <a:pt x="34" y="40"/>
                </a:lnTo>
                <a:lnTo>
                  <a:pt x="34" y="40"/>
                </a:lnTo>
                <a:lnTo>
                  <a:pt x="34" y="38"/>
                </a:lnTo>
                <a:lnTo>
                  <a:pt x="38" y="38"/>
                </a:lnTo>
                <a:lnTo>
                  <a:pt x="38" y="38"/>
                </a:lnTo>
                <a:lnTo>
                  <a:pt x="38" y="38"/>
                </a:lnTo>
                <a:lnTo>
                  <a:pt x="38" y="34"/>
                </a:lnTo>
                <a:lnTo>
                  <a:pt x="38" y="34"/>
                </a:lnTo>
                <a:lnTo>
                  <a:pt x="38" y="34"/>
                </a:lnTo>
                <a:lnTo>
                  <a:pt x="38" y="30"/>
                </a:lnTo>
                <a:lnTo>
                  <a:pt x="38" y="30"/>
                </a:lnTo>
                <a:lnTo>
                  <a:pt x="38" y="30"/>
                </a:lnTo>
                <a:lnTo>
                  <a:pt x="38" y="30"/>
                </a:lnTo>
                <a:lnTo>
                  <a:pt x="38" y="30"/>
                </a:lnTo>
                <a:lnTo>
                  <a:pt x="42" y="26"/>
                </a:lnTo>
                <a:lnTo>
                  <a:pt x="42" y="26"/>
                </a:lnTo>
                <a:lnTo>
                  <a:pt x="42" y="26"/>
                </a:lnTo>
                <a:lnTo>
                  <a:pt x="44" y="26"/>
                </a:lnTo>
                <a:lnTo>
                  <a:pt x="44" y="26"/>
                </a:lnTo>
                <a:lnTo>
                  <a:pt x="44" y="22"/>
                </a:lnTo>
                <a:lnTo>
                  <a:pt x="44" y="22"/>
                </a:lnTo>
                <a:lnTo>
                  <a:pt x="48" y="22"/>
                </a:lnTo>
                <a:lnTo>
                  <a:pt x="48" y="22"/>
                </a:lnTo>
                <a:lnTo>
                  <a:pt x="52" y="22"/>
                </a:lnTo>
                <a:lnTo>
                  <a:pt x="52" y="22"/>
                </a:lnTo>
                <a:lnTo>
                  <a:pt x="52" y="22"/>
                </a:lnTo>
                <a:lnTo>
                  <a:pt x="52" y="18"/>
                </a:lnTo>
                <a:lnTo>
                  <a:pt x="48" y="18"/>
                </a:lnTo>
                <a:lnTo>
                  <a:pt x="48" y="18"/>
                </a:lnTo>
                <a:lnTo>
                  <a:pt x="48" y="18"/>
                </a:lnTo>
                <a:lnTo>
                  <a:pt x="48" y="18"/>
                </a:lnTo>
                <a:lnTo>
                  <a:pt x="48" y="18"/>
                </a:lnTo>
                <a:lnTo>
                  <a:pt x="44" y="18"/>
                </a:lnTo>
                <a:lnTo>
                  <a:pt x="48" y="18"/>
                </a:lnTo>
                <a:lnTo>
                  <a:pt x="48" y="14"/>
                </a:lnTo>
                <a:lnTo>
                  <a:pt x="48" y="10"/>
                </a:lnTo>
                <a:lnTo>
                  <a:pt x="48" y="10"/>
                </a:lnTo>
                <a:lnTo>
                  <a:pt x="48" y="10"/>
                </a:lnTo>
                <a:lnTo>
                  <a:pt x="48" y="10"/>
                </a:lnTo>
                <a:lnTo>
                  <a:pt x="48" y="10"/>
                </a:lnTo>
                <a:lnTo>
                  <a:pt x="48" y="10"/>
                </a:lnTo>
                <a:lnTo>
                  <a:pt x="48" y="10"/>
                </a:lnTo>
                <a:lnTo>
                  <a:pt x="52" y="10"/>
                </a:lnTo>
                <a:lnTo>
                  <a:pt x="52" y="10"/>
                </a:lnTo>
                <a:lnTo>
                  <a:pt x="52" y="10"/>
                </a:lnTo>
                <a:lnTo>
                  <a:pt x="52" y="10"/>
                </a:lnTo>
                <a:lnTo>
                  <a:pt x="52" y="8"/>
                </a:lnTo>
                <a:lnTo>
                  <a:pt x="56" y="8"/>
                </a:lnTo>
                <a:lnTo>
                  <a:pt x="56" y="8"/>
                </a:lnTo>
                <a:lnTo>
                  <a:pt x="60" y="10"/>
                </a:lnTo>
                <a:lnTo>
                  <a:pt x="60" y="10"/>
                </a:lnTo>
                <a:lnTo>
                  <a:pt x="64" y="10"/>
                </a:lnTo>
                <a:lnTo>
                  <a:pt x="64" y="10"/>
                </a:lnTo>
                <a:lnTo>
                  <a:pt x="64" y="8"/>
                </a:lnTo>
                <a:lnTo>
                  <a:pt x="64" y="8"/>
                </a:lnTo>
                <a:lnTo>
                  <a:pt x="64" y="8"/>
                </a:lnTo>
                <a:lnTo>
                  <a:pt x="64" y="8"/>
                </a:lnTo>
                <a:lnTo>
                  <a:pt x="64" y="4"/>
                </a:lnTo>
                <a:lnTo>
                  <a:pt x="68" y="4"/>
                </a:lnTo>
                <a:lnTo>
                  <a:pt x="68" y="4"/>
                </a:lnTo>
                <a:lnTo>
                  <a:pt x="70" y="0"/>
                </a:lnTo>
                <a:lnTo>
                  <a:pt x="70" y="0"/>
                </a:lnTo>
                <a:lnTo>
                  <a:pt x="70" y="4"/>
                </a:lnTo>
                <a:lnTo>
                  <a:pt x="70" y="4"/>
                </a:lnTo>
                <a:lnTo>
                  <a:pt x="70" y="4"/>
                </a:lnTo>
                <a:lnTo>
                  <a:pt x="70" y="4"/>
                </a:lnTo>
                <a:lnTo>
                  <a:pt x="74" y="4"/>
                </a:lnTo>
                <a:lnTo>
                  <a:pt x="74" y="4"/>
                </a:lnTo>
                <a:lnTo>
                  <a:pt x="74" y="4"/>
                </a:lnTo>
                <a:lnTo>
                  <a:pt x="78" y="4"/>
                </a:lnTo>
                <a:lnTo>
                  <a:pt x="78" y="4"/>
                </a:lnTo>
                <a:lnTo>
                  <a:pt x="78" y="4"/>
                </a:lnTo>
                <a:lnTo>
                  <a:pt x="78" y="4"/>
                </a:lnTo>
                <a:lnTo>
                  <a:pt x="78" y="8"/>
                </a:lnTo>
                <a:lnTo>
                  <a:pt x="78" y="8"/>
                </a:lnTo>
                <a:lnTo>
                  <a:pt x="78" y="8"/>
                </a:lnTo>
                <a:lnTo>
                  <a:pt x="82" y="8"/>
                </a:lnTo>
                <a:lnTo>
                  <a:pt x="82" y="4"/>
                </a:lnTo>
                <a:lnTo>
                  <a:pt x="82" y="4"/>
                </a:lnTo>
                <a:lnTo>
                  <a:pt x="82" y="4"/>
                </a:lnTo>
                <a:lnTo>
                  <a:pt x="84" y="4"/>
                </a:lnTo>
                <a:lnTo>
                  <a:pt x="84" y="4"/>
                </a:lnTo>
                <a:lnTo>
                  <a:pt x="88" y="8"/>
                </a:lnTo>
                <a:lnTo>
                  <a:pt x="88" y="8"/>
                </a:lnTo>
                <a:lnTo>
                  <a:pt x="88" y="8"/>
                </a:lnTo>
                <a:lnTo>
                  <a:pt x="84" y="10"/>
                </a:lnTo>
                <a:lnTo>
                  <a:pt x="88" y="10"/>
                </a:lnTo>
                <a:lnTo>
                  <a:pt x="88" y="10"/>
                </a:lnTo>
                <a:lnTo>
                  <a:pt x="88" y="10"/>
                </a:lnTo>
                <a:lnTo>
                  <a:pt x="92" y="10"/>
                </a:lnTo>
                <a:lnTo>
                  <a:pt x="92" y="8"/>
                </a:lnTo>
                <a:lnTo>
                  <a:pt x="96" y="8"/>
                </a:lnTo>
                <a:lnTo>
                  <a:pt x="96" y="8"/>
                </a:lnTo>
                <a:lnTo>
                  <a:pt x="100" y="8"/>
                </a:lnTo>
                <a:lnTo>
                  <a:pt x="104" y="10"/>
                </a:lnTo>
                <a:lnTo>
                  <a:pt x="104" y="10"/>
                </a:lnTo>
                <a:lnTo>
                  <a:pt x="104" y="10"/>
                </a:lnTo>
                <a:lnTo>
                  <a:pt x="104" y="10"/>
                </a:lnTo>
                <a:lnTo>
                  <a:pt x="108" y="14"/>
                </a:lnTo>
                <a:lnTo>
                  <a:pt x="108" y="14"/>
                </a:lnTo>
                <a:lnTo>
                  <a:pt x="108" y="14"/>
                </a:lnTo>
                <a:lnTo>
                  <a:pt x="108" y="14"/>
                </a:lnTo>
                <a:lnTo>
                  <a:pt x="108" y="14"/>
                </a:lnTo>
                <a:lnTo>
                  <a:pt x="108" y="14"/>
                </a:lnTo>
                <a:lnTo>
                  <a:pt x="108" y="14"/>
                </a:lnTo>
                <a:lnTo>
                  <a:pt x="108" y="14"/>
                </a:lnTo>
                <a:lnTo>
                  <a:pt x="108" y="18"/>
                </a:lnTo>
                <a:lnTo>
                  <a:pt x="108" y="18"/>
                </a:lnTo>
                <a:lnTo>
                  <a:pt x="108" y="18"/>
                </a:lnTo>
                <a:lnTo>
                  <a:pt x="108" y="18"/>
                </a:lnTo>
                <a:lnTo>
                  <a:pt x="108" y="18"/>
                </a:lnTo>
                <a:lnTo>
                  <a:pt x="108" y="18"/>
                </a:lnTo>
                <a:lnTo>
                  <a:pt x="108" y="22"/>
                </a:lnTo>
                <a:lnTo>
                  <a:pt x="108" y="22"/>
                </a:lnTo>
                <a:lnTo>
                  <a:pt x="112" y="22"/>
                </a:lnTo>
                <a:lnTo>
                  <a:pt x="112" y="26"/>
                </a:lnTo>
                <a:lnTo>
                  <a:pt x="108" y="26"/>
                </a:lnTo>
                <a:lnTo>
                  <a:pt x="108" y="30"/>
                </a:lnTo>
                <a:lnTo>
                  <a:pt x="108" y="30"/>
                </a:lnTo>
                <a:lnTo>
                  <a:pt x="108" y="30"/>
                </a:lnTo>
                <a:lnTo>
                  <a:pt x="108" y="30"/>
                </a:lnTo>
                <a:lnTo>
                  <a:pt x="108" y="30"/>
                </a:lnTo>
                <a:lnTo>
                  <a:pt x="108" y="34"/>
                </a:lnTo>
                <a:lnTo>
                  <a:pt x="108" y="34"/>
                </a:lnTo>
                <a:lnTo>
                  <a:pt x="108" y="34"/>
                </a:lnTo>
                <a:lnTo>
                  <a:pt x="112" y="34"/>
                </a:lnTo>
                <a:lnTo>
                  <a:pt x="112" y="34"/>
                </a:lnTo>
                <a:lnTo>
                  <a:pt x="112" y="38"/>
                </a:lnTo>
                <a:lnTo>
                  <a:pt x="112" y="38"/>
                </a:lnTo>
                <a:lnTo>
                  <a:pt x="112" y="38"/>
                </a:lnTo>
                <a:lnTo>
                  <a:pt x="112" y="38"/>
                </a:lnTo>
                <a:lnTo>
                  <a:pt x="112" y="38"/>
                </a:lnTo>
                <a:lnTo>
                  <a:pt x="112" y="38"/>
                </a:lnTo>
                <a:lnTo>
                  <a:pt x="114" y="38"/>
                </a:lnTo>
                <a:lnTo>
                  <a:pt x="114" y="40"/>
                </a:lnTo>
                <a:lnTo>
                  <a:pt x="114" y="40"/>
                </a:lnTo>
                <a:lnTo>
                  <a:pt x="114" y="44"/>
                </a:lnTo>
                <a:lnTo>
                  <a:pt x="118" y="44"/>
                </a:lnTo>
                <a:lnTo>
                  <a:pt x="118" y="44"/>
                </a:lnTo>
                <a:lnTo>
                  <a:pt x="118" y="44"/>
                </a:lnTo>
                <a:lnTo>
                  <a:pt x="118" y="44"/>
                </a:lnTo>
                <a:lnTo>
                  <a:pt x="122" y="44"/>
                </a:lnTo>
                <a:lnTo>
                  <a:pt x="122" y="48"/>
                </a:lnTo>
                <a:lnTo>
                  <a:pt x="122" y="48"/>
                </a:lnTo>
                <a:lnTo>
                  <a:pt x="122" y="48"/>
                </a:lnTo>
                <a:lnTo>
                  <a:pt x="122" y="52"/>
                </a:lnTo>
                <a:lnTo>
                  <a:pt x="122" y="52"/>
                </a:lnTo>
                <a:lnTo>
                  <a:pt x="122" y="52"/>
                </a:lnTo>
                <a:lnTo>
                  <a:pt x="122" y="52"/>
                </a:lnTo>
                <a:lnTo>
                  <a:pt x="122" y="52"/>
                </a:lnTo>
                <a:lnTo>
                  <a:pt x="122" y="52"/>
                </a:lnTo>
                <a:lnTo>
                  <a:pt x="122" y="52"/>
                </a:lnTo>
                <a:lnTo>
                  <a:pt x="122" y="52"/>
                </a:lnTo>
                <a:lnTo>
                  <a:pt x="126" y="52"/>
                </a:lnTo>
                <a:lnTo>
                  <a:pt x="130" y="52"/>
                </a:lnTo>
                <a:lnTo>
                  <a:pt x="130" y="56"/>
                </a:lnTo>
                <a:lnTo>
                  <a:pt x="130" y="56"/>
                </a:lnTo>
                <a:lnTo>
                  <a:pt x="130" y="56"/>
                </a:lnTo>
                <a:lnTo>
                  <a:pt x="130" y="56"/>
                </a:lnTo>
                <a:lnTo>
                  <a:pt x="130" y="56"/>
                </a:lnTo>
                <a:lnTo>
                  <a:pt x="130" y="56"/>
                </a:lnTo>
                <a:lnTo>
                  <a:pt x="130" y="60"/>
                </a:lnTo>
                <a:lnTo>
                  <a:pt x="134" y="60"/>
                </a:lnTo>
                <a:lnTo>
                  <a:pt x="134" y="60"/>
                </a:lnTo>
                <a:lnTo>
                  <a:pt x="134" y="60"/>
                </a:lnTo>
                <a:lnTo>
                  <a:pt x="134" y="60"/>
                </a:lnTo>
                <a:lnTo>
                  <a:pt x="134" y="60"/>
                </a:lnTo>
                <a:lnTo>
                  <a:pt x="134" y="64"/>
                </a:lnTo>
                <a:lnTo>
                  <a:pt x="134" y="64"/>
                </a:lnTo>
                <a:lnTo>
                  <a:pt x="130" y="68"/>
                </a:lnTo>
                <a:lnTo>
                  <a:pt x="130" y="68"/>
                </a:lnTo>
                <a:lnTo>
                  <a:pt x="130" y="68"/>
                </a:lnTo>
                <a:lnTo>
                  <a:pt x="126" y="68"/>
                </a:lnTo>
                <a:lnTo>
                  <a:pt x="126" y="68"/>
                </a:lnTo>
                <a:lnTo>
                  <a:pt x="126" y="68"/>
                </a:lnTo>
                <a:lnTo>
                  <a:pt x="122" y="68"/>
                </a:lnTo>
                <a:lnTo>
                  <a:pt x="122" y="68"/>
                </a:lnTo>
                <a:lnTo>
                  <a:pt x="122" y="68"/>
                </a:lnTo>
                <a:lnTo>
                  <a:pt x="122" y="68"/>
                </a:lnTo>
                <a:lnTo>
                  <a:pt x="122" y="68"/>
                </a:lnTo>
                <a:lnTo>
                  <a:pt x="118" y="68"/>
                </a:lnTo>
                <a:lnTo>
                  <a:pt x="114" y="68"/>
                </a:lnTo>
                <a:lnTo>
                  <a:pt x="114" y="68"/>
                </a:lnTo>
                <a:lnTo>
                  <a:pt x="114" y="68"/>
                </a:lnTo>
                <a:lnTo>
                  <a:pt x="114" y="68"/>
                </a:lnTo>
                <a:lnTo>
                  <a:pt x="114" y="68"/>
                </a:lnTo>
                <a:lnTo>
                  <a:pt x="114" y="68"/>
                </a:lnTo>
                <a:lnTo>
                  <a:pt x="114" y="70"/>
                </a:lnTo>
                <a:lnTo>
                  <a:pt x="114" y="70"/>
                </a:lnTo>
                <a:lnTo>
                  <a:pt x="114" y="70"/>
                </a:lnTo>
                <a:lnTo>
                  <a:pt x="114" y="70"/>
                </a:lnTo>
                <a:lnTo>
                  <a:pt x="114" y="74"/>
                </a:lnTo>
                <a:lnTo>
                  <a:pt x="118" y="74"/>
                </a:lnTo>
                <a:lnTo>
                  <a:pt x="118" y="74"/>
                </a:lnTo>
                <a:lnTo>
                  <a:pt x="118" y="74"/>
                </a:lnTo>
                <a:lnTo>
                  <a:pt x="118" y="74"/>
                </a:lnTo>
                <a:lnTo>
                  <a:pt x="118" y="74"/>
                </a:lnTo>
                <a:lnTo>
                  <a:pt x="118" y="74"/>
                </a:lnTo>
                <a:lnTo>
                  <a:pt x="118" y="78"/>
                </a:lnTo>
                <a:lnTo>
                  <a:pt x="118" y="78"/>
                </a:lnTo>
                <a:lnTo>
                  <a:pt x="118" y="82"/>
                </a:lnTo>
                <a:lnTo>
                  <a:pt x="118" y="82"/>
                </a:lnTo>
                <a:lnTo>
                  <a:pt x="118" y="86"/>
                </a:lnTo>
                <a:lnTo>
                  <a:pt x="118" y="86"/>
                </a:lnTo>
                <a:lnTo>
                  <a:pt x="118" y="86"/>
                </a:lnTo>
                <a:lnTo>
                  <a:pt x="122" y="86"/>
                </a:lnTo>
                <a:lnTo>
                  <a:pt x="122" y="90"/>
                </a:lnTo>
                <a:lnTo>
                  <a:pt x="122" y="90"/>
                </a:lnTo>
                <a:lnTo>
                  <a:pt x="122" y="90"/>
                </a:lnTo>
                <a:lnTo>
                  <a:pt x="118" y="90"/>
                </a:lnTo>
                <a:lnTo>
                  <a:pt x="118" y="90"/>
                </a:lnTo>
                <a:lnTo>
                  <a:pt x="118" y="90"/>
                </a:lnTo>
                <a:lnTo>
                  <a:pt x="118" y="90"/>
                </a:lnTo>
                <a:lnTo>
                  <a:pt x="114" y="90"/>
                </a:lnTo>
                <a:lnTo>
                  <a:pt x="114" y="90"/>
                </a:lnTo>
                <a:lnTo>
                  <a:pt x="114" y="90"/>
                </a:lnTo>
                <a:lnTo>
                  <a:pt x="114" y="90"/>
                </a:lnTo>
                <a:lnTo>
                  <a:pt x="114" y="90"/>
                </a:lnTo>
                <a:lnTo>
                  <a:pt x="112" y="90"/>
                </a:lnTo>
                <a:lnTo>
                  <a:pt x="112" y="90"/>
                </a:lnTo>
                <a:lnTo>
                  <a:pt x="108" y="90"/>
                </a:lnTo>
                <a:lnTo>
                  <a:pt x="108" y="90"/>
                </a:lnTo>
                <a:lnTo>
                  <a:pt x="108" y="90"/>
                </a:lnTo>
                <a:lnTo>
                  <a:pt x="108" y="90"/>
                </a:lnTo>
                <a:lnTo>
                  <a:pt x="108" y="94"/>
                </a:lnTo>
                <a:lnTo>
                  <a:pt x="108" y="94"/>
                </a:lnTo>
                <a:lnTo>
                  <a:pt x="108" y="94"/>
                </a:lnTo>
                <a:lnTo>
                  <a:pt x="104" y="94"/>
                </a:lnTo>
                <a:lnTo>
                  <a:pt x="104" y="98"/>
                </a:lnTo>
                <a:lnTo>
                  <a:pt x="104" y="98"/>
                </a:lnTo>
                <a:lnTo>
                  <a:pt x="104" y="98"/>
                </a:lnTo>
                <a:lnTo>
                  <a:pt x="104" y="100"/>
                </a:lnTo>
                <a:lnTo>
                  <a:pt x="104" y="100"/>
                </a:lnTo>
                <a:lnTo>
                  <a:pt x="104" y="104"/>
                </a:lnTo>
                <a:lnTo>
                  <a:pt x="104" y="104"/>
                </a:lnTo>
                <a:lnTo>
                  <a:pt x="104" y="104"/>
                </a:lnTo>
                <a:lnTo>
                  <a:pt x="104" y="104"/>
                </a:lnTo>
                <a:lnTo>
                  <a:pt x="104" y="108"/>
                </a:lnTo>
                <a:lnTo>
                  <a:pt x="104" y="104"/>
                </a:lnTo>
                <a:lnTo>
                  <a:pt x="100" y="104"/>
                </a:lnTo>
                <a:lnTo>
                  <a:pt x="100" y="104"/>
                </a:lnTo>
                <a:lnTo>
                  <a:pt x="100" y="100"/>
                </a:lnTo>
                <a:lnTo>
                  <a:pt x="100" y="100"/>
                </a:lnTo>
                <a:lnTo>
                  <a:pt x="96" y="100"/>
                </a:lnTo>
                <a:lnTo>
                  <a:pt x="96" y="100"/>
                </a:lnTo>
                <a:lnTo>
                  <a:pt x="96" y="100"/>
                </a:lnTo>
                <a:lnTo>
                  <a:pt x="96" y="100"/>
                </a:lnTo>
                <a:lnTo>
                  <a:pt x="96" y="100"/>
                </a:lnTo>
                <a:lnTo>
                  <a:pt x="92" y="104"/>
                </a:lnTo>
                <a:lnTo>
                  <a:pt x="92" y="104"/>
                </a:lnTo>
                <a:lnTo>
                  <a:pt x="92" y="104"/>
                </a:lnTo>
                <a:lnTo>
                  <a:pt x="92" y="104"/>
                </a:lnTo>
                <a:lnTo>
                  <a:pt x="92" y="100"/>
                </a:lnTo>
                <a:lnTo>
                  <a:pt x="92" y="100"/>
                </a:lnTo>
                <a:lnTo>
                  <a:pt x="88" y="100"/>
                </a:lnTo>
                <a:lnTo>
                  <a:pt x="88" y="104"/>
                </a:lnTo>
                <a:lnTo>
                  <a:pt x="84" y="104"/>
                </a:lnTo>
                <a:lnTo>
                  <a:pt x="84" y="104"/>
                </a:lnTo>
                <a:lnTo>
                  <a:pt x="84" y="104"/>
                </a:lnTo>
                <a:lnTo>
                  <a:pt x="84" y="100"/>
                </a:lnTo>
                <a:lnTo>
                  <a:pt x="84" y="100"/>
                </a:lnTo>
                <a:lnTo>
                  <a:pt x="84" y="100"/>
                </a:lnTo>
                <a:lnTo>
                  <a:pt x="84" y="100"/>
                </a:lnTo>
                <a:lnTo>
                  <a:pt x="84" y="100"/>
                </a:lnTo>
                <a:lnTo>
                  <a:pt x="82" y="100"/>
                </a:lnTo>
                <a:lnTo>
                  <a:pt x="82" y="100"/>
                </a:lnTo>
                <a:lnTo>
                  <a:pt x="78" y="100"/>
                </a:lnTo>
                <a:lnTo>
                  <a:pt x="78" y="100"/>
                </a:lnTo>
                <a:lnTo>
                  <a:pt x="78" y="100"/>
                </a:lnTo>
                <a:lnTo>
                  <a:pt x="78" y="100"/>
                </a:lnTo>
                <a:lnTo>
                  <a:pt x="78" y="104"/>
                </a:lnTo>
                <a:lnTo>
                  <a:pt x="78" y="104"/>
                </a:lnTo>
                <a:lnTo>
                  <a:pt x="78" y="104"/>
                </a:lnTo>
                <a:lnTo>
                  <a:pt x="78" y="104"/>
                </a:lnTo>
                <a:lnTo>
                  <a:pt x="78" y="100"/>
                </a:lnTo>
                <a:lnTo>
                  <a:pt x="78" y="100"/>
                </a:lnTo>
                <a:lnTo>
                  <a:pt x="78" y="100"/>
                </a:lnTo>
                <a:lnTo>
                  <a:pt x="74" y="100"/>
                </a:lnTo>
                <a:lnTo>
                  <a:pt x="74" y="100"/>
                </a:lnTo>
                <a:lnTo>
                  <a:pt x="74" y="100"/>
                </a:lnTo>
                <a:lnTo>
                  <a:pt x="70" y="100"/>
                </a:lnTo>
                <a:lnTo>
                  <a:pt x="70" y="98"/>
                </a:lnTo>
                <a:lnTo>
                  <a:pt x="70" y="98"/>
                </a:lnTo>
                <a:lnTo>
                  <a:pt x="70" y="100"/>
                </a:lnTo>
                <a:lnTo>
                  <a:pt x="70" y="100"/>
                </a:lnTo>
                <a:lnTo>
                  <a:pt x="70" y="100"/>
                </a:lnTo>
                <a:lnTo>
                  <a:pt x="70" y="100"/>
                </a:lnTo>
                <a:lnTo>
                  <a:pt x="70" y="100"/>
                </a:lnTo>
                <a:lnTo>
                  <a:pt x="68" y="100"/>
                </a:lnTo>
                <a:lnTo>
                  <a:pt x="68" y="100"/>
                </a:lnTo>
                <a:lnTo>
                  <a:pt x="68" y="100"/>
                </a:lnTo>
                <a:lnTo>
                  <a:pt x="68" y="100"/>
                </a:lnTo>
                <a:lnTo>
                  <a:pt x="68" y="100"/>
                </a:lnTo>
                <a:lnTo>
                  <a:pt x="68" y="100"/>
                </a:lnTo>
                <a:lnTo>
                  <a:pt x="68" y="100"/>
                </a:lnTo>
                <a:lnTo>
                  <a:pt x="68" y="100"/>
                </a:lnTo>
                <a:lnTo>
                  <a:pt x="68" y="100"/>
                </a:lnTo>
                <a:lnTo>
                  <a:pt x="68" y="100"/>
                </a:lnTo>
                <a:lnTo>
                  <a:pt x="64" y="100"/>
                </a:lnTo>
                <a:lnTo>
                  <a:pt x="64" y="100"/>
                </a:lnTo>
                <a:lnTo>
                  <a:pt x="64" y="100"/>
                </a:lnTo>
                <a:lnTo>
                  <a:pt x="64" y="100"/>
                </a:lnTo>
                <a:lnTo>
                  <a:pt x="64" y="100"/>
                </a:lnTo>
                <a:lnTo>
                  <a:pt x="64" y="100"/>
                </a:lnTo>
                <a:lnTo>
                  <a:pt x="60" y="100"/>
                </a:lnTo>
                <a:lnTo>
                  <a:pt x="60" y="100"/>
                </a:lnTo>
                <a:lnTo>
                  <a:pt x="60" y="100"/>
                </a:lnTo>
                <a:lnTo>
                  <a:pt x="60" y="100"/>
                </a:lnTo>
                <a:lnTo>
                  <a:pt x="56" y="98"/>
                </a:lnTo>
                <a:lnTo>
                  <a:pt x="56" y="98"/>
                </a:lnTo>
                <a:lnTo>
                  <a:pt x="56" y="98"/>
                </a:lnTo>
                <a:lnTo>
                  <a:pt x="56" y="98"/>
                </a:lnTo>
                <a:lnTo>
                  <a:pt x="56" y="98"/>
                </a:lnTo>
                <a:lnTo>
                  <a:pt x="56" y="98"/>
                </a:lnTo>
                <a:lnTo>
                  <a:pt x="52" y="98"/>
                </a:lnTo>
                <a:lnTo>
                  <a:pt x="52" y="98"/>
                </a:lnTo>
                <a:lnTo>
                  <a:pt x="52" y="98"/>
                </a:lnTo>
                <a:lnTo>
                  <a:pt x="52" y="98"/>
                </a:lnTo>
                <a:lnTo>
                  <a:pt x="52" y="98"/>
                </a:lnTo>
                <a:lnTo>
                  <a:pt x="52" y="98"/>
                </a:lnTo>
                <a:lnTo>
                  <a:pt x="48" y="98"/>
                </a:lnTo>
                <a:lnTo>
                  <a:pt x="48" y="98"/>
                </a:lnTo>
                <a:lnTo>
                  <a:pt x="48" y="94"/>
                </a:lnTo>
                <a:lnTo>
                  <a:pt x="48" y="94"/>
                </a:lnTo>
                <a:lnTo>
                  <a:pt x="48" y="98"/>
                </a:lnTo>
                <a:lnTo>
                  <a:pt x="48" y="98"/>
                </a:lnTo>
                <a:lnTo>
                  <a:pt x="48" y="98"/>
                </a:lnTo>
                <a:lnTo>
                  <a:pt x="44" y="98"/>
                </a:lnTo>
                <a:lnTo>
                  <a:pt x="44" y="94"/>
                </a:lnTo>
                <a:lnTo>
                  <a:pt x="44" y="94"/>
                </a:lnTo>
                <a:lnTo>
                  <a:pt x="44" y="94"/>
                </a:lnTo>
                <a:lnTo>
                  <a:pt x="44" y="94"/>
                </a:lnTo>
                <a:lnTo>
                  <a:pt x="44" y="94"/>
                </a:lnTo>
                <a:lnTo>
                  <a:pt x="42" y="94"/>
                </a:lnTo>
                <a:lnTo>
                  <a:pt x="42" y="94"/>
                </a:lnTo>
                <a:lnTo>
                  <a:pt x="42" y="94"/>
                </a:lnTo>
                <a:lnTo>
                  <a:pt x="42" y="94"/>
                </a:lnTo>
                <a:lnTo>
                  <a:pt x="38" y="94"/>
                </a:lnTo>
                <a:lnTo>
                  <a:pt x="38" y="94"/>
                </a:lnTo>
                <a:lnTo>
                  <a:pt x="38" y="94"/>
                </a:lnTo>
                <a:lnTo>
                  <a:pt x="34" y="94"/>
                </a:lnTo>
                <a:lnTo>
                  <a:pt x="34" y="94"/>
                </a:lnTo>
                <a:lnTo>
                  <a:pt x="34" y="94"/>
                </a:lnTo>
                <a:lnTo>
                  <a:pt x="34" y="94"/>
                </a:lnTo>
                <a:lnTo>
                  <a:pt x="34" y="94"/>
                </a:lnTo>
                <a:lnTo>
                  <a:pt x="34" y="94"/>
                </a:lnTo>
                <a:close/>
              </a:path>
            </a:pathLst>
          </a:custGeom>
          <a:solidFill>
            <a:srgbClr val="A0DCFF"/>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84" name="Freeform 91"/>
          <p:cNvSpPr>
            <a:spLocks/>
          </p:cNvSpPr>
          <p:nvPr/>
        </p:nvSpPr>
        <p:spPr bwMode="auto">
          <a:xfrm>
            <a:off x="4302919" y="2574131"/>
            <a:ext cx="59531" cy="47625"/>
          </a:xfrm>
          <a:custGeom>
            <a:avLst/>
            <a:gdLst>
              <a:gd name="T0" fmla="*/ 22 w 50"/>
              <a:gd name="T1" fmla="*/ 26 h 40"/>
              <a:gd name="T2" fmla="*/ 18 w 50"/>
              <a:gd name="T3" fmla="*/ 26 h 40"/>
              <a:gd name="T4" fmla="*/ 14 w 50"/>
              <a:gd name="T5" fmla="*/ 22 h 40"/>
              <a:gd name="T6" fmla="*/ 10 w 50"/>
              <a:gd name="T7" fmla="*/ 22 h 40"/>
              <a:gd name="T8" fmla="*/ 6 w 50"/>
              <a:gd name="T9" fmla="*/ 18 h 40"/>
              <a:gd name="T10" fmla="*/ 6 w 50"/>
              <a:gd name="T11" fmla="*/ 14 h 40"/>
              <a:gd name="T12" fmla="*/ 2 w 50"/>
              <a:gd name="T13" fmla="*/ 14 h 40"/>
              <a:gd name="T14" fmla="*/ 2 w 50"/>
              <a:gd name="T15" fmla="*/ 14 h 40"/>
              <a:gd name="T16" fmla="*/ 0 w 50"/>
              <a:gd name="T17" fmla="*/ 10 h 40"/>
              <a:gd name="T18" fmla="*/ 2 w 50"/>
              <a:gd name="T19" fmla="*/ 6 h 40"/>
              <a:gd name="T20" fmla="*/ 10 w 50"/>
              <a:gd name="T21" fmla="*/ 4 h 40"/>
              <a:gd name="T22" fmla="*/ 10 w 50"/>
              <a:gd name="T23" fmla="*/ 6 h 40"/>
              <a:gd name="T24" fmla="*/ 14 w 50"/>
              <a:gd name="T25" fmla="*/ 4 h 40"/>
              <a:gd name="T26" fmla="*/ 18 w 50"/>
              <a:gd name="T27" fmla="*/ 6 h 40"/>
              <a:gd name="T28" fmla="*/ 22 w 50"/>
              <a:gd name="T29" fmla="*/ 4 h 40"/>
              <a:gd name="T30" fmla="*/ 22 w 50"/>
              <a:gd name="T31" fmla="*/ 4 h 40"/>
              <a:gd name="T32" fmla="*/ 22 w 50"/>
              <a:gd name="T33" fmla="*/ 6 h 40"/>
              <a:gd name="T34" fmla="*/ 22 w 50"/>
              <a:gd name="T35" fmla="*/ 4 h 40"/>
              <a:gd name="T36" fmla="*/ 26 w 50"/>
              <a:gd name="T37" fmla="*/ 4 h 40"/>
              <a:gd name="T38" fmla="*/ 26 w 50"/>
              <a:gd name="T39" fmla="*/ 4 h 40"/>
              <a:gd name="T40" fmla="*/ 26 w 50"/>
              <a:gd name="T41" fmla="*/ 0 h 40"/>
              <a:gd name="T42" fmla="*/ 30 w 50"/>
              <a:gd name="T43" fmla="*/ 4 h 40"/>
              <a:gd name="T44" fmla="*/ 30 w 50"/>
              <a:gd name="T45" fmla="*/ 0 h 40"/>
              <a:gd name="T46" fmla="*/ 32 w 50"/>
              <a:gd name="T47" fmla="*/ 4 h 40"/>
              <a:gd name="T48" fmla="*/ 32 w 50"/>
              <a:gd name="T49" fmla="*/ 0 h 40"/>
              <a:gd name="T50" fmla="*/ 36 w 50"/>
              <a:gd name="T51" fmla="*/ 4 h 40"/>
              <a:gd name="T52" fmla="*/ 36 w 50"/>
              <a:gd name="T53" fmla="*/ 6 h 40"/>
              <a:gd name="T54" fmla="*/ 40 w 50"/>
              <a:gd name="T55" fmla="*/ 6 h 40"/>
              <a:gd name="T56" fmla="*/ 44 w 50"/>
              <a:gd name="T57" fmla="*/ 6 h 40"/>
              <a:gd name="T58" fmla="*/ 44 w 50"/>
              <a:gd name="T59" fmla="*/ 10 h 40"/>
              <a:gd name="T60" fmla="*/ 44 w 50"/>
              <a:gd name="T61" fmla="*/ 14 h 40"/>
              <a:gd name="T62" fmla="*/ 44 w 50"/>
              <a:gd name="T63" fmla="*/ 14 h 40"/>
              <a:gd name="T64" fmla="*/ 44 w 50"/>
              <a:gd name="T65" fmla="*/ 14 h 40"/>
              <a:gd name="T66" fmla="*/ 48 w 50"/>
              <a:gd name="T67" fmla="*/ 18 h 40"/>
              <a:gd name="T68" fmla="*/ 50 w 50"/>
              <a:gd name="T69" fmla="*/ 22 h 40"/>
              <a:gd name="T70" fmla="*/ 50 w 50"/>
              <a:gd name="T71" fmla="*/ 26 h 40"/>
              <a:gd name="T72" fmla="*/ 48 w 50"/>
              <a:gd name="T73" fmla="*/ 28 h 40"/>
              <a:gd name="T74" fmla="*/ 48 w 50"/>
              <a:gd name="T75" fmla="*/ 28 h 40"/>
              <a:gd name="T76" fmla="*/ 44 w 50"/>
              <a:gd name="T77" fmla="*/ 28 h 40"/>
              <a:gd name="T78" fmla="*/ 44 w 50"/>
              <a:gd name="T79" fmla="*/ 36 h 40"/>
              <a:gd name="T80" fmla="*/ 44 w 50"/>
              <a:gd name="T81" fmla="*/ 36 h 40"/>
              <a:gd name="T82" fmla="*/ 44 w 50"/>
              <a:gd name="T83" fmla="*/ 40 h 40"/>
              <a:gd name="T84" fmla="*/ 40 w 50"/>
              <a:gd name="T85" fmla="*/ 40 h 40"/>
              <a:gd name="T86" fmla="*/ 40 w 50"/>
              <a:gd name="T87" fmla="*/ 40 h 40"/>
              <a:gd name="T88" fmla="*/ 36 w 50"/>
              <a:gd name="T89" fmla="*/ 40 h 40"/>
              <a:gd name="T90" fmla="*/ 32 w 50"/>
              <a:gd name="T91" fmla="*/ 36 h 40"/>
              <a:gd name="T92" fmla="*/ 30 w 50"/>
              <a:gd name="T93" fmla="*/ 28 h 40"/>
              <a:gd name="T94" fmla="*/ 30 w 50"/>
              <a:gd name="T95" fmla="*/ 28 h 40"/>
              <a:gd name="T96" fmla="*/ 26 w 50"/>
              <a:gd name="T97" fmla="*/ 32 h 40"/>
              <a:gd name="T98" fmla="*/ 22 w 50"/>
              <a:gd name="T99" fmla="*/ 32 h 40"/>
              <a:gd name="T100" fmla="*/ 22 w 50"/>
              <a:gd name="T101"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0" h="40">
                <a:moveTo>
                  <a:pt x="22" y="32"/>
                </a:moveTo>
                <a:lnTo>
                  <a:pt x="22" y="32"/>
                </a:lnTo>
                <a:lnTo>
                  <a:pt x="22" y="28"/>
                </a:lnTo>
                <a:lnTo>
                  <a:pt x="22" y="26"/>
                </a:lnTo>
                <a:lnTo>
                  <a:pt x="22" y="26"/>
                </a:lnTo>
                <a:lnTo>
                  <a:pt x="18" y="26"/>
                </a:lnTo>
                <a:lnTo>
                  <a:pt x="18" y="26"/>
                </a:lnTo>
                <a:lnTo>
                  <a:pt x="18" y="26"/>
                </a:lnTo>
                <a:lnTo>
                  <a:pt x="14" y="26"/>
                </a:lnTo>
                <a:lnTo>
                  <a:pt x="14" y="26"/>
                </a:lnTo>
                <a:lnTo>
                  <a:pt x="14" y="22"/>
                </a:lnTo>
                <a:lnTo>
                  <a:pt x="14" y="22"/>
                </a:lnTo>
                <a:lnTo>
                  <a:pt x="14" y="22"/>
                </a:lnTo>
                <a:lnTo>
                  <a:pt x="10" y="22"/>
                </a:lnTo>
                <a:lnTo>
                  <a:pt x="10" y="22"/>
                </a:lnTo>
                <a:lnTo>
                  <a:pt x="10" y="22"/>
                </a:lnTo>
                <a:lnTo>
                  <a:pt x="10" y="22"/>
                </a:lnTo>
                <a:lnTo>
                  <a:pt x="6" y="22"/>
                </a:lnTo>
                <a:lnTo>
                  <a:pt x="6" y="18"/>
                </a:lnTo>
                <a:lnTo>
                  <a:pt x="6" y="18"/>
                </a:lnTo>
                <a:lnTo>
                  <a:pt x="6" y="18"/>
                </a:lnTo>
                <a:lnTo>
                  <a:pt x="6" y="14"/>
                </a:lnTo>
                <a:lnTo>
                  <a:pt x="6" y="14"/>
                </a:lnTo>
                <a:lnTo>
                  <a:pt x="6" y="14"/>
                </a:lnTo>
                <a:lnTo>
                  <a:pt x="6" y="14"/>
                </a:lnTo>
                <a:lnTo>
                  <a:pt x="2" y="14"/>
                </a:lnTo>
                <a:lnTo>
                  <a:pt x="2" y="14"/>
                </a:lnTo>
                <a:lnTo>
                  <a:pt x="2" y="14"/>
                </a:lnTo>
                <a:lnTo>
                  <a:pt x="2" y="18"/>
                </a:lnTo>
                <a:lnTo>
                  <a:pt x="2" y="18"/>
                </a:lnTo>
                <a:lnTo>
                  <a:pt x="2" y="18"/>
                </a:lnTo>
                <a:lnTo>
                  <a:pt x="2" y="14"/>
                </a:lnTo>
                <a:lnTo>
                  <a:pt x="0" y="14"/>
                </a:lnTo>
                <a:lnTo>
                  <a:pt x="0" y="14"/>
                </a:lnTo>
                <a:lnTo>
                  <a:pt x="0" y="10"/>
                </a:lnTo>
                <a:lnTo>
                  <a:pt x="0" y="10"/>
                </a:lnTo>
                <a:lnTo>
                  <a:pt x="0" y="10"/>
                </a:lnTo>
                <a:lnTo>
                  <a:pt x="2" y="6"/>
                </a:lnTo>
                <a:lnTo>
                  <a:pt x="2" y="6"/>
                </a:lnTo>
                <a:lnTo>
                  <a:pt x="2" y="6"/>
                </a:lnTo>
                <a:lnTo>
                  <a:pt x="6" y="4"/>
                </a:lnTo>
                <a:lnTo>
                  <a:pt x="6" y="4"/>
                </a:lnTo>
                <a:lnTo>
                  <a:pt x="6" y="4"/>
                </a:lnTo>
                <a:lnTo>
                  <a:pt x="10" y="4"/>
                </a:lnTo>
                <a:lnTo>
                  <a:pt x="10" y="4"/>
                </a:lnTo>
                <a:lnTo>
                  <a:pt x="10" y="6"/>
                </a:lnTo>
                <a:lnTo>
                  <a:pt x="10" y="6"/>
                </a:lnTo>
                <a:lnTo>
                  <a:pt x="10" y="6"/>
                </a:lnTo>
                <a:lnTo>
                  <a:pt x="10" y="6"/>
                </a:lnTo>
                <a:lnTo>
                  <a:pt x="10" y="6"/>
                </a:lnTo>
                <a:lnTo>
                  <a:pt x="10" y="6"/>
                </a:lnTo>
                <a:lnTo>
                  <a:pt x="14" y="4"/>
                </a:lnTo>
                <a:lnTo>
                  <a:pt x="14" y="4"/>
                </a:lnTo>
                <a:lnTo>
                  <a:pt x="14" y="6"/>
                </a:lnTo>
                <a:lnTo>
                  <a:pt x="14" y="6"/>
                </a:lnTo>
                <a:lnTo>
                  <a:pt x="18" y="6"/>
                </a:lnTo>
                <a:lnTo>
                  <a:pt x="18" y="6"/>
                </a:lnTo>
                <a:lnTo>
                  <a:pt x="18" y="6"/>
                </a:lnTo>
                <a:lnTo>
                  <a:pt x="22" y="6"/>
                </a:lnTo>
                <a:lnTo>
                  <a:pt x="22" y="4"/>
                </a:lnTo>
                <a:lnTo>
                  <a:pt x="22" y="4"/>
                </a:lnTo>
                <a:lnTo>
                  <a:pt x="22" y="4"/>
                </a:lnTo>
                <a:lnTo>
                  <a:pt x="22" y="4"/>
                </a:lnTo>
                <a:lnTo>
                  <a:pt x="22" y="4"/>
                </a:lnTo>
                <a:lnTo>
                  <a:pt x="22" y="4"/>
                </a:lnTo>
                <a:lnTo>
                  <a:pt x="22" y="6"/>
                </a:lnTo>
                <a:lnTo>
                  <a:pt x="22" y="6"/>
                </a:lnTo>
                <a:lnTo>
                  <a:pt x="22" y="6"/>
                </a:lnTo>
                <a:lnTo>
                  <a:pt x="22" y="6"/>
                </a:lnTo>
                <a:lnTo>
                  <a:pt x="22" y="4"/>
                </a:lnTo>
                <a:lnTo>
                  <a:pt x="22" y="4"/>
                </a:lnTo>
                <a:lnTo>
                  <a:pt x="22" y="4"/>
                </a:lnTo>
                <a:lnTo>
                  <a:pt x="22" y="4"/>
                </a:lnTo>
                <a:lnTo>
                  <a:pt x="22" y="4"/>
                </a:lnTo>
                <a:lnTo>
                  <a:pt x="22" y="4"/>
                </a:lnTo>
                <a:lnTo>
                  <a:pt x="26" y="4"/>
                </a:lnTo>
                <a:lnTo>
                  <a:pt x="26" y="4"/>
                </a:lnTo>
                <a:lnTo>
                  <a:pt x="26" y="4"/>
                </a:lnTo>
                <a:lnTo>
                  <a:pt x="26" y="4"/>
                </a:lnTo>
                <a:lnTo>
                  <a:pt x="26" y="4"/>
                </a:lnTo>
                <a:lnTo>
                  <a:pt x="26" y="4"/>
                </a:lnTo>
                <a:lnTo>
                  <a:pt x="26" y="4"/>
                </a:lnTo>
                <a:lnTo>
                  <a:pt x="26" y="0"/>
                </a:lnTo>
                <a:lnTo>
                  <a:pt x="26" y="0"/>
                </a:lnTo>
                <a:lnTo>
                  <a:pt x="26" y="4"/>
                </a:lnTo>
                <a:lnTo>
                  <a:pt x="26" y="4"/>
                </a:lnTo>
                <a:lnTo>
                  <a:pt x="30" y="4"/>
                </a:lnTo>
                <a:lnTo>
                  <a:pt x="30" y="4"/>
                </a:lnTo>
                <a:lnTo>
                  <a:pt x="30" y="0"/>
                </a:lnTo>
                <a:lnTo>
                  <a:pt x="30" y="0"/>
                </a:lnTo>
                <a:lnTo>
                  <a:pt x="30" y="0"/>
                </a:lnTo>
                <a:lnTo>
                  <a:pt x="30" y="0"/>
                </a:lnTo>
                <a:lnTo>
                  <a:pt x="30" y="0"/>
                </a:lnTo>
                <a:lnTo>
                  <a:pt x="30" y="4"/>
                </a:lnTo>
                <a:lnTo>
                  <a:pt x="30" y="4"/>
                </a:lnTo>
                <a:lnTo>
                  <a:pt x="32" y="4"/>
                </a:lnTo>
                <a:lnTo>
                  <a:pt x="32" y="4"/>
                </a:lnTo>
                <a:lnTo>
                  <a:pt x="32" y="0"/>
                </a:lnTo>
                <a:lnTo>
                  <a:pt x="32" y="0"/>
                </a:lnTo>
                <a:lnTo>
                  <a:pt x="32" y="0"/>
                </a:lnTo>
                <a:lnTo>
                  <a:pt x="32" y="4"/>
                </a:lnTo>
                <a:lnTo>
                  <a:pt x="32" y="4"/>
                </a:lnTo>
                <a:lnTo>
                  <a:pt x="36" y="4"/>
                </a:lnTo>
                <a:lnTo>
                  <a:pt x="36" y="4"/>
                </a:lnTo>
                <a:lnTo>
                  <a:pt x="36" y="4"/>
                </a:lnTo>
                <a:lnTo>
                  <a:pt x="36" y="4"/>
                </a:lnTo>
                <a:lnTo>
                  <a:pt x="36" y="6"/>
                </a:lnTo>
                <a:lnTo>
                  <a:pt x="36" y="6"/>
                </a:lnTo>
                <a:lnTo>
                  <a:pt x="40" y="6"/>
                </a:lnTo>
                <a:lnTo>
                  <a:pt x="40" y="6"/>
                </a:lnTo>
                <a:lnTo>
                  <a:pt x="40" y="4"/>
                </a:lnTo>
                <a:lnTo>
                  <a:pt x="40" y="6"/>
                </a:lnTo>
                <a:lnTo>
                  <a:pt x="40" y="6"/>
                </a:lnTo>
                <a:lnTo>
                  <a:pt x="40" y="6"/>
                </a:lnTo>
                <a:lnTo>
                  <a:pt x="44" y="6"/>
                </a:lnTo>
                <a:lnTo>
                  <a:pt x="44" y="6"/>
                </a:lnTo>
                <a:lnTo>
                  <a:pt x="44" y="6"/>
                </a:lnTo>
                <a:lnTo>
                  <a:pt x="44" y="10"/>
                </a:lnTo>
                <a:lnTo>
                  <a:pt x="44" y="10"/>
                </a:lnTo>
                <a:lnTo>
                  <a:pt x="44" y="10"/>
                </a:lnTo>
                <a:lnTo>
                  <a:pt x="40" y="14"/>
                </a:lnTo>
                <a:lnTo>
                  <a:pt x="40" y="14"/>
                </a:lnTo>
                <a:lnTo>
                  <a:pt x="40" y="14"/>
                </a:lnTo>
                <a:lnTo>
                  <a:pt x="44" y="14"/>
                </a:lnTo>
                <a:lnTo>
                  <a:pt x="44" y="14"/>
                </a:lnTo>
                <a:lnTo>
                  <a:pt x="44" y="14"/>
                </a:lnTo>
                <a:lnTo>
                  <a:pt x="44" y="14"/>
                </a:lnTo>
                <a:lnTo>
                  <a:pt x="44" y="14"/>
                </a:lnTo>
                <a:lnTo>
                  <a:pt x="44" y="14"/>
                </a:lnTo>
                <a:lnTo>
                  <a:pt x="44" y="14"/>
                </a:lnTo>
                <a:lnTo>
                  <a:pt x="44" y="14"/>
                </a:lnTo>
                <a:lnTo>
                  <a:pt x="44" y="14"/>
                </a:lnTo>
                <a:lnTo>
                  <a:pt x="44" y="18"/>
                </a:lnTo>
                <a:lnTo>
                  <a:pt x="44" y="14"/>
                </a:lnTo>
                <a:lnTo>
                  <a:pt x="48" y="14"/>
                </a:lnTo>
                <a:lnTo>
                  <a:pt x="48" y="18"/>
                </a:lnTo>
                <a:lnTo>
                  <a:pt x="48" y="18"/>
                </a:lnTo>
                <a:lnTo>
                  <a:pt x="50" y="18"/>
                </a:lnTo>
                <a:lnTo>
                  <a:pt x="50" y="18"/>
                </a:lnTo>
                <a:lnTo>
                  <a:pt x="50" y="22"/>
                </a:lnTo>
                <a:lnTo>
                  <a:pt x="50" y="22"/>
                </a:lnTo>
                <a:lnTo>
                  <a:pt x="50" y="22"/>
                </a:lnTo>
                <a:lnTo>
                  <a:pt x="50" y="22"/>
                </a:lnTo>
                <a:lnTo>
                  <a:pt x="50" y="26"/>
                </a:lnTo>
                <a:lnTo>
                  <a:pt x="50" y="26"/>
                </a:lnTo>
                <a:lnTo>
                  <a:pt x="50" y="26"/>
                </a:lnTo>
                <a:lnTo>
                  <a:pt x="48" y="26"/>
                </a:lnTo>
                <a:lnTo>
                  <a:pt x="48" y="28"/>
                </a:lnTo>
                <a:lnTo>
                  <a:pt x="48" y="28"/>
                </a:lnTo>
                <a:lnTo>
                  <a:pt x="48" y="28"/>
                </a:lnTo>
                <a:lnTo>
                  <a:pt x="48" y="28"/>
                </a:lnTo>
                <a:lnTo>
                  <a:pt x="48" y="28"/>
                </a:lnTo>
                <a:lnTo>
                  <a:pt x="48" y="28"/>
                </a:lnTo>
                <a:lnTo>
                  <a:pt x="48" y="28"/>
                </a:lnTo>
                <a:lnTo>
                  <a:pt x="44" y="28"/>
                </a:lnTo>
                <a:lnTo>
                  <a:pt x="44" y="28"/>
                </a:lnTo>
                <a:lnTo>
                  <a:pt x="44" y="32"/>
                </a:lnTo>
                <a:lnTo>
                  <a:pt x="44" y="32"/>
                </a:lnTo>
                <a:lnTo>
                  <a:pt x="44" y="32"/>
                </a:lnTo>
                <a:lnTo>
                  <a:pt x="44" y="36"/>
                </a:lnTo>
                <a:lnTo>
                  <a:pt x="44" y="36"/>
                </a:lnTo>
                <a:lnTo>
                  <a:pt x="44" y="36"/>
                </a:lnTo>
                <a:lnTo>
                  <a:pt x="44" y="36"/>
                </a:lnTo>
                <a:lnTo>
                  <a:pt x="44" y="36"/>
                </a:lnTo>
                <a:lnTo>
                  <a:pt x="44" y="40"/>
                </a:lnTo>
                <a:lnTo>
                  <a:pt x="44" y="40"/>
                </a:lnTo>
                <a:lnTo>
                  <a:pt x="44" y="40"/>
                </a:lnTo>
                <a:lnTo>
                  <a:pt x="44" y="40"/>
                </a:lnTo>
                <a:lnTo>
                  <a:pt x="44" y="40"/>
                </a:lnTo>
                <a:lnTo>
                  <a:pt x="44" y="40"/>
                </a:lnTo>
                <a:lnTo>
                  <a:pt x="44" y="40"/>
                </a:lnTo>
                <a:lnTo>
                  <a:pt x="40" y="40"/>
                </a:lnTo>
                <a:lnTo>
                  <a:pt x="40" y="40"/>
                </a:lnTo>
                <a:lnTo>
                  <a:pt x="40" y="40"/>
                </a:lnTo>
                <a:lnTo>
                  <a:pt x="40" y="40"/>
                </a:lnTo>
                <a:lnTo>
                  <a:pt x="40" y="40"/>
                </a:lnTo>
                <a:lnTo>
                  <a:pt x="40" y="40"/>
                </a:lnTo>
                <a:lnTo>
                  <a:pt x="40" y="40"/>
                </a:lnTo>
                <a:lnTo>
                  <a:pt x="36" y="40"/>
                </a:lnTo>
                <a:lnTo>
                  <a:pt x="36" y="40"/>
                </a:lnTo>
                <a:lnTo>
                  <a:pt x="32" y="36"/>
                </a:lnTo>
                <a:lnTo>
                  <a:pt x="32" y="36"/>
                </a:lnTo>
                <a:lnTo>
                  <a:pt x="32" y="36"/>
                </a:lnTo>
                <a:lnTo>
                  <a:pt x="32" y="36"/>
                </a:lnTo>
                <a:lnTo>
                  <a:pt x="30" y="36"/>
                </a:lnTo>
                <a:lnTo>
                  <a:pt x="30" y="32"/>
                </a:lnTo>
                <a:lnTo>
                  <a:pt x="30" y="28"/>
                </a:lnTo>
                <a:lnTo>
                  <a:pt x="30" y="28"/>
                </a:lnTo>
                <a:lnTo>
                  <a:pt x="32" y="28"/>
                </a:lnTo>
                <a:lnTo>
                  <a:pt x="30" y="28"/>
                </a:lnTo>
                <a:lnTo>
                  <a:pt x="30" y="28"/>
                </a:lnTo>
                <a:lnTo>
                  <a:pt x="30" y="28"/>
                </a:lnTo>
                <a:lnTo>
                  <a:pt x="30" y="28"/>
                </a:lnTo>
                <a:lnTo>
                  <a:pt x="30" y="32"/>
                </a:lnTo>
                <a:lnTo>
                  <a:pt x="26" y="32"/>
                </a:lnTo>
                <a:lnTo>
                  <a:pt x="26" y="32"/>
                </a:lnTo>
                <a:lnTo>
                  <a:pt x="26" y="32"/>
                </a:lnTo>
                <a:lnTo>
                  <a:pt x="26" y="32"/>
                </a:lnTo>
                <a:lnTo>
                  <a:pt x="22" y="32"/>
                </a:lnTo>
                <a:lnTo>
                  <a:pt x="22" y="32"/>
                </a:lnTo>
                <a:lnTo>
                  <a:pt x="22" y="32"/>
                </a:lnTo>
                <a:lnTo>
                  <a:pt x="22" y="32"/>
                </a:lnTo>
                <a:lnTo>
                  <a:pt x="22" y="32"/>
                </a:lnTo>
                <a:lnTo>
                  <a:pt x="22" y="32"/>
                </a:lnTo>
                <a:lnTo>
                  <a:pt x="22" y="32"/>
                </a:lnTo>
                <a:close/>
              </a:path>
            </a:pathLst>
          </a:custGeom>
          <a:solidFill>
            <a:srgbClr val="A0DCFF"/>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85" name="Freeform 92"/>
          <p:cNvSpPr>
            <a:spLocks/>
          </p:cNvSpPr>
          <p:nvPr/>
        </p:nvSpPr>
        <p:spPr bwMode="auto">
          <a:xfrm>
            <a:off x="4524374" y="2728912"/>
            <a:ext cx="61913" cy="61913"/>
          </a:xfrm>
          <a:custGeom>
            <a:avLst/>
            <a:gdLst>
              <a:gd name="T0" fmla="*/ 26 w 52"/>
              <a:gd name="T1" fmla="*/ 44 h 52"/>
              <a:gd name="T2" fmla="*/ 26 w 52"/>
              <a:gd name="T3" fmla="*/ 40 h 52"/>
              <a:gd name="T4" fmla="*/ 22 w 52"/>
              <a:gd name="T5" fmla="*/ 38 h 52"/>
              <a:gd name="T6" fmla="*/ 18 w 52"/>
              <a:gd name="T7" fmla="*/ 34 h 52"/>
              <a:gd name="T8" fmla="*/ 18 w 52"/>
              <a:gd name="T9" fmla="*/ 34 h 52"/>
              <a:gd name="T10" fmla="*/ 14 w 52"/>
              <a:gd name="T11" fmla="*/ 30 h 52"/>
              <a:gd name="T12" fmla="*/ 10 w 52"/>
              <a:gd name="T13" fmla="*/ 22 h 52"/>
              <a:gd name="T14" fmla="*/ 6 w 52"/>
              <a:gd name="T15" fmla="*/ 22 h 52"/>
              <a:gd name="T16" fmla="*/ 6 w 52"/>
              <a:gd name="T17" fmla="*/ 18 h 52"/>
              <a:gd name="T18" fmla="*/ 4 w 52"/>
              <a:gd name="T19" fmla="*/ 18 h 52"/>
              <a:gd name="T20" fmla="*/ 4 w 52"/>
              <a:gd name="T21" fmla="*/ 14 h 52"/>
              <a:gd name="T22" fmla="*/ 4 w 52"/>
              <a:gd name="T23" fmla="*/ 12 h 52"/>
              <a:gd name="T24" fmla="*/ 0 w 52"/>
              <a:gd name="T25" fmla="*/ 4 h 52"/>
              <a:gd name="T26" fmla="*/ 0 w 52"/>
              <a:gd name="T27" fmla="*/ 0 h 52"/>
              <a:gd name="T28" fmla="*/ 4 w 52"/>
              <a:gd name="T29" fmla="*/ 0 h 52"/>
              <a:gd name="T30" fmla="*/ 6 w 52"/>
              <a:gd name="T31" fmla="*/ 4 h 52"/>
              <a:gd name="T32" fmla="*/ 6 w 52"/>
              <a:gd name="T33" fmla="*/ 0 h 52"/>
              <a:gd name="T34" fmla="*/ 10 w 52"/>
              <a:gd name="T35" fmla="*/ 0 h 52"/>
              <a:gd name="T36" fmla="*/ 14 w 52"/>
              <a:gd name="T37" fmla="*/ 0 h 52"/>
              <a:gd name="T38" fmla="*/ 18 w 52"/>
              <a:gd name="T39" fmla="*/ 0 h 52"/>
              <a:gd name="T40" fmla="*/ 22 w 52"/>
              <a:gd name="T41" fmla="*/ 0 h 52"/>
              <a:gd name="T42" fmla="*/ 26 w 52"/>
              <a:gd name="T43" fmla="*/ 4 h 52"/>
              <a:gd name="T44" fmla="*/ 28 w 52"/>
              <a:gd name="T45" fmla="*/ 4 h 52"/>
              <a:gd name="T46" fmla="*/ 32 w 52"/>
              <a:gd name="T47" fmla="*/ 4 h 52"/>
              <a:gd name="T48" fmla="*/ 36 w 52"/>
              <a:gd name="T49" fmla="*/ 0 h 52"/>
              <a:gd name="T50" fmla="*/ 40 w 52"/>
              <a:gd name="T51" fmla="*/ 4 h 52"/>
              <a:gd name="T52" fmla="*/ 44 w 52"/>
              <a:gd name="T53" fmla="*/ 8 h 52"/>
              <a:gd name="T54" fmla="*/ 48 w 52"/>
              <a:gd name="T55" fmla="*/ 4 h 52"/>
              <a:gd name="T56" fmla="*/ 48 w 52"/>
              <a:gd name="T57" fmla="*/ 8 h 52"/>
              <a:gd name="T58" fmla="*/ 48 w 52"/>
              <a:gd name="T59" fmla="*/ 14 h 52"/>
              <a:gd name="T60" fmla="*/ 48 w 52"/>
              <a:gd name="T61" fmla="*/ 18 h 52"/>
              <a:gd name="T62" fmla="*/ 52 w 52"/>
              <a:gd name="T63" fmla="*/ 22 h 52"/>
              <a:gd name="T64" fmla="*/ 52 w 52"/>
              <a:gd name="T65" fmla="*/ 26 h 52"/>
              <a:gd name="T66" fmla="*/ 48 w 52"/>
              <a:gd name="T67" fmla="*/ 22 h 52"/>
              <a:gd name="T68" fmla="*/ 52 w 52"/>
              <a:gd name="T69" fmla="*/ 30 h 52"/>
              <a:gd name="T70" fmla="*/ 52 w 52"/>
              <a:gd name="T71" fmla="*/ 30 h 52"/>
              <a:gd name="T72" fmla="*/ 48 w 52"/>
              <a:gd name="T73" fmla="*/ 34 h 52"/>
              <a:gd name="T74" fmla="*/ 44 w 52"/>
              <a:gd name="T75" fmla="*/ 34 h 52"/>
              <a:gd name="T76" fmla="*/ 44 w 52"/>
              <a:gd name="T77" fmla="*/ 34 h 52"/>
              <a:gd name="T78" fmla="*/ 44 w 52"/>
              <a:gd name="T79" fmla="*/ 38 h 52"/>
              <a:gd name="T80" fmla="*/ 44 w 52"/>
              <a:gd name="T81" fmla="*/ 38 h 52"/>
              <a:gd name="T82" fmla="*/ 40 w 52"/>
              <a:gd name="T83" fmla="*/ 40 h 52"/>
              <a:gd name="T84" fmla="*/ 36 w 52"/>
              <a:gd name="T85" fmla="*/ 44 h 52"/>
              <a:gd name="T86" fmla="*/ 36 w 52"/>
              <a:gd name="T87" fmla="*/ 48 h 52"/>
              <a:gd name="T88" fmla="*/ 36 w 52"/>
              <a:gd name="T89" fmla="*/ 52 h 52"/>
              <a:gd name="T90" fmla="*/ 36 w 52"/>
              <a:gd name="T91" fmla="*/ 52 h 52"/>
              <a:gd name="T92" fmla="*/ 32 w 52"/>
              <a:gd name="T93" fmla="*/ 52 h 52"/>
              <a:gd name="T94" fmla="*/ 28 w 52"/>
              <a:gd name="T95" fmla="*/ 48 h 52"/>
              <a:gd name="T96" fmla="*/ 28 w 52"/>
              <a:gd name="T97" fmla="*/ 44 h 52"/>
              <a:gd name="T98" fmla="*/ 26 w 52"/>
              <a:gd name="T99" fmla="*/ 4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2" h="52">
                <a:moveTo>
                  <a:pt x="26" y="44"/>
                </a:moveTo>
                <a:lnTo>
                  <a:pt x="26" y="44"/>
                </a:lnTo>
                <a:lnTo>
                  <a:pt x="26" y="44"/>
                </a:lnTo>
                <a:lnTo>
                  <a:pt x="26" y="44"/>
                </a:lnTo>
                <a:lnTo>
                  <a:pt x="26" y="40"/>
                </a:lnTo>
                <a:lnTo>
                  <a:pt x="26" y="40"/>
                </a:lnTo>
                <a:lnTo>
                  <a:pt x="26" y="40"/>
                </a:lnTo>
                <a:lnTo>
                  <a:pt x="26" y="40"/>
                </a:lnTo>
                <a:lnTo>
                  <a:pt x="22" y="40"/>
                </a:lnTo>
                <a:lnTo>
                  <a:pt x="22" y="38"/>
                </a:lnTo>
                <a:lnTo>
                  <a:pt x="22" y="38"/>
                </a:lnTo>
                <a:lnTo>
                  <a:pt x="22" y="38"/>
                </a:lnTo>
                <a:lnTo>
                  <a:pt x="18" y="38"/>
                </a:lnTo>
                <a:lnTo>
                  <a:pt x="22" y="34"/>
                </a:lnTo>
                <a:lnTo>
                  <a:pt x="18" y="34"/>
                </a:lnTo>
                <a:lnTo>
                  <a:pt x="18" y="34"/>
                </a:lnTo>
                <a:lnTo>
                  <a:pt x="18" y="34"/>
                </a:lnTo>
                <a:lnTo>
                  <a:pt x="18" y="34"/>
                </a:lnTo>
                <a:lnTo>
                  <a:pt x="18" y="34"/>
                </a:lnTo>
                <a:lnTo>
                  <a:pt x="18" y="34"/>
                </a:lnTo>
                <a:lnTo>
                  <a:pt x="14" y="34"/>
                </a:lnTo>
                <a:lnTo>
                  <a:pt x="14" y="34"/>
                </a:lnTo>
                <a:lnTo>
                  <a:pt x="14" y="30"/>
                </a:lnTo>
                <a:lnTo>
                  <a:pt x="14" y="30"/>
                </a:lnTo>
                <a:lnTo>
                  <a:pt x="10" y="26"/>
                </a:lnTo>
                <a:lnTo>
                  <a:pt x="10" y="26"/>
                </a:lnTo>
                <a:lnTo>
                  <a:pt x="10" y="26"/>
                </a:lnTo>
                <a:lnTo>
                  <a:pt x="10" y="22"/>
                </a:lnTo>
                <a:lnTo>
                  <a:pt x="10" y="22"/>
                </a:lnTo>
                <a:lnTo>
                  <a:pt x="6" y="22"/>
                </a:lnTo>
                <a:lnTo>
                  <a:pt x="6" y="22"/>
                </a:lnTo>
                <a:lnTo>
                  <a:pt x="6" y="22"/>
                </a:lnTo>
                <a:lnTo>
                  <a:pt x="6" y="22"/>
                </a:lnTo>
                <a:lnTo>
                  <a:pt x="6" y="22"/>
                </a:lnTo>
                <a:lnTo>
                  <a:pt x="6" y="18"/>
                </a:lnTo>
                <a:lnTo>
                  <a:pt x="6" y="18"/>
                </a:lnTo>
                <a:lnTo>
                  <a:pt x="6" y="18"/>
                </a:lnTo>
                <a:lnTo>
                  <a:pt x="4" y="18"/>
                </a:lnTo>
                <a:lnTo>
                  <a:pt x="4" y="18"/>
                </a:lnTo>
                <a:lnTo>
                  <a:pt x="4" y="18"/>
                </a:lnTo>
                <a:lnTo>
                  <a:pt x="4" y="18"/>
                </a:lnTo>
                <a:lnTo>
                  <a:pt x="4" y="14"/>
                </a:lnTo>
                <a:lnTo>
                  <a:pt x="4" y="14"/>
                </a:lnTo>
                <a:lnTo>
                  <a:pt x="4" y="14"/>
                </a:lnTo>
                <a:lnTo>
                  <a:pt x="4" y="12"/>
                </a:lnTo>
                <a:lnTo>
                  <a:pt x="4" y="12"/>
                </a:lnTo>
                <a:lnTo>
                  <a:pt x="4" y="12"/>
                </a:lnTo>
                <a:lnTo>
                  <a:pt x="4" y="12"/>
                </a:lnTo>
                <a:lnTo>
                  <a:pt x="0" y="12"/>
                </a:lnTo>
                <a:lnTo>
                  <a:pt x="0" y="8"/>
                </a:lnTo>
                <a:lnTo>
                  <a:pt x="0" y="8"/>
                </a:lnTo>
                <a:lnTo>
                  <a:pt x="0" y="4"/>
                </a:lnTo>
                <a:lnTo>
                  <a:pt x="0" y="4"/>
                </a:lnTo>
                <a:lnTo>
                  <a:pt x="0" y="4"/>
                </a:lnTo>
                <a:lnTo>
                  <a:pt x="0" y="0"/>
                </a:lnTo>
                <a:lnTo>
                  <a:pt x="0" y="0"/>
                </a:lnTo>
                <a:lnTo>
                  <a:pt x="0" y="0"/>
                </a:lnTo>
                <a:lnTo>
                  <a:pt x="0" y="0"/>
                </a:lnTo>
                <a:lnTo>
                  <a:pt x="0" y="0"/>
                </a:lnTo>
                <a:lnTo>
                  <a:pt x="4" y="0"/>
                </a:lnTo>
                <a:lnTo>
                  <a:pt x="4" y="0"/>
                </a:lnTo>
                <a:lnTo>
                  <a:pt x="4" y="4"/>
                </a:lnTo>
                <a:lnTo>
                  <a:pt x="6" y="4"/>
                </a:lnTo>
                <a:lnTo>
                  <a:pt x="6" y="4"/>
                </a:lnTo>
                <a:lnTo>
                  <a:pt x="6" y="4"/>
                </a:lnTo>
                <a:lnTo>
                  <a:pt x="6" y="4"/>
                </a:lnTo>
                <a:lnTo>
                  <a:pt x="6" y="4"/>
                </a:lnTo>
                <a:lnTo>
                  <a:pt x="6" y="0"/>
                </a:lnTo>
                <a:lnTo>
                  <a:pt x="10" y="0"/>
                </a:lnTo>
                <a:lnTo>
                  <a:pt x="10" y="0"/>
                </a:lnTo>
                <a:lnTo>
                  <a:pt x="10" y="0"/>
                </a:lnTo>
                <a:lnTo>
                  <a:pt x="10" y="0"/>
                </a:lnTo>
                <a:lnTo>
                  <a:pt x="10" y="0"/>
                </a:lnTo>
                <a:lnTo>
                  <a:pt x="10" y="0"/>
                </a:lnTo>
                <a:lnTo>
                  <a:pt x="10" y="0"/>
                </a:lnTo>
                <a:lnTo>
                  <a:pt x="14" y="0"/>
                </a:lnTo>
                <a:lnTo>
                  <a:pt x="14" y="0"/>
                </a:lnTo>
                <a:lnTo>
                  <a:pt x="14" y="0"/>
                </a:lnTo>
                <a:lnTo>
                  <a:pt x="18" y="0"/>
                </a:lnTo>
                <a:lnTo>
                  <a:pt x="18" y="0"/>
                </a:lnTo>
                <a:lnTo>
                  <a:pt x="18" y="0"/>
                </a:lnTo>
                <a:lnTo>
                  <a:pt x="18" y="0"/>
                </a:lnTo>
                <a:lnTo>
                  <a:pt x="22" y="0"/>
                </a:lnTo>
                <a:lnTo>
                  <a:pt x="22" y="0"/>
                </a:lnTo>
                <a:lnTo>
                  <a:pt x="22" y="0"/>
                </a:lnTo>
                <a:lnTo>
                  <a:pt x="26" y="0"/>
                </a:lnTo>
                <a:lnTo>
                  <a:pt x="26" y="0"/>
                </a:lnTo>
                <a:lnTo>
                  <a:pt x="26" y="4"/>
                </a:lnTo>
                <a:lnTo>
                  <a:pt x="28" y="4"/>
                </a:lnTo>
                <a:lnTo>
                  <a:pt x="28" y="4"/>
                </a:lnTo>
                <a:lnTo>
                  <a:pt x="28" y="4"/>
                </a:lnTo>
                <a:lnTo>
                  <a:pt x="28" y="4"/>
                </a:lnTo>
                <a:lnTo>
                  <a:pt x="32" y="4"/>
                </a:lnTo>
                <a:lnTo>
                  <a:pt x="32" y="4"/>
                </a:lnTo>
                <a:lnTo>
                  <a:pt x="32" y="4"/>
                </a:lnTo>
                <a:lnTo>
                  <a:pt x="32" y="4"/>
                </a:lnTo>
                <a:lnTo>
                  <a:pt x="32" y="4"/>
                </a:lnTo>
                <a:lnTo>
                  <a:pt x="32" y="0"/>
                </a:lnTo>
                <a:lnTo>
                  <a:pt x="32" y="0"/>
                </a:lnTo>
                <a:lnTo>
                  <a:pt x="36" y="0"/>
                </a:lnTo>
                <a:lnTo>
                  <a:pt x="40" y="4"/>
                </a:lnTo>
                <a:lnTo>
                  <a:pt x="40" y="4"/>
                </a:lnTo>
                <a:lnTo>
                  <a:pt x="40" y="4"/>
                </a:lnTo>
                <a:lnTo>
                  <a:pt x="40" y="4"/>
                </a:lnTo>
                <a:lnTo>
                  <a:pt x="40" y="8"/>
                </a:lnTo>
                <a:lnTo>
                  <a:pt x="40" y="8"/>
                </a:lnTo>
                <a:lnTo>
                  <a:pt x="44" y="8"/>
                </a:lnTo>
                <a:lnTo>
                  <a:pt x="44" y="8"/>
                </a:lnTo>
                <a:lnTo>
                  <a:pt x="44" y="8"/>
                </a:lnTo>
                <a:lnTo>
                  <a:pt x="44" y="8"/>
                </a:lnTo>
                <a:lnTo>
                  <a:pt x="48" y="8"/>
                </a:lnTo>
                <a:lnTo>
                  <a:pt x="48" y="4"/>
                </a:lnTo>
                <a:lnTo>
                  <a:pt x="48" y="8"/>
                </a:lnTo>
                <a:lnTo>
                  <a:pt x="52" y="8"/>
                </a:lnTo>
                <a:lnTo>
                  <a:pt x="52" y="8"/>
                </a:lnTo>
                <a:lnTo>
                  <a:pt x="48" y="8"/>
                </a:lnTo>
                <a:lnTo>
                  <a:pt x="48" y="8"/>
                </a:lnTo>
                <a:lnTo>
                  <a:pt x="48" y="12"/>
                </a:lnTo>
                <a:lnTo>
                  <a:pt x="48" y="12"/>
                </a:lnTo>
                <a:lnTo>
                  <a:pt x="48" y="14"/>
                </a:lnTo>
                <a:lnTo>
                  <a:pt x="48" y="14"/>
                </a:lnTo>
                <a:lnTo>
                  <a:pt x="48" y="18"/>
                </a:lnTo>
                <a:lnTo>
                  <a:pt x="48" y="18"/>
                </a:lnTo>
                <a:lnTo>
                  <a:pt x="48" y="18"/>
                </a:lnTo>
                <a:lnTo>
                  <a:pt x="48" y="18"/>
                </a:lnTo>
                <a:lnTo>
                  <a:pt x="48" y="18"/>
                </a:lnTo>
                <a:lnTo>
                  <a:pt x="52" y="22"/>
                </a:lnTo>
                <a:lnTo>
                  <a:pt x="52" y="22"/>
                </a:lnTo>
                <a:lnTo>
                  <a:pt x="52" y="22"/>
                </a:lnTo>
                <a:lnTo>
                  <a:pt x="52" y="22"/>
                </a:lnTo>
                <a:lnTo>
                  <a:pt x="52" y="26"/>
                </a:lnTo>
                <a:lnTo>
                  <a:pt x="52" y="26"/>
                </a:lnTo>
                <a:lnTo>
                  <a:pt x="52" y="26"/>
                </a:lnTo>
                <a:lnTo>
                  <a:pt x="48" y="26"/>
                </a:lnTo>
                <a:lnTo>
                  <a:pt x="48" y="22"/>
                </a:lnTo>
                <a:lnTo>
                  <a:pt x="48" y="22"/>
                </a:lnTo>
                <a:lnTo>
                  <a:pt x="48" y="26"/>
                </a:lnTo>
                <a:lnTo>
                  <a:pt x="48" y="26"/>
                </a:lnTo>
                <a:lnTo>
                  <a:pt x="52" y="26"/>
                </a:lnTo>
                <a:lnTo>
                  <a:pt x="52" y="30"/>
                </a:lnTo>
                <a:lnTo>
                  <a:pt x="52" y="30"/>
                </a:lnTo>
                <a:lnTo>
                  <a:pt x="52" y="30"/>
                </a:lnTo>
                <a:lnTo>
                  <a:pt x="52" y="30"/>
                </a:lnTo>
                <a:lnTo>
                  <a:pt x="52" y="30"/>
                </a:lnTo>
                <a:lnTo>
                  <a:pt x="52" y="34"/>
                </a:lnTo>
                <a:lnTo>
                  <a:pt x="52" y="34"/>
                </a:lnTo>
                <a:lnTo>
                  <a:pt x="52" y="34"/>
                </a:lnTo>
                <a:lnTo>
                  <a:pt x="48" y="34"/>
                </a:lnTo>
                <a:lnTo>
                  <a:pt x="48" y="34"/>
                </a:lnTo>
                <a:lnTo>
                  <a:pt x="48" y="34"/>
                </a:lnTo>
                <a:lnTo>
                  <a:pt x="44" y="34"/>
                </a:lnTo>
                <a:lnTo>
                  <a:pt x="44" y="34"/>
                </a:lnTo>
                <a:lnTo>
                  <a:pt x="44" y="34"/>
                </a:lnTo>
                <a:lnTo>
                  <a:pt x="44" y="34"/>
                </a:lnTo>
                <a:lnTo>
                  <a:pt x="44" y="34"/>
                </a:lnTo>
                <a:lnTo>
                  <a:pt x="44" y="34"/>
                </a:lnTo>
                <a:lnTo>
                  <a:pt x="44" y="38"/>
                </a:lnTo>
                <a:lnTo>
                  <a:pt x="44" y="38"/>
                </a:lnTo>
                <a:lnTo>
                  <a:pt x="44" y="38"/>
                </a:lnTo>
                <a:lnTo>
                  <a:pt x="44" y="38"/>
                </a:lnTo>
                <a:lnTo>
                  <a:pt x="44" y="38"/>
                </a:lnTo>
                <a:lnTo>
                  <a:pt x="44" y="38"/>
                </a:lnTo>
                <a:lnTo>
                  <a:pt x="44" y="38"/>
                </a:lnTo>
                <a:lnTo>
                  <a:pt x="44" y="38"/>
                </a:lnTo>
                <a:lnTo>
                  <a:pt x="40" y="38"/>
                </a:lnTo>
                <a:lnTo>
                  <a:pt x="40" y="38"/>
                </a:lnTo>
                <a:lnTo>
                  <a:pt x="40" y="40"/>
                </a:lnTo>
                <a:lnTo>
                  <a:pt x="40" y="40"/>
                </a:lnTo>
                <a:lnTo>
                  <a:pt x="40" y="40"/>
                </a:lnTo>
                <a:lnTo>
                  <a:pt x="40" y="40"/>
                </a:lnTo>
                <a:lnTo>
                  <a:pt x="40" y="44"/>
                </a:lnTo>
                <a:lnTo>
                  <a:pt x="36" y="44"/>
                </a:lnTo>
                <a:lnTo>
                  <a:pt x="36" y="44"/>
                </a:lnTo>
                <a:lnTo>
                  <a:pt x="36" y="44"/>
                </a:lnTo>
                <a:lnTo>
                  <a:pt x="36" y="44"/>
                </a:lnTo>
                <a:lnTo>
                  <a:pt x="36" y="48"/>
                </a:lnTo>
                <a:lnTo>
                  <a:pt x="36" y="48"/>
                </a:lnTo>
                <a:lnTo>
                  <a:pt x="36" y="48"/>
                </a:lnTo>
                <a:lnTo>
                  <a:pt x="36" y="48"/>
                </a:lnTo>
                <a:lnTo>
                  <a:pt x="36" y="52"/>
                </a:lnTo>
                <a:lnTo>
                  <a:pt x="36" y="52"/>
                </a:lnTo>
                <a:lnTo>
                  <a:pt x="36" y="52"/>
                </a:lnTo>
                <a:lnTo>
                  <a:pt x="36" y="52"/>
                </a:lnTo>
                <a:lnTo>
                  <a:pt x="36" y="52"/>
                </a:lnTo>
                <a:lnTo>
                  <a:pt x="36" y="52"/>
                </a:lnTo>
                <a:lnTo>
                  <a:pt x="36" y="52"/>
                </a:lnTo>
                <a:lnTo>
                  <a:pt x="36" y="52"/>
                </a:lnTo>
                <a:lnTo>
                  <a:pt x="32" y="52"/>
                </a:lnTo>
                <a:lnTo>
                  <a:pt x="32" y="52"/>
                </a:lnTo>
                <a:lnTo>
                  <a:pt x="32" y="52"/>
                </a:lnTo>
                <a:lnTo>
                  <a:pt x="32" y="48"/>
                </a:lnTo>
                <a:lnTo>
                  <a:pt x="28" y="48"/>
                </a:lnTo>
                <a:lnTo>
                  <a:pt x="28" y="48"/>
                </a:lnTo>
                <a:lnTo>
                  <a:pt x="28" y="48"/>
                </a:lnTo>
                <a:lnTo>
                  <a:pt x="28" y="44"/>
                </a:lnTo>
                <a:lnTo>
                  <a:pt x="28" y="44"/>
                </a:lnTo>
                <a:lnTo>
                  <a:pt x="26" y="44"/>
                </a:lnTo>
                <a:lnTo>
                  <a:pt x="26" y="44"/>
                </a:lnTo>
                <a:lnTo>
                  <a:pt x="26" y="44"/>
                </a:lnTo>
                <a:lnTo>
                  <a:pt x="26" y="44"/>
                </a:lnTo>
                <a:lnTo>
                  <a:pt x="26" y="44"/>
                </a:lnTo>
                <a:lnTo>
                  <a:pt x="26" y="44"/>
                </a:lnTo>
                <a:close/>
              </a:path>
            </a:pathLst>
          </a:custGeom>
          <a:solidFill>
            <a:srgbClr val="A0DCFF"/>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86" name="Freeform 93"/>
          <p:cNvSpPr>
            <a:spLocks/>
          </p:cNvSpPr>
          <p:nvPr/>
        </p:nvSpPr>
        <p:spPr bwMode="auto">
          <a:xfrm>
            <a:off x="4633913" y="2750343"/>
            <a:ext cx="107156" cy="71438"/>
          </a:xfrm>
          <a:custGeom>
            <a:avLst/>
            <a:gdLst>
              <a:gd name="T0" fmla="*/ 8 w 90"/>
              <a:gd name="T1" fmla="*/ 52 h 60"/>
              <a:gd name="T2" fmla="*/ 8 w 90"/>
              <a:gd name="T3" fmla="*/ 48 h 60"/>
              <a:gd name="T4" fmla="*/ 0 w 90"/>
              <a:gd name="T5" fmla="*/ 40 h 60"/>
              <a:gd name="T6" fmla="*/ 4 w 90"/>
              <a:gd name="T7" fmla="*/ 38 h 60"/>
              <a:gd name="T8" fmla="*/ 0 w 90"/>
              <a:gd name="T9" fmla="*/ 30 h 60"/>
              <a:gd name="T10" fmla="*/ 8 w 90"/>
              <a:gd name="T11" fmla="*/ 22 h 60"/>
              <a:gd name="T12" fmla="*/ 8 w 90"/>
              <a:gd name="T13" fmla="*/ 20 h 60"/>
              <a:gd name="T14" fmla="*/ 0 w 90"/>
              <a:gd name="T15" fmla="*/ 12 h 60"/>
              <a:gd name="T16" fmla="*/ 4 w 90"/>
              <a:gd name="T17" fmla="*/ 0 h 60"/>
              <a:gd name="T18" fmla="*/ 8 w 90"/>
              <a:gd name="T19" fmla="*/ 4 h 60"/>
              <a:gd name="T20" fmla="*/ 8 w 90"/>
              <a:gd name="T21" fmla="*/ 4 h 60"/>
              <a:gd name="T22" fmla="*/ 8 w 90"/>
              <a:gd name="T23" fmla="*/ 8 h 60"/>
              <a:gd name="T24" fmla="*/ 12 w 90"/>
              <a:gd name="T25" fmla="*/ 8 h 60"/>
              <a:gd name="T26" fmla="*/ 16 w 90"/>
              <a:gd name="T27" fmla="*/ 8 h 60"/>
              <a:gd name="T28" fmla="*/ 26 w 90"/>
              <a:gd name="T29" fmla="*/ 12 h 60"/>
              <a:gd name="T30" fmla="*/ 26 w 90"/>
              <a:gd name="T31" fmla="*/ 12 h 60"/>
              <a:gd name="T32" fmla="*/ 30 w 90"/>
              <a:gd name="T33" fmla="*/ 12 h 60"/>
              <a:gd name="T34" fmla="*/ 34 w 90"/>
              <a:gd name="T35" fmla="*/ 12 h 60"/>
              <a:gd name="T36" fmla="*/ 42 w 90"/>
              <a:gd name="T37" fmla="*/ 12 h 60"/>
              <a:gd name="T38" fmla="*/ 46 w 90"/>
              <a:gd name="T39" fmla="*/ 12 h 60"/>
              <a:gd name="T40" fmla="*/ 54 w 90"/>
              <a:gd name="T41" fmla="*/ 8 h 60"/>
              <a:gd name="T42" fmla="*/ 56 w 90"/>
              <a:gd name="T43" fmla="*/ 4 h 60"/>
              <a:gd name="T44" fmla="*/ 64 w 90"/>
              <a:gd name="T45" fmla="*/ 4 h 60"/>
              <a:gd name="T46" fmla="*/ 68 w 90"/>
              <a:gd name="T47" fmla="*/ 4 h 60"/>
              <a:gd name="T48" fmla="*/ 76 w 90"/>
              <a:gd name="T49" fmla="*/ 4 h 60"/>
              <a:gd name="T50" fmla="*/ 80 w 90"/>
              <a:gd name="T51" fmla="*/ 8 h 60"/>
              <a:gd name="T52" fmla="*/ 80 w 90"/>
              <a:gd name="T53" fmla="*/ 8 h 60"/>
              <a:gd name="T54" fmla="*/ 86 w 90"/>
              <a:gd name="T55" fmla="*/ 12 h 60"/>
              <a:gd name="T56" fmla="*/ 90 w 90"/>
              <a:gd name="T57" fmla="*/ 16 h 60"/>
              <a:gd name="T58" fmla="*/ 86 w 90"/>
              <a:gd name="T59" fmla="*/ 20 h 60"/>
              <a:gd name="T60" fmla="*/ 82 w 90"/>
              <a:gd name="T61" fmla="*/ 16 h 60"/>
              <a:gd name="T62" fmla="*/ 80 w 90"/>
              <a:gd name="T63" fmla="*/ 22 h 60"/>
              <a:gd name="T64" fmla="*/ 80 w 90"/>
              <a:gd name="T65" fmla="*/ 26 h 60"/>
              <a:gd name="T66" fmla="*/ 76 w 90"/>
              <a:gd name="T67" fmla="*/ 30 h 60"/>
              <a:gd name="T68" fmla="*/ 72 w 90"/>
              <a:gd name="T69" fmla="*/ 38 h 60"/>
              <a:gd name="T70" fmla="*/ 76 w 90"/>
              <a:gd name="T71" fmla="*/ 40 h 60"/>
              <a:gd name="T72" fmla="*/ 80 w 90"/>
              <a:gd name="T73" fmla="*/ 44 h 60"/>
              <a:gd name="T74" fmla="*/ 80 w 90"/>
              <a:gd name="T75" fmla="*/ 44 h 60"/>
              <a:gd name="T76" fmla="*/ 72 w 90"/>
              <a:gd name="T77" fmla="*/ 44 h 60"/>
              <a:gd name="T78" fmla="*/ 68 w 90"/>
              <a:gd name="T79" fmla="*/ 40 h 60"/>
              <a:gd name="T80" fmla="*/ 60 w 90"/>
              <a:gd name="T81" fmla="*/ 44 h 60"/>
              <a:gd name="T82" fmla="*/ 56 w 90"/>
              <a:gd name="T83" fmla="*/ 48 h 60"/>
              <a:gd name="T84" fmla="*/ 56 w 90"/>
              <a:gd name="T85" fmla="*/ 52 h 60"/>
              <a:gd name="T86" fmla="*/ 54 w 90"/>
              <a:gd name="T87" fmla="*/ 52 h 60"/>
              <a:gd name="T88" fmla="*/ 54 w 90"/>
              <a:gd name="T89" fmla="*/ 56 h 60"/>
              <a:gd name="T90" fmla="*/ 46 w 90"/>
              <a:gd name="T91" fmla="*/ 60 h 60"/>
              <a:gd name="T92" fmla="*/ 42 w 90"/>
              <a:gd name="T93" fmla="*/ 60 h 60"/>
              <a:gd name="T94" fmla="*/ 34 w 90"/>
              <a:gd name="T95" fmla="*/ 56 h 60"/>
              <a:gd name="T96" fmla="*/ 26 w 90"/>
              <a:gd name="T97" fmla="*/ 52 h 60"/>
              <a:gd name="T98" fmla="*/ 24 w 90"/>
              <a:gd name="T99" fmla="*/ 56 h 60"/>
              <a:gd name="T100" fmla="*/ 20 w 90"/>
              <a:gd name="T101" fmla="*/ 56 h 60"/>
              <a:gd name="T102" fmla="*/ 12 w 90"/>
              <a:gd name="T103" fmla="*/ 56 h 60"/>
              <a:gd name="T104" fmla="*/ 8 w 90"/>
              <a:gd name="T105"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 h="60">
                <a:moveTo>
                  <a:pt x="8" y="56"/>
                </a:moveTo>
                <a:lnTo>
                  <a:pt x="8" y="56"/>
                </a:lnTo>
                <a:lnTo>
                  <a:pt x="8" y="56"/>
                </a:lnTo>
                <a:lnTo>
                  <a:pt x="8" y="56"/>
                </a:lnTo>
                <a:lnTo>
                  <a:pt x="8" y="52"/>
                </a:lnTo>
                <a:lnTo>
                  <a:pt x="8" y="52"/>
                </a:lnTo>
                <a:lnTo>
                  <a:pt x="8" y="52"/>
                </a:lnTo>
                <a:lnTo>
                  <a:pt x="8" y="52"/>
                </a:lnTo>
                <a:lnTo>
                  <a:pt x="8" y="48"/>
                </a:lnTo>
                <a:lnTo>
                  <a:pt x="8" y="48"/>
                </a:lnTo>
                <a:lnTo>
                  <a:pt x="8" y="48"/>
                </a:lnTo>
                <a:lnTo>
                  <a:pt x="8" y="48"/>
                </a:lnTo>
                <a:lnTo>
                  <a:pt x="8" y="48"/>
                </a:lnTo>
                <a:lnTo>
                  <a:pt x="8" y="44"/>
                </a:lnTo>
                <a:lnTo>
                  <a:pt x="8" y="44"/>
                </a:lnTo>
                <a:lnTo>
                  <a:pt x="4" y="44"/>
                </a:lnTo>
                <a:lnTo>
                  <a:pt x="4" y="40"/>
                </a:lnTo>
                <a:lnTo>
                  <a:pt x="0" y="40"/>
                </a:lnTo>
                <a:lnTo>
                  <a:pt x="0" y="40"/>
                </a:lnTo>
                <a:lnTo>
                  <a:pt x="0" y="38"/>
                </a:lnTo>
                <a:lnTo>
                  <a:pt x="0" y="38"/>
                </a:lnTo>
                <a:lnTo>
                  <a:pt x="0" y="38"/>
                </a:lnTo>
                <a:lnTo>
                  <a:pt x="0" y="38"/>
                </a:lnTo>
                <a:lnTo>
                  <a:pt x="4" y="38"/>
                </a:lnTo>
                <a:lnTo>
                  <a:pt x="4" y="34"/>
                </a:lnTo>
                <a:lnTo>
                  <a:pt x="4" y="34"/>
                </a:lnTo>
                <a:lnTo>
                  <a:pt x="0" y="34"/>
                </a:lnTo>
                <a:lnTo>
                  <a:pt x="0" y="34"/>
                </a:lnTo>
                <a:lnTo>
                  <a:pt x="0" y="34"/>
                </a:lnTo>
                <a:lnTo>
                  <a:pt x="0" y="30"/>
                </a:lnTo>
                <a:lnTo>
                  <a:pt x="0" y="26"/>
                </a:lnTo>
                <a:lnTo>
                  <a:pt x="4" y="26"/>
                </a:lnTo>
                <a:lnTo>
                  <a:pt x="4" y="26"/>
                </a:lnTo>
                <a:lnTo>
                  <a:pt x="4" y="26"/>
                </a:lnTo>
                <a:lnTo>
                  <a:pt x="4" y="26"/>
                </a:lnTo>
                <a:lnTo>
                  <a:pt x="8" y="22"/>
                </a:lnTo>
                <a:lnTo>
                  <a:pt x="8" y="22"/>
                </a:lnTo>
                <a:lnTo>
                  <a:pt x="8" y="22"/>
                </a:lnTo>
                <a:lnTo>
                  <a:pt x="8" y="22"/>
                </a:lnTo>
                <a:lnTo>
                  <a:pt x="8" y="22"/>
                </a:lnTo>
                <a:lnTo>
                  <a:pt x="8" y="20"/>
                </a:lnTo>
                <a:lnTo>
                  <a:pt x="8" y="20"/>
                </a:lnTo>
                <a:lnTo>
                  <a:pt x="4" y="20"/>
                </a:lnTo>
                <a:lnTo>
                  <a:pt x="4" y="20"/>
                </a:lnTo>
                <a:lnTo>
                  <a:pt x="4" y="20"/>
                </a:lnTo>
                <a:lnTo>
                  <a:pt x="4" y="16"/>
                </a:lnTo>
                <a:lnTo>
                  <a:pt x="4" y="16"/>
                </a:lnTo>
                <a:lnTo>
                  <a:pt x="0" y="12"/>
                </a:lnTo>
                <a:lnTo>
                  <a:pt x="0" y="8"/>
                </a:lnTo>
                <a:lnTo>
                  <a:pt x="0" y="4"/>
                </a:lnTo>
                <a:lnTo>
                  <a:pt x="4" y="4"/>
                </a:lnTo>
                <a:lnTo>
                  <a:pt x="4" y="4"/>
                </a:lnTo>
                <a:lnTo>
                  <a:pt x="4" y="4"/>
                </a:lnTo>
                <a:lnTo>
                  <a:pt x="4" y="0"/>
                </a:lnTo>
                <a:lnTo>
                  <a:pt x="4" y="0"/>
                </a:lnTo>
                <a:lnTo>
                  <a:pt x="4" y="0"/>
                </a:lnTo>
                <a:lnTo>
                  <a:pt x="4" y="0"/>
                </a:lnTo>
                <a:lnTo>
                  <a:pt x="8" y="4"/>
                </a:lnTo>
                <a:lnTo>
                  <a:pt x="8" y="4"/>
                </a:lnTo>
                <a:lnTo>
                  <a:pt x="8" y="4"/>
                </a:lnTo>
                <a:lnTo>
                  <a:pt x="8" y="4"/>
                </a:lnTo>
                <a:lnTo>
                  <a:pt x="8" y="4"/>
                </a:lnTo>
                <a:lnTo>
                  <a:pt x="8" y="4"/>
                </a:lnTo>
                <a:lnTo>
                  <a:pt x="8" y="4"/>
                </a:lnTo>
                <a:lnTo>
                  <a:pt x="8" y="4"/>
                </a:lnTo>
                <a:lnTo>
                  <a:pt x="8" y="4"/>
                </a:lnTo>
                <a:lnTo>
                  <a:pt x="8" y="4"/>
                </a:lnTo>
                <a:lnTo>
                  <a:pt x="8" y="8"/>
                </a:lnTo>
                <a:lnTo>
                  <a:pt x="8" y="8"/>
                </a:lnTo>
                <a:lnTo>
                  <a:pt x="8" y="8"/>
                </a:lnTo>
                <a:lnTo>
                  <a:pt x="8" y="8"/>
                </a:lnTo>
                <a:lnTo>
                  <a:pt x="8" y="8"/>
                </a:lnTo>
                <a:lnTo>
                  <a:pt x="12" y="8"/>
                </a:lnTo>
                <a:lnTo>
                  <a:pt x="12" y="8"/>
                </a:lnTo>
                <a:lnTo>
                  <a:pt x="12" y="8"/>
                </a:lnTo>
                <a:lnTo>
                  <a:pt x="12" y="8"/>
                </a:lnTo>
                <a:lnTo>
                  <a:pt x="12" y="8"/>
                </a:lnTo>
                <a:lnTo>
                  <a:pt x="12" y="8"/>
                </a:lnTo>
                <a:lnTo>
                  <a:pt x="12" y="8"/>
                </a:lnTo>
                <a:lnTo>
                  <a:pt x="16" y="8"/>
                </a:lnTo>
                <a:lnTo>
                  <a:pt x="16" y="8"/>
                </a:lnTo>
                <a:lnTo>
                  <a:pt x="16" y="8"/>
                </a:lnTo>
                <a:lnTo>
                  <a:pt x="16" y="8"/>
                </a:lnTo>
                <a:lnTo>
                  <a:pt x="16" y="8"/>
                </a:lnTo>
                <a:lnTo>
                  <a:pt x="20" y="8"/>
                </a:lnTo>
                <a:lnTo>
                  <a:pt x="20" y="12"/>
                </a:lnTo>
                <a:lnTo>
                  <a:pt x="20" y="12"/>
                </a:lnTo>
                <a:lnTo>
                  <a:pt x="24" y="12"/>
                </a:lnTo>
                <a:lnTo>
                  <a:pt x="24" y="12"/>
                </a:lnTo>
                <a:lnTo>
                  <a:pt x="26" y="12"/>
                </a:lnTo>
                <a:lnTo>
                  <a:pt x="26" y="12"/>
                </a:lnTo>
                <a:lnTo>
                  <a:pt x="26" y="12"/>
                </a:lnTo>
                <a:lnTo>
                  <a:pt x="26" y="12"/>
                </a:lnTo>
                <a:lnTo>
                  <a:pt x="26" y="12"/>
                </a:lnTo>
                <a:lnTo>
                  <a:pt x="26" y="12"/>
                </a:lnTo>
                <a:lnTo>
                  <a:pt x="26" y="12"/>
                </a:lnTo>
                <a:lnTo>
                  <a:pt x="26" y="12"/>
                </a:lnTo>
                <a:lnTo>
                  <a:pt x="26" y="12"/>
                </a:lnTo>
                <a:lnTo>
                  <a:pt x="30" y="12"/>
                </a:lnTo>
                <a:lnTo>
                  <a:pt x="30" y="12"/>
                </a:lnTo>
                <a:lnTo>
                  <a:pt x="30" y="12"/>
                </a:lnTo>
                <a:lnTo>
                  <a:pt x="30" y="12"/>
                </a:lnTo>
                <a:lnTo>
                  <a:pt x="30" y="12"/>
                </a:lnTo>
                <a:lnTo>
                  <a:pt x="30" y="12"/>
                </a:lnTo>
                <a:lnTo>
                  <a:pt x="30" y="12"/>
                </a:lnTo>
                <a:lnTo>
                  <a:pt x="34" y="12"/>
                </a:lnTo>
                <a:lnTo>
                  <a:pt x="34" y="12"/>
                </a:lnTo>
                <a:lnTo>
                  <a:pt x="34" y="12"/>
                </a:lnTo>
                <a:lnTo>
                  <a:pt x="34" y="12"/>
                </a:lnTo>
                <a:lnTo>
                  <a:pt x="38" y="12"/>
                </a:lnTo>
                <a:lnTo>
                  <a:pt x="42" y="12"/>
                </a:lnTo>
                <a:lnTo>
                  <a:pt x="42" y="12"/>
                </a:lnTo>
                <a:lnTo>
                  <a:pt x="42" y="12"/>
                </a:lnTo>
                <a:lnTo>
                  <a:pt x="42" y="12"/>
                </a:lnTo>
                <a:lnTo>
                  <a:pt x="42" y="12"/>
                </a:lnTo>
                <a:lnTo>
                  <a:pt x="46" y="12"/>
                </a:lnTo>
                <a:lnTo>
                  <a:pt x="46" y="12"/>
                </a:lnTo>
                <a:lnTo>
                  <a:pt x="46" y="12"/>
                </a:lnTo>
                <a:lnTo>
                  <a:pt x="46" y="12"/>
                </a:lnTo>
                <a:lnTo>
                  <a:pt x="46" y="12"/>
                </a:lnTo>
                <a:lnTo>
                  <a:pt x="50" y="12"/>
                </a:lnTo>
                <a:lnTo>
                  <a:pt x="50" y="12"/>
                </a:lnTo>
                <a:lnTo>
                  <a:pt x="50" y="12"/>
                </a:lnTo>
                <a:lnTo>
                  <a:pt x="50" y="12"/>
                </a:lnTo>
                <a:lnTo>
                  <a:pt x="50" y="8"/>
                </a:lnTo>
                <a:lnTo>
                  <a:pt x="54" y="8"/>
                </a:lnTo>
                <a:lnTo>
                  <a:pt x="54" y="8"/>
                </a:lnTo>
                <a:lnTo>
                  <a:pt x="54" y="8"/>
                </a:lnTo>
                <a:lnTo>
                  <a:pt x="56" y="4"/>
                </a:lnTo>
                <a:lnTo>
                  <a:pt x="56" y="4"/>
                </a:lnTo>
                <a:lnTo>
                  <a:pt x="56" y="4"/>
                </a:lnTo>
                <a:lnTo>
                  <a:pt x="56" y="4"/>
                </a:lnTo>
                <a:lnTo>
                  <a:pt x="56" y="4"/>
                </a:lnTo>
                <a:lnTo>
                  <a:pt x="60" y="4"/>
                </a:lnTo>
                <a:lnTo>
                  <a:pt x="64" y="4"/>
                </a:lnTo>
                <a:lnTo>
                  <a:pt x="64" y="4"/>
                </a:lnTo>
                <a:lnTo>
                  <a:pt x="64" y="4"/>
                </a:lnTo>
                <a:lnTo>
                  <a:pt x="64" y="4"/>
                </a:lnTo>
                <a:lnTo>
                  <a:pt x="68" y="4"/>
                </a:lnTo>
                <a:lnTo>
                  <a:pt x="68" y="4"/>
                </a:lnTo>
                <a:lnTo>
                  <a:pt x="68" y="4"/>
                </a:lnTo>
                <a:lnTo>
                  <a:pt x="68" y="4"/>
                </a:lnTo>
                <a:lnTo>
                  <a:pt x="68" y="4"/>
                </a:lnTo>
                <a:lnTo>
                  <a:pt x="68" y="4"/>
                </a:lnTo>
                <a:lnTo>
                  <a:pt x="68" y="4"/>
                </a:lnTo>
                <a:lnTo>
                  <a:pt x="72" y="4"/>
                </a:lnTo>
                <a:lnTo>
                  <a:pt x="72" y="4"/>
                </a:lnTo>
                <a:lnTo>
                  <a:pt x="72" y="4"/>
                </a:lnTo>
                <a:lnTo>
                  <a:pt x="72" y="4"/>
                </a:lnTo>
                <a:lnTo>
                  <a:pt x="76" y="4"/>
                </a:lnTo>
                <a:lnTo>
                  <a:pt x="76" y="4"/>
                </a:lnTo>
                <a:lnTo>
                  <a:pt x="76" y="4"/>
                </a:lnTo>
                <a:lnTo>
                  <a:pt x="76" y="4"/>
                </a:lnTo>
                <a:lnTo>
                  <a:pt x="76" y="8"/>
                </a:lnTo>
                <a:lnTo>
                  <a:pt x="76" y="8"/>
                </a:lnTo>
                <a:lnTo>
                  <a:pt x="80" y="8"/>
                </a:lnTo>
                <a:lnTo>
                  <a:pt x="80" y="8"/>
                </a:lnTo>
                <a:lnTo>
                  <a:pt x="80" y="8"/>
                </a:lnTo>
                <a:lnTo>
                  <a:pt x="80" y="4"/>
                </a:lnTo>
                <a:lnTo>
                  <a:pt x="80" y="8"/>
                </a:lnTo>
                <a:lnTo>
                  <a:pt x="80" y="8"/>
                </a:lnTo>
                <a:lnTo>
                  <a:pt x="80" y="8"/>
                </a:lnTo>
                <a:lnTo>
                  <a:pt x="80" y="8"/>
                </a:lnTo>
                <a:lnTo>
                  <a:pt x="82" y="8"/>
                </a:lnTo>
                <a:lnTo>
                  <a:pt x="82" y="12"/>
                </a:lnTo>
                <a:lnTo>
                  <a:pt x="82" y="12"/>
                </a:lnTo>
                <a:lnTo>
                  <a:pt x="82" y="12"/>
                </a:lnTo>
                <a:lnTo>
                  <a:pt x="86" y="12"/>
                </a:lnTo>
                <a:lnTo>
                  <a:pt x="86" y="12"/>
                </a:lnTo>
                <a:lnTo>
                  <a:pt x="86" y="12"/>
                </a:lnTo>
                <a:lnTo>
                  <a:pt x="86" y="12"/>
                </a:lnTo>
                <a:lnTo>
                  <a:pt x="86" y="12"/>
                </a:lnTo>
                <a:lnTo>
                  <a:pt x="86" y="16"/>
                </a:lnTo>
                <a:lnTo>
                  <a:pt x="90" y="16"/>
                </a:lnTo>
                <a:lnTo>
                  <a:pt x="90" y="16"/>
                </a:lnTo>
                <a:lnTo>
                  <a:pt x="90" y="16"/>
                </a:lnTo>
                <a:lnTo>
                  <a:pt x="86" y="16"/>
                </a:lnTo>
                <a:lnTo>
                  <a:pt x="86" y="16"/>
                </a:lnTo>
                <a:lnTo>
                  <a:pt x="86" y="16"/>
                </a:lnTo>
                <a:lnTo>
                  <a:pt x="86" y="20"/>
                </a:lnTo>
                <a:lnTo>
                  <a:pt x="86" y="20"/>
                </a:lnTo>
                <a:lnTo>
                  <a:pt x="86" y="20"/>
                </a:lnTo>
                <a:lnTo>
                  <a:pt x="86" y="20"/>
                </a:lnTo>
                <a:lnTo>
                  <a:pt x="86" y="20"/>
                </a:lnTo>
                <a:lnTo>
                  <a:pt x="86" y="16"/>
                </a:lnTo>
                <a:lnTo>
                  <a:pt x="82" y="16"/>
                </a:lnTo>
                <a:lnTo>
                  <a:pt x="82" y="20"/>
                </a:lnTo>
                <a:lnTo>
                  <a:pt x="82" y="20"/>
                </a:lnTo>
                <a:lnTo>
                  <a:pt x="82" y="20"/>
                </a:lnTo>
                <a:lnTo>
                  <a:pt x="82" y="20"/>
                </a:lnTo>
                <a:lnTo>
                  <a:pt x="80" y="20"/>
                </a:lnTo>
                <a:lnTo>
                  <a:pt x="80" y="22"/>
                </a:lnTo>
                <a:lnTo>
                  <a:pt x="80" y="22"/>
                </a:lnTo>
                <a:lnTo>
                  <a:pt x="80" y="26"/>
                </a:lnTo>
                <a:lnTo>
                  <a:pt x="80" y="26"/>
                </a:lnTo>
                <a:lnTo>
                  <a:pt x="80" y="26"/>
                </a:lnTo>
                <a:lnTo>
                  <a:pt x="80" y="26"/>
                </a:lnTo>
                <a:lnTo>
                  <a:pt x="80" y="26"/>
                </a:lnTo>
                <a:lnTo>
                  <a:pt x="80" y="30"/>
                </a:lnTo>
                <a:lnTo>
                  <a:pt x="80" y="30"/>
                </a:lnTo>
                <a:lnTo>
                  <a:pt x="80" y="30"/>
                </a:lnTo>
                <a:lnTo>
                  <a:pt x="80" y="30"/>
                </a:lnTo>
                <a:lnTo>
                  <a:pt x="76" y="30"/>
                </a:lnTo>
                <a:lnTo>
                  <a:pt x="76" y="30"/>
                </a:lnTo>
                <a:lnTo>
                  <a:pt x="76" y="34"/>
                </a:lnTo>
                <a:lnTo>
                  <a:pt x="72" y="34"/>
                </a:lnTo>
                <a:lnTo>
                  <a:pt x="72" y="34"/>
                </a:lnTo>
                <a:lnTo>
                  <a:pt x="72" y="38"/>
                </a:lnTo>
                <a:lnTo>
                  <a:pt x="72" y="38"/>
                </a:lnTo>
                <a:lnTo>
                  <a:pt x="72" y="38"/>
                </a:lnTo>
                <a:lnTo>
                  <a:pt x="76" y="38"/>
                </a:lnTo>
                <a:lnTo>
                  <a:pt x="76" y="38"/>
                </a:lnTo>
                <a:lnTo>
                  <a:pt x="76" y="38"/>
                </a:lnTo>
                <a:lnTo>
                  <a:pt x="76" y="38"/>
                </a:lnTo>
                <a:lnTo>
                  <a:pt x="76" y="38"/>
                </a:lnTo>
                <a:lnTo>
                  <a:pt x="76" y="40"/>
                </a:lnTo>
                <a:lnTo>
                  <a:pt x="76" y="40"/>
                </a:lnTo>
                <a:lnTo>
                  <a:pt x="80" y="40"/>
                </a:lnTo>
                <a:lnTo>
                  <a:pt x="80" y="40"/>
                </a:lnTo>
                <a:lnTo>
                  <a:pt x="80" y="40"/>
                </a:lnTo>
                <a:lnTo>
                  <a:pt x="80" y="44"/>
                </a:lnTo>
                <a:lnTo>
                  <a:pt x="80" y="44"/>
                </a:lnTo>
                <a:lnTo>
                  <a:pt x="80" y="44"/>
                </a:lnTo>
                <a:lnTo>
                  <a:pt x="80" y="44"/>
                </a:lnTo>
                <a:lnTo>
                  <a:pt x="80" y="44"/>
                </a:lnTo>
                <a:lnTo>
                  <a:pt x="80" y="44"/>
                </a:lnTo>
                <a:lnTo>
                  <a:pt x="80" y="44"/>
                </a:lnTo>
                <a:lnTo>
                  <a:pt x="80" y="44"/>
                </a:lnTo>
                <a:lnTo>
                  <a:pt x="76" y="44"/>
                </a:lnTo>
                <a:lnTo>
                  <a:pt x="76" y="44"/>
                </a:lnTo>
                <a:lnTo>
                  <a:pt x="76" y="44"/>
                </a:lnTo>
                <a:lnTo>
                  <a:pt x="76" y="44"/>
                </a:lnTo>
                <a:lnTo>
                  <a:pt x="72" y="44"/>
                </a:lnTo>
                <a:lnTo>
                  <a:pt x="72" y="44"/>
                </a:lnTo>
                <a:lnTo>
                  <a:pt x="72" y="44"/>
                </a:lnTo>
                <a:lnTo>
                  <a:pt x="72" y="44"/>
                </a:lnTo>
                <a:lnTo>
                  <a:pt x="72" y="44"/>
                </a:lnTo>
                <a:lnTo>
                  <a:pt x="72" y="44"/>
                </a:lnTo>
                <a:lnTo>
                  <a:pt x="72" y="40"/>
                </a:lnTo>
                <a:lnTo>
                  <a:pt x="68" y="40"/>
                </a:lnTo>
                <a:lnTo>
                  <a:pt x="68" y="44"/>
                </a:lnTo>
                <a:lnTo>
                  <a:pt x="68" y="44"/>
                </a:lnTo>
                <a:lnTo>
                  <a:pt x="64" y="44"/>
                </a:lnTo>
                <a:lnTo>
                  <a:pt x="64" y="44"/>
                </a:lnTo>
                <a:lnTo>
                  <a:pt x="60" y="44"/>
                </a:lnTo>
                <a:lnTo>
                  <a:pt x="60" y="44"/>
                </a:lnTo>
                <a:lnTo>
                  <a:pt x="60" y="48"/>
                </a:lnTo>
                <a:lnTo>
                  <a:pt x="60" y="48"/>
                </a:lnTo>
                <a:lnTo>
                  <a:pt x="60" y="48"/>
                </a:lnTo>
                <a:lnTo>
                  <a:pt x="60" y="48"/>
                </a:lnTo>
                <a:lnTo>
                  <a:pt x="56" y="48"/>
                </a:lnTo>
                <a:lnTo>
                  <a:pt x="56" y="48"/>
                </a:lnTo>
                <a:lnTo>
                  <a:pt x="56" y="48"/>
                </a:lnTo>
                <a:lnTo>
                  <a:pt x="56" y="48"/>
                </a:lnTo>
                <a:lnTo>
                  <a:pt x="56" y="48"/>
                </a:lnTo>
                <a:lnTo>
                  <a:pt x="56" y="48"/>
                </a:lnTo>
                <a:lnTo>
                  <a:pt x="56" y="52"/>
                </a:lnTo>
                <a:lnTo>
                  <a:pt x="56" y="52"/>
                </a:lnTo>
                <a:lnTo>
                  <a:pt x="56" y="52"/>
                </a:lnTo>
                <a:lnTo>
                  <a:pt x="56" y="48"/>
                </a:lnTo>
                <a:lnTo>
                  <a:pt x="54" y="48"/>
                </a:lnTo>
                <a:lnTo>
                  <a:pt x="54" y="48"/>
                </a:lnTo>
                <a:lnTo>
                  <a:pt x="54" y="52"/>
                </a:lnTo>
                <a:lnTo>
                  <a:pt x="54" y="52"/>
                </a:lnTo>
                <a:lnTo>
                  <a:pt x="54" y="52"/>
                </a:lnTo>
                <a:lnTo>
                  <a:pt x="54" y="52"/>
                </a:lnTo>
                <a:lnTo>
                  <a:pt x="54" y="52"/>
                </a:lnTo>
                <a:lnTo>
                  <a:pt x="54" y="52"/>
                </a:lnTo>
                <a:lnTo>
                  <a:pt x="54" y="56"/>
                </a:lnTo>
                <a:lnTo>
                  <a:pt x="54" y="56"/>
                </a:lnTo>
                <a:lnTo>
                  <a:pt x="54" y="60"/>
                </a:lnTo>
                <a:lnTo>
                  <a:pt x="50" y="60"/>
                </a:lnTo>
                <a:lnTo>
                  <a:pt x="50" y="60"/>
                </a:lnTo>
                <a:lnTo>
                  <a:pt x="50" y="56"/>
                </a:lnTo>
                <a:lnTo>
                  <a:pt x="46" y="60"/>
                </a:lnTo>
                <a:lnTo>
                  <a:pt x="46" y="60"/>
                </a:lnTo>
                <a:lnTo>
                  <a:pt x="46" y="60"/>
                </a:lnTo>
                <a:lnTo>
                  <a:pt x="42" y="60"/>
                </a:lnTo>
                <a:lnTo>
                  <a:pt x="42" y="60"/>
                </a:lnTo>
                <a:lnTo>
                  <a:pt x="42" y="60"/>
                </a:lnTo>
                <a:lnTo>
                  <a:pt x="42" y="60"/>
                </a:lnTo>
                <a:lnTo>
                  <a:pt x="42" y="60"/>
                </a:lnTo>
                <a:lnTo>
                  <a:pt x="38" y="60"/>
                </a:lnTo>
                <a:lnTo>
                  <a:pt x="38" y="56"/>
                </a:lnTo>
                <a:lnTo>
                  <a:pt x="38" y="56"/>
                </a:lnTo>
                <a:lnTo>
                  <a:pt x="38" y="56"/>
                </a:lnTo>
                <a:lnTo>
                  <a:pt x="34" y="56"/>
                </a:lnTo>
                <a:lnTo>
                  <a:pt x="34" y="56"/>
                </a:lnTo>
                <a:lnTo>
                  <a:pt x="34" y="56"/>
                </a:lnTo>
                <a:lnTo>
                  <a:pt x="34" y="56"/>
                </a:lnTo>
                <a:lnTo>
                  <a:pt x="30" y="56"/>
                </a:lnTo>
                <a:lnTo>
                  <a:pt x="30" y="56"/>
                </a:lnTo>
                <a:lnTo>
                  <a:pt x="30" y="52"/>
                </a:lnTo>
                <a:lnTo>
                  <a:pt x="26" y="52"/>
                </a:lnTo>
                <a:lnTo>
                  <a:pt x="26" y="52"/>
                </a:lnTo>
                <a:lnTo>
                  <a:pt x="26" y="52"/>
                </a:lnTo>
                <a:lnTo>
                  <a:pt x="26" y="52"/>
                </a:lnTo>
                <a:lnTo>
                  <a:pt x="26" y="52"/>
                </a:lnTo>
                <a:lnTo>
                  <a:pt x="24" y="52"/>
                </a:lnTo>
                <a:lnTo>
                  <a:pt x="24" y="56"/>
                </a:lnTo>
                <a:lnTo>
                  <a:pt x="24" y="56"/>
                </a:lnTo>
                <a:lnTo>
                  <a:pt x="24" y="56"/>
                </a:lnTo>
                <a:lnTo>
                  <a:pt x="24" y="56"/>
                </a:lnTo>
                <a:lnTo>
                  <a:pt x="20" y="56"/>
                </a:lnTo>
                <a:lnTo>
                  <a:pt x="20" y="56"/>
                </a:lnTo>
                <a:lnTo>
                  <a:pt x="20" y="56"/>
                </a:lnTo>
                <a:lnTo>
                  <a:pt x="20" y="56"/>
                </a:lnTo>
                <a:lnTo>
                  <a:pt x="16" y="56"/>
                </a:lnTo>
                <a:lnTo>
                  <a:pt x="16" y="56"/>
                </a:lnTo>
                <a:lnTo>
                  <a:pt x="12" y="56"/>
                </a:lnTo>
                <a:lnTo>
                  <a:pt x="12" y="56"/>
                </a:lnTo>
                <a:lnTo>
                  <a:pt x="12" y="56"/>
                </a:lnTo>
                <a:lnTo>
                  <a:pt x="12" y="56"/>
                </a:lnTo>
                <a:lnTo>
                  <a:pt x="12" y="60"/>
                </a:lnTo>
                <a:lnTo>
                  <a:pt x="12" y="60"/>
                </a:lnTo>
                <a:lnTo>
                  <a:pt x="12" y="60"/>
                </a:lnTo>
                <a:lnTo>
                  <a:pt x="8" y="56"/>
                </a:lnTo>
                <a:lnTo>
                  <a:pt x="8" y="56"/>
                </a:lnTo>
                <a:lnTo>
                  <a:pt x="8" y="56"/>
                </a:lnTo>
                <a:lnTo>
                  <a:pt x="8" y="56"/>
                </a:lnTo>
                <a:close/>
              </a:path>
            </a:pathLst>
          </a:custGeom>
          <a:solidFill>
            <a:srgbClr val="A0DCFF"/>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87" name="Freeform 94"/>
          <p:cNvSpPr>
            <a:spLocks noEditPoints="1"/>
          </p:cNvSpPr>
          <p:nvPr/>
        </p:nvSpPr>
        <p:spPr bwMode="auto">
          <a:xfrm>
            <a:off x="4483894" y="2697956"/>
            <a:ext cx="102394" cy="95250"/>
          </a:xfrm>
          <a:custGeom>
            <a:avLst/>
            <a:gdLst>
              <a:gd name="T0" fmla="*/ 66 w 86"/>
              <a:gd name="T1" fmla="*/ 74 h 80"/>
              <a:gd name="T2" fmla="*/ 70 w 86"/>
              <a:gd name="T3" fmla="*/ 78 h 80"/>
              <a:gd name="T4" fmla="*/ 56 w 86"/>
              <a:gd name="T5" fmla="*/ 70 h 80"/>
              <a:gd name="T6" fmla="*/ 60 w 86"/>
              <a:gd name="T7" fmla="*/ 70 h 80"/>
              <a:gd name="T8" fmla="*/ 14 w 86"/>
              <a:gd name="T9" fmla="*/ 30 h 80"/>
              <a:gd name="T10" fmla="*/ 18 w 86"/>
              <a:gd name="T11" fmla="*/ 30 h 80"/>
              <a:gd name="T12" fmla="*/ 14 w 86"/>
              <a:gd name="T13" fmla="*/ 34 h 80"/>
              <a:gd name="T14" fmla="*/ 14 w 86"/>
              <a:gd name="T15" fmla="*/ 26 h 80"/>
              <a:gd name="T16" fmla="*/ 14 w 86"/>
              <a:gd name="T17" fmla="*/ 34 h 80"/>
              <a:gd name="T18" fmla="*/ 14 w 86"/>
              <a:gd name="T19" fmla="*/ 40 h 80"/>
              <a:gd name="T20" fmla="*/ 14 w 86"/>
              <a:gd name="T21" fmla="*/ 40 h 80"/>
              <a:gd name="T22" fmla="*/ 22 w 86"/>
              <a:gd name="T23" fmla="*/ 38 h 80"/>
              <a:gd name="T24" fmla="*/ 22 w 86"/>
              <a:gd name="T25" fmla="*/ 40 h 80"/>
              <a:gd name="T26" fmla="*/ 26 w 86"/>
              <a:gd name="T27" fmla="*/ 52 h 80"/>
              <a:gd name="T28" fmla="*/ 18 w 86"/>
              <a:gd name="T29" fmla="*/ 44 h 80"/>
              <a:gd name="T30" fmla="*/ 26 w 86"/>
              <a:gd name="T31" fmla="*/ 52 h 80"/>
              <a:gd name="T32" fmla="*/ 44 w 86"/>
              <a:gd name="T33" fmla="*/ 64 h 80"/>
              <a:gd name="T34" fmla="*/ 44 w 86"/>
              <a:gd name="T35" fmla="*/ 64 h 80"/>
              <a:gd name="T36" fmla="*/ 40 w 86"/>
              <a:gd name="T37" fmla="*/ 66 h 80"/>
              <a:gd name="T38" fmla="*/ 52 w 86"/>
              <a:gd name="T39" fmla="*/ 66 h 80"/>
              <a:gd name="T40" fmla="*/ 40 w 86"/>
              <a:gd name="T41" fmla="*/ 66 h 80"/>
              <a:gd name="T42" fmla="*/ 36 w 86"/>
              <a:gd name="T43" fmla="*/ 70 h 80"/>
              <a:gd name="T44" fmla="*/ 52 w 86"/>
              <a:gd name="T45" fmla="*/ 70 h 80"/>
              <a:gd name="T46" fmla="*/ 60 w 86"/>
              <a:gd name="T47" fmla="*/ 74 h 80"/>
              <a:gd name="T48" fmla="*/ 60 w 86"/>
              <a:gd name="T49" fmla="*/ 74 h 80"/>
              <a:gd name="T50" fmla="*/ 52 w 86"/>
              <a:gd name="T51" fmla="*/ 66 h 80"/>
              <a:gd name="T52" fmla="*/ 40 w 86"/>
              <a:gd name="T53" fmla="*/ 60 h 80"/>
              <a:gd name="T54" fmla="*/ 36 w 86"/>
              <a:gd name="T55" fmla="*/ 56 h 80"/>
              <a:gd name="T56" fmla="*/ 26 w 86"/>
              <a:gd name="T57" fmla="*/ 48 h 80"/>
              <a:gd name="T58" fmla="*/ 30 w 86"/>
              <a:gd name="T59" fmla="*/ 44 h 80"/>
              <a:gd name="T60" fmla="*/ 18 w 86"/>
              <a:gd name="T61" fmla="*/ 34 h 80"/>
              <a:gd name="T62" fmla="*/ 14 w 86"/>
              <a:gd name="T63" fmla="*/ 26 h 80"/>
              <a:gd name="T64" fmla="*/ 10 w 86"/>
              <a:gd name="T65" fmla="*/ 30 h 80"/>
              <a:gd name="T66" fmla="*/ 8 w 86"/>
              <a:gd name="T67" fmla="*/ 34 h 80"/>
              <a:gd name="T68" fmla="*/ 0 w 86"/>
              <a:gd name="T69" fmla="*/ 22 h 80"/>
              <a:gd name="T70" fmla="*/ 8 w 86"/>
              <a:gd name="T71" fmla="*/ 22 h 80"/>
              <a:gd name="T72" fmla="*/ 14 w 86"/>
              <a:gd name="T73" fmla="*/ 18 h 80"/>
              <a:gd name="T74" fmla="*/ 22 w 86"/>
              <a:gd name="T75" fmla="*/ 22 h 80"/>
              <a:gd name="T76" fmla="*/ 30 w 86"/>
              <a:gd name="T77" fmla="*/ 14 h 80"/>
              <a:gd name="T78" fmla="*/ 30 w 86"/>
              <a:gd name="T79" fmla="*/ 8 h 80"/>
              <a:gd name="T80" fmla="*/ 36 w 86"/>
              <a:gd name="T81" fmla="*/ 0 h 80"/>
              <a:gd name="T82" fmla="*/ 52 w 86"/>
              <a:gd name="T83" fmla="*/ 8 h 80"/>
              <a:gd name="T84" fmla="*/ 60 w 86"/>
              <a:gd name="T85" fmla="*/ 14 h 80"/>
              <a:gd name="T86" fmla="*/ 74 w 86"/>
              <a:gd name="T87" fmla="*/ 14 h 80"/>
              <a:gd name="T88" fmla="*/ 78 w 86"/>
              <a:gd name="T89" fmla="*/ 22 h 80"/>
              <a:gd name="T90" fmla="*/ 82 w 86"/>
              <a:gd name="T91" fmla="*/ 26 h 80"/>
              <a:gd name="T92" fmla="*/ 74 w 86"/>
              <a:gd name="T93" fmla="*/ 34 h 80"/>
              <a:gd name="T94" fmla="*/ 66 w 86"/>
              <a:gd name="T95" fmla="*/ 30 h 80"/>
              <a:gd name="T96" fmla="*/ 56 w 86"/>
              <a:gd name="T97" fmla="*/ 26 h 80"/>
              <a:gd name="T98" fmla="*/ 40 w 86"/>
              <a:gd name="T99" fmla="*/ 26 h 80"/>
              <a:gd name="T100" fmla="*/ 34 w 86"/>
              <a:gd name="T101" fmla="*/ 26 h 80"/>
              <a:gd name="T102" fmla="*/ 36 w 86"/>
              <a:gd name="T103" fmla="*/ 38 h 80"/>
              <a:gd name="T104" fmla="*/ 40 w 86"/>
              <a:gd name="T105" fmla="*/ 48 h 80"/>
              <a:gd name="T106" fmla="*/ 48 w 86"/>
              <a:gd name="T107" fmla="*/ 60 h 80"/>
              <a:gd name="T108" fmla="*/ 56 w 86"/>
              <a:gd name="T109" fmla="*/ 64 h 80"/>
              <a:gd name="T110" fmla="*/ 60 w 86"/>
              <a:gd name="T111" fmla="*/ 7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6" h="80">
                <a:moveTo>
                  <a:pt x="60" y="70"/>
                </a:moveTo>
                <a:lnTo>
                  <a:pt x="62" y="70"/>
                </a:lnTo>
                <a:lnTo>
                  <a:pt x="62" y="74"/>
                </a:lnTo>
                <a:lnTo>
                  <a:pt x="66" y="74"/>
                </a:lnTo>
                <a:lnTo>
                  <a:pt x="66" y="78"/>
                </a:lnTo>
                <a:lnTo>
                  <a:pt x="70" y="78"/>
                </a:lnTo>
                <a:lnTo>
                  <a:pt x="70" y="80"/>
                </a:lnTo>
                <a:lnTo>
                  <a:pt x="70" y="78"/>
                </a:lnTo>
                <a:lnTo>
                  <a:pt x="66" y="78"/>
                </a:lnTo>
                <a:lnTo>
                  <a:pt x="62" y="74"/>
                </a:lnTo>
                <a:lnTo>
                  <a:pt x="60" y="74"/>
                </a:lnTo>
                <a:lnTo>
                  <a:pt x="56" y="70"/>
                </a:lnTo>
                <a:lnTo>
                  <a:pt x="52" y="70"/>
                </a:lnTo>
                <a:lnTo>
                  <a:pt x="52" y="66"/>
                </a:lnTo>
                <a:lnTo>
                  <a:pt x="56" y="70"/>
                </a:lnTo>
                <a:lnTo>
                  <a:pt x="60" y="70"/>
                </a:lnTo>
                <a:lnTo>
                  <a:pt x="60" y="70"/>
                </a:lnTo>
                <a:lnTo>
                  <a:pt x="60" y="70"/>
                </a:lnTo>
                <a:close/>
                <a:moveTo>
                  <a:pt x="18" y="30"/>
                </a:moveTo>
                <a:lnTo>
                  <a:pt x="14" y="30"/>
                </a:lnTo>
                <a:lnTo>
                  <a:pt x="14" y="26"/>
                </a:lnTo>
                <a:lnTo>
                  <a:pt x="18" y="26"/>
                </a:lnTo>
                <a:lnTo>
                  <a:pt x="18" y="30"/>
                </a:lnTo>
                <a:lnTo>
                  <a:pt x="18" y="30"/>
                </a:lnTo>
                <a:lnTo>
                  <a:pt x="18" y="30"/>
                </a:lnTo>
                <a:close/>
                <a:moveTo>
                  <a:pt x="14" y="38"/>
                </a:moveTo>
                <a:lnTo>
                  <a:pt x="10" y="34"/>
                </a:lnTo>
                <a:lnTo>
                  <a:pt x="14" y="34"/>
                </a:lnTo>
                <a:lnTo>
                  <a:pt x="14" y="30"/>
                </a:lnTo>
                <a:lnTo>
                  <a:pt x="10" y="30"/>
                </a:lnTo>
                <a:lnTo>
                  <a:pt x="10" y="26"/>
                </a:lnTo>
                <a:lnTo>
                  <a:pt x="14" y="26"/>
                </a:lnTo>
                <a:lnTo>
                  <a:pt x="10" y="26"/>
                </a:lnTo>
                <a:lnTo>
                  <a:pt x="10" y="30"/>
                </a:lnTo>
                <a:lnTo>
                  <a:pt x="14" y="30"/>
                </a:lnTo>
                <a:lnTo>
                  <a:pt x="14" y="34"/>
                </a:lnTo>
                <a:lnTo>
                  <a:pt x="14" y="38"/>
                </a:lnTo>
                <a:lnTo>
                  <a:pt x="14" y="38"/>
                </a:lnTo>
                <a:lnTo>
                  <a:pt x="14" y="38"/>
                </a:lnTo>
                <a:close/>
                <a:moveTo>
                  <a:pt x="14" y="40"/>
                </a:moveTo>
                <a:lnTo>
                  <a:pt x="14" y="38"/>
                </a:lnTo>
                <a:lnTo>
                  <a:pt x="10" y="38"/>
                </a:lnTo>
                <a:lnTo>
                  <a:pt x="14" y="38"/>
                </a:lnTo>
                <a:lnTo>
                  <a:pt x="14" y="40"/>
                </a:lnTo>
                <a:lnTo>
                  <a:pt x="14" y="40"/>
                </a:lnTo>
                <a:lnTo>
                  <a:pt x="14" y="40"/>
                </a:lnTo>
                <a:close/>
                <a:moveTo>
                  <a:pt x="18" y="38"/>
                </a:moveTo>
                <a:lnTo>
                  <a:pt x="22" y="38"/>
                </a:lnTo>
                <a:lnTo>
                  <a:pt x="22" y="40"/>
                </a:lnTo>
                <a:lnTo>
                  <a:pt x="26" y="44"/>
                </a:lnTo>
                <a:lnTo>
                  <a:pt x="22" y="44"/>
                </a:lnTo>
                <a:lnTo>
                  <a:pt x="22" y="40"/>
                </a:lnTo>
                <a:lnTo>
                  <a:pt x="18" y="38"/>
                </a:lnTo>
                <a:lnTo>
                  <a:pt x="18" y="38"/>
                </a:lnTo>
                <a:lnTo>
                  <a:pt x="18" y="38"/>
                </a:lnTo>
                <a:close/>
                <a:moveTo>
                  <a:pt x="26" y="52"/>
                </a:moveTo>
                <a:lnTo>
                  <a:pt x="22" y="52"/>
                </a:lnTo>
                <a:lnTo>
                  <a:pt x="22" y="48"/>
                </a:lnTo>
                <a:lnTo>
                  <a:pt x="18" y="48"/>
                </a:lnTo>
                <a:lnTo>
                  <a:pt x="18" y="44"/>
                </a:lnTo>
                <a:lnTo>
                  <a:pt x="22" y="48"/>
                </a:lnTo>
                <a:lnTo>
                  <a:pt x="22" y="52"/>
                </a:lnTo>
                <a:lnTo>
                  <a:pt x="26" y="52"/>
                </a:lnTo>
                <a:lnTo>
                  <a:pt x="26" y="52"/>
                </a:lnTo>
                <a:lnTo>
                  <a:pt x="26" y="52"/>
                </a:lnTo>
                <a:close/>
                <a:moveTo>
                  <a:pt x="44" y="64"/>
                </a:moveTo>
                <a:lnTo>
                  <a:pt x="40" y="64"/>
                </a:lnTo>
                <a:lnTo>
                  <a:pt x="44" y="64"/>
                </a:lnTo>
                <a:lnTo>
                  <a:pt x="48" y="64"/>
                </a:lnTo>
                <a:lnTo>
                  <a:pt x="44" y="64"/>
                </a:lnTo>
                <a:lnTo>
                  <a:pt x="44" y="64"/>
                </a:lnTo>
                <a:lnTo>
                  <a:pt x="44" y="64"/>
                </a:lnTo>
                <a:close/>
                <a:moveTo>
                  <a:pt x="52" y="66"/>
                </a:moveTo>
                <a:lnTo>
                  <a:pt x="48" y="66"/>
                </a:lnTo>
                <a:lnTo>
                  <a:pt x="44" y="66"/>
                </a:lnTo>
                <a:lnTo>
                  <a:pt x="40" y="66"/>
                </a:lnTo>
                <a:lnTo>
                  <a:pt x="44" y="66"/>
                </a:lnTo>
                <a:lnTo>
                  <a:pt x="48" y="66"/>
                </a:lnTo>
                <a:lnTo>
                  <a:pt x="52" y="66"/>
                </a:lnTo>
                <a:lnTo>
                  <a:pt x="52" y="66"/>
                </a:lnTo>
                <a:lnTo>
                  <a:pt x="52" y="66"/>
                </a:lnTo>
                <a:close/>
                <a:moveTo>
                  <a:pt x="36" y="70"/>
                </a:moveTo>
                <a:lnTo>
                  <a:pt x="36" y="66"/>
                </a:lnTo>
                <a:lnTo>
                  <a:pt x="40" y="66"/>
                </a:lnTo>
                <a:lnTo>
                  <a:pt x="40" y="70"/>
                </a:lnTo>
                <a:lnTo>
                  <a:pt x="36" y="70"/>
                </a:lnTo>
                <a:lnTo>
                  <a:pt x="36" y="70"/>
                </a:lnTo>
                <a:lnTo>
                  <a:pt x="36" y="70"/>
                </a:lnTo>
                <a:close/>
                <a:moveTo>
                  <a:pt x="48" y="70"/>
                </a:moveTo>
                <a:lnTo>
                  <a:pt x="44" y="70"/>
                </a:lnTo>
                <a:lnTo>
                  <a:pt x="48" y="70"/>
                </a:lnTo>
                <a:lnTo>
                  <a:pt x="52" y="70"/>
                </a:lnTo>
                <a:lnTo>
                  <a:pt x="48" y="70"/>
                </a:lnTo>
                <a:lnTo>
                  <a:pt x="48" y="70"/>
                </a:lnTo>
                <a:lnTo>
                  <a:pt x="48" y="70"/>
                </a:lnTo>
                <a:close/>
                <a:moveTo>
                  <a:pt x="60" y="74"/>
                </a:moveTo>
                <a:lnTo>
                  <a:pt x="56" y="74"/>
                </a:lnTo>
                <a:lnTo>
                  <a:pt x="60" y="74"/>
                </a:lnTo>
                <a:lnTo>
                  <a:pt x="60" y="74"/>
                </a:lnTo>
                <a:lnTo>
                  <a:pt x="60" y="74"/>
                </a:lnTo>
                <a:close/>
                <a:moveTo>
                  <a:pt x="60" y="70"/>
                </a:moveTo>
                <a:lnTo>
                  <a:pt x="56" y="70"/>
                </a:lnTo>
                <a:lnTo>
                  <a:pt x="56" y="66"/>
                </a:lnTo>
                <a:lnTo>
                  <a:pt x="52" y="66"/>
                </a:lnTo>
                <a:lnTo>
                  <a:pt x="52" y="64"/>
                </a:lnTo>
                <a:lnTo>
                  <a:pt x="48" y="64"/>
                </a:lnTo>
                <a:lnTo>
                  <a:pt x="44" y="60"/>
                </a:lnTo>
                <a:lnTo>
                  <a:pt x="40" y="60"/>
                </a:lnTo>
                <a:lnTo>
                  <a:pt x="36" y="60"/>
                </a:lnTo>
                <a:lnTo>
                  <a:pt x="34" y="60"/>
                </a:lnTo>
                <a:lnTo>
                  <a:pt x="34" y="56"/>
                </a:lnTo>
                <a:lnTo>
                  <a:pt x="36" y="56"/>
                </a:lnTo>
                <a:lnTo>
                  <a:pt x="34" y="56"/>
                </a:lnTo>
                <a:lnTo>
                  <a:pt x="30" y="52"/>
                </a:lnTo>
                <a:lnTo>
                  <a:pt x="26" y="52"/>
                </a:lnTo>
                <a:lnTo>
                  <a:pt x="26" y="48"/>
                </a:lnTo>
                <a:lnTo>
                  <a:pt x="26" y="44"/>
                </a:lnTo>
                <a:lnTo>
                  <a:pt x="22" y="44"/>
                </a:lnTo>
                <a:lnTo>
                  <a:pt x="26" y="44"/>
                </a:lnTo>
                <a:lnTo>
                  <a:pt x="30" y="44"/>
                </a:lnTo>
                <a:lnTo>
                  <a:pt x="26" y="40"/>
                </a:lnTo>
                <a:lnTo>
                  <a:pt x="22" y="40"/>
                </a:lnTo>
                <a:lnTo>
                  <a:pt x="22" y="38"/>
                </a:lnTo>
                <a:lnTo>
                  <a:pt x="18" y="34"/>
                </a:lnTo>
                <a:lnTo>
                  <a:pt x="22" y="34"/>
                </a:lnTo>
                <a:lnTo>
                  <a:pt x="22" y="30"/>
                </a:lnTo>
                <a:lnTo>
                  <a:pt x="18" y="26"/>
                </a:lnTo>
                <a:lnTo>
                  <a:pt x="14" y="26"/>
                </a:lnTo>
                <a:lnTo>
                  <a:pt x="14" y="22"/>
                </a:lnTo>
                <a:lnTo>
                  <a:pt x="10" y="22"/>
                </a:lnTo>
                <a:lnTo>
                  <a:pt x="10" y="26"/>
                </a:lnTo>
                <a:lnTo>
                  <a:pt x="10" y="30"/>
                </a:lnTo>
                <a:lnTo>
                  <a:pt x="8" y="30"/>
                </a:lnTo>
                <a:lnTo>
                  <a:pt x="8" y="34"/>
                </a:lnTo>
                <a:lnTo>
                  <a:pt x="4" y="34"/>
                </a:lnTo>
                <a:lnTo>
                  <a:pt x="8" y="34"/>
                </a:lnTo>
                <a:lnTo>
                  <a:pt x="4" y="30"/>
                </a:lnTo>
                <a:lnTo>
                  <a:pt x="4" y="26"/>
                </a:lnTo>
                <a:lnTo>
                  <a:pt x="4" y="22"/>
                </a:lnTo>
                <a:lnTo>
                  <a:pt x="0" y="22"/>
                </a:lnTo>
                <a:lnTo>
                  <a:pt x="0" y="18"/>
                </a:lnTo>
                <a:lnTo>
                  <a:pt x="4" y="18"/>
                </a:lnTo>
                <a:lnTo>
                  <a:pt x="4" y="22"/>
                </a:lnTo>
                <a:lnTo>
                  <a:pt x="8" y="22"/>
                </a:lnTo>
                <a:lnTo>
                  <a:pt x="10" y="22"/>
                </a:lnTo>
                <a:lnTo>
                  <a:pt x="14" y="18"/>
                </a:lnTo>
                <a:lnTo>
                  <a:pt x="14" y="14"/>
                </a:lnTo>
                <a:lnTo>
                  <a:pt x="14" y="18"/>
                </a:lnTo>
                <a:lnTo>
                  <a:pt x="18" y="18"/>
                </a:lnTo>
                <a:lnTo>
                  <a:pt x="18" y="22"/>
                </a:lnTo>
                <a:lnTo>
                  <a:pt x="22" y="18"/>
                </a:lnTo>
                <a:lnTo>
                  <a:pt x="22" y="22"/>
                </a:lnTo>
                <a:lnTo>
                  <a:pt x="26" y="22"/>
                </a:lnTo>
                <a:lnTo>
                  <a:pt x="26" y="18"/>
                </a:lnTo>
                <a:lnTo>
                  <a:pt x="26" y="14"/>
                </a:lnTo>
                <a:lnTo>
                  <a:pt x="30" y="14"/>
                </a:lnTo>
                <a:lnTo>
                  <a:pt x="34" y="14"/>
                </a:lnTo>
                <a:lnTo>
                  <a:pt x="34" y="12"/>
                </a:lnTo>
                <a:lnTo>
                  <a:pt x="34" y="8"/>
                </a:lnTo>
                <a:lnTo>
                  <a:pt x="30" y="8"/>
                </a:lnTo>
                <a:lnTo>
                  <a:pt x="30" y="4"/>
                </a:lnTo>
                <a:lnTo>
                  <a:pt x="34" y="4"/>
                </a:lnTo>
                <a:lnTo>
                  <a:pt x="36" y="4"/>
                </a:lnTo>
                <a:lnTo>
                  <a:pt x="36" y="0"/>
                </a:lnTo>
                <a:lnTo>
                  <a:pt x="40" y="0"/>
                </a:lnTo>
                <a:lnTo>
                  <a:pt x="44" y="0"/>
                </a:lnTo>
                <a:lnTo>
                  <a:pt x="48" y="4"/>
                </a:lnTo>
                <a:lnTo>
                  <a:pt x="52" y="8"/>
                </a:lnTo>
                <a:lnTo>
                  <a:pt x="52" y="12"/>
                </a:lnTo>
                <a:lnTo>
                  <a:pt x="56" y="12"/>
                </a:lnTo>
                <a:lnTo>
                  <a:pt x="60" y="12"/>
                </a:lnTo>
                <a:lnTo>
                  <a:pt x="60" y="14"/>
                </a:lnTo>
                <a:lnTo>
                  <a:pt x="62" y="14"/>
                </a:lnTo>
                <a:lnTo>
                  <a:pt x="66" y="14"/>
                </a:lnTo>
                <a:lnTo>
                  <a:pt x="70" y="14"/>
                </a:lnTo>
                <a:lnTo>
                  <a:pt x="74" y="14"/>
                </a:lnTo>
                <a:lnTo>
                  <a:pt x="74" y="12"/>
                </a:lnTo>
                <a:lnTo>
                  <a:pt x="78" y="14"/>
                </a:lnTo>
                <a:lnTo>
                  <a:pt x="78" y="18"/>
                </a:lnTo>
                <a:lnTo>
                  <a:pt x="78" y="22"/>
                </a:lnTo>
                <a:lnTo>
                  <a:pt x="82" y="22"/>
                </a:lnTo>
                <a:lnTo>
                  <a:pt x="82" y="26"/>
                </a:lnTo>
                <a:lnTo>
                  <a:pt x="86" y="26"/>
                </a:lnTo>
                <a:lnTo>
                  <a:pt x="82" y="26"/>
                </a:lnTo>
                <a:lnTo>
                  <a:pt x="82" y="30"/>
                </a:lnTo>
                <a:lnTo>
                  <a:pt x="78" y="30"/>
                </a:lnTo>
                <a:lnTo>
                  <a:pt x="78" y="34"/>
                </a:lnTo>
                <a:lnTo>
                  <a:pt x="74" y="34"/>
                </a:lnTo>
                <a:lnTo>
                  <a:pt x="74" y="30"/>
                </a:lnTo>
                <a:lnTo>
                  <a:pt x="70" y="26"/>
                </a:lnTo>
                <a:lnTo>
                  <a:pt x="66" y="26"/>
                </a:lnTo>
                <a:lnTo>
                  <a:pt x="66" y="30"/>
                </a:lnTo>
                <a:lnTo>
                  <a:pt x="62" y="30"/>
                </a:lnTo>
                <a:lnTo>
                  <a:pt x="60" y="30"/>
                </a:lnTo>
                <a:lnTo>
                  <a:pt x="60" y="26"/>
                </a:lnTo>
                <a:lnTo>
                  <a:pt x="56" y="26"/>
                </a:lnTo>
                <a:lnTo>
                  <a:pt x="52" y="26"/>
                </a:lnTo>
                <a:lnTo>
                  <a:pt x="48" y="26"/>
                </a:lnTo>
                <a:lnTo>
                  <a:pt x="44" y="26"/>
                </a:lnTo>
                <a:lnTo>
                  <a:pt x="40" y="26"/>
                </a:lnTo>
                <a:lnTo>
                  <a:pt x="40" y="30"/>
                </a:lnTo>
                <a:lnTo>
                  <a:pt x="36" y="30"/>
                </a:lnTo>
                <a:lnTo>
                  <a:pt x="36" y="26"/>
                </a:lnTo>
                <a:lnTo>
                  <a:pt x="34" y="26"/>
                </a:lnTo>
                <a:lnTo>
                  <a:pt x="34" y="30"/>
                </a:lnTo>
                <a:lnTo>
                  <a:pt x="34" y="34"/>
                </a:lnTo>
                <a:lnTo>
                  <a:pt x="34" y="38"/>
                </a:lnTo>
                <a:lnTo>
                  <a:pt x="36" y="38"/>
                </a:lnTo>
                <a:lnTo>
                  <a:pt x="36" y="40"/>
                </a:lnTo>
                <a:lnTo>
                  <a:pt x="36" y="44"/>
                </a:lnTo>
                <a:lnTo>
                  <a:pt x="40" y="44"/>
                </a:lnTo>
                <a:lnTo>
                  <a:pt x="40" y="48"/>
                </a:lnTo>
                <a:lnTo>
                  <a:pt x="44" y="48"/>
                </a:lnTo>
                <a:lnTo>
                  <a:pt x="44" y="52"/>
                </a:lnTo>
                <a:lnTo>
                  <a:pt x="48" y="56"/>
                </a:lnTo>
                <a:lnTo>
                  <a:pt x="48" y="60"/>
                </a:lnTo>
                <a:lnTo>
                  <a:pt x="52" y="60"/>
                </a:lnTo>
                <a:lnTo>
                  <a:pt x="56" y="60"/>
                </a:lnTo>
                <a:lnTo>
                  <a:pt x="52" y="64"/>
                </a:lnTo>
                <a:lnTo>
                  <a:pt x="56" y="64"/>
                </a:lnTo>
                <a:lnTo>
                  <a:pt x="56" y="66"/>
                </a:lnTo>
                <a:lnTo>
                  <a:pt x="60" y="66"/>
                </a:lnTo>
                <a:lnTo>
                  <a:pt x="60" y="70"/>
                </a:lnTo>
                <a:lnTo>
                  <a:pt x="60" y="70"/>
                </a:lnTo>
                <a:lnTo>
                  <a:pt x="60" y="70"/>
                </a:lnTo>
                <a:close/>
              </a:path>
            </a:pathLst>
          </a:custGeom>
          <a:solidFill>
            <a:srgbClr val="A0DCFF"/>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88" name="Freeform 95"/>
          <p:cNvSpPr>
            <a:spLocks/>
          </p:cNvSpPr>
          <p:nvPr/>
        </p:nvSpPr>
        <p:spPr bwMode="auto">
          <a:xfrm>
            <a:off x="4460081" y="2586037"/>
            <a:ext cx="116681" cy="61913"/>
          </a:xfrm>
          <a:custGeom>
            <a:avLst/>
            <a:gdLst>
              <a:gd name="T0" fmla="*/ 84 w 98"/>
              <a:gd name="T1" fmla="*/ 42 h 52"/>
              <a:gd name="T2" fmla="*/ 80 w 98"/>
              <a:gd name="T3" fmla="*/ 46 h 52"/>
              <a:gd name="T4" fmla="*/ 72 w 98"/>
              <a:gd name="T5" fmla="*/ 46 h 52"/>
              <a:gd name="T6" fmla="*/ 68 w 98"/>
              <a:gd name="T7" fmla="*/ 50 h 52"/>
              <a:gd name="T8" fmla="*/ 68 w 98"/>
              <a:gd name="T9" fmla="*/ 50 h 52"/>
              <a:gd name="T10" fmla="*/ 60 w 98"/>
              <a:gd name="T11" fmla="*/ 46 h 52"/>
              <a:gd name="T12" fmla="*/ 58 w 98"/>
              <a:gd name="T13" fmla="*/ 50 h 52"/>
              <a:gd name="T14" fmla="*/ 54 w 98"/>
              <a:gd name="T15" fmla="*/ 46 h 52"/>
              <a:gd name="T16" fmla="*/ 50 w 98"/>
              <a:gd name="T17" fmla="*/ 46 h 52"/>
              <a:gd name="T18" fmla="*/ 46 w 98"/>
              <a:gd name="T19" fmla="*/ 42 h 52"/>
              <a:gd name="T20" fmla="*/ 42 w 98"/>
              <a:gd name="T21" fmla="*/ 42 h 52"/>
              <a:gd name="T22" fmla="*/ 38 w 98"/>
              <a:gd name="T23" fmla="*/ 46 h 52"/>
              <a:gd name="T24" fmla="*/ 38 w 98"/>
              <a:gd name="T25" fmla="*/ 52 h 52"/>
              <a:gd name="T26" fmla="*/ 34 w 98"/>
              <a:gd name="T27" fmla="*/ 52 h 52"/>
              <a:gd name="T28" fmla="*/ 26 w 98"/>
              <a:gd name="T29" fmla="*/ 50 h 52"/>
              <a:gd name="T30" fmla="*/ 24 w 98"/>
              <a:gd name="T31" fmla="*/ 46 h 52"/>
              <a:gd name="T32" fmla="*/ 24 w 98"/>
              <a:gd name="T33" fmla="*/ 46 h 52"/>
              <a:gd name="T34" fmla="*/ 20 w 98"/>
              <a:gd name="T35" fmla="*/ 42 h 52"/>
              <a:gd name="T36" fmla="*/ 12 w 98"/>
              <a:gd name="T37" fmla="*/ 38 h 52"/>
              <a:gd name="T38" fmla="*/ 8 w 98"/>
              <a:gd name="T39" fmla="*/ 30 h 52"/>
              <a:gd name="T40" fmla="*/ 4 w 98"/>
              <a:gd name="T41" fmla="*/ 26 h 52"/>
              <a:gd name="T42" fmla="*/ 4 w 98"/>
              <a:gd name="T43" fmla="*/ 22 h 52"/>
              <a:gd name="T44" fmla="*/ 0 w 98"/>
              <a:gd name="T45" fmla="*/ 18 h 52"/>
              <a:gd name="T46" fmla="*/ 4 w 98"/>
              <a:gd name="T47" fmla="*/ 18 h 52"/>
              <a:gd name="T48" fmla="*/ 8 w 98"/>
              <a:gd name="T49" fmla="*/ 12 h 52"/>
              <a:gd name="T50" fmla="*/ 12 w 98"/>
              <a:gd name="T51" fmla="*/ 12 h 52"/>
              <a:gd name="T52" fmla="*/ 12 w 98"/>
              <a:gd name="T53" fmla="*/ 12 h 52"/>
              <a:gd name="T54" fmla="*/ 16 w 98"/>
              <a:gd name="T55" fmla="*/ 12 h 52"/>
              <a:gd name="T56" fmla="*/ 20 w 98"/>
              <a:gd name="T57" fmla="*/ 8 h 52"/>
              <a:gd name="T58" fmla="*/ 24 w 98"/>
              <a:gd name="T59" fmla="*/ 8 h 52"/>
              <a:gd name="T60" fmla="*/ 26 w 98"/>
              <a:gd name="T61" fmla="*/ 4 h 52"/>
              <a:gd name="T62" fmla="*/ 30 w 98"/>
              <a:gd name="T63" fmla="*/ 0 h 52"/>
              <a:gd name="T64" fmla="*/ 34 w 98"/>
              <a:gd name="T65" fmla="*/ 0 h 52"/>
              <a:gd name="T66" fmla="*/ 38 w 98"/>
              <a:gd name="T67" fmla="*/ 4 h 52"/>
              <a:gd name="T68" fmla="*/ 38 w 98"/>
              <a:gd name="T69" fmla="*/ 4 h 52"/>
              <a:gd name="T70" fmla="*/ 46 w 98"/>
              <a:gd name="T71" fmla="*/ 0 h 52"/>
              <a:gd name="T72" fmla="*/ 46 w 98"/>
              <a:gd name="T73" fmla="*/ 4 h 52"/>
              <a:gd name="T74" fmla="*/ 50 w 98"/>
              <a:gd name="T75" fmla="*/ 4 h 52"/>
              <a:gd name="T76" fmla="*/ 58 w 98"/>
              <a:gd name="T77" fmla="*/ 8 h 52"/>
              <a:gd name="T78" fmla="*/ 60 w 98"/>
              <a:gd name="T79" fmla="*/ 8 h 52"/>
              <a:gd name="T80" fmla="*/ 60 w 98"/>
              <a:gd name="T81" fmla="*/ 12 h 52"/>
              <a:gd name="T82" fmla="*/ 60 w 98"/>
              <a:gd name="T83" fmla="*/ 16 h 52"/>
              <a:gd name="T84" fmla="*/ 64 w 98"/>
              <a:gd name="T85" fmla="*/ 18 h 52"/>
              <a:gd name="T86" fmla="*/ 68 w 98"/>
              <a:gd name="T87" fmla="*/ 18 h 52"/>
              <a:gd name="T88" fmla="*/ 72 w 98"/>
              <a:gd name="T89" fmla="*/ 18 h 52"/>
              <a:gd name="T90" fmla="*/ 68 w 98"/>
              <a:gd name="T91" fmla="*/ 12 h 52"/>
              <a:gd name="T92" fmla="*/ 72 w 98"/>
              <a:gd name="T93" fmla="*/ 16 h 52"/>
              <a:gd name="T94" fmla="*/ 80 w 98"/>
              <a:gd name="T95" fmla="*/ 16 h 52"/>
              <a:gd name="T96" fmla="*/ 80 w 98"/>
              <a:gd name="T97" fmla="*/ 16 h 52"/>
              <a:gd name="T98" fmla="*/ 80 w 98"/>
              <a:gd name="T99" fmla="*/ 18 h 52"/>
              <a:gd name="T100" fmla="*/ 88 w 98"/>
              <a:gd name="T101" fmla="*/ 18 h 52"/>
              <a:gd name="T102" fmla="*/ 94 w 98"/>
              <a:gd name="T103" fmla="*/ 22 h 52"/>
              <a:gd name="T104" fmla="*/ 94 w 98"/>
              <a:gd name="T105" fmla="*/ 30 h 52"/>
              <a:gd name="T106" fmla="*/ 94 w 98"/>
              <a:gd name="T107" fmla="*/ 30 h 52"/>
              <a:gd name="T108" fmla="*/ 88 w 98"/>
              <a:gd name="T109" fmla="*/ 38 h 52"/>
              <a:gd name="T110" fmla="*/ 88 w 98"/>
              <a:gd name="T111" fmla="*/ 3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8" h="52">
                <a:moveTo>
                  <a:pt x="88" y="38"/>
                </a:moveTo>
                <a:lnTo>
                  <a:pt x="88" y="42"/>
                </a:lnTo>
                <a:lnTo>
                  <a:pt x="88" y="42"/>
                </a:lnTo>
                <a:lnTo>
                  <a:pt x="88" y="42"/>
                </a:lnTo>
                <a:lnTo>
                  <a:pt x="84" y="42"/>
                </a:lnTo>
                <a:lnTo>
                  <a:pt x="84" y="46"/>
                </a:lnTo>
                <a:lnTo>
                  <a:pt x="80" y="46"/>
                </a:lnTo>
                <a:lnTo>
                  <a:pt x="80" y="46"/>
                </a:lnTo>
                <a:lnTo>
                  <a:pt x="80" y="46"/>
                </a:lnTo>
                <a:lnTo>
                  <a:pt x="80" y="46"/>
                </a:lnTo>
                <a:lnTo>
                  <a:pt x="76" y="46"/>
                </a:lnTo>
                <a:lnTo>
                  <a:pt x="76" y="46"/>
                </a:lnTo>
                <a:lnTo>
                  <a:pt x="76" y="46"/>
                </a:lnTo>
                <a:lnTo>
                  <a:pt x="76" y="46"/>
                </a:lnTo>
                <a:lnTo>
                  <a:pt x="72" y="46"/>
                </a:lnTo>
                <a:lnTo>
                  <a:pt x="72" y="46"/>
                </a:lnTo>
                <a:lnTo>
                  <a:pt x="72" y="46"/>
                </a:lnTo>
                <a:lnTo>
                  <a:pt x="72" y="50"/>
                </a:lnTo>
                <a:lnTo>
                  <a:pt x="72" y="50"/>
                </a:lnTo>
                <a:lnTo>
                  <a:pt x="68" y="50"/>
                </a:lnTo>
                <a:lnTo>
                  <a:pt x="68" y="50"/>
                </a:lnTo>
                <a:lnTo>
                  <a:pt x="68" y="50"/>
                </a:lnTo>
                <a:lnTo>
                  <a:pt x="68" y="50"/>
                </a:lnTo>
                <a:lnTo>
                  <a:pt x="68" y="50"/>
                </a:lnTo>
                <a:lnTo>
                  <a:pt x="68" y="50"/>
                </a:lnTo>
                <a:lnTo>
                  <a:pt x="68" y="50"/>
                </a:lnTo>
                <a:lnTo>
                  <a:pt x="64" y="50"/>
                </a:lnTo>
                <a:lnTo>
                  <a:pt x="64" y="46"/>
                </a:lnTo>
                <a:lnTo>
                  <a:pt x="64" y="46"/>
                </a:lnTo>
                <a:lnTo>
                  <a:pt x="60" y="46"/>
                </a:lnTo>
                <a:lnTo>
                  <a:pt x="60" y="46"/>
                </a:lnTo>
                <a:lnTo>
                  <a:pt x="60" y="50"/>
                </a:lnTo>
                <a:lnTo>
                  <a:pt x="60" y="50"/>
                </a:lnTo>
                <a:lnTo>
                  <a:pt x="60" y="50"/>
                </a:lnTo>
                <a:lnTo>
                  <a:pt x="58" y="50"/>
                </a:lnTo>
                <a:lnTo>
                  <a:pt x="58" y="50"/>
                </a:lnTo>
                <a:lnTo>
                  <a:pt x="58" y="50"/>
                </a:lnTo>
                <a:lnTo>
                  <a:pt x="58" y="50"/>
                </a:lnTo>
                <a:lnTo>
                  <a:pt x="58" y="46"/>
                </a:lnTo>
                <a:lnTo>
                  <a:pt x="54" y="46"/>
                </a:lnTo>
                <a:lnTo>
                  <a:pt x="54" y="46"/>
                </a:lnTo>
                <a:lnTo>
                  <a:pt x="54" y="46"/>
                </a:lnTo>
                <a:lnTo>
                  <a:pt x="50" y="46"/>
                </a:lnTo>
                <a:lnTo>
                  <a:pt x="50" y="46"/>
                </a:lnTo>
                <a:lnTo>
                  <a:pt x="50" y="46"/>
                </a:lnTo>
                <a:lnTo>
                  <a:pt x="50" y="46"/>
                </a:lnTo>
                <a:lnTo>
                  <a:pt x="50" y="46"/>
                </a:lnTo>
                <a:lnTo>
                  <a:pt x="46" y="42"/>
                </a:lnTo>
                <a:lnTo>
                  <a:pt x="46" y="42"/>
                </a:lnTo>
                <a:lnTo>
                  <a:pt x="46" y="42"/>
                </a:lnTo>
                <a:lnTo>
                  <a:pt x="46" y="42"/>
                </a:lnTo>
                <a:lnTo>
                  <a:pt x="42" y="42"/>
                </a:lnTo>
                <a:lnTo>
                  <a:pt x="42" y="42"/>
                </a:lnTo>
                <a:lnTo>
                  <a:pt x="42" y="42"/>
                </a:lnTo>
                <a:lnTo>
                  <a:pt x="42" y="42"/>
                </a:lnTo>
                <a:lnTo>
                  <a:pt x="42" y="46"/>
                </a:lnTo>
                <a:lnTo>
                  <a:pt x="42" y="46"/>
                </a:lnTo>
                <a:lnTo>
                  <a:pt x="38" y="46"/>
                </a:lnTo>
                <a:lnTo>
                  <a:pt x="38" y="46"/>
                </a:lnTo>
                <a:lnTo>
                  <a:pt x="38" y="46"/>
                </a:lnTo>
                <a:lnTo>
                  <a:pt x="38" y="50"/>
                </a:lnTo>
                <a:lnTo>
                  <a:pt x="38" y="50"/>
                </a:lnTo>
                <a:lnTo>
                  <a:pt x="38" y="50"/>
                </a:lnTo>
                <a:lnTo>
                  <a:pt x="38" y="52"/>
                </a:lnTo>
                <a:lnTo>
                  <a:pt x="38" y="52"/>
                </a:lnTo>
                <a:lnTo>
                  <a:pt x="38" y="50"/>
                </a:lnTo>
                <a:lnTo>
                  <a:pt x="34" y="50"/>
                </a:lnTo>
                <a:lnTo>
                  <a:pt x="34" y="50"/>
                </a:lnTo>
                <a:lnTo>
                  <a:pt x="34" y="50"/>
                </a:lnTo>
                <a:lnTo>
                  <a:pt x="34" y="52"/>
                </a:lnTo>
                <a:lnTo>
                  <a:pt x="30" y="52"/>
                </a:lnTo>
                <a:lnTo>
                  <a:pt x="30" y="52"/>
                </a:lnTo>
                <a:lnTo>
                  <a:pt x="26" y="50"/>
                </a:lnTo>
                <a:lnTo>
                  <a:pt x="26" y="50"/>
                </a:lnTo>
                <a:lnTo>
                  <a:pt x="26" y="50"/>
                </a:lnTo>
                <a:lnTo>
                  <a:pt x="26" y="50"/>
                </a:lnTo>
                <a:lnTo>
                  <a:pt x="24" y="50"/>
                </a:lnTo>
                <a:lnTo>
                  <a:pt x="24" y="46"/>
                </a:lnTo>
                <a:lnTo>
                  <a:pt x="24" y="46"/>
                </a:lnTo>
                <a:lnTo>
                  <a:pt x="24" y="46"/>
                </a:lnTo>
                <a:lnTo>
                  <a:pt x="24" y="46"/>
                </a:lnTo>
                <a:lnTo>
                  <a:pt x="24" y="46"/>
                </a:lnTo>
                <a:lnTo>
                  <a:pt x="24" y="46"/>
                </a:lnTo>
                <a:lnTo>
                  <a:pt x="24" y="46"/>
                </a:lnTo>
                <a:lnTo>
                  <a:pt x="24" y="46"/>
                </a:lnTo>
                <a:lnTo>
                  <a:pt x="24" y="46"/>
                </a:lnTo>
                <a:lnTo>
                  <a:pt x="24" y="46"/>
                </a:lnTo>
                <a:lnTo>
                  <a:pt x="24" y="46"/>
                </a:lnTo>
                <a:lnTo>
                  <a:pt x="20" y="42"/>
                </a:lnTo>
                <a:lnTo>
                  <a:pt x="20" y="42"/>
                </a:lnTo>
                <a:lnTo>
                  <a:pt x="20" y="42"/>
                </a:lnTo>
                <a:lnTo>
                  <a:pt x="20" y="42"/>
                </a:lnTo>
                <a:lnTo>
                  <a:pt x="20" y="42"/>
                </a:lnTo>
                <a:lnTo>
                  <a:pt x="16" y="38"/>
                </a:lnTo>
                <a:lnTo>
                  <a:pt x="12" y="38"/>
                </a:lnTo>
                <a:lnTo>
                  <a:pt x="12" y="34"/>
                </a:lnTo>
                <a:lnTo>
                  <a:pt x="12" y="34"/>
                </a:lnTo>
                <a:lnTo>
                  <a:pt x="12" y="34"/>
                </a:lnTo>
                <a:lnTo>
                  <a:pt x="8" y="34"/>
                </a:lnTo>
                <a:lnTo>
                  <a:pt x="8" y="30"/>
                </a:lnTo>
                <a:lnTo>
                  <a:pt x="8" y="30"/>
                </a:lnTo>
                <a:lnTo>
                  <a:pt x="8" y="30"/>
                </a:lnTo>
                <a:lnTo>
                  <a:pt x="4" y="30"/>
                </a:lnTo>
                <a:lnTo>
                  <a:pt x="4" y="26"/>
                </a:lnTo>
                <a:lnTo>
                  <a:pt x="4" y="26"/>
                </a:lnTo>
                <a:lnTo>
                  <a:pt x="4" y="26"/>
                </a:lnTo>
                <a:lnTo>
                  <a:pt x="8" y="22"/>
                </a:lnTo>
                <a:lnTo>
                  <a:pt x="4" y="22"/>
                </a:lnTo>
                <a:lnTo>
                  <a:pt x="4" y="22"/>
                </a:lnTo>
                <a:lnTo>
                  <a:pt x="4" y="22"/>
                </a:lnTo>
                <a:lnTo>
                  <a:pt x="4" y="18"/>
                </a:lnTo>
                <a:lnTo>
                  <a:pt x="4" y="18"/>
                </a:lnTo>
                <a:lnTo>
                  <a:pt x="0" y="18"/>
                </a:lnTo>
                <a:lnTo>
                  <a:pt x="0" y="18"/>
                </a:lnTo>
                <a:lnTo>
                  <a:pt x="0" y="18"/>
                </a:lnTo>
                <a:lnTo>
                  <a:pt x="0" y="16"/>
                </a:lnTo>
                <a:lnTo>
                  <a:pt x="0" y="16"/>
                </a:lnTo>
                <a:lnTo>
                  <a:pt x="0" y="16"/>
                </a:lnTo>
                <a:lnTo>
                  <a:pt x="4" y="18"/>
                </a:lnTo>
                <a:lnTo>
                  <a:pt x="4" y="18"/>
                </a:lnTo>
                <a:lnTo>
                  <a:pt x="4" y="16"/>
                </a:lnTo>
                <a:lnTo>
                  <a:pt x="4" y="16"/>
                </a:lnTo>
                <a:lnTo>
                  <a:pt x="4" y="16"/>
                </a:lnTo>
                <a:lnTo>
                  <a:pt x="4" y="16"/>
                </a:lnTo>
                <a:lnTo>
                  <a:pt x="8" y="12"/>
                </a:lnTo>
                <a:lnTo>
                  <a:pt x="8" y="12"/>
                </a:lnTo>
                <a:lnTo>
                  <a:pt x="8" y="12"/>
                </a:lnTo>
                <a:lnTo>
                  <a:pt x="8" y="12"/>
                </a:lnTo>
                <a:lnTo>
                  <a:pt x="12" y="12"/>
                </a:lnTo>
                <a:lnTo>
                  <a:pt x="12" y="12"/>
                </a:lnTo>
                <a:lnTo>
                  <a:pt x="12" y="12"/>
                </a:lnTo>
                <a:lnTo>
                  <a:pt x="12" y="12"/>
                </a:lnTo>
                <a:lnTo>
                  <a:pt x="12" y="12"/>
                </a:lnTo>
                <a:lnTo>
                  <a:pt x="12" y="12"/>
                </a:lnTo>
                <a:lnTo>
                  <a:pt x="12" y="12"/>
                </a:lnTo>
                <a:lnTo>
                  <a:pt x="12" y="12"/>
                </a:lnTo>
                <a:lnTo>
                  <a:pt x="16" y="12"/>
                </a:lnTo>
                <a:lnTo>
                  <a:pt x="16" y="12"/>
                </a:lnTo>
                <a:lnTo>
                  <a:pt x="16" y="12"/>
                </a:lnTo>
                <a:lnTo>
                  <a:pt x="16" y="12"/>
                </a:lnTo>
                <a:lnTo>
                  <a:pt x="16" y="8"/>
                </a:lnTo>
                <a:lnTo>
                  <a:pt x="20" y="8"/>
                </a:lnTo>
                <a:lnTo>
                  <a:pt x="20" y="8"/>
                </a:lnTo>
                <a:lnTo>
                  <a:pt x="20" y="8"/>
                </a:lnTo>
                <a:lnTo>
                  <a:pt x="20" y="8"/>
                </a:lnTo>
                <a:lnTo>
                  <a:pt x="20" y="8"/>
                </a:lnTo>
                <a:lnTo>
                  <a:pt x="20" y="8"/>
                </a:lnTo>
                <a:lnTo>
                  <a:pt x="20" y="8"/>
                </a:lnTo>
                <a:lnTo>
                  <a:pt x="24" y="8"/>
                </a:lnTo>
                <a:lnTo>
                  <a:pt x="24" y="8"/>
                </a:lnTo>
                <a:lnTo>
                  <a:pt x="24" y="8"/>
                </a:lnTo>
                <a:lnTo>
                  <a:pt x="24" y="8"/>
                </a:lnTo>
                <a:lnTo>
                  <a:pt x="26" y="4"/>
                </a:lnTo>
                <a:lnTo>
                  <a:pt x="26" y="4"/>
                </a:lnTo>
                <a:lnTo>
                  <a:pt x="26" y="4"/>
                </a:lnTo>
                <a:lnTo>
                  <a:pt x="30" y="4"/>
                </a:lnTo>
                <a:lnTo>
                  <a:pt x="30" y="4"/>
                </a:lnTo>
                <a:lnTo>
                  <a:pt x="34" y="0"/>
                </a:lnTo>
                <a:lnTo>
                  <a:pt x="30" y="0"/>
                </a:lnTo>
                <a:lnTo>
                  <a:pt x="30" y="0"/>
                </a:lnTo>
                <a:lnTo>
                  <a:pt x="30" y="0"/>
                </a:lnTo>
                <a:lnTo>
                  <a:pt x="30" y="0"/>
                </a:lnTo>
                <a:lnTo>
                  <a:pt x="34" y="0"/>
                </a:lnTo>
                <a:lnTo>
                  <a:pt x="34" y="0"/>
                </a:lnTo>
                <a:lnTo>
                  <a:pt x="34" y="0"/>
                </a:lnTo>
                <a:lnTo>
                  <a:pt x="38" y="4"/>
                </a:lnTo>
                <a:lnTo>
                  <a:pt x="38" y="4"/>
                </a:lnTo>
                <a:lnTo>
                  <a:pt x="34" y="4"/>
                </a:lnTo>
                <a:lnTo>
                  <a:pt x="38" y="4"/>
                </a:lnTo>
                <a:lnTo>
                  <a:pt x="38" y="4"/>
                </a:lnTo>
                <a:lnTo>
                  <a:pt x="38" y="4"/>
                </a:lnTo>
                <a:lnTo>
                  <a:pt x="38" y="4"/>
                </a:lnTo>
                <a:lnTo>
                  <a:pt x="38" y="4"/>
                </a:lnTo>
                <a:lnTo>
                  <a:pt x="38" y="4"/>
                </a:lnTo>
                <a:lnTo>
                  <a:pt x="38" y="4"/>
                </a:lnTo>
                <a:lnTo>
                  <a:pt x="42" y="4"/>
                </a:lnTo>
                <a:lnTo>
                  <a:pt x="42" y="4"/>
                </a:lnTo>
                <a:lnTo>
                  <a:pt x="42" y="0"/>
                </a:lnTo>
                <a:lnTo>
                  <a:pt x="42" y="0"/>
                </a:lnTo>
                <a:lnTo>
                  <a:pt x="46" y="0"/>
                </a:lnTo>
                <a:lnTo>
                  <a:pt x="46" y="0"/>
                </a:lnTo>
                <a:lnTo>
                  <a:pt x="46" y="0"/>
                </a:lnTo>
                <a:lnTo>
                  <a:pt x="46" y="0"/>
                </a:lnTo>
                <a:lnTo>
                  <a:pt x="46" y="4"/>
                </a:lnTo>
                <a:lnTo>
                  <a:pt x="46" y="4"/>
                </a:lnTo>
                <a:lnTo>
                  <a:pt x="46" y="4"/>
                </a:lnTo>
                <a:lnTo>
                  <a:pt x="46" y="4"/>
                </a:lnTo>
                <a:lnTo>
                  <a:pt x="46" y="4"/>
                </a:lnTo>
                <a:lnTo>
                  <a:pt x="50" y="4"/>
                </a:lnTo>
                <a:lnTo>
                  <a:pt x="50" y="4"/>
                </a:lnTo>
                <a:lnTo>
                  <a:pt x="54" y="8"/>
                </a:lnTo>
                <a:lnTo>
                  <a:pt x="58" y="8"/>
                </a:lnTo>
                <a:lnTo>
                  <a:pt x="58" y="8"/>
                </a:lnTo>
                <a:lnTo>
                  <a:pt x="58" y="8"/>
                </a:lnTo>
                <a:lnTo>
                  <a:pt x="58" y="8"/>
                </a:lnTo>
                <a:lnTo>
                  <a:pt x="58" y="8"/>
                </a:lnTo>
                <a:lnTo>
                  <a:pt x="60" y="8"/>
                </a:lnTo>
                <a:lnTo>
                  <a:pt x="60" y="8"/>
                </a:lnTo>
                <a:lnTo>
                  <a:pt x="60" y="8"/>
                </a:lnTo>
                <a:lnTo>
                  <a:pt x="60" y="8"/>
                </a:lnTo>
                <a:lnTo>
                  <a:pt x="60" y="8"/>
                </a:lnTo>
                <a:lnTo>
                  <a:pt x="60" y="12"/>
                </a:lnTo>
                <a:lnTo>
                  <a:pt x="60" y="12"/>
                </a:lnTo>
                <a:lnTo>
                  <a:pt x="60" y="12"/>
                </a:lnTo>
                <a:lnTo>
                  <a:pt x="60" y="12"/>
                </a:lnTo>
                <a:lnTo>
                  <a:pt x="60" y="12"/>
                </a:lnTo>
                <a:lnTo>
                  <a:pt x="60" y="16"/>
                </a:lnTo>
                <a:lnTo>
                  <a:pt x="60" y="16"/>
                </a:lnTo>
                <a:lnTo>
                  <a:pt x="60" y="16"/>
                </a:lnTo>
                <a:lnTo>
                  <a:pt x="60" y="16"/>
                </a:lnTo>
                <a:lnTo>
                  <a:pt x="60" y="16"/>
                </a:lnTo>
                <a:lnTo>
                  <a:pt x="64" y="16"/>
                </a:lnTo>
                <a:lnTo>
                  <a:pt x="64" y="18"/>
                </a:lnTo>
                <a:lnTo>
                  <a:pt x="64" y="18"/>
                </a:lnTo>
                <a:lnTo>
                  <a:pt x="64" y="18"/>
                </a:lnTo>
                <a:lnTo>
                  <a:pt x="64" y="18"/>
                </a:lnTo>
                <a:lnTo>
                  <a:pt x="64" y="18"/>
                </a:lnTo>
                <a:lnTo>
                  <a:pt x="64" y="18"/>
                </a:lnTo>
                <a:lnTo>
                  <a:pt x="68" y="18"/>
                </a:lnTo>
                <a:lnTo>
                  <a:pt x="68" y="18"/>
                </a:lnTo>
                <a:lnTo>
                  <a:pt x="68" y="18"/>
                </a:lnTo>
                <a:lnTo>
                  <a:pt x="68" y="18"/>
                </a:lnTo>
                <a:lnTo>
                  <a:pt x="68" y="16"/>
                </a:lnTo>
                <a:lnTo>
                  <a:pt x="68" y="16"/>
                </a:lnTo>
                <a:lnTo>
                  <a:pt x="72" y="18"/>
                </a:lnTo>
                <a:lnTo>
                  <a:pt x="68" y="16"/>
                </a:lnTo>
                <a:lnTo>
                  <a:pt x="68" y="16"/>
                </a:lnTo>
                <a:lnTo>
                  <a:pt x="68" y="12"/>
                </a:lnTo>
                <a:lnTo>
                  <a:pt x="68" y="12"/>
                </a:lnTo>
                <a:lnTo>
                  <a:pt x="68" y="12"/>
                </a:lnTo>
                <a:lnTo>
                  <a:pt x="68" y="12"/>
                </a:lnTo>
                <a:lnTo>
                  <a:pt x="72" y="12"/>
                </a:lnTo>
                <a:lnTo>
                  <a:pt x="72" y="16"/>
                </a:lnTo>
                <a:lnTo>
                  <a:pt x="72" y="16"/>
                </a:lnTo>
                <a:lnTo>
                  <a:pt x="72" y="16"/>
                </a:lnTo>
                <a:lnTo>
                  <a:pt x="76" y="16"/>
                </a:lnTo>
                <a:lnTo>
                  <a:pt x="76" y="16"/>
                </a:lnTo>
                <a:lnTo>
                  <a:pt x="76" y="16"/>
                </a:lnTo>
                <a:lnTo>
                  <a:pt x="80" y="16"/>
                </a:lnTo>
                <a:lnTo>
                  <a:pt x="80" y="16"/>
                </a:lnTo>
                <a:lnTo>
                  <a:pt x="80" y="16"/>
                </a:lnTo>
                <a:lnTo>
                  <a:pt x="80" y="16"/>
                </a:lnTo>
                <a:lnTo>
                  <a:pt x="80" y="16"/>
                </a:lnTo>
                <a:lnTo>
                  <a:pt x="80" y="16"/>
                </a:lnTo>
                <a:lnTo>
                  <a:pt x="80" y="16"/>
                </a:lnTo>
                <a:lnTo>
                  <a:pt x="80" y="18"/>
                </a:lnTo>
                <a:lnTo>
                  <a:pt x="80" y="18"/>
                </a:lnTo>
                <a:lnTo>
                  <a:pt x="80" y="18"/>
                </a:lnTo>
                <a:lnTo>
                  <a:pt x="80" y="18"/>
                </a:lnTo>
                <a:lnTo>
                  <a:pt x="80" y="18"/>
                </a:lnTo>
                <a:lnTo>
                  <a:pt x="84" y="22"/>
                </a:lnTo>
                <a:lnTo>
                  <a:pt x="84" y="22"/>
                </a:lnTo>
                <a:lnTo>
                  <a:pt x="84" y="22"/>
                </a:lnTo>
                <a:lnTo>
                  <a:pt x="84" y="22"/>
                </a:lnTo>
                <a:lnTo>
                  <a:pt x="88" y="18"/>
                </a:lnTo>
                <a:lnTo>
                  <a:pt x="88" y="22"/>
                </a:lnTo>
                <a:lnTo>
                  <a:pt x="88" y="22"/>
                </a:lnTo>
                <a:lnTo>
                  <a:pt x="90" y="22"/>
                </a:lnTo>
                <a:lnTo>
                  <a:pt x="90" y="22"/>
                </a:lnTo>
                <a:lnTo>
                  <a:pt x="94" y="22"/>
                </a:lnTo>
                <a:lnTo>
                  <a:pt x="94" y="26"/>
                </a:lnTo>
                <a:lnTo>
                  <a:pt x="94" y="26"/>
                </a:lnTo>
                <a:lnTo>
                  <a:pt x="94" y="26"/>
                </a:lnTo>
                <a:lnTo>
                  <a:pt x="94" y="30"/>
                </a:lnTo>
                <a:lnTo>
                  <a:pt x="94" y="30"/>
                </a:lnTo>
                <a:lnTo>
                  <a:pt x="98" y="30"/>
                </a:lnTo>
                <a:lnTo>
                  <a:pt x="98" y="30"/>
                </a:lnTo>
                <a:lnTo>
                  <a:pt x="98" y="30"/>
                </a:lnTo>
                <a:lnTo>
                  <a:pt x="94" y="30"/>
                </a:lnTo>
                <a:lnTo>
                  <a:pt x="94" y="30"/>
                </a:lnTo>
                <a:lnTo>
                  <a:pt x="90" y="34"/>
                </a:lnTo>
                <a:lnTo>
                  <a:pt x="90" y="34"/>
                </a:lnTo>
                <a:lnTo>
                  <a:pt x="90" y="34"/>
                </a:lnTo>
                <a:lnTo>
                  <a:pt x="88" y="38"/>
                </a:lnTo>
                <a:lnTo>
                  <a:pt x="88" y="38"/>
                </a:lnTo>
                <a:lnTo>
                  <a:pt x="88" y="38"/>
                </a:lnTo>
                <a:lnTo>
                  <a:pt x="88" y="38"/>
                </a:lnTo>
                <a:lnTo>
                  <a:pt x="88" y="38"/>
                </a:lnTo>
                <a:lnTo>
                  <a:pt x="88" y="38"/>
                </a:lnTo>
                <a:lnTo>
                  <a:pt x="88" y="38"/>
                </a:lnTo>
                <a:lnTo>
                  <a:pt x="88" y="38"/>
                </a:lnTo>
                <a:lnTo>
                  <a:pt x="88" y="38"/>
                </a:lnTo>
                <a:close/>
              </a:path>
            </a:pathLst>
          </a:custGeom>
          <a:solidFill>
            <a:srgbClr val="A0DCFF"/>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89" name="Freeform 96"/>
          <p:cNvSpPr>
            <a:spLocks noEditPoints="1"/>
          </p:cNvSpPr>
          <p:nvPr/>
        </p:nvSpPr>
        <p:spPr bwMode="auto">
          <a:xfrm>
            <a:off x="4393406" y="2412206"/>
            <a:ext cx="116681" cy="85725"/>
          </a:xfrm>
          <a:custGeom>
            <a:avLst/>
            <a:gdLst>
              <a:gd name="T0" fmla="*/ 4 w 98"/>
              <a:gd name="T1" fmla="*/ 22 h 72"/>
              <a:gd name="T2" fmla="*/ 8 w 98"/>
              <a:gd name="T3" fmla="*/ 16 h 72"/>
              <a:gd name="T4" fmla="*/ 24 w 98"/>
              <a:gd name="T5" fmla="*/ 12 h 72"/>
              <a:gd name="T6" fmla="*/ 34 w 98"/>
              <a:gd name="T7" fmla="*/ 4 h 72"/>
              <a:gd name="T8" fmla="*/ 30 w 98"/>
              <a:gd name="T9" fmla="*/ 16 h 72"/>
              <a:gd name="T10" fmla="*/ 16 w 98"/>
              <a:gd name="T11" fmla="*/ 16 h 72"/>
              <a:gd name="T12" fmla="*/ 4 w 98"/>
              <a:gd name="T13" fmla="*/ 22 h 72"/>
              <a:gd name="T14" fmla="*/ 20 w 98"/>
              <a:gd name="T15" fmla="*/ 56 h 72"/>
              <a:gd name="T16" fmla="*/ 24 w 98"/>
              <a:gd name="T17" fmla="*/ 64 h 72"/>
              <a:gd name="T18" fmla="*/ 8 w 98"/>
              <a:gd name="T19" fmla="*/ 60 h 72"/>
              <a:gd name="T20" fmla="*/ 8 w 98"/>
              <a:gd name="T21" fmla="*/ 56 h 72"/>
              <a:gd name="T22" fmla="*/ 0 w 98"/>
              <a:gd name="T23" fmla="*/ 46 h 72"/>
              <a:gd name="T24" fmla="*/ 0 w 98"/>
              <a:gd name="T25" fmla="*/ 42 h 72"/>
              <a:gd name="T26" fmla="*/ 0 w 98"/>
              <a:gd name="T27" fmla="*/ 26 h 72"/>
              <a:gd name="T28" fmla="*/ 8 w 98"/>
              <a:gd name="T29" fmla="*/ 30 h 72"/>
              <a:gd name="T30" fmla="*/ 16 w 98"/>
              <a:gd name="T31" fmla="*/ 26 h 72"/>
              <a:gd name="T32" fmla="*/ 16 w 98"/>
              <a:gd name="T33" fmla="*/ 16 h 72"/>
              <a:gd name="T34" fmla="*/ 30 w 98"/>
              <a:gd name="T35" fmla="*/ 18 h 72"/>
              <a:gd name="T36" fmla="*/ 30 w 98"/>
              <a:gd name="T37" fmla="*/ 22 h 72"/>
              <a:gd name="T38" fmla="*/ 38 w 98"/>
              <a:gd name="T39" fmla="*/ 26 h 72"/>
              <a:gd name="T40" fmla="*/ 34 w 98"/>
              <a:gd name="T41" fmla="*/ 38 h 72"/>
              <a:gd name="T42" fmla="*/ 30 w 98"/>
              <a:gd name="T43" fmla="*/ 42 h 72"/>
              <a:gd name="T44" fmla="*/ 24 w 98"/>
              <a:gd name="T45" fmla="*/ 46 h 72"/>
              <a:gd name="T46" fmla="*/ 20 w 98"/>
              <a:gd name="T47" fmla="*/ 52 h 72"/>
              <a:gd name="T48" fmla="*/ 42 w 98"/>
              <a:gd name="T49" fmla="*/ 12 h 72"/>
              <a:gd name="T50" fmla="*/ 12 w 98"/>
              <a:gd name="T51" fmla="*/ 18 h 72"/>
              <a:gd name="T52" fmla="*/ 60 w 98"/>
              <a:gd name="T53" fmla="*/ 48 h 72"/>
              <a:gd name="T54" fmla="*/ 56 w 98"/>
              <a:gd name="T55" fmla="*/ 56 h 72"/>
              <a:gd name="T56" fmla="*/ 46 w 98"/>
              <a:gd name="T57" fmla="*/ 56 h 72"/>
              <a:gd name="T58" fmla="*/ 38 w 98"/>
              <a:gd name="T59" fmla="*/ 46 h 72"/>
              <a:gd name="T60" fmla="*/ 46 w 98"/>
              <a:gd name="T61" fmla="*/ 38 h 72"/>
              <a:gd name="T62" fmla="*/ 50 w 98"/>
              <a:gd name="T63" fmla="*/ 46 h 72"/>
              <a:gd name="T64" fmla="*/ 54 w 98"/>
              <a:gd name="T65" fmla="*/ 46 h 72"/>
              <a:gd name="T66" fmla="*/ 56 w 98"/>
              <a:gd name="T67" fmla="*/ 38 h 72"/>
              <a:gd name="T68" fmla="*/ 64 w 98"/>
              <a:gd name="T69" fmla="*/ 48 h 72"/>
              <a:gd name="T70" fmla="*/ 34 w 98"/>
              <a:gd name="T71" fmla="*/ 46 h 72"/>
              <a:gd name="T72" fmla="*/ 34 w 98"/>
              <a:gd name="T73" fmla="*/ 42 h 72"/>
              <a:gd name="T74" fmla="*/ 34 w 98"/>
              <a:gd name="T75" fmla="*/ 48 h 72"/>
              <a:gd name="T76" fmla="*/ 34 w 98"/>
              <a:gd name="T77" fmla="*/ 60 h 72"/>
              <a:gd name="T78" fmla="*/ 26 w 98"/>
              <a:gd name="T79" fmla="*/ 52 h 72"/>
              <a:gd name="T80" fmla="*/ 26 w 98"/>
              <a:gd name="T81" fmla="*/ 48 h 72"/>
              <a:gd name="T82" fmla="*/ 94 w 98"/>
              <a:gd name="T83" fmla="*/ 56 h 72"/>
              <a:gd name="T84" fmla="*/ 38 w 98"/>
              <a:gd name="T85" fmla="*/ 68 h 72"/>
              <a:gd name="T86" fmla="*/ 42 w 98"/>
              <a:gd name="T87" fmla="*/ 56 h 72"/>
              <a:gd name="T88" fmla="*/ 38 w 98"/>
              <a:gd name="T89" fmla="*/ 68 h 72"/>
              <a:gd name="T90" fmla="*/ 24 w 98"/>
              <a:gd name="T91" fmla="*/ 60 h 72"/>
              <a:gd name="T92" fmla="*/ 26 w 98"/>
              <a:gd name="T93" fmla="*/ 60 h 72"/>
              <a:gd name="T94" fmla="*/ 34 w 98"/>
              <a:gd name="T95" fmla="*/ 64 h 72"/>
              <a:gd name="T96" fmla="*/ 60 w 98"/>
              <a:gd name="T97" fmla="*/ 60 h 72"/>
              <a:gd name="T98" fmla="*/ 60 w 98"/>
              <a:gd name="T99" fmla="*/ 64 h 72"/>
              <a:gd name="T100" fmla="*/ 30 w 98"/>
              <a:gd name="T101" fmla="*/ 60 h 72"/>
              <a:gd name="T102" fmla="*/ 30 w 98"/>
              <a:gd name="T103" fmla="*/ 64 h 72"/>
              <a:gd name="T104" fmla="*/ 54 w 98"/>
              <a:gd name="T105" fmla="*/ 72 h 72"/>
              <a:gd name="T106" fmla="*/ 54 w 98"/>
              <a:gd name="T107" fmla="*/ 60 h 72"/>
              <a:gd name="T108" fmla="*/ 42 w 98"/>
              <a:gd name="T109" fmla="*/ 60 h 72"/>
              <a:gd name="T110" fmla="*/ 54 w 98"/>
              <a:gd name="T111" fmla="*/ 68 h 72"/>
              <a:gd name="T112" fmla="*/ 42 w 98"/>
              <a:gd name="T113"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8" h="72">
                <a:moveTo>
                  <a:pt x="4" y="22"/>
                </a:moveTo>
                <a:lnTo>
                  <a:pt x="8" y="22"/>
                </a:lnTo>
                <a:lnTo>
                  <a:pt x="8" y="26"/>
                </a:lnTo>
                <a:lnTo>
                  <a:pt x="4" y="26"/>
                </a:lnTo>
                <a:lnTo>
                  <a:pt x="4" y="22"/>
                </a:lnTo>
                <a:lnTo>
                  <a:pt x="0" y="22"/>
                </a:lnTo>
                <a:lnTo>
                  <a:pt x="0" y="18"/>
                </a:lnTo>
                <a:lnTo>
                  <a:pt x="4" y="18"/>
                </a:lnTo>
                <a:lnTo>
                  <a:pt x="4" y="16"/>
                </a:lnTo>
                <a:lnTo>
                  <a:pt x="8" y="16"/>
                </a:lnTo>
                <a:lnTo>
                  <a:pt x="12" y="16"/>
                </a:lnTo>
                <a:lnTo>
                  <a:pt x="16" y="16"/>
                </a:lnTo>
                <a:lnTo>
                  <a:pt x="20" y="16"/>
                </a:lnTo>
                <a:lnTo>
                  <a:pt x="20" y="12"/>
                </a:lnTo>
                <a:lnTo>
                  <a:pt x="24" y="12"/>
                </a:lnTo>
                <a:lnTo>
                  <a:pt x="24" y="8"/>
                </a:lnTo>
                <a:lnTo>
                  <a:pt x="26" y="4"/>
                </a:lnTo>
                <a:lnTo>
                  <a:pt x="30" y="4"/>
                </a:lnTo>
                <a:lnTo>
                  <a:pt x="34" y="0"/>
                </a:lnTo>
                <a:lnTo>
                  <a:pt x="34" y="4"/>
                </a:lnTo>
                <a:lnTo>
                  <a:pt x="34" y="8"/>
                </a:lnTo>
                <a:lnTo>
                  <a:pt x="34" y="12"/>
                </a:lnTo>
                <a:lnTo>
                  <a:pt x="34" y="16"/>
                </a:lnTo>
                <a:lnTo>
                  <a:pt x="30" y="18"/>
                </a:lnTo>
                <a:lnTo>
                  <a:pt x="30" y="16"/>
                </a:lnTo>
                <a:lnTo>
                  <a:pt x="26" y="16"/>
                </a:lnTo>
                <a:lnTo>
                  <a:pt x="20" y="16"/>
                </a:lnTo>
                <a:lnTo>
                  <a:pt x="16" y="16"/>
                </a:lnTo>
                <a:lnTo>
                  <a:pt x="16" y="18"/>
                </a:lnTo>
                <a:lnTo>
                  <a:pt x="16" y="16"/>
                </a:lnTo>
                <a:lnTo>
                  <a:pt x="12" y="16"/>
                </a:lnTo>
                <a:lnTo>
                  <a:pt x="12" y="18"/>
                </a:lnTo>
                <a:lnTo>
                  <a:pt x="8" y="18"/>
                </a:lnTo>
                <a:lnTo>
                  <a:pt x="8" y="22"/>
                </a:lnTo>
                <a:lnTo>
                  <a:pt x="4" y="22"/>
                </a:lnTo>
                <a:lnTo>
                  <a:pt x="4" y="22"/>
                </a:lnTo>
                <a:lnTo>
                  <a:pt x="4" y="22"/>
                </a:lnTo>
                <a:close/>
                <a:moveTo>
                  <a:pt x="20" y="52"/>
                </a:moveTo>
                <a:lnTo>
                  <a:pt x="24" y="56"/>
                </a:lnTo>
                <a:lnTo>
                  <a:pt x="20" y="56"/>
                </a:lnTo>
                <a:lnTo>
                  <a:pt x="20" y="60"/>
                </a:lnTo>
                <a:lnTo>
                  <a:pt x="24" y="60"/>
                </a:lnTo>
                <a:lnTo>
                  <a:pt x="24" y="64"/>
                </a:lnTo>
                <a:lnTo>
                  <a:pt x="20" y="64"/>
                </a:lnTo>
                <a:lnTo>
                  <a:pt x="24" y="64"/>
                </a:lnTo>
                <a:lnTo>
                  <a:pt x="20" y="64"/>
                </a:lnTo>
                <a:lnTo>
                  <a:pt x="16" y="64"/>
                </a:lnTo>
                <a:lnTo>
                  <a:pt x="12" y="64"/>
                </a:lnTo>
                <a:lnTo>
                  <a:pt x="8" y="64"/>
                </a:lnTo>
                <a:lnTo>
                  <a:pt x="8" y="60"/>
                </a:lnTo>
                <a:lnTo>
                  <a:pt x="4" y="60"/>
                </a:lnTo>
                <a:lnTo>
                  <a:pt x="4" y="56"/>
                </a:lnTo>
                <a:lnTo>
                  <a:pt x="8" y="56"/>
                </a:lnTo>
                <a:lnTo>
                  <a:pt x="4" y="56"/>
                </a:lnTo>
                <a:lnTo>
                  <a:pt x="8" y="56"/>
                </a:lnTo>
                <a:lnTo>
                  <a:pt x="8" y="52"/>
                </a:lnTo>
                <a:lnTo>
                  <a:pt x="4" y="52"/>
                </a:lnTo>
                <a:lnTo>
                  <a:pt x="4" y="48"/>
                </a:lnTo>
                <a:lnTo>
                  <a:pt x="0" y="48"/>
                </a:lnTo>
                <a:lnTo>
                  <a:pt x="0" y="46"/>
                </a:lnTo>
                <a:lnTo>
                  <a:pt x="0" y="42"/>
                </a:lnTo>
                <a:lnTo>
                  <a:pt x="0" y="38"/>
                </a:lnTo>
                <a:lnTo>
                  <a:pt x="0" y="42"/>
                </a:lnTo>
                <a:lnTo>
                  <a:pt x="0" y="46"/>
                </a:lnTo>
                <a:lnTo>
                  <a:pt x="0" y="42"/>
                </a:lnTo>
                <a:lnTo>
                  <a:pt x="4" y="42"/>
                </a:lnTo>
                <a:lnTo>
                  <a:pt x="4" y="38"/>
                </a:lnTo>
                <a:lnTo>
                  <a:pt x="0" y="38"/>
                </a:lnTo>
                <a:lnTo>
                  <a:pt x="0" y="30"/>
                </a:lnTo>
                <a:lnTo>
                  <a:pt x="0" y="26"/>
                </a:lnTo>
                <a:lnTo>
                  <a:pt x="0" y="22"/>
                </a:lnTo>
                <a:lnTo>
                  <a:pt x="0" y="26"/>
                </a:lnTo>
                <a:lnTo>
                  <a:pt x="4" y="26"/>
                </a:lnTo>
                <a:lnTo>
                  <a:pt x="8" y="26"/>
                </a:lnTo>
                <a:lnTo>
                  <a:pt x="8" y="30"/>
                </a:lnTo>
                <a:lnTo>
                  <a:pt x="8" y="26"/>
                </a:lnTo>
                <a:lnTo>
                  <a:pt x="12" y="22"/>
                </a:lnTo>
                <a:lnTo>
                  <a:pt x="16" y="22"/>
                </a:lnTo>
                <a:lnTo>
                  <a:pt x="12" y="26"/>
                </a:lnTo>
                <a:lnTo>
                  <a:pt x="16" y="26"/>
                </a:lnTo>
                <a:lnTo>
                  <a:pt x="20" y="26"/>
                </a:lnTo>
                <a:lnTo>
                  <a:pt x="16" y="26"/>
                </a:lnTo>
                <a:lnTo>
                  <a:pt x="16" y="22"/>
                </a:lnTo>
                <a:lnTo>
                  <a:pt x="16" y="18"/>
                </a:lnTo>
                <a:lnTo>
                  <a:pt x="16" y="16"/>
                </a:lnTo>
                <a:lnTo>
                  <a:pt x="20" y="16"/>
                </a:lnTo>
                <a:lnTo>
                  <a:pt x="24" y="16"/>
                </a:lnTo>
                <a:lnTo>
                  <a:pt x="26" y="16"/>
                </a:lnTo>
                <a:lnTo>
                  <a:pt x="30" y="16"/>
                </a:lnTo>
                <a:lnTo>
                  <a:pt x="30" y="18"/>
                </a:lnTo>
                <a:lnTo>
                  <a:pt x="30" y="22"/>
                </a:lnTo>
                <a:lnTo>
                  <a:pt x="24" y="26"/>
                </a:lnTo>
                <a:lnTo>
                  <a:pt x="26" y="26"/>
                </a:lnTo>
                <a:lnTo>
                  <a:pt x="26" y="22"/>
                </a:lnTo>
                <a:lnTo>
                  <a:pt x="30" y="22"/>
                </a:lnTo>
                <a:lnTo>
                  <a:pt x="30" y="26"/>
                </a:lnTo>
                <a:lnTo>
                  <a:pt x="30" y="30"/>
                </a:lnTo>
                <a:lnTo>
                  <a:pt x="30" y="26"/>
                </a:lnTo>
                <a:lnTo>
                  <a:pt x="34" y="26"/>
                </a:lnTo>
                <a:lnTo>
                  <a:pt x="38" y="26"/>
                </a:lnTo>
                <a:lnTo>
                  <a:pt x="42" y="30"/>
                </a:lnTo>
                <a:lnTo>
                  <a:pt x="38" y="30"/>
                </a:lnTo>
                <a:lnTo>
                  <a:pt x="38" y="34"/>
                </a:lnTo>
                <a:lnTo>
                  <a:pt x="34" y="34"/>
                </a:lnTo>
                <a:lnTo>
                  <a:pt x="34" y="38"/>
                </a:lnTo>
                <a:lnTo>
                  <a:pt x="30" y="34"/>
                </a:lnTo>
                <a:lnTo>
                  <a:pt x="34" y="34"/>
                </a:lnTo>
                <a:lnTo>
                  <a:pt x="30" y="34"/>
                </a:lnTo>
                <a:lnTo>
                  <a:pt x="30" y="38"/>
                </a:lnTo>
                <a:lnTo>
                  <a:pt x="30" y="42"/>
                </a:lnTo>
                <a:lnTo>
                  <a:pt x="26" y="42"/>
                </a:lnTo>
                <a:lnTo>
                  <a:pt x="24" y="42"/>
                </a:lnTo>
                <a:lnTo>
                  <a:pt x="26" y="42"/>
                </a:lnTo>
                <a:lnTo>
                  <a:pt x="26" y="46"/>
                </a:lnTo>
                <a:lnTo>
                  <a:pt x="24" y="46"/>
                </a:lnTo>
                <a:lnTo>
                  <a:pt x="20" y="46"/>
                </a:lnTo>
                <a:lnTo>
                  <a:pt x="24" y="46"/>
                </a:lnTo>
                <a:lnTo>
                  <a:pt x="24" y="48"/>
                </a:lnTo>
                <a:lnTo>
                  <a:pt x="20" y="52"/>
                </a:lnTo>
                <a:lnTo>
                  <a:pt x="20" y="52"/>
                </a:lnTo>
                <a:lnTo>
                  <a:pt x="20" y="52"/>
                </a:lnTo>
                <a:close/>
                <a:moveTo>
                  <a:pt x="42" y="12"/>
                </a:moveTo>
                <a:lnTo>
                  <a:pt x="38" y="12"/>
                </a:lnTo>
                <a:lnTo>
                  <a:pt x="42" y="12"/>
                </a:lnTo>
                <a:lnTo>
                  <a:pt x="42" y="12"/>
                </a:lnTo>
                <a:lnTo>
                  <a:pt x="42" y="12"/>
                </a:lnTo>
                <a:close/>
                <a:moveTo>
                  <a:pt x="8" y="22"/>
                </a:moveTo>
                <a:lnTo>
                  <a:pt x="4" y="22"/>
                </a:lnTo>
                <a:lnTo>
                  <a:pt x="8" y="18"/>
                </a:lnTo>
                <a:lnTo>
                  <a:pt x="12" y="18"/>
                </a:lnTo>
                <a:lnTo>
                  <a:pt x="12" y="22"/>
                </a:lnTo>
                <a:lnTo>
                  <a:pt x="8" y="22"/>
                </a:lnTo>
                <a:lnTo>
                  <a:pt x="8" y="22"/>
                </a:lnTo>
                <a:lnTo>
                  <a:pt x="8" y="22"/>
                </a:lnTo>
                <a:close/>
                <a:moveTo>
                  <a:pt x="60" y="48"/>
                </a:moveTo>
                <a:lnTo>
                  <a:pt x="56" y="48"/>
                </a:lnTo>
                <a:lnTo>
                  <a:pt x="56" y="52"/>
                </a:lnTo>
                <a:lnTo>
                  <a:pt x="60" y="52"/>
                </a:lnTo>
                <a:lnTo>
                  <a:pt x="60" y="56"/>
                </a:lnTo>
                <a:lnTo>
                  <a:pt x="56" y="56"/>
                </a:lnTo>
                <a:lnTo>
                  <a:pt x="56" y="60"/>
                </a:lnTo>
                <a:lnTo>
                  <a:pt x="54" y="60"/>
                </a:lnTo>
                <a:lnTo>
                  <a:pt x="54" y="56"/>
                </a:lnTo>
                <a:lnTo>
                  <a:pt x="50" y="56"/>
                </a:lnTo>
                <a:lnTo>
                  <a:pt x="46" y="56"/>
                </a:lnTo>
                <a:lnTo>
                  <a:pt x="42" y="52"/>
                </a:lnTo>
                <a:lnTo>
                  <a:pt x="46" y="52"/>
                </a:lnTo>
                <a:lnTo>
                  <a:pt x="42" y="48"/>
                </a:lnTo>
                <a:lnTo>
                  <a:pt x="42" y="46"/>
                </a:lnTo>
                <a:lnTo>
                  <a:pt x="38" y="46"/>
                </a:lnTo>
                <a:lnTo>
                  <a:pt x="42" y="46"/>
                </a:lnTo>
                <a:lnTo>
                  <a:pt x="46" y="46"/>
                </a:lnTo>
                <a:lnTo>
                  <a:pt x="50" y="42"/>
                </a:lnTo>
                <a:lnTo>
                  <a:pt x="46" y="42"/>
                </a:lnTo>
                <a:lnTo>
                  <a:pt x="46" y="38"/>
                </a:lnTo>
                <a:lnTo>
                  <a:pt x="46" y="42"/>
                </a:lnTo>
                <a:lnTo>
                  <a:pt x="50" y="42"/>
                </a:lnTo>
                <a:lnTo>
                  <a:pt x="54" y="42"/>
                </a:lnTo>
                <a:lnTo>
                  <a:pt x="50" y="42"/>
                </a:lnTo>
                <a:lnTo>
                  <a:pt x="50" y="46"/>
                </a:lnTo>
                <a:lnTo>
                  <a:pt x="54" y="46"/>
                </a:lnTo>
                <a:lnTo>
                  <a:pt x="54" y="42"/>
                </a:lnTo>
                <a:lnTo>
                  <a:pt x="56" y="42"/>
                </a:lnTo>
                <a:lnTo>
                  <a:pt x="56" y="46"/>
                </a:lnTo>
                <a:lnTo>
                  <a:pt x="54" y="46"/>
                </a:lnTo>
                <a:lnTo>
                  <a:pt x="56" y="46"/>
                </a:lnTo>
                <a:lnTo>
                  <a:pt x="56" y="42"/>
                </a:lnTo>
                <a:lnTo>
                  <a:pt x="54" y="42"/>
                </a:lnTo>
                <a:lnTo>
                  <a:pt x="54" y="38"/>
                </a:lnTo>
                <a:lnTo>
                  <a:pt x="56" y="38"/>
                </a:lnTo>
                <a:lnTo>
                  <a:pt x="60" y="38"/>
                </a:lnTo>
                <a:lnTo>
                  <a:pt x="64" y="38"/>
                </a:lnTo>
                <a:lnTo>
                  <a:pt x="64" y="42"/>
                </a:lnTo>
                <a:lnTo>
                  <a:pt x="64" y="46"/>
                </a:lnTo>
                <a:lnTo>
                  <a:pt x="64" y="48"/>
                </a:lnTo>
                <a:lnTo>
                  <a:pt x="60" y="48"/>
                </a:lnTo>
                <a:lnTo>
                  <a:pt x="60" y="48"/>
                </a:lnTo>
                <a:lnTo>
                  <a:pt x="60" y="48"/>
                </a:lnTo>
                <a:close/>
                <a:moveTo>
                  <a:pt x="34" y="42"/>
                </a:moveTo>
                <a:lnTo>
                  <a:pt x="34" y="46"/>
                </a:lnTo>
                <a:lnTo>
                  <a:pt x="34" y="42"/>
                </a:lnTo>
                <a:lnTo>
                  <a:pt x="34" y="38"/>
                </a:lnTo>
                <a:lnTo>
                  <a:pt x="34" y="42"/>
                </a:lnTo>
                <a:lnTo>
                  <a:pt x="34" y="42"/>
                </a:lnTo>
                <a:lnTo>
                  <a:pt x="34" y="42"/>
                </a:lnTo>
                <a:close/>
                <a:moveTo>
                  <a:pt x="26" y="48"/>
                </a:moveTo>
                <a:lnTo>
                  <a:pt x="30" y="48"/>
                </a:lnTo>
                <a:lnTo>
                  <a:pt x="34" y="48"/>
                </a:lnTo>
                <a:lnTo>
                  <a:pt x="34" y="52"/>
                </a:lnTo>
                <a:lnTo>
                  <a:pt x="34" y="48"/>
                </a:lnTo>
                <a:lnTo>
                  <a:pt x="38" y="48"/>
                </a:lnTo>
                <a:lnTo>
                  <a:pt x="38" y="52"/>
                </a:lnTo>
                <a:lnTo>
                  <a:pt x="38" y="56"/>
                </a:lnTo>
                <a:lnTo>
                  <a:pt x="38" y="60"/>
                </a:lnTo>
                <a:lnTo>
                  <a:pt x="34" y="60"/>
                </a:lnTo>
                <a:lnTo>
                  <a:pt x="30" y="60"/>
                </a:lnTo>
                <a:lnTo>
                  <a:pt x="26" y="60"/>
                </a:lnTo>
                <a:lnTo>
                  <a:pt x="30" y="56"/>
                </a:lnTo>
                <a:lnTo>
                  <a:pt x="26" y="56"/>
                </a:lnTo>
                <a:lnTo>
                  <a:pt x="26" y="52"/>
                </a:lnTo>
                <a:lnTo>
                  <a:pt x="24" y="52"/>
                </a:lnTo>
                <a:lnTo>
                  <a:pt x="24" y="48"/>
                </a:lnTo>
                <a:lnTo>
                  <a:pt x="26" y="48"/>
                </a:lnTo>
                <a:lnTo>
                  <a:pt x="26" y="48"/>
                </a:lnTo>
                <a:lnTo>
                  <a:pt x="26" y="48"/>
                </a:lnTo>
                <a:close/>
                <a:moveTo>
                  <a:pt x="98" y="60"/>
                </a:moveTo>
                <a:lnTo>
                  <a:pt x="94" y="60"/>
                </a:lnTo>
                <a:lnTo>
                  <a:pt x="94" y="56"/>
                </a:lnTo>
                <a:lnTo>
                  <a:pt x="94" y="52"/>
                </a:lnTo>
                <a:lnTo>
                  <a:pt x="94" y="56"/>
                </a:lnTo>
                <a:lnTo>
                  <a:pt x="98" y="56"/>
                </a:lnTo>
                <a:lnTo>
                  <a:pt x="98" y="60"/>
                </a:lnTo>
                <a:lnTo>
                  <a:pt x="98" y="60"/>
                </a:lnTo>
                <a:lnTo>
                  <a:pt x="98" y="60"/>
                </a:lnTo>
                <a:close/>
                <a:moveTo>
                  <a:pt x="38" y="68"/>
                </a:moveTo>
                <a:lnTo>
                  <a:pt x="34" y="64"/>
                </a:lnTo>
                <a:lnTo>
                  <a:pt x="38" y="64"/>
                </a:lnTo>
                <a:lnTo>
                  <a:pt x="38" y="60"/>
                </a:lnTo>
                <a:lnTo>
                  <a:pt x="38" y="56"/>
                </a:lnTo>
                <a:lnTo>
                  <a:pt x="42" y="56"/>
                </a:lnTo>
                <a:lnTo>
                  <a:pt x="42" y="60"/>
                </a:lnTo>
                <a:lnTo>
                  <a:pt x="38" y="60"/>
                </a:lnTo>
                <a:lnTo>
                  <a:pt x="38" y="64"/>
                </a:lnTo>
                <a:lnTo>
                  <a:pt x="38" y="68"/>
                </a:lnTo>
                <a:lnTo>
                  <a:pt x="38" y="68"/>
                </a:lnTo>
                <a:lnTo>
                  <a:pt x="38" y="68"/>
                </a:lnTo>
                <a:close/>
                <a:moveTo>
                  <a:pt x="26" y="60"/>
                </a:moveTo>
                <a:lnTo>
                  <a:pt x="26" y="64"/>
                </a:lnTo>
                <a:lnTo>
                  <a:pt x="24" y="64"/>
                </a:lnTo>
                <a:lnTo>
                  <a:pt x="24" y="60"/>
                </a:lnTo>
                <a:lnTo>
                  <a:pt x="24" y="64"/>
                </a:lnTo>
                <a:lnTo>
                  <a:pt x="24" y="60"/>
                </a:lnTo>
                <a:lnTo>
                  <a:pt x="26" y="60"/>
                </a:lnTo>
                <a:lnTo>
                  <a:pt x="26" y="60"/>
                </a:lnTo>
                <a:lnTo>
                  <a:pt x="26" y="60"/>
                </a:lnTo>
                <a:close/>
                <a:moveTo>
                  <a:pt x="34" y="64"/>
                </a:moveTo>
                <a:lnTo>
                  <a:pt x="34" y="60"/>
                </a:lnTo>
                <a:lnTo>
                  <a:pt x="38" y="60"/>
                </a:lnTo>
                <a:lnTo>
                  <a:pt x="34" y="60"/>
                </a:lnTo>
                <a:lnTo>
                  <a:pt x="34" y="64"/>
                </a:lnTo>
                <a:lnTo>
                  <a:pt x="34" y="64"/>
                </a:lnTo>
                <a:lnTo>
                  <a:pt x="34" y="64"/>
                </a:lnTo>
                <a:close/>
                <a:moveTo>
                  <a:pt x="56" y="64"/>
                </a:moveTo>
                <a:lnTo>
                  <a:pt x="56" y="60"/>
                </a:lnTo>
                <a:lnTo>
                  <a:pt x="60" y="60"/>
                </a:lnTo>
                <a:lnTo>
                  <a:pt x="64" y="60"/>
                </a:lnTo>
                <a:lnTo>
                  <a:pt x="64" y="64"/>
                </a:lnTo>
                <a:lnTo>
                  <a:pt x="60" y="64"/>
                </a:lnTo>
                <a:lnTo>
                  <a:pt x="60" y="60"/>
                </a:lnTo>
                <a:lnTo>
                  <a:pt x="60" y="64"/>
                </a:lnTo>
                <a:lnTo>
                  <a:pt x="56" y="64"/>
                </a:lnTo>
                <a:lnTo>
                  <a:pt x="56" y="64"/>
                </a:lnTo>
                <a:lnTo>
                  <a:pt x="56" y="64"/>
                </a:lnTo>
                <a:close/>
                <a:moveTo>
                  <a:pt x="30" y="64"/>
                </a:moveTo>
                <a:lnTo>
                  <a:pt x="30" y="60"/>
                </a:lnTo>
                <a:lnTo>
                  <a:pt x="30" y="64"/>
                </a:lnTo>
                <a:lnTo>
                  <a:pt x="34" y="64"/>
                </a:lnTo>
                <a:lnTo>
                  <a:pt x="30" y="64"/>
                </a:lnTo>
                <a:lnTo>
                  <a:pt x="30" y="64"/>
                </a:lnTo>
                <a:lnTo>
                  <a:pt x="30" y="64"/>
                </a:lnTo>
                <a:close/>
                <a:moveTo>
                  <a:pt x="54" y="64"/>
                </a:moveTo>
                <a:lnTo>
                  <a:pt x="56" y="64"/>
                </a:lnTo>
                <a:lnTo>
                  <a:pt x="56" y="68"/>
                </a:lnTo>
                <a:lnTo>
                  <a:pt x="54" y="68"/>
                </a:lnTo>
                <a:lnTo>
                  <a:pt x="54" y="72"/>
                </a:lnTo>
                <a:lnTo>
                  <a:pt x="54" y="68"/>
                </a:lnTo>
                <a:lnTo>
                  <a:pt x="54" y="64"/>
                </a:lnTo>
                <a:lnTo>
                  <a:pt x="50" y="64"/>
                </a:lnTo>
                <a:lnTo>
                  <a:pt x="54" y="64"/>
                </a:lnTo>
                <a:lnTo>
                  <a:pt x="54" y="60"/>
                </a:lnTo>
                <a:lnTo>
                  <a:pt x="54" y="64"/>
                </a:lnTo>
                <a:lnTo>
                  <a:pt x="54" y="64"/>
                </a:lnTo>
                <a:lnTo>
                  <a:pt x="54" y="64"/>
                </a:lnTo>
                <a:close/>
                <a:moveTo>
                  <a:pt x="42" y="64"/>
                </a:moveTo>
                <a:lnTo>
                  <a:pt x="42" y="60"/>
                </a:lnTo>
                <a:lnTo>
                  <a:pt x="46" y="60"/>
                </a:lnTo>
                <a:lnTo>
                  <a:pt x="46" y="64"/>
                </a:lnTo>
                <a:lnTo>
                  <a:pt x="50" y="64"/>
                </a:lnTo>
                <a:lnTo>
                  <a:pt x="54" y="64"/>
                </a:lnTo>
                <a:lnTo>
                  <a:pt x="54" y="68"/>
                </a:lnTo>
                <a:lnTo>
                  <a:pt x="50" y="68"/>
                </a:lnTo>
                <a:lnTo>
                  <a:pt x="46" y="68"/>
                </a:lnTo>
                <a:lnTo>
                  <a:pt x="42" y="68"/>
                </a:lnTo>
                <a:lnTo>
                  <a:pt x="42" y="64"/>
                </a:lnTo>
                <a:lnTo>
                  <a:pt x="42" y="64"/>
                </a:lnTo>
                <a:lnTo>
                  <a:pt x="42" y="64"/>
                </a:lnTo>
                <a:close/>
              </a:path>
            </a:pathLst>
          </a:custGeom>
          <a:solidFill>
            <a:srgbClr val="A0DCFF"/>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90" name="Freeform 97"/>
          <p:cNvSpPr>
            <a:spLocks noEditPoints="1"/>
          </p:cNvSpPr>
          <p:nvPr/>
        </p:nvSpPr>
        <p:spPr bwMode="auto">
          <a:xfrm>
            <a:off x="4624388" y="2359818"/>
            <a:ext cx="107156" cy="57150"/>
          </a:xfrm>
          <a:custGeom>
            <a:avLst/>
            <a:gdLst>
              <a:gd name="T0" fmla="*/ 90 w 90"/>
              <a:gd name="T1" fmla="*/ 12 h 48"/>
              <a:gd name="T2" fmla="*/ 88 w 90"/>
              <a:gd name="T3" fmla="*/ 12 h 48"/>
              <a:gd name="T4" fmla="*/ 84 w 90"/>
              <a:gd name="T5" fmla="*/ 18 h 48"/>
              <a:gd name="T6" fmla="*/ 80 w 90"/>
              <a:gd name="T7" fmla="*/ 22 h 48"/>
              <a:gd name="T8" fmla="*/ 84 w 90"/>
              <a:gd name="T9" fmla="*/ 30 h 48"/>
              <a:gd name="T10" fmla="*/ 84 w 90"/>
              <a:gd name="T11" fmla="*/ 36 h 48"/>
              <a:gd name="T12" fmla="*/ 88 w 90"/>
              <a:gd name="T13" fmla="*/ 40 h 48"/>
              <a:gd name="T14" fmla="*/ 84 w 90"/>
              <a:gd name="T15" fmla="*/ 44 h 48"/>
              <a:gd name="T16" fmla="*/ 76 w 90"/>
              <a:gd name="T17" fmla="*/ 48 h 48"/>
              <a:gd name="T18" fmla="*/ 68 w 90"/>
              <a:gd name="T19" fmla="*/ 48 h 48"/>
              <a:gd name="T20" fmla="*/ 60 w 90"/>
              <a:gd name="T21" fmla="*/ 44 h 48"/>
              <a:gd name="T22" fmla="*/ 54 w 90"/>
              <a:gd name="T23" fmla="*/ 36 h 48"/>
              <a:gd name="T24" fmla="*/ 50 w 90"/>
              <a:gd name="T25" fmla="*/ 36 h 48"/>
              <a:gd name="T26" fmla="*/ 46 w 90"/>
              <a:gd name="T27" fmla="*/ 36 h 48"/>
              <a:gd name="T28" fmla="*/ 34 w 90"/>
              <a:gd name="T29" fmla="*/ 40 h 48"/>
              <a:gd name="T30" fmla="*/ 38 w 90"/>
              <a:gd name="T31" fmla="*/ 36 h 48"/>
              <a:gd name="T32" fmla="*/ 38 w 90"/>
              <a:gd name="T33" fmla="*/ 34 h 48"/>
              <a:gd name="T34" fmla="*/ 34 w 90"/>
              <a:gd name="T35" fmla="*/ 30 h 48"/>
              <a:gd name="T36" fmla="*/ 30 w 90"/>
              <a:gd name="T37" fmla="*/ 34 h 48"/>
              <a:gd name="T38" fmla="*/ 28 w 90"/>
              <a:gd name="T39" fmla="*/ 30 h 48"/>
              <a:gd name="T40" fmla="*/ 28 w 90"/>
              <a:gd name="T41" fmla="*/ 22 h 48"/>
              <a:gd name="T42" fmla="*/ 24 w 90"/>
              <a:gd name="T43" fmla="*/ 18 h 48"/>
              <a:gd name="T44" fmla="*/ 28 w 90"/>
              <a:gd name="T45" fmla="*/ 14 h 48"/>
              <a:gd name="T46" fmla="*/ 24 w 90"/>
              <a:gd name="T47" fmla="*/ 14 h 48"/>
              <a:gd name="T48" fmla="*/ 28 w 90"/>
              <a:gd name="T49" fmla="*/ 12 h 48"/>
              <a:gd name="T50" fmla="*/ 30 w 90"/>
              <a:gd name="T51" fmla="*/ 12 h 48"/>
              <a:gd name="T52" fmla="*/ 34 w 90"/>
              <a:gd name="T53" fmla="*/ 8 h 48"/>
              <a:gd name="T54" fmla="*/ 38 w 90"/>
              <a:gd name="T55" fmla="*/ 8 h 48"/>
              <a:gd name="T56" fmla="*/ 46 w 90"/>
              <a:gd name="T57" fmla="*/ 4 h 48"/>
              <a:gd name="T58" fmla="*/ 50 w 90"/>
              <a:gd name="T59" fmla="*/ 8 h 48"/>
              <a:gd name="T60" fmla="*/ 58 w 90"/>
              <a:gd name="T61" fmla="*/ 4 h 48"/>
              <a:gd name="T62" fmla="*/ 60 w 90"/>
              <a:gd name="T63" fmla="*/ 4 h 48"/>
              <a:gd name="T64" fmla="*/ 68 w 90"/>
              <a:gd name="T65" fmla="*/ 4 h 48"/>
              <a:gd name="T66" fmla="*/ 72 w 90"/>
              <a:gd name="T67" fmla="*/ 8 h 48"/>
              <a:gd name="T68" fmla="*/ 76 w 90"/>
              <a:gd name="T69" fmla="*/ 8 h 48"/>
              <a:gd name="T70" fmla="*/ 88 w 90"/>
              <a:gd name="T71" fmla="*/ 8 h 48"/>
              <a:gd name="T72" fmla="*/ 88 w 90"/>
              <a:gd name="T73" fmla="*/ 8 h 48"/>
              <a:gd name="T74" fmla="*/ 8 w 90"/>
              <a:gd name="T75" fmla="*/ 22 h 48"/>
              <a:gd name="T76" fmla="*/ 8 w 90"/>
              <a:gd name="T77" fmla="*/ 18 h 48"/>
              <a:gd name="T78" fmla="*/ 4 w 90"/>
              <a:gd name="T79" fmla="*/ 18 h 48"/>
              <a:gd name="T80" fmla="*/ 8 w 90"/>
              <a:gd name="T81" fmla="*/ 18 h 48"/>
              <a:gd name="T82" fmla="*/ 12 w 90"/>
              <a:gd name="T83" fmla="*/ 18 h 48"/>
              <a:gd name="T84" fmla="*/ 16 w 90"/>
              <a:gd name="T85" fmla="*/ 18 h 48"/>
              <a:gd name="T86" fmla="*/ 16 w 90"/>
              <a:gd name="T87" fmla="*/ 22 h 48"/>
              <a:gd name="T88" fmla="*/ 12 w 90"/>
              <a:gd name="T89" fmla="*/ 22 h 48"/>
              <a:gd name="T90" fmla="*/ 12 w 90"/>
              <a:gd name="T91" fmla="*/ 22 h 48"/>
              <a:gd name="T92" fmla="*/ 12 w 90"/>
              <a:gd name="T93" fmla="*/ 22 h 48"/>
              <a:gd name="T94" fmla="*/ 24 w 90"/>
              <a:gd name="T95" fmla="*/ 14 h 48"/>
              <a:gd name="T96" fmla="*/ 20 w 90"/>
              <a:gd name="T97" fmla="*/ 18 h 48"/>
              <a:gd name="T98" fmla="*/ 20 w 90"/>
              <a:gd name="T99" fmla="*/ 14 h 48"/>
              <a:gd name="T100" fmla="*/ 20 w 90"/>
              <a:gd name="T101" fmla="*/ 14 h 48"/>
              <a:gd name="T102" fmla="*/ 24 w 90"/>
              <a:gd name="T103" fmla="*/ 26 h 48"/>
              <a:gd name="T104" fmla="*/ 20 w 90"/>
              <a:gd name="T105" fmla="*/ 26 h 48"/>
              <a:gd name="T106" fmla="*/ 20 w 90"/>
              <a:gd name="T107" fmla="*/ 22 h 48"/>
              <a:gd name="T108" fmla="*/ 4 w 90"/>
              <a:gd name="T109" fmla="*/ 36 h 48"/>
              <a:gd name="T110" fmla="*/ 0 w 90"/>
              <a:gd name="T111" fmla="*/ 34 h 48"/>
              <a:gd name="T112" fmla="*/ 0 w 90"/>
              <a:gd name="T113" fmla="*/ 30 h 48"/>
              <a:gd name="T114" fmla="*/ 8 w 90"/>
              <a:gd name="T115" fmla="*/ 26 h 48"/>
              <a:gd name="T116" fmla="*/ 20 w 90"/>
              <a:gd name="T117" fmla="*/ 26 h 48"/>
              <a:gd name="T118" fmla="*/ 20 w 90"/>
              <a:gd name="T119" fmla="*/ 30 h 48"/>
              <a:gd name="T120" fmla="*/ 8 w 90"/>
              <a:gd name="T121" fmla="*/ 34 h 48"/>
              <a:gd name="T122" fmla="*/ 4 w 90"/>
              <a:gd name="T123" fmla="*/ 4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0" h="48">
                <a:moveTo>
                  <a:pt x="88" y="8"/>
                </a:moveTo>
                <a:lnTo>
                  <a:pt x="88" y="8"/>
                </a:lnTo>
                <a:lnTo>
                  <a:pt x="90" y="8"/>
                </a:lnTo>
                <a:lnTo>
                  <a:pt x="90" y="8"/>
                </a:lnTo>
                <a:lnTo>
                  <a:pt x="90" y="8"/>
                </a:lnTo>
                <a:lnTo>
                  <a:pt x="90" y="8"/>
                </a:lnTo>
                <a:lnTo>
                  <a:pt x="90" y="12"/>
                </a:lnTo>
                <a:lnTo>
                  <a:pt x="90" y="12"/>
                </a:lnTo>
                <a:lnTo>
                  <a:pt x="90" y="12"/>
                </a:lnTo>
                <a:lnTo>
                  <a:pt x="90" y="12"/>
                </a:lnTo>
                <a:lnTo>
                  <a:pt x="88" y="12"/>
                </a:lnTo>
                <a:lnTo>
                  <a:pt x="88" y="12"/>
                </a:lnTo>
                <a:lnTo>
                  <a:pt x="88" y="12"/>
                </a:lnTo>
                <a:lnTo>
                  <a:pt x="88" y="12"/>
                </a:lnTo>
                <a:lnTo>
                  <a:pt x="88" y="12"/>
                </a:lnTo>
                <a:lnTo>
                  <a:pt x="88" y="12"/>
                </a:lnTo>
                <a:lnTo>
                  <a:pt x="88" y="14"/>
                </a:lnTo>
                <a:lnTo>
                  <a:pt x="88" y="14"/>
                </a:lnTo>
                <a:lnTo>
                  <a:pt x="84" y="14"/>
                </a:lnTo>
                <a:lnTo>
                  <a:pt x="84" y="18"/>
                </a:lnTo>
                <a:lnTo>
                  <a:pt x="84" y="18"/>
                </a:lnTo>
                <a:lnTo>
                  <a:pt x="84" y="18"/>
                </a:lnTo>
                <a:lnTo>
                  <a:pt x="84" y="18"/>
                </a:lnTo>
                <a:lnTo>
                  <a:pt x="80" y="18"/>
                </a:lnTo>
                <a:lnTo>
                  <a:pt x="80" y="18"/>
                </a:lnTo>
                <a:lnTo>
                  <a:pt x="80" y="22"/>
                </a:lnTo>
                <a:lnTo>
                  <a:pt x="80" y="22"/>
                </a:lnTo>
                <a:lnTo>
                  <a:pt x="80" y="22"/>
                </a:lnTo>
                <a:lnTo>
                  <a:pt x="80" y="22"/>
                </a:lnTo>
                <a:lnTo>
                  <a:pt x="80" y="26"/>
                </a:lnTo>
                <a:lnTo>
                  <a:pt x="80" y="26"/>
                </a:lnTo>
                <a:lnTo>
                  <a:pt x="80" y="30"/>
                </a:lnTo>
                <a:lnTo>
                  <a:pt x="80" y="30"/>
                </a:lnTo>
                <a:lnTo>
                  <a:pt x="84" y="30"/>
                </a:lnTo>
                <a:lnTo>
                  <a:pt x="84" y="30"/>
                </a:lnTo>
                <a:lnTo>
                  <a:pt x="84" y="30"/>
                </a:lnTo>
                <a:lnTo>
                  <a:pt x="80" y="30"/>
                </a:lnTo>
                <a:lnTo>
                  <a:pt x="80" y="34"/>
                </a:lnTo>
                <a:lnTo>
                  <a:pt x="80" y="34"/>
                </a:lnTo>
                <a:lnTo>
                  <a:pt x="80" y="34"/>
                </a:lnTo>
                <a:lnTo>
                  <a:pt x="84" y="36"/>
                </a:lnTo>
                <a:lnTo>
                  <a:pt x="84" y="36"/>
                </a:lnTo>
                <a:lnTo>
                  <a:pt x="84" y="36"/>
                </a:lnTo>
                <a:lnTo>
                  <a:pt x="84" y="36"/>
                </a:lnTo>
                <a:lnTo>
                  <a:pt x="84" y="36"/>
                </a:lnTo>
                <a:lnTo>
                  <a:pt x="84" y="40"/>
                </a:lnTo>
                <a:lnTo>
                  <a:pt x="84" y="40"/>
                </a:lnTo>
                <a:lnTo>
                  <a:pt x="88" y="40"/>
                </a:lnTo>
                <a:lnTo>
                  <a:pt x="88" y="40"/>
                </a:lnTo>
                <a:lnTo>
                  <a:pt x="84" y="40"/>
                </a:lnTo>
                <a:lnTo>
                  <a:pt x="84" y="44"/>
                </a:lnTo>
                <a:lnTo>
                  <a:pt x="84" y="44"/>
                </a:lnTo>
                <a:lnTo>
                  <a:pt x="84" y="44"/>
                </a:lnTo>
                <a:lnTo>
                  <a:pt x="84" y="44"/>
                </a:lnTo>
                <a:lnTo>
                  <a:pt x="84" y="44"/>
                </a:lnTo>
                <a:lnTo>
                  <a:pt x="84" y="44"/>
                </a:lnTo>
                <a:lnTo>
                  <a:pt x="80" y="44"/>
                </a:lnTo>
                <a:lnTo>
                  <a:pt x="80" y="48"/>
                </a:lnTo>
                <a:lnTo>
                  <a:pt x="80" y="48"/>
                </a:lnTo>
                <a:lnTo>
                  <a:pt x="80" y="48"/>
                </a:lnTo>
                <a:lnTo>
                  <a:pt x="80" y="48"/>
                </a:lnTo>
                <a:lnTo>
                  <a:pt x="76" y="48"/>
                </a:lnTo>
                <a:lnTo>
                  <a:pt x="76" y="48"/>
                </a:lnTo>
                <a:lnTo>
                  <a:pt x="76" y="48"/>
                </a:lnTo>
                <a:lnTo>
                  <a:pt x="72" y="48"/>
                </a:lnTo>
                <a:lnTo>
                  <a:pt x="72" y="48"/>
                </a:lnTo>
                <a:lnTo>
                  <a:pt x="72" y="48"/>
                </a:lnTo>
                <a:lnTo>
                  <a:pt x="72" y="48"/>
                </a:lnTo>
                <a:lnTo>
                  <a:pt x="68" y="48"/>
                </a:lnTo>
                <a:lnTo>
                  <a:pt x="68" y="48"/>
                </a:lnTo>
                <a:lnTo>
                  <a:pt x="68" y="48"/>
                </a:lnTo>
                <a:lnTo>
                  <a:pt x="68" y="48"/>
                </a:lnTo>
                <a:lnTo>
                  <a:pt x="68" y="48"/>
                </a:lnTo>
                <a:lnTo>
                  <a:pt x="64" y="48"/>
                </a:lnTo>
                <a:lnTo>
                  <a:pt x="64" y="48"/>
                </a:lnTo>
                <a:lnTo>
                  <a:pt x="60" y="44"/>
                </a:lnTo>
                <a:lnTo>
                  <a:pt x="60" y="44"/>
                </a:lnTo>
                <a:lnTo>
                  <a:pt x="58" y="40"/>
                </a:lnTo>
                <a:lnTo>
                  <a:pt x="58" y="40"/>
                </a:lnTo>
                <a:lnTo>
                  <a:pt x="58" y="40"/>
                </a:lnTo>
                <a:lnTo>
                  <a:pt x="58" y="40"/>
                </a:lnTo>
                <a:lnTo>
                  <a:pt x="54" y="40"/>
                </a:lnTo>
                <a:lnTo>
                  <a:pt x="54" y="40"/>
                </a:lnTo>
                <a:lnTo>
                  <a:pt x="54" y="36"/>
                </a:lnTo>
                <a:lnTo>
                  <a:pt x="50" y="36"/>
                </a:lnTo>
                <a:lnTo>
                  <a:pt x="50" y="36"/>
                </a:lnTo>
                <a:lnTo>
                  <a:pt x="50" y="36"/>
                </a:lnTo>
                <a:lnTo>
                  <a:pt x="50" y="36"/>
                </a:lnTo>
                <a:lnTo>
                  <a:pt x="50" y="40"/>
                </a:lnTo>
                <a:lnTo>
                  <a:pt x="50" y="40"/>
                </a:lnTo>
                <a:lnTo>
                  <a:pt x="50" y="36"/>
                </a:lnTo>
                <a:lnTo>
                  <a:pt x="50" y="36"/>
                </a:lnTo>
                <a:lnTo>
                  <a:pt x="50" y="36"/>
                </a:lnTo>
                <a:lnTo>
                  <a:pt x="50" y="36"/>
                </a:lnTo>
                <a:lnTo>
                  <a:pt x="46" y="36"/>
                </a:lnTo>
                <a:lnTo>
                  <a:pt x="46" y="36"/>
                </a:lnTo>
                <a:lnTo>
                  <a:pt x="46" y="36"/>
                </a:lnTo>
                <a:lnTo>
                  <a:pt x="46" y="36"/>
                </a:lnTo>
                <a:lnTo>
                  <a:pt x="46" y="36"/>
                </a:lnTo>
                <a:lnTo>
                  <a:pt x="42" y="40"/>
                </a:lnTo>
                <a:lnTo>
                  <a:pt x="38" y="40"/>
                </a:lnTo>
                <a:lnTo>
                  <a:pt x="38" y="40"/>
                </a:lnTo>
                <a:lnTo>
                  <a:pt x="38" y="40"/>
                </a:lnTo>
                <a:lnTo>
                  <a:pt x="38" y="40"/>
                </a:lnTo>
                <a:lnTo>
                  <a:pt x="34" y="40"/>
                </a:lnTo>
                <a:lnTo>
                  <a:pt x="34" y="40"/>
                </a:lnTo>
                <a:lnTo>
                  <a:pt x="34" y="40"/>
                </a:lnTo>
                <a:lnTo>
                  <a:pt x="34" y="40"/>
                </a:lnTo>
                <a:lnTo>
                  <a:pt x="34" y="40"/>
                </a:lnTo>
                <a:lnTo>
                  <a:pt x="38" y="40"/>
                </a:lnTo>
                <a:lnTo>
                  <a:pt x="38" y="36"/>
                </a:lnTo>
                <a:lnTo>
                  <a:pt x="38" y="36"/>
                </a:lnTo>
                <a:lnTo>
                  <a:pt x="38" y="36"/>
                </a:lnTo>
                <a:lnTo>
                  <a:pt x="38" y="36"/>
                </a:lnTo>
                <a:lnTo>
                  <a:pt x="38" y="36"/>
                </a:lnTo>
                <a:lnTo>
                  <a:pt x="38" y="34"/>
                </a:lnTo>
                <a:lnTo>
                  <a:pt x="38" y="34"/>
                </a:lnTo>
                <a:lnTo>
                  <a:pt x="38" y="34"/>
                </a:lnTo>
                <a:lnTo>
                  <a:pt x="38" y="34"/>
                </a:lnTo>
                <a:lnTo>
                  <a:pt x="38" y="34"/>
                </a:lnTo>
                <a:lnTo>
                  <a:pt x="38" y="34"/>
                </a:lnTo>
                <a:lnTo>
                  <a:pt x="38" y="30"/>
                </a:lnTo>
                <a:lnTo>
                  <a:pt x="38" y="30"/>
                </a:lnTo>
                <a:lnTo>
                  <a:pt x="38" y="30"/>
                </a:lnTo>
                <a:lnTo>
                  <a:pt x="38" y="30"/>
                </a:lnTo>
                <a:lnTo>
                  <a:pt x="34" y="30"/>
                </a:lnTo>
                <a:lnTo>
                  <a:pt x="34" y="30"/>
                </a:lnTo>
                <a:lnTo>
                  <a:pt x="34" y="30"/>
                </a:lnTo>
                <a:lnTo>
                  <a:pt x="34" y="34"/>
                </a:lnTo>
                <a:lnTo>
                  <a:pt x="34" y="34"/>
                </a:lnTo>
                <a:lnTo>
                  <a:pt x="30" y="34"/>
                </a:lnTo>
                <a:lnTo>
                  <a:pt x="30" y="34"/>
                </a:lnTo>
                <a:lnTo>
                  <a:pt x="30" y="34"/>
                </a:lnTo>
                <a:lnTo>
                  <a:pt x="30" y="34"/>
                </a:lnTo>
                <a:lnTo>
                  <a:pt x="30" y="34"/>
                </a:lnTo>
                <a:lnTo>
                  <a:pt x="30" y="34"/>
                </a:lnTo>
                <a:lnTo>
                  <a:pt x="28" y="30"/>
                </a:lnTo>
                <a:lnTo>
                  <a:pt x="28" y="30"/>
                </a:lnTo>
                <a:lnTo>
                  <a:pt x="28" y="30"/>
                </a:lnTo>
                <a:lnTo>
                  <a:pt x="28" y="30"/>
                </a:lnTo>
                <a:lnTo>
                  <a:pt x="28" y="26"/>
                </a:lnTo>
                <a:lnTo>
                  <a:pt x="24" y="26"/>
                </a:lnTo>
                <a:lnTo>
                  <a:pt x="24" y="26"/>
                </a:lnTo>
                <a:lnTo>
                  <a:pt x="24" y="22"/>
                </a:lnTo>
                <a:lnTo>
                  <a:pt x="24" y="22"/>
                </a:lnTo>
                <a:lnTo>
                  <a:pt x="24" y="22"/>
                </a:lnTo>
                <a:lnTo>
                  <a:pt x="28" y="22"/>
                </a:lnTo>
                <a:lnTo>
                  <a:pt x="28" y="22"/>
                </a:lnTo>
                <a:lnTo>
                  <a:pt x="30" y="22"/>
                </a:lnTo>
                <a:lnTo>
                  <a:pt x="28" y="22"/>
                </a:lnTo>
                <a:lnTo>
                  <a:pt x="28" y="22"/>
                </a:lnTo>
                <a:lnTo>
                  <a:pt x="28" y="22"/>
                </a:lnTo>
                <a:lnTo>
                  <a:pt x="24" y="22"/>
                </a:lnTo>
                <a:lnTo>
                  <a:pt x="24" y="18"/>
                </a:lnTo>
                <a:lnTo>
                  <a:pt x="24" y="18"/>
                </a:lnTo>
                <a:lnTo>
                  <a:pt x="24" y="18"/>
                </a:lnTo>
                <a:lnTo>
                  <a:pt x="24" y="18"/>
                </a:lnTo>
                <a:lnTo>
                  <a:pt x="24" y="18"/>
                </a:lnTo>
                <a:lnTo>
                  <a:pt x="28" y="18"/>
                </a:lnTo>
                <a:lnTo>
                  <a:pt x="28" y="14"/>
                </a:lnTo>
                <a:lnTo>
                  <a:pt x="28" y="14"/>
                </a:lnTo>
                <a:lnTo>
                  <a:pt x="24" y="14"/>
                </a:lnTo>
                <a:lnTo>
                  <a:pt x="28" y="14"/>
                </a:lnTo>
                <a:lnTo>
                  <a:pt x="24" y="18"/>
                </a:lnTo>
                <a:lnTo>
                  <a:pt x="24" y="18"/>
                </a:lnTo>
                <a:lnTo>
                  <a:pt x="24" y="18"/>
                </a:lnTo>
                <a:lnTo>
                  <a:pt x="24" y="18"/>
                </a:lnTo>
                <a:lnTo>
                  <a:pt x="24" y="14"/>
                </a:lnTo>
                <a:lnTo>
                  <a:pt x="24" y="14"/>
                </a:lnTo>
                <a:lnTo>
                  <a:pt x="24" y="14"/>
                </a:lnTo>
                <a:lnTo>
                  <a:pt x="24" y="12"/>
                </a:lnTo>
                <a:lnTo>
                  <a:pt x="24" y="12"/>
                </a:lnTo>
                <a:lnTo>
                  <a:pt x="28" y="12"/>
                </a:lnTo>
                <a:lnTo>
                  <a:pt x="28" y="12"/>
                </a:lnTo>
                <a:lnTo>
                  <a:pt x="28" y="12"/>
                </a:lnTo>
                <a:lnTo>
                  <a:pt x="28" y="12"/>
                </a:lnTo>
                <a:lnTo>
                  <a:pt x="28" y="12"/>
                </a:lnTo>
                <a:lnTo>
                  <a:pt x="28" y="12"/>
                </a:lnTo>
                <a:lnTo>
                  <a:pt x="28" y="12"/>
                </a:lnTo>
                <a:lnTo>
                  <a:pt x="30" y="12"/>
                </a:lnTo>
                <a:lnTo>
                  <a:pt x="30" y="12"/>
                </a:lnTo>
                <a:lnTo>
                  <a:pt x="30" y="12"/>
                </a:lnTo>
                <a:lnTo>
                  <a:pt x="30" y="12"/>
                </a:lnTo>
                <a:lnTo>
                  <a:pt x="30" y="8"/>
                </a:lnTo>
                <a:lnTo>
                  <a:pt x="30" y="8"/>
                </a:lnTo>
                <a:lnTo>
                  <a:pt x="30" y="8"/>
                </a:lnTo>
                <a:lnTo>
                  <a:pt x="30" y="8"/>
                </a:lnTo>
                <a:lnTo>
                  <a:pt x="34" y="8"/>
                </a:lnTo>
                <a:lnTo>
                  <a:pt x="34" y="8"/>
                </a:lnTo>
                <a:lnTo>
                  <a:pt x="34" y="8"/>
                </a:lnTo>
                <a:lnTo>
                  <a:pt x="34" y="8"/>
                </a:lnTo>
                <a:lnTo>
                  <a:pt x="34" y="8"/>
                </a:lnTo>
                <a:lnTo>
                  <a:pt x="34" y="8"/>
                </a:lnTo>
                <a:lnTo>
                  <a:pt x="34" y="8"/>
                </a:lnTo>
                <a:lnTo>
                  <a:pt x="38" y="8"/>
                </a:lnTo>
                <a:lnTo>
                  <a:pt x="38" y="8"/>
                </a:lnTo>
                <a:lnTo>
                  <a:pt x="42" y="8"/>
                </a:lnTo>
                <a:lnTo>
                  <a:pt x="42" y="4"/>
                </a:lnTo>
                <a:lnTo>
                  <a:pt x="42" y="4"/>
                </a:lnTo>
                <a:lnTo>
                  <a:pt x="42" y="4"/>
                </a:lnTo>
                <a:lnTo>
                  <a:pt x="42" y="4"/>
                </a:lnTo>
                <a:lnTo>
                  <a:pt x="42" y="4"/>
                </a:lnTo>
                <a:lnTo>
                  <a:pt x="46" y="4"/>
                </a:lnTo>
                <a:lnTo>
                  <a:pt x="46" y="4"/>
                </a:lnTo>
                <a:lnTo>
                  <a:pt x="46" y="4"/>
                </a:lnTo>
                <a:lnTo>
                  <a:pt x="46" y="4"/>
                </a:lnTo>
                <a:lnTo>
                  <a:pt x="50" y="4"/>
                </a:lnTo>
                <a:lnTo>
                  <a:pt x="50" y="4"/>
                </a:lnTo>
                <a:lnTo>
                  <a:pt x="50" y="4"/>
                </a:lnTo>
                <a:lnTo>
                  <a:pt x="50" y="8"/>
                </a:lnTo>
                <a:lnTo>
                  <a:pt x="50" y="8"/>
                </a:lnTo>
                <a:lnTo>
                  <a:pt x="54" y="4"/>
                </a:lnTo>
                <a:lnTo>
                  <a:pt x="54" y="4"/>
                </a:lnTo>
                <a:lnTo>
                  <a:pt x="54" y="4"/>
                </a:lnTo>
                <a:lnTo>
                  <a:pt x="54" y="4"/>
                </a:lnTo>
                <a:lnTo>
                  <a:pt x="54" y="4"/>
                </a:lnTo>
                <a:lnTo>
                  <a:pt x="58" y="4"/>
                </a:lnTo>
                <a:lnTo>
                  <a:pt x="58" y="4"/>
                </a:lnTo>
                <a:lnTo>
                  <a:pt x="54" y="4"/>
                </a:lnTo>
                <a:lnTo>
                  <a:pt x="54" y="0"/>
                </a:lnTo>
                <a:lnTo>
                  <a:pt x="58" y="0"/>
                </a:lnTo>
                <a:lnTo>
                  <a:pt x="58" y="4"/>
                </a:lnTo>
                <a:lnTo>
                  <a:pt x="58" y="4"/>
                </a:lnTo>
                <a:lnTo>
                  <a:pt x="60" y="4"/>
                </a:lnTo>
                <a:lnTo>
                  <a:pt x="60" y="4"/>
                </a:lnTo>
                <a:lnTo>
                  <a:pt x="60" y="4"/>
                </a:lnTo>
                <a:lnTo>
                  <a:pt x="64" y="4"/>
                </a:lnTo>
                <a:lnTo>
                  <a:pt x="64" y="4"/>
                </a:lnTo>
                <a:lnTo>
                  <a:pt x="64" y="4"/>
                </a:lnTo>
                <a:lnTo>
                  <a:pt x="68" y="4"/>
                </a:lnTo>
                <a:lnTo>
                  <a:pt x="68" y="4"/>
                </a:lnTo>
                <a:lnTo>
                  <a:pt x="68" y="4"/>
                </a:lnTo>
                <a:lnTo>
                  <a:pt x="68" y="4"/>
                </a:lnTo>
                <a:lnTo>
                  <a:pt x="68" y="4"/>
                </a:lnTo>
                <a:lnTo>
                  <a:pt x="68" y="4"/>
                </a:lnTo>
                <a:lnTo>
                  <a:pt x="68" y="4"/>
                </a:lnTo>
                <a:lnTo>
                  <a:pt x="72" y="4"/>
                </a:lnTo>
                <a:lnTo>
                  <a:pt x="72" y="8"/>
                </a:lnTo>
                <a:lnTo>
                  <a:pt x="72" y="8"/>
                </a:lnTo>
                <a:lnTo>
                  <a:pt x="72" y="8"/>
                </a:lnTo>
                <a:lnTo>
                  <a:pt x="72" y="8"/>
                </a:lnTo>
                <a:lnTo>
                  <a:pt x="72" y="8"/>
                </a:lnTo>
                <a:lnTo>
                  <a:pt x="76" y="8"/>
                </a:lnTo>
                <a:lnTo>
                  <a:pt x="76" y="8"/>
                </a:lnTo>
                <a:lnTo>
                  <a:pt x="76" y="8"/>
                </a:lnTo>
                <a:lnTo>
                  <a:pt x="80" y="8"/>
                </a:lnTo>
                <a:lnTo>
                  <a:pt x="80" y="8"/>
                </a:lnTo>
                <a:lnTo>
                  <a:pt x="80" y="8"/>
                </a:lnTo>
                <a:lnTo>
                  <a:pt x="80" y="8"/>
                </a:lnTo>
                <a:lnTo>
                  <a:pt x="80" y="8"/>
                </a:lnTo>
                <a:lnTo>
                  <a:pt x="84" y="8"/>
                </a:lnTo>
                <a:lnTo>
                  <a:pt x="88" y="8"/>
                </a:lnTo>
                <a:lnTo>
                  <a:pt x="88" y="8"/>
                </a:lnTo>
                <a:lnTo>
                  <a:pt x="88" y="8"/>
                </a:lnTo>
                <a:lnTo>
                  <a:pt x="88" y="8"/>
                </a:lnTo>
                <a:lnTo>
                  <a:pt x="88" y="8"/>
                </a:lnTo>
                <a:lnTo>
                  <a:pt x="88" y="8"/>
                </a:lnTo>
                <a:lnTo>
                  <a:pt x="88" y="8"/>
                </a:lnTo>
                <a:lnTo>
                  <a:pt x="88" y="8"/>
                </a:lnTo>
                <a:lnTo>
                  <a:pt x="88" y="8"/>
                </a:lnTo>
                <a:close/>
                <a:moveTo>
                  <a:pt x="12" y="22"/>
                </a:moveTo>
                <a:lnTo>
                  <a:pt x="12" y="22"/>
                </a:lnTo>
                <a:lnTo>
                  <a:pt x="12" y="22"/>
                </a:lnTo>
                <a:lnTo>
                  <a:pt x="8" y="22"/>
                </a:lnTo>
                <a:lnTo>
                  <a:pt x="8" y="22"/>
                </a:lnTo>
                <a:lnTo>
                  <a:pt x="8" y="22"/>
                </a:lnTo>
                <a:lnTo>
                  <a:pt x="8" y="22"/>
                </a:lnTo>
                <a:lnTo>
                  <a:pt x="8" y="22"/>
                </a:lnTo>
                <a:lnTo>
                  <a:pt x="8" y="18"/>
                </a:lnTo>
                <a:lnTo>
                  <a:pt x="8" y="18"/>
                </a:lnTo>
                <a:lnTo>
                  <a:pt x="8" y="18"/>
                </a:lnTo>
                <a:lnTo>
                  <a:pt x="8" y="18"/>
                </a:lnTo>
                <a:lnTo>
                  <a:pt x="8" y="18"/>
                </a:lnTo>
                <a:lnTo>
                  <a:pt x="8" y="18"/>
                </a:lnTo>
                <a:lnTo>
                  <a:pt x="4" y="18"/>
                </a:lnTo>
                <a:lnTo>
                  <a:pt x="4" y="18"/>
                </a:lnTo>
                <a:lnTo>
                  <a:pt x="4" y="18"/>
                </a:lnTo>
                <a:lnTo>
                  <a:pt x="4" y="18"/>
                </a:lnTo>
                <a:lnTo>
                  <a:pt x="4" y="18"/>
                </a:lnTo>
                <a:lnTo>
                  <a:pt x="4" y="18"/>
                </a:lnTo>
                <a:lnTo>
                  <a:pt x="4" y="18"/>
                </a:lnTo>
                <a:lnTo>
                  <a:pt x="4" y="18"/>
                </a:lnTo>
                <a:lnTo>
                  <a:pt x="4" y="18"/>
                </a:lnTo>
                <a:lnTo>
                  <a:pt x="4" y="18"/>
                </a:lnTo>
                <a:lnTo>
                  <a:pt x="8" y="18"/>
                </a:lnTo>
                <a:lnTo>
                  <a:pt x="8" y="18"/>
                </a:lnTo>
                <a:lnTo>
                  <a:pt x="8" y="18"/>
                </a:lnTo>
                <a:lnTo>
                  <a:pt x="8" y="18"/>
                </a:lnTo>
                <a:lnTo>
                  <a:pt x="8" y="14"/>
                </a:lnTo>
                <a:lnTo>
                  <a:pt x="12" y="14"/>
                </a:lnTo>
                <a:lnTo>
                  <a:pt x="12" y="14"/>
                </a:lnTo>
                <a:lnTo>
                  <a:pt x="12" y="14"/>
                </a:lnTo>
                <a:lnTo>
                  <a:pt x="12" y="14"/>
                </a:lnTo>
                <a:lnTo>
                  <a:pt x="12" y="18"/>
                </a:lnTo>
                <a:lnTo>
                  <a:pt x="12" y="18"/>
                </a:lnTo>
                <a:lnTo>
                  <a:pt x="16" y="18"/>
                </a:lnTo>
                <a:lnTo>
                  <a:pt x="16" y="18"/>
                </a:lnTo>
                <a:lnTo>
                  <a:pt x="16" y="18"/>
                </a:lnTo>
                <a:lnTo>
                  <a:pt x="16" y="18"/>
                </a:lnTo>
                <a:lnTo>
                  <a:pt x="16" y="18"/>
                </a:lnTo>
                <a:lnTo>
                  <a:pt x="16" y="18"/>
                </a:lnTo>
                <a:lnTo>
                  <a:pt x="16" y="22"/>
                </a:lnTo>
                <a:lnTo>
                  <a:pt x="16" y="22"/>
                </a:lnTo>
                <a:lnTo>
                  <a:pt x="16" y="22"/>
                </a:lnTo>
                <a:lnTo>
                  <a:pt x="16" y="18"/>
                </a:lnTo>
                <a:lnTo>
                  <a:pt x="16" y="18"/>
                </a:lnTo>
                <a:lnTo>
                  <a:pt x="16" y="22"/>
                </a:lnTo>
                <a:lnTo>
                  <a:pt x="16" y="22"/>
                </a:lnTo>
                <a:lnTo>
                  <a:pt x="16" y="22"/>
                </a:lnTo>
                <a:lnTo>
                  <a:pt x="16" y="22"/>
                </a:lnTo>
                <a:lnTo>
                  <a:pt x="16" y="22"/>
                </a:lnTo>
                <a:lnTo>
                  <a:pt x="16" y="22"/>
                </a:lnTo>
                <a:lnTo>
                  <a:pt x="16" y="22"/>
                </a:lnTo>
                <a:lnTo>
                  <a:pt x="12" y="22"/>
                </a:lnTo>
                <a:lnTo>
                  <a:pt x="12" y="22"/>
                </a:lnTo>
                <a:lnTo>
                  <a:pt x="12" y="22"/>
                </a:lnTo>
                <a:lnTo>
                  <a:pt x="16" y="22"/>
                </a:lnTo>
                <a:lnTo>
                  <a:pt x="16" y="22"/>
                </a:lnTo>
                <a:lnTo>
                  <a:pt x="16" y="22"/>
                </a:lnTo>
                <a:lnTo>
                  <a:pt x="16" y="22"/>
                </a:lnTo>
                <a:lnTo>
                  <a:pt x="12" y="22"/>
                </a:lnTo>
                <a:lnTo>
                  <a:pt x="12" y="22"/>
                </a:lnTo>
                <a:lnTo>
                  <a:pt x="12" y="22"/>
                </a:lnTo>
                <a:lnTo>
                  <a:pt x="12" y="22"/>
                </a:lnTo>
                <a:lnTo>
                  <a:pt x="12" y="22"/>
                </a:lnTo>
                <a:lnTo>
                  <a:pt x="12" y="22"/>
                </a:lnTo>
                <a:lnTo>
                  <a:pt x="12" y="22"/>
                </a:lnTo>
                <a:lnTo>
                  <a:pt x="12" y="22"/>
                </a:lnTo>
                <a:lnTo>
                  <a:pt x="12" y="22"/>
                </a:lnTo>
                <a:lnTo>
                  <a:pt x="12" y="22"/>
                </a:lnTo>
                <a:lnTo>
                  <a:pt x="12" y="22"/>
                </a:lnTo>
                <a:lnTo>
                  <a:pt x="12" y="22"/>
                </a:lnTo>
                <a:lnTo>
                  <a:pt x="12" y="22"/>
                </a:lnTo>
                <a:close/>
                <a:moveTo>
                  <a:pt x="20" y="14"/>
                </a:moveTo>
                <a:lnTo>
                  <a:pt x="24" y="14"/>
                </a:lnTo>
                <a:lnTo>
                  <a:pt x="24" y="14"/>
                </a:lnTo>
                <a:lnTo>
                  <a:pt x="24" y="14"/>
                </a:lnTo>
                <a:lnTo>
                  <a:pt x="24" y="14"/>
                </a:lnTo>
                <a:lnTo>
                  <a:pt x="24" y="18"/>
                </a:lnTo>
                <a:lnTo>
                  <a:pt x="24" y="18"/>
                </a:lnTo>
                <a:lnTo>
                  <a:pt x="24" y="18"/>
                </a:lnTo>
                <a:lnTo>
                  <a:pt x="24" y="18"/>
                </a:lnTo>
                <a:lnTo>
                  <a:pt x="20" y="18"/>
                </a:lnTo>
                <a:lnTo>
                  <a:pt x="20" y="18"/>
                </a:lnTo>
                <a:lnTo>
                  <a:pt x="20" y="18"/>
                </a:lnTo>
                <a:lnTo>
                  <a:pt x="20" y="18"/>
                </a:lnTo>
                <a:lnTo>
                  <a:pt x="20" y="18"/>
                </a:lnTo>
                <a:lnTo>
                  <a:pt x="20" y="18"/>
                </a:lnTo>
                <a:lnTo>
                  <a:pt x="20" y="14"/>
                </a:lnTo>
                <a:lnTo>
                  <a:pt x="20" y="14"/>
                </a:lnTo>
                <a:lnTo>
                  <a:pt x="20" y="14"/>
                </a:lnTo>
                <a:lnTo>
                  <a:pt x="20" y="14"/>
                </a:lnTo>
                <a:lnTo>
                  <a:pt x="20" y="14"/>
                </a:lnTo>
                <a:lnTo>
                  <a:pt x="20" y="14"/>
                </a:lnTo>
                <a:lnTo>
                  <a:pt x="20" y="14"/>
                </a:lnTo>
                <a:lnTo>
                  <a:pt x="20" y="14"/>
                </a:lnTo>
                <a:lnTo>
                  <a:pt x="20" y="14"/>
                </a:lnTo>
                <a:close/>
                <a:moveTo>
                  <a:pt x="20" y="22"/>
                </a:moveTo>
                <a:lnTo>
                  <a:pt x="20" y="26"/>
                </a:lnTo>
                <a:lnTo>
                  <a:pt x="20" y="26"/>
                </a:lnTo>
                <a:lnTo>
                  <a:pt x="24" y="26"/>
                </a:lnTo>
                <a:lnTo>
                  <a:pt x="24" y="26"/>
                </a:lnTo>
                <a:lnTo>
                  <a:pt x="24" y="26"/>
                </a:lnTo>
                <a:lnTo>
                  <a:pt x="24" y="26"/>
                </a:lnTo>
                <a:lnTo>
                  <a:pt x="24" y="26"/>
                </a:lnTo>
                <a:lnTo>
                  <a:pt x="20" y="26"/>
                </a:lnTo>
                <a:lnTo>
                  <a:pt x="20" y="26"/>
                </a:lnTo>
                <a:lnTo>
                  <a:pt x="20" y="26"/>
                </a:lnTo>
                <a:lnTo>
                  <a:pt x="20" y="26"/>
                </a:lnTo>
                <a:lnTo>
                  <a:pt x="20" y="26"/>
                </a:lnTo>
                <a:lnTo>
                  <a:pt x="20" y="26"/>
                </a:lnTo>
                <a:lnTo>
                  <a:pt x="20" y="26"/>
                </a:lnTo>
                <a:lnTo>
                  <a:pt x="20" y="26"/>
                </a:lnTo>
                <a:lnTo>
                  <a:pt x="20" y="22"/>
                </a:lnTo>
                <a:lnTo>
                  <a:pt x="20" y="22"/>
                </a:lnTo>
                <a:lnTo>
                  <a:pt x="20" y="22"/>
                </a:lnTo>
                <a:lnTo>
                  <a:pt x="20" y="22"/>
                </a:lnTo>
                <a:lnTo>
                  <a:pt x="20" y="22"/>
                </a:lnTo>
                <a:lnTo>
                  <a:pt x="20" y="22"/>
                </a:lnTo>
                <a:lnTo>
                  <a:pt x="20" y="22"/>
                </a:lnTo>
                <a:close/>
                <a:moveTo>
                  <a:pt x="4" y="40"/>
                </a:moveTo>
                <a:lnTo>
                  <a:pt x="4" y="40"/>
                </a:lnTo>
                <a:lnTo>
                  <a:pt x="0" y="40"/>
                </a:lnTo>
                <a:lnTo>
                  <a:pt x="0" y="40"/>
                </a:lnTo>
                <a:lnTo>
                  <a:pt x="4" y="36"/>
                </a:lnTo>
                <a:lnTo>
                  <a:pt x="4" y="36"/>
                </a:lnTo>
                <a:lnTo>
                  <a:pt x="4" y="36"/>
                </a:lnTo>
                <a:lnTo>
                  <a:pt x="4" y="36"/>
                </a:lnTo>
                <a:lnTo>
                  <a:pt x="4" y="36"/>
                </a:lnTo>
                <a:lnTo>
                  <a:pt x="4" y="34"/>
                </a:lnTo>
                <a:lnTo>
                  <a:pt x="0" y="34"/>
                </a:lnTo>
                <a:lnTo>
                  <a:pt x="0" y="34"/>
                </a:lnTo>
                <a:lnTo>
                  <a:pt x="0" y="30"/>
                </a:lnTo>
                <a:lnTo>
                  <a:pt x="0" y="30"/>
                </a:lnTo>
                <a:lnTo>
                  <a:pt x="4" y="30"/>
                </a:lnTo>
                <a:lnTo>
                  <a:pt x="0" y="30"/>
                </a:lnTo>
                <a:lnTo>
                  <a:pt x="0" y="30"/>
                </a:lnTo>
                <a:lnTo>
                  <a:pt x="0" y="30"/>
                </a:lnTo>
                <a:lnTo>
                  <a:pt x="0" y="30"/>
                </a:lnTo>
                <a:lnTo>
                  <a:pt x="0" y="26"/>
                </a:lnTo>
                <a:lnTo>
                  <a:pt x="0" y="26"/>
                </a:lnTo>
                <a:lnTo>
                  <a:pt x="0" y="26"/>
                </a:lnTo>
                <a:lnTo>
                  <a:pt x="4" y="30"/>
                </a:lnTo>
                <a:lnTo>
                  <a:pt x="4" y="26"/>
                </a:lnTo>
                <a:lnTo>
                  <a:pt x="8" y="26"/>
                </a:lnTo>
                <a:lnTo>
                  <a:pt x="8" y="26"/>
                </a:lnTo>
                <a:lnTo>
                  <a:pt x="12" y="26"/>
                </a:lnTo>
                <a:lnTo>
                  <a:pt x="12" y="26"/>
                </a:lnTo>
                <a:lnTo>
                  <a:pt x="16" y="26"/>
                </a:lnTo>
                <a:lnTo>
                  <a:pt x="16" y="26"/>
                </a:lnTo>
                <a:lnTo>
                  <a:pt x="16" y="26"/>
                </a:lnTo>
                <a:lnTo>
                  <a:pt x="16" y="26"/>
                </a:lnTo>
                <a:lnTo>
                  <a:pt x="20" y="26"/>
                </a:lnTo>
                <a:lnTo>
                  <a:pt x="20" y="30"/>
                </a:lnTo>
                <a:lnTo>
                  <a:pt x="20" y="30"/>
                </a:lnTo>
                <a:lnTo>
                  <a:pt x="24" y="30"/>
                </a:lnTo>
                <a:lnTo>
                  <a:pt x="20" y="30"/>
                </a:lnTo>
                <a:lnTo>
                  <a:pt x="20" y="30"/>
                </a:lnTo>
                <a:lnTo>
                  <a:pt x="20" y="30"/>
                </a:lnTo>
                <a:lnTo>
                  <a:pt x="20" y="30"/>
                </a:lnTo>
                <a:lnTo>
                  <a:pt x="20" y="30"/>
                </a:lnTo>
                <a:lnTo>
                  <a:pt x="20" y="30"/>
                </a:lnTo>
                <a:lnTo>
                  <a:pt x="16" y="30"/>
                </a:lnTo>
                <a:lnTo>
                  <a:pt x="12" y="34"/>
                </a:lnTo>
                <a:lnTo>
                  <a:pt x="12" y="34"/>
                </a:lnTo>
                <a:lnTo>
                  <a:pt x="12" y="34"/>
                </a:lnTo>
                <a:lnTo>
                  <a:pt x="8" y="34"/>
                </a:lnTo>
                <a:lnTo>
                  <a:pt x="8" y="34"/>
                </a:lnTo>
                <a:lnTo>
                  <a:pt x="8" y="34"/>
                </a:lnTo>
                <a:lnTo>
                  <a:pt x="8" y="34"/>
                </a:lnTo>
                <a:lnTo>
                  <a:pt x="8" y="36"/>
                </a:lnTo>
                <a:lnTo>
                  <a:pt x="4" y="36"/>
                </a:lnTo>
                <a:lnTo>
                  <a:pt x="4" y="40"/>
                </a:lnTo>
                <a:lnTo>
                  <a:pt x="4" y="40"/>
                </a:lnTo>
                <a:lnTo>
                  <a:pt x="4" y="40"/>
                </a:lnTo>
                <a:lnTo>
                  <a:pt x="4" y="40"/>
                </a:lnTo>
                <a:lnTo>
                  <a:pt x="4" y="40"/>
                </a:lnTo>
                <a:lnTo>
                  <a:pt x="4" y="40"/>
                </a:lnTo>
                <a:lnTo>
                  <a:pt x="4" y="40"/>
                </a:lnTo>
                <a:close/>
              </a:path>
            </a:pathLst>
          </a:custGeom>
          <a:solidFill>
            <a:srgbClr val="A0DCFF"/>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91" name="Freeform 98"/>
          <p:cNvSpPr>
            <a:spLocks noEditPoints="1"/>
          </p:cNvSpPr>
          <p:nvPr/>
        </p:nvSpPr>
        <p:spPr bwMode="auto">
          <a:xfrm>
            <a:off x="4133850" y="2288381"/>
            <a:ext cx="16669" cy="26194"/>
          </a:xfrm>
          <a:custGeom>
            <a:avLst/>
            <a:gdLst>
              <a:gd name="T0" fmla="*/ 10 w 14"/>
              <a:gd name="T1" fmla="*/ 12 h 22"/>
              <a:gd name="T2" fmla="*/ 6 w 14"/>
              <a:gd name="T3" fmla="*/ 12 h 22"/>
              <a:gd name="T4" fmla="*/ 6 w 14"/>
              <a:gd name="T5" fmla="*/ 12 h 22"/>
              <a:gd name="T6" fmla="*/ 10 w 14"/>
              <a:gd name="T7" fmla="*/ 12 h 22"/>
              <a:gd name="T8" fmla="*/ 10 w 14"/>
              <a:gd name="T9" fmla="*/ 12 h 22"/>
              <a:gd name="T10" fmla="*/ 10 w 14"/>
              <a:gd name="T11" fmla="*/ 14 h 22"/>
              <a:gd name="T12" fmla="*/ 10 w 14"/>
              <a:gd name="T13" fmla="*/ 14 h 22"/>
              <a:gd name="T14" fmla="*/ 10 w 14"/>
              <a:gd name="T15" fmla="*/ 4 h 22"/>
              <a:gd name="T16" fmla="*/ 10 w 14"/>
              <a:gd name="T17" fmla="*/ 4 h 22"/>
              <a:gd name="T18" fmla="*/ 10 w 14"/>
              <a:gd name="T19" fmla="*/ 4 h 22"/>
              <a:gd name="T20" fmla="*/ 10 w 14"/>
              <a:gd name="T21" fmla="*/ 4 h 22"/>
              <a:gd name="T22" fmla="*/ 10 w 14"/>
              <a:gd name="T23" fmla="*/ 0 h 22"/>
              <a:gd name="T24" fmla="*/ 10 w 14"/>
              <a:gd name="T25" fmla="*/ 0 h 22"/>
              <a:gd name="T26" fmla="*/ 10 w 14"/>
              <a:gd name="T27" fmla="*/ 0 h 22"/>
              <a:gd name="T28" fmla="*/ 14 w 14"/>
              <a:gd name="T29" fmla="*/ 0 h 22"/>
              <a:gd name="T30" fmla="*/ 14 w 14"/>
              <a:gd name="T31" fmla="*/ 4 h 22"/>
              <a:gd name="T32" fmla="*/ 10 w 14"/>
              <a:gd name="T33" fmla="*/ 4 h 22"/>
              <a:gd name="T34" fmla="*/ 10 w 14"/>
              <a:gd name="T35" fmla="*/ 8 h 22"/>
              <a:gd name="T36" fmla="*/ 6 w 14"/>
              <a:gd name="T37" fmla="*/ 8 h 22"/>
              <a:gd name="T38" fmla="*/ 6 w 14"/>
              <a:gd name="T39" fmla="*/ 4 h 22"/>
              <a:gd name="T40" fmla="*/ 2 w 14"/>
              <a:gd name="T41" fmla="*/ 4 h 22"/>
              <a:gd name="T42" fmla="*/ 2 w 14"/>
              <a:gd name="T43" fmla="*/ 0 h 22"/>
              <a:gd name="T44" fmla="*/ 6 w 14"/>
              <a:gd name="T45" fmla="*/ 0 h 22"/>
              <a:gd name="T46" fmla="*/ 6 w 14"/>
              <a:gd name="T47" fmla="*/ 0 h 22"/>
              <a:gd name="T48" fmla="*/ 10 w 14"/>
              <a:gd name="T49" fmla="*/ 4 h 22"/>
              <a:gd name="T50" fmla="*/ 10 w 14"/>
              <a:gd name="T51" fmla="*/ 4 h 22"/>
              <a:gd name="T52" fmla="*/ 10 w 14"/>
              <a:gd name="T53" fmla="*/ 8 h 22"/>
              <a:gd name="T54" fmla="*/ 10 w 14"/>
              <a:gd name="T55" fmla="*/ 12 h 22"/>
              <a:gd name="T56" fmla="*/ 6 w 14"/>
              <a:gd name="T57" fmla="*/ 8 h 22"/>
              <a:gd name="T58" fmla="*/ 6 w 14"/>
              <a:gd name="T59" fmla="*/ 8 h 22"/>
              <a:gd name="T60" fmla="*/ 2 w 14"/>
              <a:gd name="T61" fmla="*/ 4 h 22"/>
              <a:gd name="T62" fmla="*/ 2 w 14"/>
              <a:gd name="T63" fmla="*/ 4 h 22"/>
              <a:gd name="T64" fmla="*/ 2 w 14"/>
              <a:gd name="T65" fmla="*/ 0 h 22"/>
              <a:gd name="T66" fmla="*/ 2 w 14"/>
              <a:gd name="T67" fmla="*/ 0 h 22"/>
              <a:gd name="T68" fmla="*/ 2 w 14"/>
              <a:gd name="T69" fmla="*/ 0 h 22"/>
              <a:gd name="T70" fmla="*/ 2 w 14"/>
              <a:gd name="T71" fmla="*/ 4 h 22"/>
              <a:gd name="T72" fmla="*/ 2 w 14"/>
              <a:gd name="T73" fmla="*/ 4 h 22"/>
              <a:gd name="T74" fmla="*/ 6 w 14"/>
              <a:gd name="T75" fmla="*/ 4 h 22"/>
              <a:gd name="T76" fmla="*/ 6 w 14"/>
              <a:gd name="T77" fmla="*/ 4 h 22"/>
              <a:gd name="T78" fmla="*/ 6 w 14"/>
              <a:gd name="T79" fmla="*/ 8 h 22"/>
              <a:gd name="T80" fmla="*/ 10 w 14"/>
              <a:gd name="T81" fmla="*/ 8 h 22"/>
              <a:gd name="T82" fmla="*/ 10 w 14"/>
              <a:gd name="T83" fmla="*/ 12 h 22"/>
              <a:gd name="T84" fmla="*/ 2 w 14"/>
              <a:gd name="T85" fmla="*/ 8 h 22"/>
              <a:gd name="T86" fmla="*/ 2 w 14"/>
              <a:gd name="T87" fmla="*/ 8 h 22"/>
              <a:gd name="T88" fmla="*/ 2 w 14"/>
              <a:gd name="T89" fmla="*/ 8 h 22"/>
              <a:gd name="T90" fmla="*/ 0 w 14"/>
              <a:gd name="T91" fmla="*/ 8 h 22"/>
              <a:gd name="T92" fmla="*/ 0 w 14"/>
              <a:gd name="T93" fmla="*/ 4 h 22"/>
              <a:gd name="T94" fmla="*/ 2 w 14"/>
              <a:gd name="T95" fmla="*/ 4 h 22"/>
              <a:gd name="T96" fmla="*/ 2 w 14"/>
              <a:gd name="T97" fmla="*/ 4 h 22"/>
              <a:gd name="T98" fmla="*/ 2 w 14"/>
              <a:gd name="T99" fmla="*/ 8 h 22"/>
              <a:gd name="T100" fmla="*/ 2 w 14"/>
              <a:gd name="T101" fmla="*/ 8 h 22"/>
              <a:gd name="T102" fmla="*/ 2 w 14"/>
              <a:gd name="T103" fmla="*/ 8 h 22"/>
              <a:gd name="T104" fmla="*/ 2 w 14"/>
              <a:gd name="T105" fmla="*/ 8 h 22"/>
              <a:gd name="T106" fmla="*/ 10 w 14"/>
              <a:gd name="T107" fmla="*/ 22 h 22"/>
              <a:gd name="T108" fmla="*/ 6 w 14"/>
              <a:gd name="T109" fmla="*/ 18 h 22"/>
              <a:gd name="T110" fmla="*/ 6 w 14"/>
              <a:gd name="T111" fmla="*/ 14 h 22"/>
              <a:gd name="T112" fmla="*/ 6 w 14"/>
              <a:gd name="T113" fmla="*/ 14 h 22"/>
              <a:gd name="T114" fmla="*/ 6 w 14"/>
              <a:gd name="T115" fmla="*/ 14 h 22"/>
              <a:gd name="T116" fmla="*/ 10 w 14"/>
              <a:gd name="T117" fmla="*/ 18 h 22"/>
              <a:gd name="T118" fmla="*/ 10 w 14"/>
              <a:gd name="T119" fmla="*/ 22 h 22"/>
              <a:gd name="T120" fmla="*/ 10 w 14"/>
              <a:gd name="T121" fmla="*/ 22 h 22"/>
              <a:gd name="T122" fmla="*/ 10 w 14"/>
              <a:gd name="T12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 h="22">
                <a:moveTo>
                  <a:pt x="10" y="14"/>
                </a:moveTo>
                <a:lnTo>
                  <a:pt x="10" y="12"/>
                </a:lnTo>
                <a:lnTo>
                  <a:pt x="6" y="12"/>
                </a:lnTo>
                <a:lnTo>
                  <a:pt x="6" y="12"/>
                </a:lnTo>
                <a:lnTo>
                  <a:pt x="6" y="12"/>
                </a:lnTo>
                <a:lnTo>
                  <a:pt x="6" y="12"/>
                </a:lnTo>
                <a:lnTo>
                  <a:pt x="6" y="12"/>
                </a:lnTo>
                <a:lnTo>
                  <a:pt x="10" y="12"/>
                </a:lnTo>
                <a:lnTo>
                  <a:pt x="10" y="12"/>
                </a:lnTo>
                <a:lnTo>
                  <a:pt x="10" y="12"/>
                </a:lnTo>
                <a:lnTo>
                  <a:pt x="10" y="14"/>
                </a:lnTo>
                <a:lnTo>
                  <a:pt x="10" y="14"/>
                </a:lnTo>
                <a:lnTo>
                  <a:pt x="10" y="14"/>
                </a:lnTo>
                <a:lnTo>
                  <a:pt x="10" y="14"/>
                </a:lnTo>
                <a:lnTo>
                  <a:pt x="10" y="14"/>
                </a:lnTo>
                <a:close/>
                <a:moveTo>
                  <a:pt x="10" y="4"/>
                </a:moveTo>
                <a:lnTo>
                  <a:pt x="10" y="4"/>
                </a:lnTo>
                <a:lnTo>
                  <a:pt x="10" y="4"/>
                </a:lnTo>
                <a:lnTo>
                  <a:pt x="10" y="4"/>
                </a:lnTo>
                <a:lnTo>
                  <a:pt x="10" y="4"/>
                </a:lnTo>
                <a:lnTo>
                  <a:pt x="10" y="4"/>
                </a:lnTo>
                <a:lnTo>
                  <a:pt x="10" y="4"/>
                </a:lnTo>
                <a:lnTo>
                  <a:pt x="10" y="0"/>
                </a:lnTo>
                <a:lnTo>
                  <a:pt x="10" y="0"/>
                </a:lnTo>
                <a:lnTo>
                  <a:pt x="10" y="0"/>
                </a:lnTo>
                <a:lnTo>
                  <a:pt x="10" y="0"/>
                </a:lnTo>
                <a:lnTo>
                  <a:pt x="10" y="0"/>
                </a:lnTo>
                <a:lnTo>
                  <a:pt x="10" y="0"/>
                </a:lnTo>
                <a:lnTo>
                  <a:pt x="14" y="0"/>
                </a:lnTo>
                <a:lnTo>
                  <a:pt x="14" y="0"/>
                </a:lnTo>
                <a:lnTo>
                  <a:pt x="14" y="4"/>
                </a:lnTo>
                <a:lnTo>
                  <a:pt x="14" y="4"/>
                </a:lnTo>
                <a:lnTo>
                  <a:pt x="10" y="4"/>
                </a:lnTo>
                <a:lnTo>
                  <a:pt x="10" y="4"/>
                </a:lnTo>
                <a:lnTo>
                  <a:pt x="10" y="4"/>
                </a:lnTo>
                <a:close/>
                <a:moveTo>
                  <a:pt x="10" y="8"/>
                </a:moveTo>
                <a:lnTo>
                  <a:pt x="10" y="8"/>
                </a:lnTo>
                <a:lnTo>
                  <a:pt x="6" y="8"/>
                </a:lnTo>
                <a:lnTo>
                  <a:pt x="6" y="4"/>
                </a:lnTo>
                <a:lnTo>
                  <a:pt x="6" y="4"/>
                </a:lnTo>
                <a:lnTo>
                  <a:pt x="6" y="4"/>
                </a:lnTo>
                <a:lnTo>
                  <a:pt x="2" y="4"/>
                </a:lnTo>
                <a:lnTo>
                  <a:pt x="2" y="4"/>
                </a:lnTo>
                <a:lnTo>
                  <a:pt x="2" y="0"/>
                </a:lnTo>
                <a:lnTo>
                  <a:pt x="2" y="0"/>
                </a:lnTo>
                <a:lnTo>
                  <a:pt x="6" y="0"/>
                </a:lnTo>
                <a:lnTo>
                  <a:pt x="6" y="0"/>
                </a:lnTo>
                <a:lnTo>
                  <a:pt x="6" y="0"/>
                </a:lnTo>
                <a:lnTo>
                  <a:pt x="6" y="0"/>
                </a:lnTo>
                <a:lnTo>
                  <a:pt x="10" y="4"/>
                </a:lnTo>
                <a:lnTo>
                  <a:pt x="10" y="4"/>
                </a:lnTo>
                <a:lnTo>
                  <a:pt x="10" y="4"/>
                </a:lnTo>
                <a:lnTo>
                  <a:pt x="10" y="8"/>
                </a:lnTo>
                <a:lnTo>
                  <a:pt x="10" y="8"/>
                </a:lnTo>
                <a:lnTo>
                  <a:pt x="10" y="8"/>
                </a:lnTo>
                <a:close/>
                <a:moveTo>
                  <a:pt x="10" y="12"/>
                </a:moveTo>
                <a:lnTo>
                  <a:pt x="6" y="12"/>
                </a:lnTo>
                <a:lnTo>
                  <a:pt x="6" y="8"/>
                </a:lnTo>
                <a:lnTo>
                  <a:pt x="6" y="8"/>
                </a:lnTo>
                <a:lnTo>
                  <a:pt x="6" y="8"/>
                </a:lnTo>
                <a:lnTo>
                  <a:pt x="2" y="4"/>
                </a:lnTo>
                <a:lnTo>
                  <a:pt x="2" y="4"/>
                </a:lnTo>
                <a:lnTo>
                  <a:pt x="2" y="4"/>
                </a:lnTo>
                <a:lnTo>
                  <a:pt x="2" y="4"/>
                </a:lnTo>
                <a:lnTo>
                  <a:pt x="2" y="0"/>
                </a:lnTo>
                <a:lnTo>
                  <a:pt x="2" y="0"/>
                </a:lnTo>
                <a:lnTo>
                  <a:pt x="2" y="0"/>
                </a:lnTo>
                <a:lnTo>
                  <a:pt x="2" y="0"/>
                </a:lnTo>
                <a:lnTo>
                  <a:pt x="2" y="0"/>
                </a:lnTo>
                <a:lnTo>
                  <a:pt x="2" y="0"/>
                </a:lnTo>
                <a:lnTo>
                  <a:pt x="2" y="0"/>
                </a:lnTo>
                <a:lnTo>
                  <a:pt x="2" y="4"/>
                </a:lnTo>
                <a:lnTo>
                  <a:pt x="2" y="4"/>
                </a:lnTo>
                <a:lnTo>
                  <a:pt x="2" y="4"/>
                </a:lnTo>
                <a:lnTo>
                  <a:pt x="6" y="4"/>
                </a:lnTo>
                <a:lnTo>
                  <a:pt x="6" y="4"/>
                </a:lnTo>
                <a:lnTo>
                  <a:pt x="6" y="4"/>
                </a:lnTo>
                <a:lnTo>
                  <a:pt x="6" y="4"/>
                </a:lnTo>
                <a:lnTo>
                  <a:pt x="6" y="8"/>
                </a:lnTo>
                <a:lnTo>
                  <a:pt x="6" y="8"/>
                </a:lnTo>
                <a:lnTo>
                  <a:pt x="10" y="8"/>
                </a:lnTo>
                <a:lnTo>
                  <a:pt x="10" y="8"/>
                </a:lnTo>
                <a:lnTo>
                  <a:pt x="10" y="12"/>
                </a:lnTo>
                <a:lnTo>
                  <a:pt x="10" y="12"/>
                </a:lnTo>
                <a:lnTo>
                  <a:pt x="10" y="12"/>
                </a:lnTo>
                <a:close/>
                <a:moveTo>
                  <a:pt x="2" y="8"/>
                </a:moveTo>
                <a:lnTo>
                  <a:pt x="2" y="8"/>
                </a:lnTo>
                <a:lnTo>
                  <a:pt x="2" y="8"/>
                </a:lnTo>
                <a:lnTo>
                  <a:pt x="2" y="8"/>
                </a:lnTo>
                <a:lnTo>
                  <a:pt x="2" y="8"/>
                </a:lnTo>
                <a:lnTo>
                  <a:pt x="0" y="8"/>
                </a:lnTo>
                <a:lnTo>
                  <a:pt x="0" y="8"/>
                </a:lnTo>
                <a:lnTo>
                  <a:pt x="0" y="8"/>
                </a:lnTo>
                <a:lnTo>
                  <a:pt x="0" y="4"/>
                </a:lnTo>
                <a:lnTo>
                  <a:pt x="0" y="4"/>
                </a:lnTo>
                <a:lnTo>
                  <a:pt x="2" y="4"/>
                </a:lnTo>
                <a:lnTo>
                  <a:pt x="2" y="4"/>
                </a:lnTo>
                <a:lnTo>
                  <a:pt x="2" y="4"/>
                </a:lnTo>
                <a:lnTo>
                  <a:pt x="2" y="8"/>
                </a:lnTo>
                <a:lnTo>
                  <a:pt x="2" y="8"/>
                </a:lnTo>
                <a:lnTo>
                  <a:pt x="2" y="8"/>
                </a:lnTo>
                <a:lnTo>
                  <a:pt x="2" y="8"/>
                </a:lnTo>
                <a:lnTo>
                  <a:pt x="2" y="8"/>
                </a:lnTo>
                <a:lnTo>
                  <a:pt x="2" y="8"/>
                </a:lnTo>
                <a:lnTo>
                  <a:pt x="2" y="8"/>
                </a:lnTo>
                <a:lnTo>
                  <a:pt x="2" y="8"/>
                </a:lnTo>
                <a:close/>
                <a:moveTo>
                  <a:pt x="10" y="22"/>
                </a:moveTo>
                <a:lnTo>
                  <a:pt x="10" y="22"/>
                </a:lnTo>
                <a:lnTo>
                  <a:pt x="10" y="22"/>
                </a:lnTo>
                <a:lnTo>
                  <a:pt x="6" y="18"/>
                </a:lnTo>
                <a:lnTo>
                  <a:pt x="6" y="18"/>
                </a:lnTo>
                <a:lnTo>
                  <a:pt x="6" y="14"/>
                </a:lnTo>
                <a:lnTo>
                  <a:pt x="6" y="14"/>
                </a:lnTo>
                <a:lnTo>
                  <a:pt x="6" y="14"/>
                </a:lnTo>
                <a:lnTo>
                  <a:pt x="6" y="14"/>
                </a:lnTo>
                <a:lnTo>
                  <a:pt x="6" y="14"/>
                </a:lnTo>
                <a:lnTo>
                  <a:pt x="6" y="18"/>
                </a:lnTo>
                <a:lnTo>
                  <a:pt x="10" y="18"/>
                </a:lnTo>
                <a:lnTo>
                  <a:pt x="10" y="22"/>
                </a:lnTo>
                <a:lnTo>
                  <a:pt x="10" y="22"/>
                </a:lnTo>
                <a:lnTo>
                  <a:pt x="10" y="22"/>
                </a:lnTo>
                <a:lnTo>
                  <a:pt x="10" y="22"/>
                </a:lnTo>
                <a:lnTo>
                  <a:pt x="10" y="22"/>
                </a:lnTo>
                <a:lnTo>
                  <a:pt x="10" y="22"/>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92" name="Freeform 99"/>
          <p:cNvSpPr>
            <a:spLocks noEditPoints="1"/>
          </p:cNvSpPr>
          <p:nvPr/>
        </p:nvSpPr>
        <p:spPr bwMode="auto">
          <a:xfrm>
            <a:off x="4586287" y="2062162"/>
            <a:ext cx="204788" cy="297656"/>
          </a:xfrm>
          <a:custGeom>
            <a:avLst/>
            <a:gdLst>
              <a:gd name="T0" fmla="*/ 44 w 172"/>
              <a:gd name="T1" fmla="*/ 238 h 250"/>
              <a:gd name="T2" fmla="*/ 30 w 172"/>
              <a:gd name="T3" fmla="*/ 232 h 250"/>
              <a:gd name="T4" fmla="*/ 30 w 172"/>
              <a:gd name="T5" fmla="*/ 212 h 250"/>
              <a:gd name="T6" fmla="*/ 26 w 172"/>
              <a:gd name="T7" fmla="*/ 202 h 250"/>
              <a:gd name="T8" fmla="*/ 22 w 172"/>
              <a:gd name="T9" fmla="*/ 180 h 250"/>
              <a:gd name="T10" fmla="*/ 30 w 172"/>
              <a:gd name="T11" fmla="*/ 172 h 250"/>
              <a:gd name="T12" fmla="*/ 40 w 172"/>
              <a:gd name="T13" fmla="*/ 164 h 250"/>
              <a:gd name="T14" fmla="*/ 56 w 172"/>
              <a:gd name="T15" fmla="*/ 154 h 250"/>
              <a:gd name="T16" fmla="*/ 66 w 172"/>
              <a:gd name="T17" fmla="*/ 138 h 250"/>
              <a:gd name="T18" fmla="*/ 86 w 172"/>
              <a:gd name="T19" fmla="*/ 128 h 250"/>
              <a:gd name="T20" fmla="*/ 78 w 172"/>
              <a:gd name="T21" fmla="*/ 116 h 250"/>
              <a:gd name="T22" fmla="*/ 66 w 172"/>
              <a:gd name="T23" fmla="*/ 108 h 250"/>
              <a:gd name="T24" fmla="*/ 64 w 172"/>
              <a:gd name="T25" fmla="*/ 86 h 250"/>
              <a:gd name="T26" fmla="*/ 56 w 172"/>
              <a:gd name="T27" fmla="*/ 64 h 250"/>
              <a:gd name="T28" fmla="*/ 40 w 172"/>
              <a:gd name="T29" fmla="*/ 42 h 250"/>
              <a:gd name="T30" fmla="*/ 22 w 172"/>
              <a:gd name="T31" fmla="*/ 34 h 250"/>
              <a:gd name="T32" fmla="*/ 22 w 172"/>
              <a:gd name="T33" fmla="*/ 22 h 250"/>
              <a:gd name="T34" fmla="*/ 40 w 172"/>
              <a:gd name="T35" fmla="*/ 38 h 250"/>
              <a:gd name="T36" fmla="*/ 64 w 172"/>
              <a:gd name="T37" fmla="*/ 34 h 250"/>
              <a:gd name="T38" fmla="*/ 78 w 172"/>
              <a:gd name="T39" fmla="*/ 34 h 250"/>
              <a:gd name="T40" fmla="*/ 90 w 172"/>
              <a:gd name="T41" fmla="*/ 26 h 250"/>
              <a:gd name="T42" fmla="*/ 94 w 172"/>
              <a:gd name="T43" fmla="*/ 12 h 250"/>
              <a:gd name="T44" fmla="*/ 112 w 172"/>
              <a:gd name="T45" fmla="*/ 4 h 250"/>
              <a:gd name="T46" fmla="*/ 130 w 172"/>
              <a:gd name="T47" fmla="*/ 12 h 250"/>
              <a:gd name="T48" fmla="*/ 130 w 172"/>
              <a:gd name="T49" fmla="*/ 22 h 250"/>
              <a:gd name="T50" fmla="*/ 130 w 172"/>
              <a:gd name="T51" fmla="*/ 34 h 250"/>
              <a:gd name="T52" fmla="*/ 142 w 172"/>
              <a:gd name="T53" fmla="*/ 56 h 250"/>
              <a:gd name="T54" fmla="*/ 138 w 172"/>
              <a:gd name="T55" fmla="*/ 78 h 250"/>
              <a:gd name="T56" fmla="*/ 144 w 172"/>
              <a:gd name="T57" fmla="*/ 98 h 250"/>
              <a:gd name="T58" fmla="*/ 144 w 172"/>
              <a:gd name="T59" fmla="*/ 116 h 250"/>
              <a:gd name="T60" fmla="*/ 142 w 172"/>
              <a:gd name="T61" fmla="*/ 132 h 250"/>
              <a:gd name="T62" fmla="*/ 152 w 172"/>
              <a:gd name="T63" fmla="*/ 142 h 250"/>
              <a:gd name="T64" fmla="*/ 148 w 172"/>
              <a:gd name="T65" fmla="*/ 158 h 250"/>
              <a:gd name="T66" fmla="*/ 172 w 172"/>
              <a:gd name="T67" fmla="*/ 176 h 250"/>
              <a:gd name="T68" fmla="*/ 160 w 172"/>
              <a:gd name="T69" fmla="*/ 194 h 250"/>
              <a:gd name="T70" fmla="*/ 142 w 172"/>
              <a:gd name="T71" fmla="*/ 212 h 250"/>
              <a:gd name="T72" fmla="*/ 122 w 172"/>
              <a:gd name="T73" fmla="*/ 224 h 250"/>
              <a:gd name="T74" fmla="*/ 108 w 172"/>
              <a:gd name="T75" fmla="*/ 232 h 250"/>
              <a:gd name="T76" fmla="*/ 100 w 172"/>
              <a:gd name="T77" fmla="*/ 228 h 250"/>
              <a:gd name="T78" fmla="*/ 90 w 172"/>
              <a:gd name="T79" fmla="*/ 236 h 250"/>
              <a:gd name="T80" fmla="*/ 82 w 172"/>
              <a:gd name="T81" fmla="*/ 238 h 250"/>
              <a:gd name="T82" fmla="*/ 66 w 172"/>
              <a:gd name="T83" fmla="*/ 242 h 250"/>
              <a:gd name="T84" fmla="*/ 48 w 172"/>
              <a:gd name="T85" fmla="*/ 250 h 250"/>
              <a:gd name="T86" fmla="*/ 48 w 172"/>
              <a:gd name="T87" fmla="*/ 242 h 250"/>
              <a:gd name="T88" fmla="*/ 78 w 172"/>
              <a:gd name="T89" fmla="*/ 128 h 250"/>
              <a:gd name="T90" fmla="*/ 48 w 172"/>
              <a:gd name="T91" fmla="*/ 158 h 250"/>
              <a:gd name="T92" fmla="*/ 26 w 172"/>
              <a:gd name="T93" fmla="*/ 172 h 250"/>
              <a:gd name="T94" fmla="*/ 2 w 172"/>
              <a:gd name="T95" fmla="*/ 236 h 250"/>
              <a:gd name="T96" fmla="*/ 6 w 172"/>
              <a:gd name="T97" fmla="*/ 242 h 250"/>
              <a:gd name="T98" fmla="*/ 0 w 172"/>
              <a:gd name="T99" fmla="*/ 242 h 250"/>
              <a:gd name="T100" fmla="*/ 44 w 172"/>
              <a:gd name="T101" fmla="*/ 242 h 250"/>
              <a:gd name="T102" fmla="*/ 44 w 172"/>
              <a:gd name="T103" fmla="*/ 246 h 250"/>
              <a:gd name="T104" fmla="*/ 34 w 172"/>
              <a:gd name="T105" fmla="*/ 242 h 250"/>
              <a:gd name="T106" fmla="*/ 6 w 172"/>
              <a:gd name="T107" fmla="*/ 242 h 250"/>
              <a:gd name="T108" fmla="*/ 56 w 172"/>
              <a:gd name="T109" fmla="*/ 246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2" h="250">
                <a:moveTo>
                  <a:pt x="48" y="242"/>
                </a:moveTo>
                <a:lnTo>
                  <a:pt x="48" y="238"/>
                </a:lnTo>
                <a:lnTo>
                  <a:pt x="52" y="236"/>
                </a:lnTo>
                <a:lnTo>
                  <a:pt x="48" y="238"/>
                </a:lnTo>
                <a:lnTo>
                  <a:pt x="44" y="238"/>
                </a:lnTo>
                <a:lnTo>
                  <a:pt x="40" y="238"/>
                </a:lnTo>
                <a:lnTo>
                  <a:pt x="44" y="238"/>
                </a:lnTo>
                <a:lnTo>
                  <a:pt x="44" y="236"/>
                </a:lnTo>
                <a:lnTo>
                  <a:pt x="40" y="236"/>
                </a:lnTo>
                <a:lnTo>
                  <a:pt x="36" y="236"/>
                </a:lnTo>
                <a:lnTo>
                  <a:pt x="34" y="232"/>
                </a:lnTo>
                <a:lnTo>
                  <a:pt x="34" y="236"/>
                </a:lnTo>
                <a:lnTo>
                  <a:pt x="34" y="232"/>
                </a:lnTo>
                <a:lnTo>
                  <a:pt x="30" y="232"/>
                </a:lnTo>
                <a:lnTo>
                  <a:pt x="26" y="232"/>
                </a:lnTo>
                <a:lnTo>
                  <a:pt x="26" y="228"/>
                </a:lnTo>
                <a:lnTo>
                  <a:pt x="26" y="224"/>
                </a:lnTo>
                <a:lnTo>
                  <a:pt x="26" y="220"/>
                </a:lnTo>
                <a:lnTo>
                  <a:pt x="26" y="216"/>
                </a:lnTo>
                <a:lnTo>
                  <a:pt x="30" y="216"/>
                </a:lnTo>
                <a:lnTo>
                  <a:pt x="30" y="212"/>
                </a:lnTo>
                <a:lnTo>
                  <a:pt x="30" y="208"/>
                </a:lnTo>
                <a:lnTo>
                  <a:pt x="26" y="208"/>
                </a:lnTo>
                <a:lnTo>
                  <a:pt x="30" y="208"/>
                </a:lnTo>
                <a:lnTo>
                  <a:pt x="30" y="206"/>
                </a:lnTo>
                <a:lnTo>
                  <a:pt x="26" y="206"/>
                </a:lnTo>
                <a:lnTo>
                  <a:pt x="30" y="202"/>
                </a:lnTo>
                <a:lnTo>
                  <a:pt x="26" y="202"/>
                </a:lnTo>
                <a:lnTo>
                  <a:pt x="26" y="198"/>
                </a:lnTo>
                <a:lnTo>
                  <a:pt x="26" y="194"/>
                </a:lnTo>
                <a:lnTo>
                  <a:pt x="26" y="192"/>
                </a:lnTo>
                <a:lnTo>
                  <a:pt x="22" y="192"/>
                </a:lnTo>
                <a:lnTo>
                  <a:pt x="22" y="188"/>
                </a:lnTo>
                <a:lnTo>
                  <a:pt x="22" y="184"/>
                </a:lnTo>
                <a:lnTo>
                  <a:pt x="22" y="180"/>
                </a:lnTo>
                <a:lnTo>
                  <a:pt x="26" y="180"/>
                </a:lnTo>
                <a:lnTo>
                  <a:pt x="26" y="176"/>
                </a:lnTo>
                <a:lnTo>
                  <a:pt x="30" y="172"/>
                </a:lnTo>
                <a:lnTo>
                  <a:pt x="30" y="176"/>
                </a:lnTo>
                <a:lnTo>
                  <a:pt x="30" y="172"/>
                </a:lnTo>
                <a:lnTo>
                  <a:pt x="30" y="168"/>
                </a:lnTo>
                <a:lnTo>
                  <a:pt x="30" y="172"/>
                </a:lnTo>
                <a:lnTo>
                  <a:pt x="34" y="168"/>
                </a:lnTo>
                <a:lnTo>
                  <a:pt x="34" y="172"/>
                </a:lnTo>
                <a:lnTo>
                  <a:pt x="36" y="168"/>
                </a:lnTo>
                <a:lnTo>
                  <a:pt x="40" y="168"/>
                </a:lnTo>
                <a:lnTo>
                  <a:pt x="40" y="164"/>
                </a:lnTo>
                <a:lnTo>
                  <a:pt x="36" y="164"/>
                </a:lnTo>
                <a:lnTo>
                  <a:pt x="40" y="164"/>
                </a:lnTo>
                <a:lnTo>
                  <a:pt x="40" y="162"/>
                </a:lnTo>
                <a:lnTo>
                  <a:pt x="44" y="158"/>
                </a:lnTo>
                <a:lnTo>
                  <a:pt x="44" y="162"/>
                </a:lnTo>
                <a:lnTo>
                  <a:pt x="48" y="162"/>
                </a:lnTo>
                <a:lnTo>
                  <a:pt x="48" y="158"/>
                </a:lnTo>
                <a:lnTo>
                  <a:pt x="52" y="154"/>
                </a:lnTo>
                <a:lnTo>
                  <a:pt x="56" y="154"/>
                </a:lnTo>
                <a:lnTo>
                  <a:pt x="56" y="150"/>
                </a:lnTo>
                <a:lnTo>
                  <a:pt x="60" y="150"/>
                </a:lnTo>
                <a:lnTo>
                  <a:pt x="60" y="146"/>
                </a:lnTo>
                <a:lnTo>
                  <a:pt x="64" y="146"/>
                </a:lnTo>
                <a:lnTo>
                  <a:pt x="64" y="142"/>
                </a:lnTo>
                <a:lnTo>
                  <a:pt x="66" y="142"/>
                </a:lnTo>
                <a:lnTo>
                  <a:pt x="66" y="138"/>
                </a:lnTo>
                <a:lnTo>
                  <a:pt x="70" y="136"/>
                </a:lnTo>
                <a:lnTo>
                  <a:pt x="70" y="132"/>
                </a:lnTo>
                <a:lnTo>
                  <a:pt x="74" y="132"/>
                </a:lnTo>
                <a:lnTo>
                  <a:pt x="78" y="132"/>
                </a:lnTo>
                <a:lnTo>
                  <a:pt x="82" y="132"/>
                </a:lnTo>
                <a:lnTo>
                  <a:pt x="82" y="128"/>
                </a:lnTo>
                <a:lnTo>
                  <a:pt x="86" y="128"/>
                </a:lnTo>
                <a:lnTo>
                  <a:pt x="82" y="128"/>
                </a:lnTo>
                <a:lnTo>
                  <a:pt x="82" y="124"/>
                </a:lnTo>
                <a:lnTo>
                  <a:pt x="82" y="120"/>
                </a:lnTo>
                <a:lnTo>
                  <a:pt x="82" y="116"/>
                </a:lnTo>
                <a:lnTo>
                  <a:pt x="82" y="112"/>
                </a:lnTo>
                <a:lnTo>
                  <a:pt x="78" y="112"/>
                </a:lnTo>
                <a:lnTo>
                  <a:pt x="78" y="116"/>
                </a:lnTo>
                <a:lnTo>
                  <a:pt x="78" y="112"/>
                </a:lnTo>
                <a:lnTo>
                  <a:pt x="74" y="112"/>
                </a:lnTo>
                <a:lnTo>
                  <a:pt x="70" y="108"/>
                </a:lnTo>
                <a:lnTo>
                  <a:pt x="74" y="106"/>
                </a:lnTo>
                <a:lnTo>
                  <a:pt x="70" y="106"/>
                </a:lnTo>
                <a:lnTo>
                  <a:pt x="70" y="108"/>
                </a:lnTo>
                <a:lnTo>
                  <a:pt x="66" y="108"/>
                </a:lnTo>
                <a:lnTo>
                  <a:pt x="64" y="102"/>
                </a:lnTo>
                <a:lnTo>
                  <a:pt x="60" y="102"/>
                </a:lnTo>
                <a:lnTo>
                  <a:pt x="60" y="98"/>
                </a:lnTo>
                <a:lnTo>
                  <a:pt x="60" y="94"/>
                </a:lnTo>
                <a:lnTo>
                  <a:pt x="60" y="90"/>
                </a:lnTo>
                <a:lnTo>
                  <a:pt x="64" y="90"/>
                </a:lnTo>
                <a:lnTo>
                  <a:pt x="64" y="86"/>
                </a:lnTo>
                <a:lnTo>
                  <a:pt x="64" y="82"/>
                </a:lnTo>
                <a:lnTo>
                  <a:pt x="60" y="78"/>
                </a:lnTo>
                <a:lnTo>
                  <a:pt x="56" y="76"/>
                </a:lnTo>
                <a:lnTo>
                  <a:pt x="60" y="72"/>
                </a:lnTo>
                <a:lnTo>
                  <a:pt x="60" y="68"/>
                </a:lnTo>
                <a:lnTo>
                  <a:pt x="56" y="68"/>
                </a:lnTo>
                <a:lnTo>
                  <a:pt x="56" y="64"/>
                </a:lnTo>
                <a:lnTo>
                  <a:pt x="56" y="60"/>
                </a:lnTo>
                <a:lnTo>
                  <a:pt x="56" y="56"/>
                </a:lnTo>
                <a:lnTo>
                  <a:pt x="60" y="56"/>
                </a:lnTo>
                <a:lnTo>
                  <a:pt x="56" y="52"/>
                </a:lnTo>
                <a:lnTo>
                  <a:pt x="48" y="46"/>
                </a:lnTo>
                <a:lnTo>
                  <a:pt x="44" y="46"/>
                </a:lnTo>
                <a:lnTo>
                  <a:pt x="40" y="42"/>
                </a:lnTo>
                <a:lnTo>
                  <a:pt x="36" y="42"/>
                </a:lnTo>
                <a:lnTo>
                  <a:pt x="34" y="42"/>
                </a:lnTo>
                <a:lnTo>
                  <a:pt x="30" y="42"/>
                </a:lnTo>
                <a:lnTo>
                  <a:pt x="30" y="38"/>
                </a:lnTo>
                <a:lnTo>
                  <a:pt x="26" y="38"/>
                </a:lnTo>
                <a:lnTo>
                  <a:pt x="26" y="34"/>
                </a:lnTo>
                <a:lnTo>
                  <a:pt x="22" y="34"/>
                </a:lnTo>
                <a:lnTo>
                  <a:pt x="18" y="30"/>
                </a:lnTo>
                <a:lnTo>
                  <a:pt x="14" y="26"/>
                </a:lnTo>
                <a:lnTo>
                  <a:pt x="18" y="26"/>
                </a:lnTo>
                <a:lnTo>
                  <a:pt x="22" y="26"/>
                </a:lnTo>
                <a:lnTo>
                  <a:pt x="22" y="30"/>
                </a:lnTo>
                <a:lnTo>
                  <a:pt x="22" y="26"/>
                </a:lnTo>
                <a:lnTo>
                  <a:pt x="22" y="22"/>
                </a:lnTo>
                <a:lnTo>
                  <a:pt x="26" y="22"/>
                </a:lnTo>
                <a:lnTo>
                  <a:pt x="30" y="22"/>
                </a:lnTo>
                <a:lnTo>
                  <a:pt x="34" y="26"/>
                </a:lnTo>
                <a:lnTo>
                  <a:pt x="36" y="26"/>
                </a:lnTo>
                <a:lnTo>
                  <a:pt x="36" y="30"/>
                </a:lnTo>
                <a:lnTo>
                  <a:pt x="40" y="34"/>
                </a:lnTo>
                <a:lnTo>
                  <a:pt x="40" y="38"/>
                </a:lnTo>
                <a:lnTo>
                  <a:pt x="44" y="34"/>
                </a:lnTo>
                <a:lnTo>
                  <a:pt x="48" y="38"/>
                </a:lnTo>
                <a:lnTo>
                  <a:pt x="52" y="38"/>
                </a:lnTo>
                <a:lnTo>
                  <a:pt x="56" y="38"/>
                </a:lnTo>
                <a:lnTo>
                  <a:pt x="60" y="38"/>
                </a:lnTo>
                <a:lnTo>
                  <a:pt x="60" y="34"/>
                </a:lnTo>
                <a:lnTo>
                  <a:pt x="64" y="34"/>
                </a:lnTo>
                <a:lnTo>
                  <a:pt x="66" y="34"/>
                </a:lnTo>
                <a:lnTo>
                  <a:pt x="66" y="38"/>
                </a:lnTo>
                <a:lnTo>
                  <a:pt x="70" y="38"/>
                </a:lnTo>
                <a:lnTo>
                  <a:pt x="74" y="38"/>
                </a:lnTo>
                <a:lnTo>
                  <a:pt x="78" y="42"/>
                </a:lnTo>
                <a:lnTo>
                  <a:pt x="78" y="38"/>
                </a:lnTo>
                <a:lnTo>
                  <a:pt x="78" y="34"/>
                </a:lnTo>
                <a:lnTo>
                  <a:pt x="82" y="34"/>
                </a:lnTo>
                <a:lnTo>
                  <a:pt x="82" y="30"/>
                </a:lnTo>
                <a:lnTo>
                  <a:pt x="86" y="30"/>
                </a:lnTo>
                <a:lnTo>
                  <a:pt x="86" y="34"/>
                </a:lnTo>
                <a:lnTo>
                  <a:pt x="86" y="30"/>
                </a:lnTo>
                <a:lnTo>
                  <a:pt x="90" y="30"/>
                </a:lnTo>
                <a:lnTo>
                  <a:pt x="90" y="26"/>
                </a:lnTo>
                <a:lnTo>
                  <a:pt x="90" y="22"/>
                </a:lnTo>
                <a:lnTo>
                  <a:pt x="90" y="20"/>
                </a:lnTo>
                <a:lnTo>
                  <a:pt x="90" y="16"/>
                </a:lnTo>
                <a:lnTo>
                  <a:pt x="94" y="16"/>
                </a:lnTo>
                <a:lnTo>
                  <a:pt x="94" y="12"/>
                </a:lnTo>
                <a:lnTo>
                  <a:pt x="90" y="12"/>
                </a:lnTo>
                <a:lnTo>
                  <a:pt x="94" y="12"/>
                </a:lnTo>
                <a:lnTo>
                  <a:pt x="96" y="8"/>
                </a:lnTo>
                <a:lnTo>
                  <a:pt x="96" y="4"/>
                </a:lnTo>
                <a:lnTo>
                  <a:pt x="100" y="4"/>
                </a:lnTo>
                <a:lnTo>
                  <a:pt x="104" y="4"/>
                </a:lnTo>
                <a:lnTo>
                  <a:pt x="108" y="8"/>
                </a:lnTo>
                <a:lnTo>
                  <a:pt x="108" y="4"/>
                </a:lnTo>
                <a:lnTo>
                  <a:pt x="112" y="4"/>
                </a:lnTo>
                <a:lnTo>
                  <a:pt x="116" y="0"/>
                </a:lnTo>
                <a:lnTo>
                  <a:pt x="120" y="0"/>
                </a:lnTo>
                <a:lnTo>
                  <a:pt x="120" y="4"/>
                </a:lnTo>
                <a:lnTo>
                  <a:pt x="122" y="4"/>
                </a:lnTo>
                <a:lnTo>
                  <a:pt x="122" y="8"/>
                </a:lnTo>
                <a:lnTo>
                  <a:pt x="126" y="8"/>
                </a:lnTo>
                <a:lnTo>
                  <a:pt x="130" y="12"/>
                </a:lnTo>
                <a:lnTo>
                  <a:pt x="134" y="12"/>
                </a:lnTo>
                <a:lnTo>
                  <a:pt x="138" y="12"/>
                </a:lnTo>
                <a:lnTo>
                  <a:pt x="138" y="16"/>
                </a:lnTo>
                <a:lnTo>
                  <a:pt x="138" y="20"/>
                </a:lnTo>
                <a:lnTo>
                  <a:pt x="134" y="20"/>
                </a:lnTo>
                <a:lnTo>
                  <a:pt x="134" y="22"/>
                </a:lnTo>
                <a:lnTo>
                  <a:pt x="130" y="22"/>
                </a:lnTo>
                <a:lnTo>
                  <a:pt x="130" y="26"/>
                </a:lnTo>
                <a:lnTo>
                  <a:pt x="134" y="26"/>
                </a:lnTo>
                <a:lnTo>
                  <a:pt x="134" y="30"/>
                </a:lnTo>
                <a:lnTo>
                  <a:pt x="130" y="30"/>
                </a:lnTo>
                <a:lnTo>
                  <a:pt x="126" y="30"/>
                </a:lnTo>
                <a:lnTo>
                  <a:pt x="126" y="34"/>
                </a:lnTo>
                <a:lnTo>
                  <a:pt x="130" y="34"/>
                </a:lnTo>
                <a:lnTo>
                  <a:pt x="130" y="38"/>
                </a:lnTo>
                <a:lnTo>
                  <a:pt x="126" y="42"/>
                </a:lnTo>
                <a:lnTo>
                  <a:pt x="126" y="46"/>
                </a:lnTo>
                <a:lnTo>
                  <a:pt x="130" y="50"/>
                </a:lnTo>
                <a:lnTo>
                  <a:pt x="138" y="52"/>
                </a:lnTo>
                <a:lnTo>
                  <a:pt x="142" y="52"/>
                </a:lnTo>
                <a:lnTo>
                  <a:pt x="142" y="56"/>
                </a:lnTo>
                <a:lnTo>
                  <a:pt x="144" y="60"/>
                </a:lnTo>
                <a:lnTo>
                  <a:pt x="148" y="60"/>
                </a:lnTo>
                <a:lnTo>
                  <a:pt x="148" y="64"/>
                </a:lnTo>
                <a:lnTo>
                  <a:pt x="148" y="68"/>
                </a:lnTo>
                <a:lnTo>
                  <a:pt x="144" y="68"/>
                </a:lnTo>
                <a:lnTo>
                  <a:pt x="142" y="72"/>
                </a:lnTo>
                <a:lnTo>
                  <a:pt x="138" y="78"/>
                </a:lnTo>
                <a:lnTo>
                  <a:pt x="134" y="78"/>
                </a:lnTo>
                <a:lnTo>
                  <a:pt x="134" y="82"/>
                </a:lnTo>
                <a:lnTo>
                  <a:pt x="138" y="82"/>
                </a:lnTo>
                <a:lnTo>
                  <a:pt x="138" y="86"/>
                </a:lnTo>
                <a:lnTo>
                  <a:pt x="142" y="90"/>
                </a:lnTo>
                <a:lnTo>
                  <a:pt x="142" y="94"/>
                </a:lnTo>
                <a:lnTo>
                  <a:pt x="144" y="98"/>
                </a:lnTo>
                <a:lnTo>
                  <a:pt x="144" y="102"/>
                </a:lnTo>
                <a:lnTo>
                  <a:pt x="148" y="102"/>
                </a:lnTo>
                <a:lnTo>
                  <a:pt x="148" y="106"/>
                </a:lnTo>
                <a:lnTo>
                  <a:pt x="148" y="108"/>
                </a:lnTo>
                <a:lnTo>
                  <a:pt x="148" y="112"/>
                </a:lnTo>
                <a:lnTo>
                  <a:pt x="144" y="112"/>
                </a:lnTo>
                <a:lnTo>
                  <a:pt x="144" y="116"/>
                </a:lnTo>
                <a:lnTo>
                  <a:pt x="144" y="120"/>
                </a:lnTo>
                <a:lnTo>
                  <a:pt x="142" y="120"/>
                </a:lnTo>
                <a:lnTo>
                  <a:pt x="142" y="124"/>
                </a:lnTo>
                <a:lnTo>
                  <a:pt x="144" y="124"/>
                </a:lnTo>
                <a:lnTo>
                  <a:pt x="144" y="128"/>
                </a:lnTo>
                <a:lnTo>
                  <a:pt x="142" y="128"/>
                </a:lnTo>
                <a:lnTo>
                  <a:pt x="142" y="132"/>
                </a:lnTo>
                <a:lnTo>
                  <a:pt x="144" y="132"/>
                </a:lnTo>
                <a:lnTo>
                  <a:pt x="148" y="132"/>
                </a:lnTo>
                <a:lnTo>
                  <a:pt x="148" y="136"/>
                </a:lnTo>
                <a:lnTo>
                  <a:pt x="152" y="136"/>
                </a:lnTo>
                <a:lnTo>
                  <a:pt x="148" y="138"/>
                </a:lnTo>
                <a:lnTo>
                  <a:pt x="148" y="142"/>
                </a:lnTo>
                <a:lnTo>
                  <a:pt x="152" y="142"/>
                </a:lnTo>
                <a:lnTo>
                  <a:pt x="152" y="146"/>
                </a:lnTo>
                <a:lnTo>
                  <a:pt x="156" y="146"/>
                </a:lnTo>
                <a:lnTo>
                  <a:pt x="156" y="150"/>
                </a:lnTo>
                <a:lnTo>
                  <a:pt x="156" y="154"/>
                </a:lnTo>
                <a:lnTo>
                  <a:pt x="152" y="154"/>
                </a:lnTo>
                <a:lnTo>
                  <a:pt x="152" y="158"/>
                </a:lnTo>
                <a:lnTo>
                  <a:pt x="148" y="158"/>
                </a:lnTo>
                <a:lnTo>
                  <a:pt x="152" y="162"/>
                </a:lnTo>
                <a:lnTo>
                  <a:pt x="156" y="164"/>
                </a:lnTo>
                <a:lnTo>
                  <a:pt x="160" y="164"/>
                </a:lnTo>
                <a:lnTo>
                  <a:pt x="160" y="168"/>
                </a:lnTo>
                <a:lnTo>
                  <a:pt x="164" y="168"/>
                </a:lnTo>
                <a:lnTo>
                  <a:pt x="168" y="172"/>
                </a:lnTo>
                <a:lnTo>
                  <a:pt x="172" y="176"/>
                </a:lnTo>
                <a:lnTo>
                  <a:pt x="172" y="180"/>
                </a:lnTo>
                <a:lnTo>
                  <a:pt x="168" y="180"/>
                </a:lnTo>
                <a:lnTo>
                  <a:pt x="168" y="184"/>
                </a:lnTo>
                <a:lnTo>
                  <a:pt x="168" y="188"/>
                </a:lnTo>
                <a:lnTo>
                  <a:pt x="164" y="192"/>
                </a:lnTo>
                <a:lnTo>
                  <a:pt x="160" y="192"/>
                </a:lnTo>
                <a:lnTo>
                  <a:pt x="160" y="194"/>
                </a:lnTo>
                <a:lnTo>
                  <a:pt x="156" y="194"/>
                </a:lnTo>
                <a:lnTo>
                  <a:pt x="152" y="198"/>
                </a:lnTo>
                <a:lnTo>
                  <a:pt x="152" y="202"/>
                </a:lnTo>
                <a:lnTo>
                  <a:pt x="148" y="202"/>
                </a:lnTo>
                <a:lnTo>
                  <a:pt x="148" y="206"/>
                </a:lnTo>
                <a:lnTo>
                  <a:pt x="144" y="208"/>
                </a:lnTo>
                <a:lnTo>
                  <a:pt x="142" y="212"/>
                </a:lnTo>
                <a:lnTo>
                  <a:pt x="138" y="212"/>
                </a:lnTo>
                <a:lnTo>
                  <a:pt x="138" y="216"/>
                </a:lnTo>
                <a:lnTo>
                  <a:pt x="134" y="216"/>
                </a:lnTo>
                <a:lnTo>
                  <a:pt x="130" y="220"/>
                </a:lnTo>
                <a:lnTo>
                  <a:pt x="130" y="224"/>
                </a:lnTo>
                <a:lnTo>
                  <a:pt x="126" y="224"/>
                </a:lnTo>
                <a:lnTo>
                  <a:pt x="122" y="224"/>
                </a:lnTo>
                <a:lnTo>
                  <a:pt x="122" y="228"/>
                </a:lnTo>
                <a:lnTo>
                  <a:pt x="120" y="232"/>
                </a:lnTo>
                <a:lnTo>
                  <a:pt x="116" y="232"/>
                </a:lnTo>
                <a:lnTo>
                  <a:pt x="112" y="232"/>
                </a:lnTo>
                <a:lnTo>
                  <a:pt x="112" y="236"/>
                </a:lnTo>
                <a:lnTo>
                  <a:pt x="112" y="232"/>
                </a:lnTo>
                <a:lnTo>
                  <a:pt x="108" y="232"/>
                </a:lnTo>
                <a:lnTo>
                  <a:pt x="104" y="236"/>
                </a:lnTo>
                <a:lnTo>
                  <a:pt x="100" y="236"/>
                </a:lnTo>
                <a:lnTo>
                  <a:pt x="96" y="236"/>
                </a:lnTo>
                <a:lnTo>
                  <a:pt x="100" y="232"/>
                </a:lnTo>
                <a:lnTo>
                  <a:pt x="104" y="232"/>
                </a:lnTo>
                <a:lnTo>
                  <a:pt x="100" y="232"/>
                </a:lnTo>
                <a:lnTo>
                  <a:pt x="100" y="228"/>
                </a:lnTo>
                <a:lnTo>
                  <a:pt x="100" y="232"/>
                </a:lnTo>
                <a:lnTo>
                  <a:pt x="96" y="232"/>
                </a:lnTo>
                <a:lnTo>
                  <a:pt x="96" y="236"/>
                </a:lnTo>
                <a:lnTo>
                  <a:pt x="94" y="236"/>
                </a:lnTo>
                <a:lnTo>
                  <a:pt x="94" y="238"/>
                </a:lnTo>
                <a:lnTo>
                  <a:pt x="94" y="236"/>
                </a:lnTo>
                <a:lnTo>
                  <a:pt x="90" y="236"/>
                </a:lnTo>
                <a:lnTo>
                  <a:pt x="90" y="238"/>
                </a:lnTo>
                <a:lnTo>
                  <a:pt x="86" y="238"/>
                </a:lnTo>
                <a:lnTo>
                  <a:pt x="86" y="236"/>
                </a:lnTo>
                <a:lnTo>
                  <a:pt x="86" y="238"/>
                </a:lnTo>
                <a:lnTo>
                  <a:pt x="82" y="238"/>
                </a:lnTo>
                <a:lnTo>
                  <a:pt x="78" y="238"/>
                </a:lnTo>
                <a:lnTo>
                  <a:pt x="82" y="238"/>
                </a:lnTo>
                <a:lnTo>
                  <a:pt x="78" y="238"/>
                </a:lnTo>
                <a:lnTo>
                  <a:pt x="78" y="242"/>
                </a:lnTo>
                <a:lnTo>
                  <a:pt x="74" y="242"/>
                </a:lnTo>
                <a:lnTo>
                  <a:pt x="70" y="242"/>
                </a:lnTo>
                <a:lnTo>
                  <a:pt x="70" y="246"/>
                </a:lnTo>
                <a:lnTo>
                  <a:pt x="70" y="242"/>
                </a:lnTo>
                <a:lnTo>
                  <a:pt x="66" y="242"/>
                </a:lnTo>
                <a:lnTo>
                  <a:pt x="64" y="242"/>
                </a:lnTo>
                <a:lnTo>
                  <a:pt x="60" y="246"/>
                </a:lnTo>
                <a:lnTo>
                  <a:pt x="56" y="246"/>
                </a:lnTo>
                <a:lnTo>
                  <a:pt x="56" y="242"/>
                </a:lnTo>
                <a:lnTo>
                  <a:pt x="56" y="246"/>
                </a:lnTo>
                <a:lnTo>
                  <a:pt x="52" y="246"/>
                </a:lnTo>
                <a:lnTo>
                  <a:pt x="48" y="250"/>
                </a:lnTo>
                <a:lnTo>
                  <a:pt x="48" y="246"/>
                </a:lnTo>
                <a:lnTo>
                  <a:pt x="52" y="246"/>
                </a:lnTo>
                <a:lnTo>
                  <a:pt x="56" y="242"/>
                </a:lnTo>
                <a:lnTo>
                  <a:pt x="52" y="242"/>
                </a:lnTo>
                <a:lnTo>
                  <a:pt x="52" y="246"/>
                </a:lnTo>
                <a:lnTo>
                  <a:pt x="52" y="242"/>
                </a:lnTo>
                <a:lnTo>
                  <a:pt x="48" y="242"/>
                </a:lnTo>
                <a:lnTo>
                  <a:pt x="48" y="242"/>
                </a:lnTo>
                <a:lnTo>
                  <a:pt x="48" y="242"/>
                </a:lnTo>
                <a:close/>
                <a:moveTo>
                  <a:pt x="78" y="128"/>
                </a:moveTo>
                <a:lnTo>
                  <a:pt x="74" y="128"/>
                </a:lnTo>
                <a:lnTo>
                  <a:pt x="70" y="128"/>
                </a:lnTo>
                <a:lnTo>
                  <a:pt x="74" y="128"/>
                </a:lnTo>
                <a:lnTo>
                  <a:pt x="78" y="128"/>
                </a:lnTo>
                <a:lnTo>
                  <a:pt x="78" y="128"/>
                </a:lnTo>
                <a:lnTo>
                  <a:pt x="78" y="128"/>
                </a:lnTo>
                <a:close/>
                <a:moveTo>
                  <a:pt x="48" y="158"/>
                </a:moveTo>
                <a:lnTo>
                  <a:pt x="44" y="158"/>
                </a:lnTo>
                <a:lnTo>
                  <a:pt x="48" y="154"/>
                </a:lnTo>
                <a:lnTo>
                  <a:pt x="48" y="158"/>
                </a:lnTo>
                <a:lnTo>
                  <a:pt x="48" y="158"/>
                </a:lnTo>
                <a:lnTo>
                  <a:pt x="48" y="158"/>
                </a:lnTo>
                <a:close/>
                <a:moveTo>
                  <a:pt x="26" y="172"/>
                </a:moveTo>
                <a:lnTo>
                  <a:pt x="22" y="172"/>
                </a:lnTo>
                <a:lnTo>
                  <a:pt x="22" y="168"/>
                </a:lnTo>
                <a:lnTo>
                  <a:pt x="26" y="168"/>
                </a:lnTo>
                <a:lnTo>
                  <a:pt x="26" y="172"/>
                </a:lnTo>
                <a:lnTo>
                  <a:pt x="26" y="172"/>
                </a:lnTo>
                <a:lnTo>
                  <a:pt x="26" y="172"/>
                </a:lnTo>
                <a:close/>
                <a:moveTo>
                  <a:pt x="6" y="242"/>
                </a:moveTo>
                <a:lnTo>
                  <a:pt x="2" y="242"/>
                </a:lnTo>
                <a:lnTo>
                  <a:pt x="2" y="238"/>
                </a:lnTo>
                <a:lnTo>
                  <a:pt x="6" y="238"/>
                </a:lnTo>
                <a:lnTo>
                  <a:pt x="6" y="236"/>
                </a:lnTo>
                <a:lnTo>
                  <a:pt x="2" y="236"/>
                </a:lnTo>
                <a:lnTo>
                  <a:pt x="2" y="238"/>
                </a:lnTo>
                <a:lnTo>
                  <a:pt x="2" y="236"/>
                </a:lnTo>
                <a:lnTo>
                  <a:pt x="6" y="236"/>
                </a:lnTo>
                <a:lnTo>
                  <a:pt x="10" y="238"/>
                </a:lnTo>
                <a:lnTo>
                  <a:pt x="6" y="238"/>
                </a:lnTo>
                <a:lnTo>
                  <a:pt x="6" y="242"/>
                </a:lnTo>
                <a:lnTo>
                  <a:pt x="6" y="242"/>
                </a:lnTo>
                <a:lnTo>
                  <a:pt x="6" y="242"/>
                </a:lnTo>
                <a:close/>
                <a:moveTo>
                  <a:pt x="36" y="238"/>
                </a:moveTo>
                <a:lnTo>
                  <a:pt x="40" y="238"/>
                </a:lnTo>
                <a:lnTo>
                  <a:pt x="36" y="238"/>
                </a:lnTo>
                <a:lnTo>
                  <a:pt x="36" y="238"/>
                </a:lnTo>
                <a:lnTo>
                  <a:pt x="36" y="238"/>
                </a:lnTo>
                <a:close/>
                <a:moveTo>
                  <a:pt x="0" y="242"/>
                </a:moveTo>
                <a:lnTo>
                  <a:pt x="0" y="238"/>
                </a:lnTo>
                <a:lnTo>
                  <a:pt x="2" y="238"/>
                </a:lnTo>
                <a:lnTo>
                  <a:pt x="0" y="242"/>
                </a:lnTo>
                <a:lnTo>
                  <a:pt x="0" y="242"/>
                </a:lnTo>
                <a:lnTo>
                  <a:pt x="0" y="242"/>
                </a:lnTo>
                <a:close/>
                <a:moveTo>
                  <a:pt x="44" y="246"/>
                </a:moveTo>
                <a:lnTo>
                  <a:pt x="44" y="242"/>
                </a:lnTo>
                <a:lnTo>
                  <a:pt x="40" y="242"/>
                </a:lnTo>
                <a:lnTo>
                  <a:pt x="40" y="238"/>
                </a:lnTo>
                <a:lnTo>
                  <a:pt x="44" y="238"/>
                </a:lnTo>
                <a:lnTo>
                  <a:pt x="48" y="238"/>
                </a:lnTo>
                <a:lnTo>
                  <a:pt x="48" y="242"/>
                </a:lnTo>
                <a:lnTo>
                  <a:pt x="44" y="242"/>
                </a:lnTo>
                <a:lnTo>
                  <a:pt x="44" y="246"/>
                </a:lnTo>
                <a:lnTo>
                  <a:pt x="44" y="246"/>
                </a:lnTo>
                <a:lnTo>
                  <a:pt x="44" y="246"/>
                </a:lnTo>
                <a:close/>
                <a:moveTo>
                  <a:pt x="34" y="242"/>
                </a:moveTo>
                <a:lnTo>
                  <a:pt x="30" y="242"/>
                </a:lnTo>
                <a:lnTo>
                  <a:pt x="30" y="238"/>
                </a:lnTo>
                <a:lnTo>
                  <a:pt x="34" y="238"/>
                </a:lnTo>
                <a:lnTo>
                  <a:pt x="34" y="242"/>
                </a:lnTo>
                <a:lnTo>
                  <a:pt x="34" y="242"/>
                </a:lnTo>
                <a:lnTo>
                  <a:pt x="34" y="242"/>
                </a:lnTo>
                <a:close/>
                <a:moveTo>
                  <a:pt x="6" y="242"/>
                </a:moveTo>
                <a:lnTo>
                  <a:pt x="10" y="242"/>
                </a:lnTo>
                <a:lnTo>
                  <a:pt x="10" y="246"/>
                </a:lnTo>
                <a:lnTo>
                  <a:pt x="6" y="242"/>
                </a:lnTo>
                <a:lnTo>
                  <a:pt x="6" y="242"/>
                </a:lnTo>
                <a:lnTo>
                  <a:pt x="6" y="242"/>
                </a:lnTo>
                <a:close/>
                <a:moveTo>
                  <a:pt x="48" y="246"/>
                </a:moveTo>
                <a:lnTo>
                  <a:pt x="52" y="246"/>
                </a:lnTo>
                <a:lnTo>
                  <a:pt x="48" y="246"/>
                </a:lnTo>
                <a:lnTo>
                  <a:pt x="48" y="246"/>
                </a:lnTo>
                <a:lnTo>
                  <a:pt x="48" y="246"/>
                </a:lnTo>
                <a:close/>
                <a:moveTo>
                  <a:pt x="56" y="246"/>
                </a:moveTo>
                <a:lnTo>
                  <a:pt x="60" y="246"/>
                </a:lnTo>
                <a:lnTo>
                  <a:pt x="56" y="246"/>
                </a:lnTo>
                <a:lnTo>
                  <a:pt x="56" y="246"/>
                </a:lnTo>
                <a:lnTo>
                  <a:pt x="56" y="246"/>
                </a:lnTo>
                <a:close/>
              </a:path>
            </a:pathLst>
          </a:custGeom>
          <a:solidFill>
            <a:srgbClr val="A0DCFF"/>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93" name="Freeform 100"/>
          <p:cNvSpPr>
            <a:spLocks noEditPoints="1"/>
          </p:cNvSpPr>
          <p:nvPr/>
        </p:nvSpPr>
        <p:spPr bwMode="auto">
          <a:xfrm>
            <a:off x="4176713" y="2586037"/>
            <a:ext cx="240506" cy="230981"/>
          </a:xfrm>
          <a:custGeom>
            <a:avLst/>
            <a:gdLst>
              <a:gd name="T0" fmla="*/ 80 w 202"/>
              <a:gd name="T1" fmla="*/ 168 h 194"/>
              <a:gd name="T2" fmla="*/ 72 w 202"/>
              <a:gd name="T3" fmla="*/ 168 h 194"/>
              <a:gd name="T4" fmla="*/ 50 w 202"/>
              <a:gd name="T5" fmla="*/ 162 h 194"/>
              <a:gd name="T6" fmla="*/ 46 w 202"/>
              <a:gd name="T7" fmla="*/ 158 h 194"/>
              <a:gd name="T8" fmla="*/ 50 w 202"/>
              <a:gd name="T9" fmla="*/ 138 h 194"/>
              <a:gd name="T10" fmla="*/ 50 w 202"/>
              <a:gd name="T11" fmla="*/ 128 h 194"/>
              <a:gd name="T12" fmla="*/ 56 w 202"/>
              <a:gd name="T13" fmla="*/ 116 h 194"/>
              <a:gd name="T14" fmla="*/ 56 w 202"/>
              <a:gd name="T15" fmla="*/ 116 h 194"/>
              <a:gd name="T16" fmla="*/ 54 w 202"/>
              <a:gd name="T17" fmla="*/ 106 h 194"/>
              <a:gd name="T18" fmla="*/ 42 w 202"/>
              <a:gd name="T19" fmla="*/ 94 h 194"/>
              <a:gd name="T20" fmla="*/ 42 w 202"/>
              <a:gd name="T21" fmla="*/ 78 h 194"/>
              <a:gd name="T22" fmla="*/ 34 w 202"/>
              <a:gd name="T23" fmla="*/ 72 h 194"/>
              <a:gd name="T24" fmla="*/ 22 w 202"/>
              <a:gd name="T25" fmla="*/ 72 h 194"/>
              <a:gd name="T26" fmla="*/ 12 w 202"/>
              <a:gd name="T27" fmla="*/ 64 h 194"/>
              <a:gd name="T28" fmla="*/ 0 w 202"/>
              <a:gd name="T29" fmla="*/ 64 h 194"/>
              <a:gd name="T30" fmla="*/ 0 w 202"/>
              <a:gd name="T31" fmla="*/ 56 h 194"/>
              <a:gd name="T32" fmla="*/ 4 w 202"/>
              <a:gd name="T33" fmla="*/ 52 h 194"/>
              <a:gd name="T34" fmla="*/ 16 w 202"/>
              <a:gd name="T35" fmla="*/ 48 h 194"/>
              <a:gd name="T36" fmla="*/ 34 w 202"/>
              <a:gd name="T37" fmla="*/ 48 h 194"/>
              <a:gd name="T38" fmla="*/ 46 w 202"/>
              <a:gd name="T39" fmla="*/ 48 h 194"/>
              <a:gd name="T40" fmla="*/ 42 w 202"/>
              <a:gd name="T41" fmla="*/ 34 h 194"/>
              <a:gd name="T42" fmla="*/ 50 w 202"/>
              <a:gd name="T43" fmla="*/ 26 h 194"/>
              <a:gd name="T44" fmla="*/ 64 w 202"/>
              <a:gd name="T45" fmla="*/ 34 h 194"/>
              <a:gd name="T46" fmla="*/ 72 w 202"/>
              <a:gd name="T47" fmla="*/ 34 h 194"/>
              <a:gd name="T48" fmla="*/ 80 w 202"/>
              <a:gd name="T49" fmla="*/ 22 h 194"/>
              <a:gd name="T50" fmla="*/ 90 w 202"/>
              <a:gd name="T51" fmla="*/ 12 h 194"/>
              <a:gd name="T52" fmla="*/ 106 w 202"/>
              <a:gd name="T53" fmla="*/ 0 h 194"/>
              <a:gd name="T54" fmla="*/ 114 w 202"/>
              <a:gd name="T55" fmla="*/ 8 h 194"/>
              <a:gd name="T56" fmla="*/ 128 w 202"/>
              <a:gd name="T57" fmla="*/ 16 h 194"/>
              <a:gd name="T58" fmla="*/ 138 w 202"/>
              <a:gd name="T59" fmla="*/ 18 h 194"/>
              <a:gd name="T60" fmla="*/ 146 w 202"/>
              <a:gd name="T61" fmla="*/ 30 h 194"/>
              <a:gd name="T62" fmla="*/ 158 w 202"/>
              <a:gd name="T63" fmla="*/ 34 h 194"/>
              <a:gd name="T64" fmla="*/ 172 w 202"/>
              <a:gd name="T65" fmla="*/ 42 h 194"/>
              <a:gd name="T66" fmla="*/ 180 w 202"/>
              <a:gd name="T67" fmla="*/ 48 h 194"/>
              <a:gd name="T68" fmla="*/ 176 w 202"/>
              <a:gd name="T69" fmla="*/ 68 h 194"/>
              <a:gd name="T70" fmla="*/ 168 w 202"/>
              <a:gd name="T71" fmla="*/ 76 h 194"/>
              <a:gd name="T72" fmla="*/ 160 w 202"/>
              <a:gd name="T73" fmla="*/ 86 h 194"/>
              <a:gd name="T74" fmla="*/ 154 w 202"/>
              <a:gd name="T75" fmla="*/ 98 h 194"/>
              <a:gd name="T76" fmla="*/ 164 w 202"/>
              <a:gd name="T77" fmla="*/ 94 h 194"/>
              <a:gd name="T78" fmla="*/ 164 w 202"/>
              <a:gd name="T79" fmla="*/ 112 h 194"/>
              <a:gd name="T80" fmla="*/ 160 w 202"/>
              <a:gd name="T81" fmla="*/ 124 h 194"/>
              <a:gd name="T82" fmla="*/ 168 w 202"/>
              <a:gd name="T83" fmla="*/ 138 h 194"/>
              <a:gd name="T84" fmla="*/ 172 w 202"/>
              <a:gd name="T85" fmla="*/ 146 h 194"/>
              <a:gd name="T86" fmla="*/ 164 w 202"/>
              <a:gd name="T87" fmla="*/ 154 h 194"/>
              <a:gd name="T88" fmla="*/ 146 w 202"/>
              <a:gd name="T89" fmla="*/ 162 h 194"/>
              <a:gd name="T90" fmla="*/ 138 w 202"/>
              <a:gd name="T91" fmla="*/ 154 h 194"/>
              <a:gd name="T92" fmla="*/ 128 w 202"/>
              <a:gd name="T93" fmla="*/ 154 h 194"/>
              <a:gd name="T94" fmla="*/ 110 w 202"/>
              <a:gd name="T95" fmla="*/ 164 h 194"/>
              <a:gd name="T96" fmla="*/ 106 w 202"/>
              <a:gd name="T97" fmla="*/ 176 h 194"/>
              <a:gd name="T98" fmla="*/ 94 w 202"/>
              <a:gd name="T99" fmla="*/ 172 h 194"/>
              <a:gd name="T100" fmla="*/ 54 w 202"/>
              <a:gd name="T101" fmla="*/ 108 h 194"/>
              <a:gd name="T102" fmla="*/ 22 w 202"/>
              <a:gd name="T103" fmla="*/ 78 h 194"/>
              <a:gd name="T104" fmla="*/ 50 w 202"/>
              <a:gd name="T105" fmla="*/ 102 h 194"/>
              <a:gd name="T106" fmla="*/ 190 w 202"/>
              <a:gd name="T107" fmla="*/ 172 h 194"/>
              <a:gd name="T108" fmla="*/ 202 w 202"/>
              <a:gd name="T109" fmla="*/ 168 h 194"/>
              <a:gd name="T110" fmla="*/ 198 w 202"/>
              <a:gd name="T111" fmla="*/ 190 h 194"/>
              <a:gd name="T112" fmla="*/ 190 w 202"/>
              <a:gd name="T113" fmla="*/ 186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2" h="194">
                <a:moveTo>
                  <a:pt x="94" y="172"/>
                </a:moveTo>
                <a:lnTo>
                  <a:pt x="90" y="172"/>
                </a:lnTo>
                <a:lnTo>
                  <a:pt x="86" y="172"/>
                </a:lnTo>
                <a:lnTo>
                  <a:pt x="86" y="168"/>
                </a:lnTo>
                <a:lnTo>
                  <a:pt x="84" y="168"/>
                </a:lnTo>
                <a:lnTo>
                  <a:pt x="80" y="168"/>
                </a:lnTo>
                <a:lnTo>
                  <a:pt x="80" y="164"/>
                </a:lnTo>
                <a:lnTo>
                  <a:pt x="80" y="168"/>
                </a:lnTo>
                <a:lnTo>
                  <a:pt x="76" y="168"/>
                </a:lnTo>
                <a:lnTo>
                  <a:pt x="80" y="168"/>
                </a:lnTo>
                <a:lnTo>
                  <a:pt x="76" y="168"/>
                </a:lnTo>
                <a:lnTo>
                  <a:pt x="72" y="168"/>
                </a:lnTo>
                <a:lnTo>
                  <a:pt x="68" y="168"/>
                </a:lnTo>
                <a:lnTo>
                  <a:pt x="64" y="168"/>
                </a:lnTo>
                <a:lnTo>
                  <a:pt x="60" y="168"/>
                </a:lnTo>
                <a:lnTo>
                  <a:pt x="56" y="164"/>
                </a:lnTo>
                <a:lnTo>
                  <a:pt x="54" y="164"/>
                </a:lnTo>
                <a:lnTo>
                  <a:pt x="50" y="162"/>
                </a:lnTo>
                <a:lnTo>
                  <a:pt x="50" y="164"/>
                </a:lnTo>
                <a:lnTo>
                  <a:pt x="50" y="162"/>
                </a:lnTo>
                <a:lnTo>
                  <a:pt x="46" y="162"/>
                </a:lnTo>
                <a:lnTo>
                  <a:pt x="50" y="162"/>
                </a:lnTo>
                <a:lnTo>
                  <a:pt x="50" y="158"/>
                </a:lnTo>
                <a:lnTo>
                  <a:pt x="46" y="158"/>
                </a:lnTo>
                <a:lnTo>
                  <a:pt x="42" y="158"/>
                </a:lnTo>
                <a:lnTo>
                  <a:pt x="46" y="158"/>
                </a:lnTo>
                <a:lnTo>
                  <a:pt x="46" y="154"/>
                </a:lnTo>
                <a:lnTo>
                  <a:pt x="50" y="150"/>
                </a:lnTo>
                <a:lnTo>
                  <a:pt x="50" y="142"/>
                </a:lnTo>
                <a:lnTo>
                  <a:pt x="50" y="138"/>
                </a:lnTo>
                <a:lnTo>
                  <a:pt x="50" y="134"/>
                </a:lnTo>
                <a:lnTo>
                  <a:pt x="50" y="132"/>
                </a:lnTo>
                <a:lnTo>
                  <a:pt x="54" y="132"/>
                </a:lnTo>
                <a:lnTo>
                  <a:pt x="54" y="128"/>
                </a:lnTo>
                <a:lnTo>
                  <a:pt x="50" y="132"/>
                </a:lnTo>
                <a:lnTo>
                  <a:pt x="50" y="128"/>
                </a:lnTo>
                <a:lnTo>
                  <a:pt x="50" y="124"/>
                </a:lnTo>
                <a:lnTo>
                  <a:pt x="54" y="120"/>
                </a:lnTo>
                <a:lnTo>
                  <a:pt x="54" y="116"/>
                </a:lnTo>
                <a:lnTo>
                  <a:pt x="54" y="112"/>
                </a:lnTo>
                <a:lnTo>
                  <a:pt x="54" y="116"/>
                </a:lnTo>
                <a:lnTo>
                  <a:pt x="56" y="116"/>
                </a:lnTo>
                <a:lnTo>
                  <a:pt x="56" y="120"/>
                </a:lnTo>
                <a:lnTo>
                  <a:pt x="56" y="124"/>
                </a:lnTo>
                <a:lnTo>
                  <a:pt x="60" y="128"/>
                </a:lnTo>
                <a:lnTo>
                  <a:pt x="60" y="124"/>
                </a:lnTo>
                <a:lnTo>
                  <a:pt x="56" y="120"/>
                </a:lnTo>
                <a:lnTo>
                  <a:pt x="56" y="116"/>
                </a:lnTo>
                <a:lnTo>
                  <a:pt x="56" y="112"/>
                </a:lnTo>
                <a:lnTo>
                  <a:pt x="54" y="112"/>
                </a:lnTo>
                <a:lnTo>
                  <a:pt x="54" y="108"/>
                </a:lnTo>
                <a:lnTo>
                  <a:pt x="50" y="108"/>
                </a:lnTo>
                <a:lnTo>
                  <a:pt x="54" y="108"/>
                </a:lnTo>
                <a:lnTo>
                  <a:pt x="54" y="106"/>
                </a:lnTo>
                <a:lnTo>
                  <a:pt x="54" y="102"/>
                </a:lnTo>
                <a:lnTo>
                  <a:pt x="54" y="98"/>
                </a:lnTo>
                <a:lnTo>
                  <a:pt x="50" y="98"/>
                </a:lnTo>
                <a:lnTo>
                  <a:pt x="46" y="98"/>
                </a:lnTo>
                <a:lnTo>
                  <a:pt x="46" y="94"/>
                </a:lnTo>
                <a:lnTo>
                  <a:pt x="42" y="94"/>
                </a:lnTo>
                <a:lnTo>
                  <a:pt x="42" y="90"/>
                </a:lnTo>
                <a:lnTo>
                  <a:pt x="38" y="90"/>
                </a:lnTo>
                <a:lnTo>
                  <a:pt x="38" y="86"/>
                </a:lnTo>
                <a:lnTo>
                  <a:pt x="38" y="82"/>
                </a:lnTo>
                <a:lnTo>
                  <a:pt x="38" y="78"/>
                </a:lnTo>
                <a:lnTo>
                  <a:pt x="42" y="78"/>
                </a:lnTo>
                <a:lnTo>
                  <a:pt x="38" y="78"/>
                </a:lnTo>
                <a:lnTo>
                  <a:pt x="34" y="78"/>
                </a:lnTo>
                <a:lnTo>
                  <a:pt x="30" y="78"/>
                </a:lnTo>
                <a:lnTo>
                  <a:pt x="30" y="76"/>
                </a:lnTo>
                <a:lnTo>
                  <a:pt x="34" y="76"/>
                </a:lnTo>
                <a:lnTo>
                  <a:pt x="34" y="72"/>
                </a:lnTo>
                <a:lnTo>
                  <a:pt x="30" y="72"/>
                </a:lnTo>
                <a:lnTo>
                  <a:pt x="26" y="76"/>
                </a:lnTo>
                <a:lnTo>
                  <a:pt x="26" y="72"/>
                </a:lnTo>
                <a:lnTo>
                  <a:pt x="30" y="72"/>
                </a:lnTo>
                <a:lnTo>
                  <a:pt x="26" y="72"/>
                </a:lnTo>
                <a:lnTo>
                  <a:pt x="22" y="72"/>
                </a:lnTo>
                <a:lnTo>
                  <a:pt x="22" y="76"/>
                </a:lnTo>
                <a:lnTo>
                  <a:pt x="22" y="72"/>
                </a:lnTo>
                <a:lnTo>
                  <a:pt x="20" y="68"/>
                </a:lnTo>
                <a:lnTo>
                  <a:pt x="16" y="68"/>
                </a:lnTo>
                <a:lnTo>
                  <a:pt x="12" y="68"/>
                </a:lnTo>
                <a:lnTo>
                  <a:pt x="12" y="64"/>
                </a:lnTo>
                <a:lnTo>
                  <a:pt x="8" y="64"/>
                </a:lnTo>
                <a:lnTo>
                  <a:pt x="8" y="68"/>
                </a:lnTo>
                <a:lnTo>
                  <a:pt x="4" y="68"/>
                </a:lnTo>
                <a:lnTo>
                  <a:pt x="8" y="68"/>
                </a:lnTo>
                <a:lnTo>
                  <a:pt x="4" y="64"/>
                </a:lnTo>
                <a:lnTo>
                  <a:pt x="0" y="64"/>
                </a:lnTo>
                <a:lnTo>
                  <a:pt x="0" y="60"/>
                </a:lnTo>
                <a:lnTo>
                  <a:pt x="4" y="60"/>
                </a:lnTo>
                <a:lnTo>
                  <a:pt x="8" y="60"/>
                </a:lnTo>
                <a:lnTo>
                  <a:pt x="4" y="56"/>
                </a:lnTo>
                <a:lnTo>
                  <a:pt x="4" y="60"/>
                </a:lnTo>
                <a:lnTo>
                  <a:pt x="0" y="56"/>
                </a:lnTo>
                <a:lnTo>
                  <a:pt x="4" y="56"/>
                </a:lnTo>
                <a:lnTo>
                  <a:pt x="8" y="56"/>
                </a:lnTo>
                <a:lnTo>
                  <a:pt x="4" y="56"/>
                </a:lnTo>
                <a:lnTo>
                  <a:pt x="0" y="56"/>
                </a:lnTo>
                <a:lnTo>
                  <a:pt x="0" y="52"/>
                </a:lnTo>
                <a:lnTo>
                  <a:pt x="4" y="52"/>
                </a:lnTo>
                <a:lnTo>
                  <a:pt x="4" y="48"/>
                </a:lnTo>
                <a:lnTo>
                  <a:pt x="8" y="48"/>
                </a:lnTo>
                <a:lnTo>
                  <a:pt x="12" y="48"/>
                </a:lnTo>
                <a:lnTo>
                  <a:pt x="16" y="48"/>
                </a:lnTo>
                <a:lnTo>
                  <a:pt x="20" y="48"/>
                </a:lnTo>
                <a:lnTo>
                  <a:pt x="16" y="48"/>
                </a:lnTo>
                <a:lnTo>
                  <a:pt x="16" y="46"/>
                </a:lnTo>
                <a:lnTo>
                  <a:pt x="20" y="46"/>
                </a:lnTo>
                <a:lnTo>
                  <a:pt x="22" y="46"/>
                </a:lnTo>
                <a:lnTo>
                  <a:pt x="26" y="48"/>
                </a:lnTo>
                <a:lnTo>
                  <a:pt x="30" y="52"/>
                </a:lnTo>
                <a:lnTo>
                  <a:pt x="34" y="48"/>
                </a:lnTo>
                <a:lnTo>
                  <a:pt x="38" y="48"/>
                </a:lnTo>
                <a:lnTo>
                  <a:pt x="42" y="52"/>
                </a:lnTo>
                <a:lnTo>
                  <a:pt x="38" y="52"/>
                </a:lnTo>
                <a:lnTo>
                  <a:pt x="38" y="48"/>
                </a:lnTo>
                <a:lnTo>
                  <a:pt x="42" y="48"/>
                </a:lnTo>
                <a:lnTo>
                  <a:pt x="46" y="48"/>
                </a:lnTo>
                <a:lnTo>
                  <a:pt x="50" y="48"/>
                </a:lnTo>
                <a:lnTo>
                  <a:pt x="46" y="48"/>
                </a:lnTo>
                <a:lnTo>
                  <a:pt x="46" y="46"/>
                </a:lnTo>
                <a:lnTo>
                  <a:pt x="46" y="42"/>
                </a:lnTo>
                <a:lnTo>
                  <a:pt x="46" y="38"/>
                </a:lnTo>
                <a:lnTo>
                  <a:pt x="42" y="34"/>
                </a:lnTo>
                <a:lnTo>
                  <a:pt x="42" y="30"/>
                </a:lnTo>
                <a:lnTo>
                  <a:pt x="42" y="26"/>
                </a:lnTo>
                <a:lnTo>
                  <a:pt x="42" y="30"/>
                </a:lnTo>
                <a:lnTo>
                  <a:pt x="46" y="30"/>
                </a:lnTo>
                <a:lnTo>
                  <a:pt x="46" y="26"/>
                </a:lnTo>
                <a:lnTo>
                  <a:pt x="50" y="26"/>
                </a:lnTo>
                <a:lnTo>
                  <a:pt x="50" y="30"/>
                </a:lnTo>
                <a:lnTo>
                  <a:pt x="50" y="34"/>
                </a:lnTo>
                <a:lnTo>
                  <a:pt x="54" y="34"/>
                </a:lnTo>
                <a:lnTo>
                  <a:pt x="56" y="34"/>
                </a:lnTo>
                <a:lnTo>
                  <a:pt x="60" y="34"/>
                </a:lnTo>
                <a:lnTo>
                  <a:pt x="64" y="34"/>
                </a:lnTo>
                <a:lnTo>
                  <a:pt x="64" y="38"/>
                </a:lnTo>
                <a:lnTo>
                  <a:pt x="68" y="38"/>
                </a:lnTo>
                <a:lnTo>
                  <a:pt x="68" y="34"/>
                </a:lnTo>
                <a:lnTo>
                  <a:pt x="72" y="34"/>
                </a:lnTo>
                <a:lnTo>
                  <a:pt x="76" y="34"/>
                </a:lnTo>
                <a:lnTo>
                  <a:pt x="72" y="34"/>
                </a:lnTo>
                <a:lnTo>
                  <a:pt x="68" y="34"/>
                </a:lnTo>
                <a:lnTo>
                  <a:pt x="68" y="30"/>
                </a:lnTo>
                <a:lnTo>
                  <a:pt x="72" y="26"/>
                </a:lnTo>
                <a:lnTo>
                  <a:pt x="76" y="26"/>
                </a:lnTo>
                <a:lnTo>
                  <a:pt x="76" y="22"/>
                </a:lnTo>
                <a:lnTo>
                  <a:pt x="80" y="22"/>
                </a:lnTo>
                <a:lnTo>
                  <a:pt x="84" y="22"/>
                </a:lnTo>
                <a:lnTo>
                  <a:pt x="86" y="22"/>
                </a:lnTo>
                <a:lnTo>
                  <a:pt x="86" y="18"/>
                </a:lnTo>
                <a:lnTo>
                  <a:pt x="90" y="18"/>
                </a:lnTo>
                <a:lnTo>
                  <a:pt x="90" y="16"/>
                </a:lnTo>
                <a:lnTo>
                  <a:pt x="90" y="12"/>
                </a:lnTo>
                <a:lnTo>
                  <a:pt x="90" y="8"/>
                </a:lnTo>
                <a:lnTo>
                  <a:pt x="90" y="4"/>
                </a:lnTo>
                <a:lnTo>
                  <a:pt x="94" y="0"/>
                </a:lnTo>
                <a:lnTo>
                  <a:pt x="98" y="0"/>
                </a:lnTo>
                <a:lnTo>
                  <a:pt x="102" y="0"/>
                </a:lnTo>
                <a:lnTo>
                  <a:pt x="106" y="0"/>
                </a:lnTo>
                <a:lnTo>
                  <a:pt x="106" y="4"/>
                </a:lnTo>
                <a:lnTo>
                  <a:pt x="110" y="4"/>
                </a:lnTo>
                <a:lnTo>
                  <a:pt x="110" y="8"/>
                </a:lnTo>
                <a:lnTo>
                  <a:pt x="110" y="4"/>
                </a:lnTo>
                <a:lnTo>
                  <a:pt x="114" y="4"/>
                </a:lnTo>
                <a:lnTo>
                  <a:pt x="114" y="8"/>
                </a:lnTo>
                <a:lnTo>
                  <a:pt x="114" y="12"/>
                </a:lnTo>
                <a:lnTo>
                  <a:pt x="116" y="12"/>
                </a:lnTo>
                <a:lnTo>
                  <a:pt x="120" y="12"/>
                </a:lnTo>
                <a:lnTo>
                  <a:pt x="120" y="16"/>
                </a:lnTo>
                <a:lnTo>
                  <a:pt x="124" y="16"/>
                </a:lnTo>
                <a:lnTo>
                  <a:pt x="128" y="16"/>
                </a:lnTo>
                <a:lnTo>
                  <a:pt x="128" y="18"/>
                </a:lnTo>
                <a:lnTo>
                  <a:pt x="128" y="22"/>
                </a:lnTo>
                <a:lnTo>
                  <a:pt x="132" y="22"/>
                </a:lnTo>
                <a:lnTo>
                  <a:pt x="136" y="22"/>
                </a:lnTo>
                <a:lnTo>
                  <a:pt x="136" y="18"/>
                </a:lnTo>
                <a:lnTo>
                  <a:pt x="138" y="18"/>
                </a:lnTo>
                <a:lnTo>
                  <a:pt x="136" y="18"/>
                </a:lnTo>
                <a:lnTo>
                  <a:pt x="136" y="22"/>
                </a:lnTo>
                <a:lnTo>
                  <a:pt x="136" y="26"/>
                </a:lnTo>
                <a:lnTo>
                  <a:pt x="138" y="26"/>
                </a:lnTo>
                <a:lnTo>
                  <a:pt x="142" y="30"/>
                </a:lnTo>
                <a:lnTo>
                  <a:pt x="146" y="30"/>
                </a:lnTo>
                <a:lnTo>
                  <a:pt x="150" y="30"/>
                </a:lnTo>
                <a:lnTo>
                  <a:pt x="150" y="34"/>
                </a:lnTo>
                <a:lnTo>
                  <a:pt x="154" y="34"/>
                </a:lnTo>
                <a:lnTo>
                  <a:pt x="154" y="30"/>
                </a:lnTo>
                <a:lnTo>
                  <a:pt x="158" y="30"/>
                </a:lnTo>
                <a:lnTo>
                  <a:pt x="158" y="34"/>
                </a:lnTo>
                <a:lnTo>
                  <a:pt x="160" y="34"/>
                </a:lnTo>
                <a:lnTo>
                  <a:pt x="160" y="38"/>
                </a:lnTo>
                <a:lnTo>
                  <a:pt x="164" y="38"/>
                </a:lnTo>
                <a:lnTo>
                  <a:pt x="168" y="38"/>
                </a:lnTo>
                <a:lnTo>
                  <a:pt x="168" y="42"/>
                </a:lnTo>
                <a:lnTo>
                  <a:pt x="172" y="42"/>
                </a:lnTo>
                <a:lnTo>
                  <a:pt x="172" y="38"/>
                </a:lnTo>
                <a:lnTo>
                  <a:pt x="176" y="42"/>
                </a:lnTo>
                <a:lnTo>
                  <a:pt x="180" y="42"/>
                </a:lnTo>
                <a:lnTo>
                  <a:pt x="184" y="42"/>
                </a:lnTo>
                <a:lnTo>
                  <a:pt x="184" y="46"/>
                </a:lnTo>
                <a:lnTo>
                  <a:pt x="180" y="48"/>
                </a:lnTo>
                <a:lnTo>
                  <a:pt x="180" y="52"/>
                </a:lnTo>
                <a:lnTo>
                  <a:pt x="176" y="52"/>
                </a:lnTo>
                <a:lnTo>
                  <a:pt x="176" y="56"/>
                </a:lnTo>
                <a:lnTo>
                  <a:pt x="176" y="60"/>
                </a:lnTo>
                <a:lnTo>
                  <a:pt x="176" y="64"/>
                </a:lnTo>
                <a:lnTo>
                  <a:pt x="176" y="68"/>
                </a:lnTo>
                <a:lnTo>
                  <a:pt x="176" y="72"/>
                </a:lnTo>
                <a:lnTo>
                  <a:pt x="172" y="72"/>
                </a:lnTo>
                <a:lnTo>
                  <a:pt x="172" y="76"/>
                </a:lnTo>
                <a:lnTo>
                  <a:pt x="168" y="76"/>
                </a:lnTo>
                <a:lnTo>
                  <a:pt x="168" y="72"/>
                </a:lnTo>
                <a:lnTo>
                  <a:pt x="168" y="76"/>
                </a:lnTo>
                <a:lnTo>
                  <a:pt x="164" y="76"/>
                </a:lnTo>
                <a:lnTo>
                  <a:pt x="168" y="76"/>
                </a:lnTo>
                <a:lnTo>
                  <a:pt x="164" y="78"/>
                </a:lnTo>
                <a:lnTo>
                  <a:pt x="164" y="82"/>
                </a:lnTo>
                <a:lnTo>
                  <a:pt x="160" y="82"/>
                </a:lnTo>
                <a:lnTo>
                  <a:pt x="160" y="86"/>
                </a:lnTo>
                <a:lnTo>
                  <a:pt x="158" y="86"/>
                </a:lnTo>
                <a:lnTo>
                  <a:pt x="160" y="86"/>
                </a:lnTo>
                <a:lnTo>
                  <a:pt x="158" y="90"/>
                </a:lnTo>
                <a:lnTo>
                  <a:pt x="154" y="90"/>
                </a:lnTo>
                <a:lnTo>
                  <a:pt x="154" y="94"/>
                </a:lnTo>
                <a:lnTo>
                  <a:pt x="154" y="98"/>
                </a:lnTo>
                <a:lnTo>
                  <a:pt x="154" y="102"/>
                </a:lnTo>
                <a:lnTo>
                  <a:pt x="158" y="102"/>
                </a:lnTo>
                <a:lnTo>
                  <a:pt x="158" y="98"/>
                </a:lnTo>
                <a:lnTo>
                  <a:pt x="158" y="94"/>
                </a:lnTo>
                <a:lnTo>
                  <a:pt x="160" y="94"/>
                </a:lnTo>
                <a:lnTo>
                  <a:pt x="164" y="94"/>
                </a:lnTo>
                <a:lnTo>
                  <a:pt x="164" y="98"/>
                </a:lnTo>
                <a:lnTo>
                  <a:pt x="164" y="102"/>
                </a:lnTo>
                <a:lnTo>
                  <a:pt x="168" y="106"/>
                </a:lnTo>
                <a:lnTo>
                  <a:pt x="164" y="106"/>
                </a:lnTo>
                <a:lnTo>
                  <a:pt x="164" y="108"/>
                </a:lnTo>
                <a:lnTo>
                  <a:pt x="164" y="112"/>
                </a:lnTo>
                <a:lnTo>
                  <a:pt x="168" y="112"/>
                </a:lnTo>
                <a:lnTo>
                  <a:pt x="168" y="116"/>
                </a:lnTo>
                <a:lnTo>
                  <a:pt x="168" y="120"/>
                </a:lnTo>
                <a:lnTo>
                  <a:pt x="164" y="120"/>
                </a:lnTo>
                <a:lnTo>
                  <a:pt x="160" y="120"/>
                </a:lnTo>
                <a:lnTo>
                  <a:pt x="160" y="124"/>
                </a:lnTo>
                <a:lnTo>
                  <a:pt x="164" y="128"/>
                </a:lnTo>
                <a:lnTo>
                  <a:pt x="168" y="128"/>
                </a:lnTo>
                <a:lnTo>
                  <a:pt x="164" y="132"/>
                </a:lnTo>
                <a:lnTo>
                  <a:pt x="164" y="134"/>
                </a:lnTo>
                <a:lnTo>
                  <a:pt x="164" y="138"/>
                </a:lnTo>
                <a:lnTo>
                  <a:pt x="168" y="138"/>
                </a:lnTo>
                <a:lnTo>
                  <a:pt x="172" y="142"/>
                </a:lnTo>
                <a:lnTo>
                  <a:pt x="176" y="142"/>
                </a:lnTo>
                <a:lnTo>
                  <a:pt x="176" y="138"/>
                </a:lnTo>
                <a:lnTo>
                  <a:pt x="176" y="142"/>
                </a:lnTo>
                <a:lnTo>
                  <a:pt x="176" y="146"/>
                </a:lnTo>
                <a:lnTo>
                  <a:pt x="172" y="146"/>
                </a:lnTo>
                <a:lnTo>
                  <a:pt x="176" y="146"/>
                </a:lnTo>
                <a:lnTo>
                  <a:pt x="176" y="150"/>
                </a:lnTo>
                <a:lnTo>
                  <a:pt x="172" y="150"/>
                </a:lnTo>
                <a:lnTo>
                  <a:pt x="168" y="150"/>
                </a:lnTo>
                <a:lnTo>
                  <a:pt x="168" y="154"/>
                </a:lnTo>
                <a:lnTo>
                  <a:pt x="164" y="154"/>
                </a:lnTo>
                <a:lnTo>
                  <a:pt x="160" y="158"/>
                </a:lnTo>
                <a:lnTo>
                  <a:pt x="160" y="162"/>
                </a:lnTo>
                <a:lnTo>
                  <a:pt x="158" y="162"/>
                </a:lnTo>
                <a:lnTo>
                  <a:pt x="154" y="162"/>
                </a:lnTo>
                <a:lnTo>
                  <a:pt x="150" y="162"/>
                </a:lnTo>
                <a:lnTo>
                  <a:pt x="146" y="162"/>
                </a:lnTo>
                <a:lnTo>
                  <a:pt x="142" y="162"/>
                </a:lnTo>
                <a:lnTo>
                  <a:pt x="142" y="158"/>
                </a:lnTo>
                <a:lnTo>
                  <a:pt x="138" y="158"/>
                </a:lnTo>
                <a:lnTo>
                  <a:pt x="142" y="158"/>
                </a:lnTo>
                <a:lnTo>
                  <a:pt x="142" y="154"/>
                </a:lnTo>
                <a:lnTo>
                  <a:pt x="138" y="154"/>
                </a:lnTo>
                <a:lnTo>
                  <a:pt x="136" y="158"/>
                </a:lnTo>
                <a:lnTo>
                  <a:pt x="136" y="154"/>
                </a:lnTo>
                <a:lnTo>
                  <a:pt x="136" y="158"/>
                </a:lnTo>
                <a:lnTo>
                  <a:pt x="132" y="158"/>
                </a:lnTo>
                <a:lnTo>
                  <a:pt x="132" y="154"/>
                </a:lnTo>
                <a:lnTo>
                  <a:pt x="128" y="154"/>
                </a:lnTo>
                <a:lnTo>
                  <a:pt x="124" y="154"/>
                </a:lnTo>
                <a:lnTo>
                  <a:pt x="120" y="158"/>
                </a:lnTo>
                <a:lnTo>
                  <a:pt x="116" y="158"/>
                </a:lnTo>
                <a:lnTo>
                  <a:pt x="114" y="162"/>
                </a:lnTo>
                <a:lnTo>
                  <a:pt x="114" y="164"/>
                </a:lnTo>
                <a:lnTo>
                  <a:pt x="110" y="164"/>
                </a:lnTo>
                <a:lnTo>
                  <a:pt x="110" y="168"/>
                </a:lnTo>
                <a:lnTo>
                  <a:pt x="114" y="168"/>
                </a:lnTo>
                <a:lnTo>
                  <a:pt x="114" y="172"/>
                </a:lnTo>
                <a:lnTo>
                  <a:pt x="114" y="176"/>
                </a:lnTo>
                <a:lnTo>
                  <a:pt x="110" y="172"/>
                </a:lnTo>
                <a:lnTo>
                  <a:pt x="106" y="176"/>
                </a:lnTo>
                <a:lnTo>
                  <a:pt x="102" y="176"/>
                </a:lnTo>
                <a:lnTo>
                  <a:pt x="98" y="176"/>
                </a:lnTo>
                <a:lnTo>
                  <a:pt x="94" y="176"/>
                </a:lnTo>
                <a:lnTo>
                  <a:pt x="94" y="172"/>
                </a:lnTo>
                <a:lnTo>
                  <a:pt x="94" y="172"/>
                </a:lnTo>
                <a:lnTo>
                  <a:pt x="94" y="172"/>
                </a:lnTo>
                <a:close/>
                <a:moveTo>
                  <a:pt x="50" y="108"/>
                </a:moveTo>
                <a:lnTo>
                  <a:pt x="50" y="106"/>
                </a:lnTo>
                <a:lnTo>
                  <a:pt x="50" y="102"/>
                </a:lnTo>
                <a:lnTo>
                  <a:pt x="50" y="106"/>
                </a:lnTo>
                <a:lnTo>
                  <a:pt x="54" y="106"/>
                </a:lnTo>
                <a:lnTo>
                  <a:pt x="54" y="108"/>
                </a:lnTo>
                <a:lnTo>
                  <a:pt x="50" y="108"/>
                </a:lnTo>
                <a:lnTo>
                  <a:pt x="50" y="108"/>
                </a:lnTo>
                <a:lnTo>
                  <a:pt x="50" y="108"/>
                </a:lnTo>
                <a:close/>
                <a:moveTo>
                  <a:pt x="22" y="78"/>
                </a:moveTo>
                <a:lnTo>
                  <a:pt x="22" y="76"/>
                </a:lnTo>
                <a:lnTo>
                  <a:pt x="22" y="78"/>
                </a:lnTo>
                <a:lnTo>
                  <a:pt x="22" y="78"/>
                </a:lnTo>
                <a:lnTo>
                  <a:pt x="22" y="78"/>
                </a:lnTo>
                <a:close/>
                <a:moveTo>
                  <a:pt x="50" y="102"/>
                </a:moveTo>
                <a:lnTo>
                  <a:pt x="46" y="102"/>
                </a:lnTo>
                <a:lnTo>
                  <a:pt x="46" y="98"/>
                </a:lnTo>
                <a:lnTo>
                  <a:pt x="50" y="102"/>
                </a:lnTo>
                <a:lnTo>
                  <a:pt x="50" y="102"/>
                </a:lnTo>
                <a:lnTo>
                  <a:pt x="50" y="102"/>
                </a:lnTo>
                <a:close/>
                <a:moveTo>
                  <a:pt x="190" y="182"/>
                </a:moveTo>
                <a:lnTo>
                  <a:pt x="190" y="180"/>
                </a:lnTo>
                <a:lnTo>
                  <a:pt x="190" y="176"/>
                </a:lnTo>
                <a:lnTo>
                  <a:pt x="190" y="172"/>
                </a:lnTo>
                <a:lnTo>
                  <a:pt x="194" y="172"/>
                </a:lnTo>
                <a:lnTo>
                  <a:pt x="194" y="168"/>
                </a:lnTo>
                <a:lnTo>
                  <a:pt x="198" y="168"/>
                </a:lnTo>
                <a:lnTo>
                  <a:pt x="198" y="164"/>
                </a:lnTo>
                <a:lnTo>
                  <a:pt x="202" y="164"/>
                </a:lnTo>
                <a:lnTo>
                  <a:pt x="202" y="168"/>
                </a:lnTo>
                <a:lnTo>
                  <a:pt x="202" y="172"/>
                </a:lnTo>
                <a:lnTo>
                  <a:pt x="202" y="180"/>
                </a:lnTo>
                <a:lnTo>
                  <a:pt x="202" y="182"/>
                </a:lnTo>
                <a:lnTo>
                  <a:pt x="202" y="186"/>
                </a:lnTo>
                <a:lnTo>
                  <a:pt x="202" y="190"/>
                </a:lnTo>
                <a:lnTo>
                  <a:pt x="198" y="190"/>
                </a:lnTo>
                <a:lnTo>
                  <a:pt x="198" y="194"/>
                </a:lnTo>
                <a:lnTo>
                  <a:pt x="194" y="194"/>
                </a:lnTo>
                <a:lnTo>
                  <a:pt x="190" y="190"/>
                </a:lnTo>
                <a:lnTo>
                  <a:pt x="194" y="190"/>
                </a:lnTo>
                <a:lnTo>
                  <a:pt x="190" y="190"/>
                </a:lnTo>
                <a:lnTo>
                  <a:pt x="190" y="186"/>
                </a:lnTo>
                <a:lnTo>
                  <a:pt x="190" y="182"/>
                </a:lnTo>
                <a:lnTo>
                  <a:pt x="190" y="182"/>
                </a:lnTo>
                <a:lnTo>
                  <a:pt x="190" y="182"/>
                </a:lnTo>
                <a:close/>
              </a:path>
            </a:pathLst>
          </a:custGeom>
          <a:solidFill>
            <a:srgbClr val="A0DCFF"/>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94" name="Freeform 101"/>
          <p:cNvSpPr>
            <a:spLocks noEditPoints="1"/>
          </p:cNvSpPr>
          <p:nvPr/>
        </p:nvSpPr>
        <p:spPr bwMode="auto">
          <a:xfrm>
            <a:off x="4355306" y="2483643"/>
            <a:ext cx="154781" cy="195263"/>
          </a:xfrm>
          <a:custGeom>
            <a:avLst/>
            <a:gdLst>
              <a:gd name="T0" fmla="*/ 26 w 130"/>
              <a:gd name="T1" fmla="*/ 142 h 164"/>
              <a:gd name="T2" fmla="*/ 32 w 130"/>
              <a:gd name="T3" fmla="*/ 128 h 164"/>
              <a:gd name="T4" fmla="*/ 18 w 130"/>
              <a:gd name="T5" fmla="*/ 128 h 164"/>
              <a:gd name="T6" fmla="*/ 6 w 130"/>
              <a:gd name="T7" fmla="*/ 120 h 164"/>
              <a:gd name="T8" fmla="*/ 4 w 130"/>
              <a:gd name="T9" fmla="*/ 108 h 164"/>
              <a:gd name="T10" fmla="*/ 6 w 130"/>
              <a:gd name="T11" fmla="*/ 94 h 164"/>
              <a:gd name="T12" fmla="*/ 4 w 130"/>
              <a:gd name="T13" fmla="*/ 86 h 164"/>
              <a:gd name="T14" fmla="*/ 4 w 130"/>
              <a:gd name="T15" fmla="*/ 76 h 164"/>
              <a:gd name="T16" fmla="*/ 14 w 130"/>
              <a:gd name="T17" fmla="*/ 68 h 164"/>
              <a:gd name="T18" fmla="*/ 14 w 130"/>
              <a:gd name="T19" fmla="*/ 56 h 164"/>
              <a:gd name="T20" fmla="*/ 18 w 130"/>
              <a:gd name="T21" fmla="*/ 50 h 164"/>
              <a:gd name="T22" fmla="*/ 18 w 130"/>
              <a:gd name="T23" fmla="*/ 38 h 164"/>
              <a:gd name="T24" fmla="*/ 30 w 130"/>
              <a:gd name="T25" fmla="*/ 30 h 164"/>
              <a:gd name="T26" fmla="*/ 32 w 130"/>
              <a:gd name="T27" fmla="*/ 30 h 164"/>
              <a:gd name="T28" fmla="*/ 40 w 130"/>
              <a:gd name="T29" fmla="*/ 34 h 164"/>
              <a:gd name="T30" fmla="*/ 48 w 130"/>
              <a:gd name="T31" fmla="*/ 26 h 164"/>
              <a:gd name="T32" fmla="*/ 52 w 130"/>
              <a:gd name="T33" fmla="*/ 30 h 164"/>
              <a:gd name="T34" fmla="*/ 44 w 130"/>
              <a:gd name="T35" fmla="*/ 20 h 164"/>
              <a:gd name="T36" fmla="*/ 44 w 130"/>
              <a:gd name="T37" fmla="*/ 16 h 164"/>
              <a:gd name="T38" fmla="*/ 36 w 130"/>
              <a:gd name="T39" fmla="*/ 4 h 164"/>
              <a:gd name="T40" fmla="*/ 36 w 130"/>
              <a:gd name="T41" fmla="*/ 0 h 164"/>
              <a:gd name="T42" fmla="*/ 52 w 130"/>
              <a:gd name="T43" fmla="*/ 4 h 164"/>
              <a:gd name="T44" fmla="*/ 56 w 130"/>
              <a:gd name="T45" fmla="*/ 12 h 164"/>
              <a:gd name="T46" fmla="*/ 74 w 130"/>
              <a:gd name="T47" fmla="*/ 16 h 164"/>
              <a:gd name="T48" fmla="*/ 74 w 130"/>
              <a:gd name="T49" fmla="*/ 24 h 164"/>
              <a:gd name="T50" fmla="*/ 86 w 130"/>
              <a:gd name="T51" fmla="*/ 20 h 164"/>
              <a:gd name="T52" fmla="*/ 100 w 130"/>
              <a:gd name="T53" fmla="*/ 12 h 164"/>
              <a:gd name="T54" fmla="*/ 92 w 130"/>
              <a:gd name="T55" fmla="*/ 16 h 164"/>
              <a:gd name="T56" fmla="*/ 108 w 130"/>
              <a:gd name="T57" fmla="*/ 20 h 164"/>
              <a:gd name="T58" fmla="*/ 114 w 130"/>
              <a:gd name="T59" fmla="*/ 26 h 164"/>
              <a:gd name="T60" fmla="*/ 122 w 130"/>
              <a:gd name="T61" fmla="*/ 38 h 164"/>
              <a:gd name="T62" fmla="*/ 122 w 130"/>
              <a:gd name="T63" fmla="*/ 52 h 164"/>
              <a:gd name="T64" fmla="*/ 126 w 130"/>
              <a:gd name="T65" fmla="*/ 60 h 164"/>
              <a:gd name="T66" fmla="*/ 126 w 130"/>
              <a:gd name="T67" fmla="*/ 76 h 164"/>
              <a:gd name="T68" fmla="*/ 126 w 130"/>
              <a:gd name="T69" fmla="*/ 90 h 164"/>
              <a:gd name="T70" fmla="*/ 122 w 130"/>
              <a:gd name="T71" fmla="*/ 86 h 164"/>
              <a:gd name="T72" fmla="*/ 104 w 130"/>
              <a:gd name="T73" fmla="*/ 94 h 164"/>
              <a:gd name="T74" fmla="*/ 92 w 130"/>
              <a:gd name="T75" fmla="*/ 106 h 164"/>
              <a:gd name="T76" fmla="*/ 96 w 130"/>
              <a:gd name="T77" fmla="*/ 108 h 164"/>
              <a:gd name="T78" fmla="*/ 100 w 130"/>
              <a:gd name="T79" fmla="*/ 120 h 164"/>
              <a:gd name="T80" fmla="*/ 112 w 130"/>
              <a:gd name="T81" fmla="*/ 134 h 164"/>
              <a:gd name="T82" fmla="*/ 100 w 130"/>
              <a:gd name="T83" fmla="*/ 142 h 164"/>
              <a:gd name="T84" fmla="*/ 100 w 130"/>
              <a:gd name="T85" fmla="*/ 154 h 164"/>
              <a:gd name="T86" fmla="*/ 100 w 130"/>
              <a:gd name="T87" fmla="*/ 158 h 164"/>
              <a:gd name="T88" fmla="*/ 82 w 130"/>
              <a:gd name="T89" fmla="*/ 158 h 164"/>
              <a:gd name="T90" fmla="*/ 66 w 130"/>
              <a:gd name="T91" fmla="*/ 158 h 164"/>
              <a:gd name="T92" fmla="*/ 58 w 130"/>
              <a:gd name="T93" fmla="*/ 158 h 164"/>
              <a:gd name="T94" fmla="*/ 44 w 130"/>
              <a:gd name="T95" fmla="*/ 154 h 164"/>
              <a:gd name="T96" fmla="*/ 40 w 130"/>
              <a:gd name="T97" fmla="*/ 154 h 164"/>
              <a:gd name="T98" fmla="*/ 32 w 130"/>
              <a:gd name="T99" fmla="*/ 158 h 164"/>
              <a:gd name="T100" fmla="*/ 118 w 130"/>
              <a:gd name="T101" fmla="*/ 26 h 164"/>
              <a:gd name="T102" fmla="*/ 112 w 130"/>
              <a:gd name="T103" fmla="*/ 24 h 164"/>
              <a:gd name="T104" fmla="*/ 118 w 130"/>
              <a:gd name="T105" fmla="*/ 26 h 164"/>
              <a:gd name="T106" fmla="*/ 74 w 130"/>
              <a:gd name="T107" fmla="*/ 16 h 164"/>
              <a:gd name="T108" fmla="*/ 40 w 130"/>
              <a:gd name="T109" fmla="*/ 8 h 164"/>
              <a:gd name="T110" fmla="*/ 104 w 130"/>
              <a:gd name="T111" fmla="*/ 20 h 164"/>
              <a:gd name="T112" fmla="*/ 104 w 130"/>
              <a:gd name="T113" fmla="*/ 8 h 164"/>
              <a:gd name="T114" fmla="*/ 108 w 130"/>
              <a:gd name="T115" fmla="*/ 16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0" h="164">
                <a:moveTo>
                  <a:pt x="26" y="158"/>
                </a:moveTo>
                <a:lnTo>
                  <a:pt x="26" y="154"/>
                </a:lnTo>
                <a:lnTo>
                  <a:pt x="26" y="150"/>
                </a:lnTo>
                <a:lnTo>
                  <a:pt x="26" y="146"/>
                </a:lnTo>
                <a:lnTo>
                  <a:pt x="26" y="142"/>
                </a:lnTo>
                <a:lnTo>
                  <a:pt x="26" y="138"/>
                </a:lnTo>
                <a:lnTo>
                  <a:pt x="30" y="138"/>
                </a:lnTo>
                <a:lnTo>
                  <a:pt x="30" y="134"/>
                </a:lnTo>
                <a:lnTo>
                  <a:pt x="32" y="132"/>
                </a:lnTo>
                <a:lnTo>
                  <a:pt x="32" y="128"/>
                </a:lnTo>
                <a:lnTo>
                  <a:pt x="30" y="128"/>
                </a:lnTo>
                <a:lnTo>
                  <a:pt x="26" y="128"/>
                </a:lnTo>
                <a:lnTo>
                  <a:pt x="22" y="124"/>
                </a:lnTo>
                <a:lnTo>
                  <a:pt x="22" y="128"/>
                </a:lnTo>
                <a:lnTo>
                  <a:pt x="18" y="128"/>
                </a:lnTo>
                <a:lnTo>
                  <a:pt x="18" y="124"/>
                </a:lnTo>
                <a:lnTo>
                  <a:pt x="14" y="124"/>
                </a:lnTo>
                <a:lnTo>
                  <a:pt x="10" y="124"/>
                </a:lnTo>
                <a:lnTo>
                  <a:pt x="10" y="120"/>
                </a:lnTo>
                <a:lnTo>
                  <a:pt x="6" y="120"/>
                </a:lnTo>
                <a:lnTo>
                  <a:pt x="6" y="116"/>
                </a:lnTo>
                <a:lnTo>
                  <a:pt x="10" y="112"/>
                </a:lnTo>
                <a:lnTo>
                  <a:pt x="6" y="112"/>
                </a:lnTo>
                <a:lnTo>
                  <a:pt x="6" y="108"/>
                </a:lnTo>
                <a:lnTo>
                  <a:pt x="4" y="108"/>
                </a:lnTo>
                <a:lnTo>
                  <a:pt x="4" y="106"/>
                </a:lnTo>
                <a:lnTo>
                  <a:pt x="4" y="102"/>
                </a:lnTo>
                <a:lnTo>
                  <a:pt x="6" y="102"/>
                </a:lnTo>
                <a:lnTo>
                  <a:pt x="6" y="98"/>
                </a:lnTo>
                <a:lnTo>
                  <a:pt x="6" y="94"/>
                </a:lnTo>
                <a:lnTo>
                  <a:pt x="4" y="94"/>
                </a:lnTo>
                <a:lnTo>
                  <a:pt x="4" y="90"/>
                </a:lnTo>
                <a:lnTo>
                  <a:pt x="4" y="86"/>
                </a:lnTo>
                <a:lnTo>
                  <a:pt x="0" y="86"/>
                </a:lnTo>
                <a:lnTo>
                  <a:pt x="4" y="86"/>
                </a:lnTo>
                <a:lnTo>
                  <a:pt x="4" y="82"/>
                </a:lnTo>
                <a:lnTo>
                  <a:pt x="4" y="78"/>
                </a:lnTo>
                <a:lnTo>
                  <a:pt x="6" y="78"/>
                </a:lnTo>
                <a:lnTo>
                  <a:pt x="6" y="76"/>
                </a:lnTo>
                <a:lnTo>
                  <a:pt x="4" y="76"/>
                </a:lnTo>
                <a:lnTo>
                  <a:pt x="4" y="72"/>
                </a:lnTo>
                <a:lnTo>
                  <a:pt x="4" y="68"/>
                </a:lnTo>
                <a:lnTo>
                  <a:pt x="6" y="68"/>
                </a:lnTo>
                <a:lnTo>
                  <a:pt x="10" y="68"/>
                </a:lnTo>
                <a:lnTo>
                  <a:pt x="14" y="68"/>
                </a:lnTo>
                <a:lnTo>
                  <a:pt x="14" y="64"/>
                </a:lnTo>
                <a:lnTo>
                  <a:pt x="14" y="60"/>
                </a:lnTo>
                <a:lnTo>
                  <a:pt x="18" y="60"/>
                </a:lnTo>
                <a:lnTo>
                  <a:pt x="18" y="56"/>
                </a:lnTo>
                <a:lnTo>
                  <a:pt x="14" y="56"/>
                </a:lnTo>
                <a:lnTo>
                  <a:pt x="10" y="56"/>
                </a:lnTo>
                <a:lnTo>
                  <a:pt x="10" y="52"/>
                </a:lnTo>
                <a:lnTo>
                  <a:pt x="14" y="52"/>
                </a:lnTo>
                <a:lnTo>
                  <a:pt x="18" y="52"/>
                </a:lnTo>
                <a:lnTo>
                  <a:pt x="18" y="50"/>
                </a:lnTo>
                <a:lnTo>
                  <a:pt x="18" y="46"/>
                </a:lnTo>
                <a:lnTo>
                  <a:pt x="18" y="42"/>
                </a:lnTo>
                <a:lnTo>
                  <a:pt x="18" y="38"/>
                </a:lnTo>
                <a:lnTo>
                  <a:pt x="22" y="38"/>
                </a:lnTo>
                <a:lnTo>
                  <a:pt x="18" y="38"/>
                </a:lnTo>
                <a:lnTo>
                  <a:pt x="18" y="34"/>
                </a:lnTo>
                <a:lnTo>
                  <a:pt x="18" y="30"/>
                </a:lnTo>
                <a:lnTo>
                  <a:pt x="22" y="30"/>
                </a:lnTo>
                <a:lnTo>
                  <a:pt x="26" y="30"/>
                </a:lnTo>
                <a:lnTo>
                  <a:pt x="30" y="30"/>
                </a:lnTo>
                <a:lnTo>
                  <a:pt x="32" y="30"/>
                </a:lnTo>
                <a:lnTo>
                  <a:pt x="32" y="34"/>
                </a:lnTo>
                <a:lnTo>
                  <a:pt x="36" y="34"/>
                </a:lnTo>
                <a:lnTo>
                  <a:pt x="32" y="34"/>
                </a:lnTo>
                <a:lnTo>
                  <a:pt x="32" y="30"/>
                </a:lnTo>
                <a:lnTo>
                  <a:pt x="36" y="30"/>
                </a:lnTo>
                <a:lnTo>
                  <a:pt x="36" y="34"/>
                </a:lnTo>
                <a:lnTo>
                  <a:pt x="36" y="38"/>
                </a:lnTo>
                <a:lnTo>
                  <a:pt x="36" y="34"/>
                </a:lnTo>
                <a:lnTo>
                  <a:pt x="40" y="34"/>
                </a:lnTo>
                <a:lnTo>
                  <a:pt x="36" y="30"/>
                </a:lnTo>
                <a:lnTo>
                  <a:pt x="36" y="26"/>
                </a:lnTo>
                <a:lnTo>
                  <a:pt x="40" y="26"/>
                </a:lnTo>
                <a:lnTo>
                  <a:pt x="44" y="26"/>
                </a:lnTo>
                <a:lnTo>
                  <a:pt x="48" y="26"/>
                </a:lnTo>
                <a:lnTo>
                  <a:pt x="52" y="26"/>
                </a:lnTo>
                <a:lnTo>
                  <a:pt x="52" y="30"/>
                </a:lnTo>
                <a:lnTo>
                  <a:pt x="56" y="34"/>
                </a:lnTo>
                <a:lnTo>
                  <a:pt x="56" y="30"/>
                </a:lnTo>
                <a:lnTo>
                  <a:pt x="52" y="30"/>
                </a:lnTo>
                <a:lnTo>
                  <a:pt x="52" y="26"/>
                </a:lnTo>
                <a:lnTo>
                  <a:pt x="48" y="26"/>
                </a:lnTo>
                <a:lnTo>
                  <a:pt x="44" y="26"/>
                </a:lnTo>
                <a:lnTo>
                  <a:pt x="44" y="24"/>
                </a:lnTo>
                <a:lnTo>
                  <a:pt x="44" y="20"/>
                </a:lnTo>
                <a:lnTo>
                  <a:pt x="40" y="20"/>
                </a:lnTo>
                <a:lnTo>
                  <a:pt x="44" y="20"/>
                </a:lnTo>
                <a:lnTo>
                  <a:pt x="44" y="16"/>
                </a:lnTo>
                <a:lnTo>
                  <a:pt x="40" y="16"/>
                </a:lnTo>
                <a:lnTo>
                  <a:pt x="44" y="16"/>
                </a:lnTo>
                <a:lnTo>
                  <a:pt x="44" y="12"/>
                </a:lnTo>
                <a:lnTo>
                  <a:pt x="44" y="8"/>
                </a:lnTo>
                <a:lnTo>
                  <a:pt x="40" y="8"/>
                </a:lnTo>
                <a:lnTo>
                  <a:pt x="40" y="4"/>
                </a:lnTo>
                <a:lnTo>
                  <a:pt x="36" y="4"/>
                </a:lnTo>
                <a:lnTo>
                  <a:pt x="32" y="4"/>
                </a:lnTo>
                <a:lnTo>
                  <a:pt x="32" y="8"/>
                </a:lnTo>
                <a:lnTo>
                  <a:pt x="32" y="4"/>
                </a:lnTo>
                <a:lnTo>
                  <a:pt x="36" y="4"/>
                </a:lnTo>
                <a:lnTo>
                  <a:pt x="36" y="0"/>
                </a:lnTo>
                <a:lnTo>
                  <a:pt x="36" y="4"/>
                </a:lnTo>
                <a:lnTo>
                  <a:pt x="40" y="4"/>
                </a:lnTo>
                <a:lnTo>
                  <a:pt x="44" y="4"/>
                </a:lnTo>
                <a:lnTo>
                  <a:pt x="48" y="4"/>
                </a:lnTo>
                <a:lnTo>
                  <a:pt x="52" y="4"/>
                </a:lnTo>
                <a:lnTo>
                  <a:pt x="56" y="4"/>
                </a:lnTo>
                <a:lnTo>
                  <a:pt x="58" y="4"/>
                </a:lnTo>
                <a:lnTo>
                  <a:pt x="58" y="8"/>
                </a:lnTo>
                <a:lnTo>
                  <a:pt x="58" y="12"/>
                </a:lnTo>
                <a:lnTo>
                  <a:pt x="56" y="12"/>
                </a:lnTo>
                <a:lnTo>
                  <a:pt x="58" y="12"/>
                </a:lnTo>
                <a:lnTo>
                  <a:pt x="62" y="16"/>
                </a:lnTo>
                <a:lnTo>
                  <a:pt x="66" y="16"/>
                </a:lnTo>
                <a:lnTo>
                  <a:pt x="70" y="16"/>
                </a:lnTo>
                <a:lnTo>
                  <a:pt x="74" y="16"/>
                </a:lnTo>
                <a:lnTo>
                  <a:pt x="74" y="20"/>
                </a:lnTo>
                <a:lnTo>
                  <a:pt x="70" y="24"/>
                </a:lnTo>
                <a:lnTo>
                  <a:pt x="70" y="26"/>
                </a:lnTo>
                <a:lnTo>
                  <a:pt x="70" y="24"/>
                </a:lnTo>
                <a:lnTo>
                  <a:pt x="74" y="24"/>
                </a:lnTo>
                <a:lnTo>
                  <a:pt x="78" y="24"/>
                </a:lnTo>
                <a:lnTo>
                  <a:pt x="78" y="26"/>
                </a:lnTo>
                <a:lnTo>
                  <a:pt x="82" y="24"/>
                </a:lnTo>
                <a:lnTo>
                  <a:pt x="82" y="20"/>
                </a:lnTo>
                <a:lnTo>
                  <a:pt x="86" y="20"/>
                </a:lnTo>
                <a:lnTo>
                  <a:pt x="88" y="20"/>
                </a:lnTo>
                <a:lnTo>
                  <a:pt x="92" y="16"/>
                </a:lnTo>
                <a:lnTo>
                  <a:pt x="92" y="12"/>
                </a:lnTo>
                <a:lnTo>
                  <a:pt x="96" y="12"/>
                </a:lnTo>
                <a:lnTo>
                  <a:pt x="100" y="12"/>
                </a:lnTo>
                <a:lnTo>
                  <a:pt x="100" y="16"/>
                </a:lnTo>
                <a:lnTo>
                  <a:pt x="96" y="16"/>
                </a:lnTo>
                <a:lnTo>
                  <a:pt x="92" y="16"/>
                </a:lnTo>
                <a:lnTo>
                  <a:pt x="92" y="20"/>
                </a:lnTo>
                <a:lnTo>
                  <a:pt x="92" y="16"/>
                </a:lnTo>
                <a:lnTo>
                  <a:pt x="96" y="16"/>
                </a:lnTo>
                <a:lnTo>
                  <a:pt x="100" y="16"/>
                </a:lnTo>
                <a:lnTo>
                  <a:pt x="104" y="16"/>
                </a:lnTo>
                <a:lnTo>
                  <a:pt x="104" y="20"/>
                </a:lnTo>
                <a:lnTo>
                  <a:pt x="108" y="20"/>
                </a:lnTo>
                <a:lnTo>
                  <a:pt x="108" y="24"/>
                </a:lnTo>
                <a:lnTo>
                  <a:pt x="108" y="20"/>
                </a:lnTo>
                <a:lnTo>
                  <a:pt x="112" y="20"/>
                </a:lnTo>
                <a:lnTo>
                  <a:pt x="112" y="24"/>
                </a:lnTo>
                <a:lnTo>
                  <a:pt x="114" y="26"/>
                </a:lnTo>
                <a:lnTo>
                  <a:pt x="112" y="26"/>
                </a:lnTo>
                <a:lnTo>
                  <a:pt x="114" y="26"/>
                </a:lnTo>
                <a:lnTo>
                  <a:pt x="118" y="30"/>
                </a:lnTo>
                <a:lnTo>
                  <a:pt x="118" y="34"/>
                </a:lnTo>
                <a:lnTo>
                  <a:pt x="122" y="38"/>
                </a:lnTo>
                <a:lnTo>
                  <a:pt x="122" y="42"/>
                </a:lnTo>
                <a:lnTo>
                  <a:pt x="118" y="46"/>
                </a:lnTo>
                <a:lnTo>
                  <a:pt x="118" y="50"/>
                </a:lnTo>
                <a:lnTo>
                  <a:pt x="122" y="50"/>
                </a:lnTo>
                <a:lnTo>
                  <a:pt x="122" y="52"/>
                </a:lnTo>
                <a:lnTo>
                  <a:pt x="126" y="52"/>
                </a:lnTo>
                <a:lnTo>
                  <a:pt x="126" y="56"/>
                </a:lnTo>
                <a:lnTo>
                  <a:pt x="122" y="56"/>
                </a:lnTo>
                <a:lnTo>
                  <a:pt x="122" y="60"/>
                </a:lnTo>
                <a:lnTo>
                  <a:pt x="126" y="60"/>
                </a:lnTo>
                <a:lnTo>
                  <a:pt x="126" y="64"/>
                </a:lnTo>
                <a:lnTo>
                  <a:pt x="126" y="68"/>
                </a:lnTo>
                <a:lnTo>
                  <a:pt x="122" y="68"/>
                </a:lnTo>
                <a:lnTo>
                  <a:pt x="126" y="72"/>
                </a:lnTo>
                <a:lnTo>
                  <a:pt x="126" y="76"/>
                </a:lnTo>
                <a:lnTo>
                  <a:pt x="130" y="76"/>
                </a:lnTo>
                <a:lnTo>
                  <a:pt x="130" y="78"/>
                </a:lnTo>
                <a:lnTo>
                  <a:pt x="130" y="82"/>
                </a:lnTo>
                <a:lnTo>
                  <a:pt x="130" y="86"/>
                </a:lnTo>
                <a:lnTo>
                  <a:pt x="126" y="90"/>
                </a:lnTo>
                <a:lnTo>
                  <a:pt x="122" y="90"/>
                </a:lnTo>
                <a:lnTo>
                  <a:pt x="126" y="90"/>
                </a:lnTo>
                <a:lnTo>
                  <a:pt x="122" y="86"/>
                </a:lnTo>
                <a:lnTo>
                  <a:pt x="118" y="86"/>
                </a:lnTo>
                <a:lnTo>
                  <a:pt x="122" y="86"/>
                </a:lnTo>
                <a:lnTo>
                  <a:pt x="118" y="90"/>
                </a:lnTo>
                <a:lnTo>
                  <a:pt x="114" y="90"/>
                </a:lnTo>
                <a:lnTo>
                  <a:pt x="112" y="94"/>
                </a:lnTo>
                <a:lnTo>
                  <a:pt x="108" y="94"/>
                </a:lnTo>
                <a:lnTo>
                  <a:pt x="104" y="94"/>
                </a:lnTo>
                <a:lnTo>
                  <a:pt x="104" y="98"/>
                </a:lnTo>
                <a:lnTo>
                  <a:pt x="100" y="98"/>
                </a:lnTo>
                <a:lnTo>
                  <a:pt x="96" y="98"/>
                </a:lnTo>
                <a:lnTo>
                  <a:pt x="92" y="102"/>
                </a:lnTo>
                <a:lnTo>
                  <a:pt x="92" y="106"/>
                </a:lnTo>
                <a:lnTo>
                  <a:pt x="88" y="102"/>
                </a:lnTo>
                <a:lnTo>
                  <a:pt x="88" y="106"/>
                </a:lnTo>
                <a:lnTo>
                  <a:pt x="92" y="106"/>
                </a:lnTo>
                <a:lnTo>
                  <a:pt x="92" y="108"/>
                </a:lnTo>
                <a:lnTo>
                  <a:pt x="96" y="108"/>
                </a:lnTo>
                <a:lnTo>
                  <a:pt x="92" y="112"/>
                </a:lnTo>
                <a:lnTo>
                  <a:pt x="92" y="116"/>
                </a:lnTo>
                <a:lnTo>
                  <a:pt x="96" y="116"/>
                </a:lnTo>
                <a:lnTo>
                  <a:pt x="96" y="120"/>
                </a:lnTo>
                <a:lnTo>
                  <a:pt x="100" y="120"/>
                </a:lnTo>
                <a:lnTo>
                  <a:pt x="100" y="124"/>
                </a:lnTo>
                <a:lnTo>
                  <a:pt x="104" y="124"/>
                </a:lnTo>
                <a:lnTo>
                  <a:pt x="108" y="128"/>
                </a:lnTo>
                <a:lnTo>
                  <a:pt x="112" y="132"/>
                </a:lnTo>
                <a:lnTo>
                  <a:pt x="112" y="134"/>
                </a:lnTo>
                <a:lnTo>
                  <a:pt x="112" y="138"/>
                </a:lnTo>
                <a:lnTo>
                  <a:pt x="108" y="138"/>
                </a:lnTo>
                <a:lnTo>
                  <a:pt x="108" y="142"/>
                </a:lnTo>
                <a:lnTo>
                  <a:pt x="104" y="142"/>
                </a:lnTo>
                <a:lnTo>
                  <a:pt x="100" y="142"/>
                </a:lnTo>
                <a:lnTo>
                  <a:pt x="100" y="146"/>
                </a:lnTo>
                <a:lnTo>
                  <a:pt x="96" y="146"/>
                </a:lnTo>
                <a:lnTo>
                  <a:pt x="100" y="146"/>
                </a:lnTo>
                <a:lnTo>
                  <a:pt x="100" y="150"/>
                </a:lnTo>
                <a:lnTo>
                  <a:pt x="100" y="154"/>
                </a:lnTo>
                <a:lnTo>
                  <a:pt x="104" y="154"/>
                </a:lnTo>
                <a:lnTo>
                  <a:pt x="104" y="158"/>
                </a:lnTo>
                <a:lnTo>
                  <a:pt x="104" y="162"/>
                </a:lnTo>
                <a:lnTo>
                  <a:pt x="100" y="162"/>
                </a:lnTo>
                <a:lnTo>
                  <a:pt x="100" y="158"/>
                </a:lnTo>
                <a:lnTo>
                  <a:pt x="96" y="158"/>
                </a:lnTo>
                <a:lnTo>
                  <a:pt x="92" y="158"/>
                </a:lnTo>
                <a:lnTo>
                  <a:pt x="88" y="158"/>
                </a:lnTo>
                <a:lnTo>
                  <a:pt x="86" y="158"/>
                </a:lnTo>
                <a:lnTo>
                  <a:pt x="82" y="158"/>
                </a:lnTo>
                <a:lnTo>
                  <a:pt x="78" y="158"/>
                </a:lnTo>
                <a:lnTo>
                  <a:pt x="78" y="162"/>
                </a:lnTo>
                <a:lnTo>
                  <a:pt x="74" y="162"/>
                </a:lnTo>
                <a:lnTo>
                  <a:pt x="70" y="158"/>
                </a:lnTo>
                <a:lnTo>
                  <a:pt x="66" y="158"/>
                </a:lnTo>
                <a:lnTo>
                  <a:pt x="66" y="162"/>
                </a:lnTo>
                <a:lnTo>
                  <a:pt x="62" y="164"/>
                </a:lnTo>
                <a:lnTo>
                  <a:pt x="62" y="162"/>
                </a:lnTo>
                <a:lnTo>
                  <a:pt x="58" y="162"/>
                </a:lnTo>
                <a:lnTo>
                  <a:pt x="58" y="158"/>
                </a:lnTo>
                <a:lnTo>
                  <a:pt x="56" y="158"/>
                </a:lnTo>
                <a:lnTo>
                  <a:pt x="52" y="158"/>
                </a:lnTo>
                <a:lnTo>
                  <a:pt x="48" y="158"/>
                </a:lnTo>
                <a:lnTo>
                  <a:pt x="44" y="158"/>
                </a:lnTo>
                <a:lnTo>
                  <a:pt x="44" y="154"/>
                </a:lnTo>
                <a:lnTo>
                  <a:pt x="44" y="158"/>
                </a:lnTo>
                <a:lnTo>
                  <a:pt x="44" y="154"/>
                </a:lnTo>
                <a:lnTo>
                  <a:pt x="40" y="154"/>
                </a:lnTo>
                <a:lnTo>
                  <a:pt x="40" y="158"/>
                </a:lnTo>
                <a:lnTo>
                  <a:pt x="40" y="154"/>
                </a:lnTo>
                <a:lnTo>
                  <a:pt x="36" y="154"/>
                </a:lnTo>
                <a:lnTo>
                  <a:pt x="36" y="158"/>
                </a:lnTo>
                <a:lnTo>
                  <a:pt x="40" y="158"/>
                </a:lnTo>
                <a:lnTo>
                  <a:pt x="36" y="158"/>
                </a:lnTo>
                <a:lnTo>
                  <a:pt x="32" y="158"/>
                </a:lnTo>
                <a:lnTo>
                  <a:pt x="30" y="158"/>
                </a:lnTo>
                <a:lnTo>
                  <a:pt x="26" y="158"/>
                </a:lnTo>
                <a:lnTo>
                  <a:pt x="26" y="158"/>
                </a:lnTo>
                <a:lnTo>
                  <a:pt x="26" y="158"/>
                </a:lnTo>
                <a:close/>
                <a:moveTo>
                  <a:pt x="118" y="26"/>
                </a:moveTo>
                <a:lnTo>
                  <a:pt x="114" y="26"/>
                </a:lnTo>
                <a:lnTo>
                  <a:pt x="112" y="26"/>
                </a:lnTo>
                <a:lnTo>
                  <a:pt x="114" y="26"/>
                </a:lnTo>
                <a:lnTo>
                  <a:pt x="114" y="24"/>
                </a:lnTo>
                <a:lnTo>
                  <a:pt x="112" y="24"/>
                </a:lnTo>
                <a:lnTo>
                  <a:pt x="112" y="20"/>
                </a:lnTo>
                <a:lnTo>
                  <a:pt x="114" y="20"/>
                </a:lnTo>
                <a:lnTo>
                  <a:pt x="114" y="24"/>
                </a:lnTo>
                <a:lnTo>
                  <a:pt x="118" y="24"/>
                </a:lnTo>
                <a:lnTo>
                  <a:pt x="118" y="26"/>
                </a:lnTo>
                <a:lnTo>
                  <a:pt x="118" y="26"/>
                </a:lnTo>
                <a:lnTo>
                  <a:pt x="118" y="26"/>
                </a:lnTo>
                <a:close/>
                <a:moveTo>
                  <a:pt x="78" y="12"/>
                </a:moveTo>
                <a:lnTo>
                  <a:pt x="78" y="16"/>
                </a:lnTo>
                <a:lnTo>
                  <a:pt x="74" y="16"/>
                </a:lnTo>
                <a:lnTo>
                  <a:pt x="74" y="12"/>
                </a:lnTo>
                <a:lnTo>
                  <a:pt x="78" y="12"/>
                </a:lnTo>
                <a:lnTo>
                  <a:pt x="78" y="12"/>
                </a:lnTo>
                <a:lnTo>
                  <a:pt x="78" y="12"/>
                </a:lnTo>
                <a:close/>
                <a:moveTo>
                  <a:pt x="40" y="8"/>
                </a:moveTo>
                <a:lnTo>
                  <a:pt x="36" y="8"/>
                </a:lnTo>
                <a:lnTo>
                  <a:pt x="40" y="8"/>
                </a:lnTo>
                <a:lnTo>
                  <a:pt x="40" y="8"/>
                </a:lnTo>
                <a:lnTo>
                  <a:pt x="40" y="8"/>
                </a:lnTo>
                <a:close/>
                <a:moveTo>
                  <a:pt x="104" y="20"/>
                </a:moveTo>
                <a:lnTo>
                  <a:pt x="104" y="16"/>
                </a:lnTo>
                <a:lnTo>
                  <a:pt x="104" y="12"/>
                </a:lnTo>
                <a:lnTo>
                  <a:pt x="108" y="12"/>
                </a:lnTo>
                <a:lnTo>
                  <a:pt x="104" y="12"/>
                </a:lnTo>
                <a:lnTo>
                  <a:pt x="104" y="8"/>
                </a:lnTo>
                <a:lnTo>
                  <a:pt x="108" y="8"/>
                </a:lnTo>
                <a:lnTo>
                  <a:pt x="108" y="12"/>
                </a:lnTo>
                <a:lnTo>
                  <a:pt x="112" y="12"/>
                </a:lnTo>
                <a:lnTo>
                  <a:pt x="112" y="16"/>
                </a:lnTo>
                <a:lnTo>
                  <a:pt x="108" y="16"/>
                </a:lnTo>
                <a:lnTo>
                  <a:pt x="108" y="20"/>
                </a:lnTo>
                <a:lnTo>
                  <a:pt x="104" y="20"/>
                </a:lnTo>
                <a:lnTo>
                  <a:pt x="104" y="20"/>
                </a:lnTo>
                <a:lnTo>
                  <a:pt x="104" y="20"/>
                </a:lnTo>
                <a:close/>
              </a:path>
            </a:pathLst>
          </a:custGeom>
          <a:solidFill>
            <a:srgbClr val="A0DCFF"/>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95" name="Freeform 102"/>
          <p:cNvSpPr>
            <a:spLocks noEditPoints="1"/>
          </p:cNvSpPr>
          <p:nvPr/>
        </p:nvSpPr>
        <p:spPr bwMode="auto">
          <a:xfrm>
            <a:off x="4591050" y="2807494"/>
            <a:ext cx="140494" cy="154781"/>
          </a:xfrm>
          <a:custGeom>
            <a:avLst/>
            <a:gdLst>
              <a:gd name="T0" fmla="*/ 6 w 118"/>
              <a:gd name="T1" fmla="*/ 48 h 130"/>
              <a:gd name="T2" fmla="*/ 6 w 118"/>
              <a:gd name="T3" fmla="*/ 34 h 130"/>
              <a:gd name="T4" fmla="*/ 26 w 118"/>
              <a:gd name="T5" fmla="*/ 18 h 130"/>
              <a:gd name="T6" fmla="*/ 44 w 118"/>
              <a:gd name="T7" fmla="*/ 8 h 130"/>
              <a:gd name="T8" fmla="*/ 66 w 118"/>
              <a:gd name="T9" fmla="*/ 4 h 130"/>
              <a:gd name="T10" fmla="*/ 86 w 118"/>
              <a:gd name="T11" fmla="*/ 12 h 130"/>
              <a:gd name="T12" fmla="*/ 96 w 118"/>
              <a:gd name="T13" fmla="*/ 8 h 130"/>
              <a:gd name="T14" fmla="*/ 86 w 118"/>
              <a:gd name="T15" fmla="*/ 18 h 130"/>
              <a:gd name="T16" fmla="*/ 62 w 118"/>
              <a:gd name="T17" fmla="*/ 18 h 130"/>
              <a:gd name="T18" fmla="*/ 62 w 118"/>
              <a:gd name="T19" fmla="*/ 30 h 130"/>
              <a:gd name="T20" fmla="*/ 60 w 118"/>
              <a:gd name="T21" fmla="*/ 38 h 130"/>
              <a:gd name="T22" fmla="*/ 52 w 118"/>
              <a:gd name="T23" fmla="*/ 34 h 130"/>
              <a:gd name="T24" fmla="*/ 40 w 118"/>
              <a:gd name="T25" fmla="*/ 38 h 130"/>
              <a:gd name="T26" fmla="*/ 44 w 118"/>
              <a:gd name="T27" fmla="*/ 52 h 130"/>
              <a:gd name="T28" fmla="*/ 36 w 118"/>
              <a:gd name="T29" fmla="*/ 56 h 130"/>
              <a:gd name="T30" fmla="*/ 48 w 118"/>
              <a:gd name="T31" fmla="*/ 60 h 130"/>
              <a:gd name="T32" fmla="*/ 60 w 118"/>
              <a:gd name="T33" fmla="*/ 74 h 130"/>
              <a:gd name="T34" fmla="*/ 48 w 118"/>
              <a:gd name="T35" fmla="*/ 74 h 130"/>
              <a:gd name="T36" fmla="*/ 44 w 118"/>
              <a:gd name="T37" fmla="*/ 82 h 130"/>
              <a:gd name="T38" fmla="*/ 44 w 118"/>
              <a:gd name="T39" fmla="*/ 98 h 130"/>
              <a:gd name="T40" fmla="*/ 36 w 118"/>
              <a:gd name="T41" fmla="*/ 102 h 130"/>
              <a:gd name="T42" fmla="*/ 26 w 118"/>
              <a:gd name="T43" fmla="*/ 90 h 130"/>
              <a:gd name="T44" fmla="*/ 22 w 118"/>
              <a:gd name="T45" fmla="*/ 72 h 130"/>
              <a:gd name="T46" fmla="*/ 40 w 118"/>
              <a:gd name="T47" fmla="*/ 74 h 130"/>
              <a:gd name="T48" fmla="*/ 36 w 118"/>
              <a:gd name="T49" fmla="*/ 64 h 130"/>
              <a:gd name="T50" fmla="*/ 18 w 118"/>
              <a:gd name="T51" fmla="*/ 60 h 130"/>
              <a:gd name="T52" fmla="*/ 66 w 118"/>
              <a:gd name="T53" fmla="*/ 22 h 130"/>
              <a:gd name="T54" fmla="*/ 82 w 118"/>
              <a:gd name="T55" fmla="*/ 26 h 130"/>
              <a:gd name="T56" fmla="*/ 74 w 118"/>
              <a:gd name="T57" fmla="*/ 34 h 130"/>
              <a:gd name="T58" fmla="*/ 2 w 118"/>
              <a:gd name="T59" fmla="*/ 42 h 130"/>
              <a:gd name="T60" fmla="*/ 0 w 118"/>
              <a:gd name="T61" fmla="*/ 38 h 130"/>
              <a:gd name="T62" fmla="*/ 92 w 118"/>
              <a:gd name="T63" fmla="*/ 52 h 130"/>
              <a:gd name="T64" fmla="*/ 60 w 118"/>
              <a:gd name="T65" fmla="*/ 68 h 130"/>
              <a:gd name="T66" fmla="*/ 48 w 118"/>
              <a:gd name="T67" fmla="*/ 52 h 130"/>
              <a:gd name="T68" fmla="*/ 62 w 118"/>
              <a:gd name="T69" fmla="*/ 72 h 130"/>
              <a:gd name="T70" fmla="*/ 60 w 118"/>
              <a:gd name="T71" fmla="*/ 68 h 130"/>
              <a:gd name="T72" fmla="*/ 14 w 118"/>
              <a:gd name="T73" fmla="*/ 60 h 130"/>
              <a:gd name="T74" fmla="*/ 90 w 118"/>
              <a:gd name="T75" fmla="*/ 72 h 130"/>
              <a:gd name="T76" fmla="*/ 90 w 118"/>
              <a:gd name="T77" fmla="*/ 72 h 130"/>
              <a:gd name="T78" fmla="*/ 14 w 118"/>
              <a:gd name="T79" fmla="*/ 68 h 130"/>
              <a:gd name="T80" fmla="*/ 10 w 118"/>
              <a:gd name="T81" fmla="*/ 64 h 130"/>
              <a:gd name="T82" fmla="*/ 74 w 118"/>
              <a:gd name="T83" fmla="*/ 78 h 130"/>
              <a:gd name="T84" fmla="*/ 18 w 118"/>
              <a:gd name="T85" fmla="*/ 78 h 130"/>
              <a:gd name="T86" fmla="*/ 100 w 118"/>
              <a:gd name="T87" fmla="*/ 78 h 130"/>
              <a:gd name="T88" fmla="*/ 92 w 118"/>
              <a:gd name="T89" fmla="*/ 82 h 130"/>
              <a:gd name="T90" fmla="*/ 62 w 118"/>
              <a:gd name="T91" fmla="*/ 82 h 130"/>
              <a:gd name="T92" fmla="*/ 74 w 118"/>
              <a:gd name="T93" fmla="*/ 78 h 130"/>
              <a:gd name="T94" fmla="*/ 66 w 118"/>
              <a:gd name="T95" fmla="*/ 82 h 130"/>
              <a:gd name="T96" fmla="*/ 74 w 118"/>
              <a:gd name="T97" fmla="*/ 94 h 130"/>
              <a:gd name="T98" fmla="*/ 100 w 118"/>
              <a:gd name="T99" fmla="*/ 94 h 130"/>
              <a:gd name="T100" fmla="*/ 104 w 118"/>
              <a:gd name="T101" fmla="*/ 94 h 130"/>
              <a:gd name="T102" fmla="*/ 78 w 118"/>
              <a:gd name="T103" fmla="*/ 102 h 130"/>
              <a:gd name="T104" fmla="*/ 66 w 118"/>
              <a:gd name="T105" fmla="*/ 102 h 130"/>
              <a:gd name="T106" fmla="*/ 112 w 118"/>
              <a:gd name="T107" fmla="*/ 108 h 130"/>
              <a:gd name="T108" fmla="*/ 44 w 118"/>
              <a:gd name="T109" fmla="*/ 108 h 130"/>
              <a:gd name="T110" fmla="*/ 104 w 118"/>
              <a:gd name="T111" fmla="*/ 124 h 130"/>
              <a:gd name="T112" fmla="*/ 62 w 118"/>
              <a:gd name="T113" fmla="*/ 120 h 130"/>
              <a:gd name="T114" fmla="*/ 82 w 118"/>
              <a:gd name="T115" fmla="*/ 124 h 130"/>
              <a:gd name="T116" fmla="*/ 78 w 118"/>
              <a:gd name="T117" fmla="*/ 130 h 130"/>
              <a:gd name="T118" fmla="*/ 56 w 118"/>
              <a:gd name="T119" fmla="*/ 128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8" h="130">
                <a:moveTo>
                  <a:pt x="18" y="52"/>
                </a:moveTo>
                <a:lnTo>
                  <a:pt x="18" y="56"/>
                </a:lnTo>
                <a:lnTo>
                  <a:pt x="14" y="52"/>
                </a:lnTo>
                <a:lnTo>
                  <a:pt x="14" y="56"/>
                </a:lnTo>
                <a:lnTo>
                  <a:pt x="14" y="52"/>
                </a:lnTo>
                <a:lnTo>
                  <a:pt x="10" y="52"/>
                </a:lnTo>
                <a:lnTo>
                  <a:pt x="10" y="48"/>
                </a:lnTo>
                <a:lnTo>
                  <a:pt x="6" y="48"/>
                </a:lnTo>
                <a:lnTo>
                  <a:pt x="6" y="46"/>
                </a:lnTo>
                <a:lnTo>
                  <a:pt x="6" y="42"/>
                </a:lnTo>
                <a:lnTo>
                  <a:pt x="2" y="42"/>
                </a:lnTo>
                <a:lnTo>
                  <a:pt x="6" y="42"/>
                </a:lnTo>
                <a:lnTo>
                  <a:pt x="6" y="38"/>
                </a:lnTo>
                <a:lnTo>
                  <a:pt x="6" y="42"/>
                </a:lnTo>
                <a:lnTo>
                  <a:pt x="6" y="38"/>
                </a:lnTo>
                <a:lnTo>
                  <a:pt x="6" y="34"/>
                </a:lnTo>
                <a:lnTo>
                  <a:pt x="10" y="34"/>
                </a:lnTo>
                <a:lnTo>
                  <a:pt x="14" y="30"/>
                </a:lnTo>
                <a:lnTo>
                  <a:pt x="14" y="26"/>
                </a:lnTo>
                <a:lnTo>
                  <a:pt x="18" y="26"/>
                </a:lnTo>
                <a:lnTo>
                  <a:pt x="18" y="22"/>
                </a:lnTo>
                <a:lnTo>
                  <a:pt x="18" y="18"/>
                </a:lnTo>
                <a:lnTo>
                  <a:pt x="22" y="18"/>
                </a:lnTo>
                <a:lnTo>
                  <a:pt x="26" y="18"/>
                </a:lnTo>
                <a:lnTo>
                  <a:pt x="30" y="18"/>
                </a:lnTo>
                <a:lnTo>
                  <a:pt x="30" y="16"/>
                </a:lnTo>
                <a:lnTo>
                  <a:pt x="32" y="12"/>
                </a:lnTo>
                <a:lnTo>
                  <a:pt x="36" y="12"/>
                </a:lnTo>
                <a:lnTo>
                  <a:pt x="36" y="16"/>
                </a:lnTo>
                <a:lnTo>
                  <a:pt x="40" y="16"/>
                </a:lnTo>
                <a:lnTo>
                  <a:pt x="40" y="12"/>
                </a:lnTo>
                <a:lnTo>
                  <a:pt x="44" y="8"/>
                </a:lnTo>
                <a:lnTo>
                  <a:pt x="48" y="12"/>
                </a:lnTo>
                <a:lnTo>
                  <a:pt x="48" y="8"/>
                </a:lnTo>
                <a:lnTo>
                  <a:pt x="52" y="8"/>
                </a:lnTo>
                <a:lnTo>
                  <a:pt x="56" y="8"/>
                </a:lnTo>
                <a:lnTo>
                  <a:pt x="60" y="8"/>
                </a:lnTo>
                <a:lnTo>
                  <a:pt x="60" y="4"/>
                </a:lnTo>
                <a:lnTo>
                  <a:pt x="62" y="4"/>
                </a:lnTo>
                <a:lnTo>
                  <a:pt x="66" y="4"/>
                </a:lnTo>
                <a:lnTo>
                  <a:pt x="66" y="8"/>
                </a:lnTo>
                <a:lnTo>
                  <a:pt x="70" y="8"/>
                </a:lnTo>
                <a:lnTo>
                  <a:pt x="74" y="8"/>
                </a:lnTo>
                <a:lnTo>
                  <a:pt x="74" y="12"/>
                </a:lnTo>
                <a:lnTo>
                  <a:pt x="78" y="12"/>
                </a:lnTo>
                <a:lnTo>
                  <a:pt x="82" y="12"/>
                </a:lnTo>
                <a:lnTo>
                  <a:pt x="86" y="8"/>
                </a:lnTo>
                <a:lnTo>
                  <a:pt x="86" y="12"/>
                </a:lnTo>
                <a:lnTo>
                  <a:pt x="90" y="12"/>
                </a:lnTo>
                <a:lnTo>
                  <a:pt x="90" y="8"/>
                </a:lnTo>
                <a:lnTo>
                  <a:pt x="90" y="4"/>
                </a:lnTo>
                <a:lnTo>
                  <a:pt x="90" y="0"/>
                </a:lnTo>
                <a:lnTo>
                  <a:pt x="92" y="0"/>
                </a:lnTo>
                <a:lnTo>
                  <a:pt x="92" y="4"/>
                </a:lnTo>
                <a:lnTo>
                  <a:pt x="96" y="4"/>
                </a:lnTo>
                <a:lnTo>
                  <a:pt x="96" y="8"/>
                </a:lnTo>
                <a:lnTo>
                  <a:pt x="96" y="12"/>
                </a:lnTo>
                <a:lnTo>
                  <a:pt x="92" y="12"/>
                </a:lnTo>
                <a:lnTo>
                  <a:pt x="92" y="16"/>
                </a:lnTo>
                <a:lnTo>
                  <a:pt x="92" y="18"/>
                </a:lnTo>
                <a:lnTo>
                  <a:pt x="90" y="18"/>
                </a:lnTo>
                <a:lnTo>
                  <a:pt x="90" y="22"/>
                </a:lnTo>
                <a:lnTo>
                  <a:pt x="90" y="18"/>
                </a:lnTo>
                <a:lnTo>
                  <a:pt x="86" y="18"/>
                </a:lnTo>
                <a:lnTo>
                  <a:pt x="82" y="18"/>
                </a:lnTo>
                <a:lnTo>
                  <a:pt x="78" y="18"/>
                </a:lnTo>
                <a:lnTo>
                  <a:pt x="74" y="16"/>
                </a:lnTo>
                <a:lnTo>
                  <a:pt x="70" y="18"/>
                </a:lnTo>
                <a:lnTo>
                  <a:pt x="66" y="18"/>
                </a:lnTo>
                <a:lnTo>
                  <a:pt x="66" y="16"/>
                </a:lnTo>
                <a:lnTo>
                  <a:pt x="66" y="18"/>
                </a:lnTo>
                <a:lnTo>
                  <a:pt x="62" y="18"/>
                </a:lnTo>
                <a:lnTo>
                  <a:pt x="62" y="22"/>
                </a:lnTo>
                <a:lnTo>
                  <a:pt x="60" y="22"/>
                </a:lnTo>
                <a:lnTo>
                  <a:pt x="60" y="18"/>
                </a:lnTo>
                <a:lnTo>
                  <a:pt x="56" y="18"/>
                </a:lnTo>
                <a:lnTo>
                  <a:pt x="56" y="22"/>
                </a:lnTo>
                <a:lnTo>
                  <a:pt x="56" y="26"/>
                </a:lnTo>
                <a:lnTo>
                  <a:pt x="60" y="26"/>
                </a:lnTo>
                <a:lnTo>
                  <a:pt x="62" y="30"/>
                </a:lnTo>
                <a:lnTo>
                  <a:pt x="66" y="30"/>
                </a:lnTo>
                <a:lnTo>
                  <a:pt x="66" y="34"/>
                </a:lnTo>
                <a:lnTo>
                  <a:pt x="62" y="34"/>
                </a:lnTo>
                <a:lnTo>
                  <a:pt x="62" y="30"/>
                </a:lnTo>
                <a:lnTo>
                  <a:pt x="60" y="30"/>
                </a:lnTo>
                <a:lnTo>
                  <a:pt x="56" y="30"/>
                </a:lnTo>
                <a:lnTo>
                  <a:pt x="60" y="34"/>
                </a:lnTo>
                <a:lnTo>
                  <a:pt x="60" y="38"/>
                </a:lnTo>
                <a:lnTo>
                  <a:pt x="56" y="34"/>
                </a:lnTo>
                <a:lnTo>
                  <a:pt x="56" y="30"/>
                </a:lnTo>
                <a:lnTo>
                  <a:pt x="52" y="30"/>
                </a:lnTo>
                <a:lnTo>
                  <a:pt x="52" y="34"/>
                </a:lnTo>
                <a:lnTo>
                  <a:pt x="56" y="34"/>
                </a:lnTo>
                <a:lnTo>
                  <a:pt x="56" y="38"/>
                </a:lnTo>
                <a:lnTo>
                  <a:pt x="52" y="38"/>
                </a:lnTo>
                <a:lnTo>
                  <a:pt x="52" y="34"/>
                </a:lnTo>
                <a:lnTo>
                  <a:pt x="52" y="30"/>
                </a:lnTo>
                <a:lnTo>
                  <a:pt x="48" y="30"/>
                </a:lnTo>
                <a:lnTo>
                  <a:pt x="44" y="26"/>
                </a:lnTo>
                <a:lnTo>
                  <a:pt x="44" y="22"/>
                </a:lnTo>
                <a:lnTo>
                  <a:pt x="40" y="26"/>
                </a:lnTo>
                <a:lnTo>
                  <a:pt x="40" y="30"/>
                </a:lnTo>
                <a:lnTo>
                  <a:pt x="40" y="34"/>
                </a:lnTo>
                <a:lnTo>
                  <a:pt x="40" y="38"/>
                </a:lnTo>
                <a:lnTo>
                  <a:pt x="44" y="42"/>
                </a:lnTo>
                <a:lnTo>
                  <a:pt x="44" y="46"/>
                </a:lnTo>
                <a:lnTo>
                  <a:pt x="48" y="46"/>
                </a:lnTo>
                <a:lnTo>
                  <a:pt x="48" y="48"/>
                </a:lnTo>
                <a:lnTo>
                  <a:pt x="52" y="48"/>
                </a:lnTo>
                <a:lnTo>
                  <a:pt x="52" y="52"/>
                </a:lnTo>
                <a:lnTo>
                  <a:pt x="48" y="52"/>
                </a:lnTo>
                <a:lnTo>
                  <a:pt x="44" y="52"/>
                </a:lnTo>
                <a:lnTo>
                  <a:pt x="48" y="52"/>
                </a:lnTo>
                <a:lnTo>
                  <a:pt x="48" y="48"/>
                </a:lnTo>
                <a:lnTo>
                  <a:pt x="44" y="48"/>
                </a:lnTo>
                <a:lnTo>
                  <a:pt x="44" y="52"/>
                </a:lnTo>
                <a:lnTo>
                  <a:pt x="48" y="52"/>
                </a:lnTo>
                <a:lnTo>
                  <a:pt x="44" y="56"/>
                </a:lnTo>
                <a:lnTo>
                  <a:pt x="40" y="56"/>
                </a:lnTo>
                <a:lnTo>
                  <a:pt x="36" y="56"/>
                </a:lnTo>
                <a:lnTo>
                  <a:pt x="40" y="56"/>
                </a:lnTo>
                <a:lnTo>
                  <a:pt x="40" y="60"/>
                </a:lnTo>
                <a:lnTo>
                  <a:pt x="40" y="56"/>
                </a:lnTo>
                <a:lnTo>
                  <a:pt x="40" y="60"/>
                </a:lnTo>
                <a:lnTo>
                  <a:pt x="44" y="60"/>
                </a:lnTo>
                <a:lnTo>
                  <a:pt x="48" y="60"/>
                </a:lnTo>
                <a:lnTo>
                  <a:pt x="48" y="64"/>
                </a:lnTo>
                <a:lnTo>
                  <a:pt x="48" y="60"/>
                </a:lnTo>
                <a:lnTo>
                  <a:pt x="52" y="64"/>
                </a:lnTo>
                <a:lnTo>
                  <a:pt x="48" y="64"/>
                </a:lnTo>
                <a:lnTo>
                  <a:pt x="52" y="64"/>
                </a:lnTo>
                <a:lnTo>
                  <a:pt x="56" y="64"/>
                </a:lnTo>
                <a:lnTo>
                  <a:pt x="56" y="68"/>
                </a:lnTo>
                <a:lnTo>
                  <a:pt x="60" y="68"/>
                </a:lnTo>
                <a:lnTo>
                  <a:pt x="60" y="72"/>
                </a:lnTo>
                <a:lnTo>
                  <a:pt x="60" y="74"/>
                </a:lnTo>
                <a:lnTo>
                  <a:pt x="60" y="78"/>
                </a:lnTo>
                <a:lnTo>
                  <a:pt x="60" y="82"/>
                </a:lnTo>
                <a:lnTo>
                  <a:pt x="60" y="78"/>
                </a:lnTo>
                <a:lnTo>
                  <a:pt x="56" y="78"/>
                </a:lnTo>
                <a:lnTo>
                  <a:pt x="52" y="74"/>
                </a:lnTo>
                <a:lnTo>
                  <a:pt x="56" y="74"/>
                </a:lnTo>
                <a:lnTo>
                  <a:pt x="52" y="74"/>
                </a:lnTo>
                <a:lnTo>
                  <a:pt x="48" y="74"/>
                </a:lnTo>
                <a:lnTo>
                  <a:pt x="44" y="74"/>
                </a:lnTo>
                <a:lnTo>
                  <a:pt x="44" y="78"/>
                </a:lnTo>
                <a:lnTo>
                  <a:pt x="48" y="78"/>
                </a:lnTo>
                <a:lnTo>
                  <a:pt x="48" y="82"/>
                </a:lnTo>
                <a:lnTo>
                  <a:pt x="52" y="82"/>
                </a:lnTo>
                <a:lnTo>
                  <a:pt x="52" y="86"/>
                </a:lnTo>
                <a:lnTo>
                  <a:pt x="48" y="86"/>
                </a:lnTo>
                <a:lnTo>
                  <a:pt x="44" y="82"/>
                </a:lnTo>
                <a:lnTo>
                  <a:pt x="40" y="82"/>
                </a:lnTo>
                <a:lnTo>
                  <a:pt x="40" y="86"/>
                </a:lnTo>
                <a:lnTo>
                  <a:pt x="44" y="86"/>
                </a:lnTo>
                <a:lnTo>
                  <a:pt x="44" y="90"/>
                </a:lnTo>
                <a:lnTo>
                  <a:pt x="44" y="94"/>
                </a:lnTo>
                <a:lnTo>
                  <a:pt x="44" y="98"/>
                </a:lnTo>
                <a:lnTo>
                  <a:pt x="48" y="98"/>
                </a:lnTo>
                <a:lnTo>
                  <a:pt x="44" y="98"/>
                </a:lnTo>
                <a:lnTo>
                  <a:pt x="44" y="102"/>
                </a:lnTo>
                <a:lnTo>
                  <a:pt x="48" y="102"/>
                </a:lnTo>
                <a:lnTo>
                  <a:pt x="48" y="104"/>
                </a:lnTo>
                <a:lnTo>
                  <a:pt x="44" y="102"/>
                </a:lnTo>
                <a:lnTo>
                  <a:pt x="40" y="98"/>
                </a:lnTo>
                <a:lnTo>
                  <a:pt x="36" y="102"/>
                </a:lnTo>
                <a:lnTo>
                  <a:pt x="36" y="104"/>
                </a:lnTo>
                <a:lnTo>
                  <a:pt x="36" y="102"/>
                </a:lnTo>
                <a:lnTo>
                  <a:pt x="36" y="98"/>
                </a:lnTo>
                <a:lnTo>
                  <a:pt x="32" y="98"/>
                </a:lnTo>
                <a:lnTo>
                  <a:pt x="32" y="94"/>
                </a:lnTo>
                <a:lnTo>
                  <a:pt x="30" y="94"/>
                </a:lnTo>
                <a:lnTo>
                  <a:pt x="30" y="98"/>
                </a:lnTo>
                <a:lnTo>
                  <a:pt x="26" y="98"/>
                </a:lnTo>
                <a:lnTo>
                  <a:pt x="26" y="94"/>
                </a:lnTo>
                <a:lnTo>
                  <a:pt x="26" y="90"/>
                </a:lnTo>
                <a:lnTo>
                  <a:pt x="26" y="86"/>
                </a:lnTo>
                <a:lnTo>
                  <a:pt x="26" y="82"/>
                </a:lnTo>
                <a:lnTo>
                  <a:pt x="22" y="82"/>
                </a:lnTo>
                <a:lnTo>
                  <a:pt x="22" y="78"/>
                </a:lnTo>
                <a:lnTo>
                  <a:pt x="18" y="78"/>
                </a:lnTo>
                <a:lnTo>
                  <a:pt x="18" y="74"/>
                </a:lnTo>
                <a:lnTo>
                  <a:pt x="22" y="74"/>
                </a:lnTo>
                <a:lnTo>
                  <a:pt x="22" y="72"/>
                </a:lnTo>
                <a:lnTo>
                  <a:pt x="26" y="72"/>
                </a:lnTo>
                <a:lnTo>
                  <a:pt x="26" y="68"/>
                </a:lnTo>
                <a:lnTo>
                  <a:pt x="30" y="68"/>
                </a:lnTo>
                <a:lnTo>
                  <a:pt x="32" y="68"/>
                </a:lnTo>
                <a:lnTo>
                  <a:pt x="32" y="72"/>
                </a:lnTo>
                <a:lnTo>
                  <a:pt x="36" y="72"/>
                </a:lnTo>
                <a:lnTo>
                  <a:pt x="40" y="72"/>
                </a:lnTo>
                <a:lnTo>
                  <a:pt x="40" y="74"/>
                </a:lnTo>
                <a:lnTo>
                  <a:pt x="44" y="74"/>
                </a:lnTo>
                <a:lnTo>
                  <a:pt x="44" y="72"/>
                </a:lnTo>
                <a:lnTo>
                  <a:pt x="48" y="72"/>
                </a:lnTo>
                <a:lnTo>
                  <a:pt x="44" y="72"/>
                </a:lnTo>
                <a:lnTo>
                  <a:pt x="40" y="72"/>
                </a:lnTo>
                <a:lnTo>
                  <a:pt x="40" y="68"/>
                </a:lnTo>
                <a:lnTo>
                  <a:pt x="36" y="68"/>
                </a:lnTo>
                <a:lnTo>
                  <a:pt x="36" y="64"/>
                </a:lnTo>
                <a:lnTo>
                  <a:pt x="36" y="68"/>
                </a:lnTo>
                <a:lnTo>
                  <a:pt x="32" y="68"/>
                </a:lnTo>
                <a:lnTo>
                  <a:pt x="30" y="68"/>
                </a:lnTo>
                <a:lnTo>
                  <a:pt x="26" y="68"/>
                </a:lnTo>
                <a:lnTo>
                  <a:pt x="22" y="68"/>
                </a:lnTo>
                <a:lnTo>
                  <a:pt x="18" y="68"/>
                </a:lnTo>
                <a:lnTo>
                  <a:pt x="18" y="64"/>
                </a:lnTo>
                <a:lnTo>
                  <a:pt x="18" y="60"/>
                </a:lnTo>
                <a:lnTo>
                  <a:pt x="14" y="60"/>
                </a:lnTo>
                <a:lnTo>
                  <a:pt x="14" y="56"/>
                </a:lnTo>
                <a:lnTo>
                  <a:pt x="18" y="56"/>
                </a:lnTo>
                <a:lnTo>
                  <a:pt x="18" y="52"/>
                </a:lnTo>
                <a:lnTo>
                  <a:pt x="18" y="52"/>
                </a:lnTo>
                <a:lnTo>
                  <a:pt x="18" y="52"/>
                </a:lnTo>
                <a:close/>
                <a:moveTo>
                  <a:pt x="70" y="22"/>
                </a:moveTo>
                <a:lnTo>
                  <a:pt x="66" y="22"/>
                </a:lnTo>
                <a:lnTo>
                  <a:pt x="66" y="18"/>
                </a:lnTo>
                <a:lnTo>
                  <a:pt x="70" y="18"/>
                </a:lnTo>
                <a:lnTo>
                  <a:pt x="70" y="22"/>
                </a:lnTo>
                <a:lnTo>
                  <a:pt x="70" y="22"/>
                </a:lnTo>
                <a:lnTo>
                  <a:pt x="70" y="22"/>
                </a:lnTo>
                <a:close/>
                <a:moveTo>
                  <a:pt x="82" y="26"/>
                </a:moveTo>
                <a:lnTo>
                  <a:pt x="86" y="26"/>
                </a:lnTo>
                <a:lnTo>
                  <a:pt x="82" y="26"/>
                </a:lnTo>
                <a:lnTo>
                  <a:pt x="82" y="26"/>
                </a:lnTo>
                <a:lnTo>
                  <a:pt x="82" y="26"/>
                </a:lnTo>
                <a:close/>
                <a:moveTo>
                  <a:pt x="82" y="34"/>
                </a:moveTo>
                <a:lnTo>
                  <a:pt x="78" y="38"/>
                </a:lnTo>
                <a:lnTo>
                  <a:pt x="78" y="42"/>
                </a:lnTo>
                <a:lnTo>
                  <a:pt x="78" y="38"/>
                </a:lnTo>
                <a:lnTo>
                  <a:pt x="74" y="38"/>
                </a:lnTo>
                <a:lnTo>
                  <a:pt x="74" y="34"/>
                </a:lnTo>
                <a:lnTo>
                  <a:pt x="78" y="34"/>
                </a:lnTo>
                <a:lnTo>
                  <a:pt x="78" y="38"/>
                </a:lnTo>
                <a:lnTo>
                  <a:pt x="78" y="34"/>
                </a:lnTo>
                <a:lnTo>
                  <a:pt x="82" y="34"/>
                </a:lnTo>
                <a:lnTo>
                  <a:pt x="82" y="34"/>
                </a:lnTo>
                <a:lnTo>
                  <a:pt x="82" y="34"/>
                </a:lnTo>
                <a:close/>
                <a:moveTo>
                  <a:pt x="0" y="38"/>
                </a:moveTo>
                <a:lnTo>
                  <a:pt x="2" y="42"/>
                </a:lnTo>
                <a:lnTo>
                  <a:pt x="0" y="42"/>
                </a:lnTo>
                <a:lnTo>
                  <a:pt x="2" y="42"/>
                </a:lnTo>
                <a:lnTo>
                  <a:pt x="2" y="46"/>
                </a:lnTo>
                <a:lnTo>
                  <a:pt x="2" y="48"/>
                </a:lnTo>
                <a:lnTo>
                  <a:pt x="0" y="46"/>
                </a:lnTo>
                <a:lnTo>
                  <a:pt x="0" y="42"/>
                </a:lnTo>
                <a:lnTo>
                  <a:pt x="0" y="38"/>
                </a:lnTo>
                <a:lnTo>
                  <a:pt x="0" y="38"/>
                </a:lnTo>
                <a:lnTo>
                  <a:pt x="0" y="38"/>
                </a:lnTo>
                <a:close/>
                <a:moveTo>
                  <a:pt x="92" y="48"/>
                </a:moveTo>
                <a:lnTo>
                  <a:pt x="96" y="52"/>
                </a:lnTo>
                <a:lnTo>
                  <a:pt x="96" y="56"/>
                </a:lnTo>
                <a:lnTo>
                  <a:pt x="92" y="56"/>
                </a:lnTo>
                <a:lnTo>
                  <a:pt x="90" y="56"/>
                </a:lnTo>
                <a:lnTo>
                  <a:pt x="90" y="52"/>
                </a:lnTo>
                <a:lnTo>
                  <a:pt x="92" y="52"/>
                </a:lnTo>
                <a:lnTo>
                  <a:pt x="90" y="52"/>
                </a:lnTo>
                <a:lnTo>
                  <a:pt x="86" y="52"/>
                </a:lnTo>
                <a:lnTo>
                  <a:pt x="86" y="48"/>
                </a:lnTo>
                <a:lnTo>
                  <a:pt x="90" y="48"/>
                </a:lnTo>
                <a:lnTo>
                  <a:pt x="92" y="48"/>
                </a:lnTo>
                <a:lnTo>
                  <a:pt x="92" y="48"/>
                </a:lnTo>
                <a:lnTo>
                  <a:pt x="92" y="48"/>
                </a:lnTo>
                <a:close/>
                <a:moveTo>
                  <a:pt x="60" y="68"/>
                </a:moveTo>
                <a:lnTo>
                  <a:pt x="56" y="68"/>
                </a:lnTo>
                <a:lnTo>
                  <a:pt x="56" y="64"/>
                </a:lnTo>
                <a:lnTo>
                  <a:pt x="52" y="64"/>
                </a:lnTo>
                <a:lnTo>
                  <a:pt x="52" y="60"/>
                </a:lnTo>
                <a:lnTo>
                  <a:pt x="48" y="56"/>
                </a:lnTo>
                <a:lnTo>
                  <a:pt x="44" y="56"/>
                </a:lnTo>
                <a:lnTo>
                  <a:pt x="48" y="56"/>
                </a:lnTo>
                <a:lnTo>
                  <a:pt x="48" y="52"/>
                </a:lnTo>
                <a:lnTo>
                  <a:pt x="52" y="56"/>
                </a:lnTo>
                <a:lnTo>
                  <a:pt x="52" y="60"/>
                </a:lnTo>
                <a:lnTo>
                  <a:pt x="56" y="60"/>
                </a:lnTo>
                <a:lnTo>
                  <a:pt x="60" y="60"/>
                </a:lnTo>
                <a:lnTo>
                  <a:pt x="62" y="60"/>
                </a:lnTo>
                <a:lnTo>
                  <a:pt x="62" y="64"/>
                </a:lnTo>
                <a:lnTo>
                  <a:pt x="62" y="68"/>
                </a:lnTo>
                <a:lnTo>
                  <a:pt x="62" y="72"/>
                </a:lnTo>
                <a:lnTo>
                  <a:pt x="66" y="72"/>
                </a:lnTo>
                <a:lnTo>
                  <a:pt x="66" y="74"/>
                </a:lnTo>
                <a:lnTo>
                  <a:pt x="62" y="74"/>
                </a:lnTo>
                <a:lnTo>
                  <a:pt x="62" y="72"/>
                </a:lnTo>
                <a:lnTo>
                  <a:pt x="62" y="68"/>
                </a:lnTo>
                <a:lnTo>
                  <a:pt x="60" y="68"/>
                </a:lnTo>
                <a:lnTo>
                  <a:pt x="60" y="68"/>
                </a:lnTo>
                <a:lnTo>
                  <a:pt x="60" y="68"/>
                </a:lnTo>
                <a:close/>
                <a:moveTo>
                  <a:pt x="66" y="60"/>
                </a:moveTo>
                <a:lnTo>
                  <a:pt x="66" y="56"/>
                </a:lnTo>
                <a:lnTo>
                  <a:pt x="70" y="60"/>
                </a:lnTo>
                <a:lnTo>
                  <a:pt x="66" y="60"/>
                </a:lnTo>
                <a:lnTo>
                  <a:pt x="66" y="60"/>
                </a:lnTo>
                <a:lnTo>
                  <a:pt x="66" y="60"/>
                </a:lnTo>
                <a:close/>
                <a:moveTo>
                  <a:pt x="14" y="56"/>
                </a:moveTo>
                <a:lnTo>
                  <a:pt x="14" y="60"/>
                </a:lnTo>
                <a:lnTo>
                  <a:pt x="14" y="64"/>
                </a:lnTo>
                <a:lnTo>
                  <a:pt x="10" y="64"/>
                </a:lnTo>
                <a:lnTo>
                  <a:pt x="10" y="60"/>
                </a:lnTo>
                <a:lnTo>
                  <a:pt x="10" y="56"/>
                </a:lnTo>
                <a:lnTo>
                  <a:pt x="14" y="56"/>
                </a:lnTo>
                <a:lnTo>
                  <a:pt x="14" y="56"/>
                </a:lnTo>
                <a:lnTo>
                  <a:pt x="14" y="56"/>
                </a:lnTo>
                <a:close/>
                <a:moveTo>
                  <a:pt x="90" y="72"/>
                </a:moveTo>
                <a:lnTo>
                  <a:pt x="86" y="72"/>
                </a:lnTo>
                <a:lnTo>
                  <a:pt x="86" y="68"/>
                </a:lnTo>
                <a:lnTo>
                  <a:pt x="90" y="68"/>
                </a:lnTo>
                <a:lnTo>
                  <a:pt x="86" y="64"/>
                </a:lnTo>
                <a:lnTo>
                  <a:pt x="90" y="64"/>
                </a:lnTo>
                <a:lnTo>
                  <a:pt x="90" y="68"/>
                </a:lnTo>
                <a:lnTo>
                  <a:pt x="90" y="72"/>
                </a:lnTo>
                <a:lnTo>
                  <a:pt x="90" y="72"/>
                </a:lnTo>
                <a:lnTo>
                  <a:pt x="90" y="72"/>
                </a:lnTo>
                <a:close/>
                <a:moveTo>
                  <a:pt x="14" y="68"/>
                </a:moveTo>
                <a:lnTo>
                  <a:pt x="10" y="68"/>
                </a:lnTo>
                <a:lnTo>
                  <a:pt x="10" y="64"/>
                </a:lnTo>
                <a:lnTo>
                  <a:pt x="14" y="64"/>
                </a:lnTo>
                <a:lnTo>
                  <a:pt x="14" y="68"/>
                </a:lnTo>
                <a:lnTo>
                  <a:pt x="14" y="68"/>
                </a:lnTo>
                <a:lnTo>
                  <a:pt x="14" y="68"/>
                </a:lnTo>
                <a:close/>
                <a:moveTo>
                  <a:pt x="10" y="64"/>
                </a:moveTo>
                <a:lnTo>
                  <a:pt x="10" y="68"/>
                </a:lnTo>
                <a:lnTo>
                  <a:pt x="14" y="72"/>
                </a:lnTo>
                <a:lnTo>
                  <a:pt x="10" y="72"/>
                </a:lnTo>
                <a:lnTo>
                  <a:pt x="6" y="72"/>
                </a:lnTo>
                <a:lnTo>
                  <a:pt x="6" y="68"/>
                </a:lnTo>
                <a:lnTo>
                  <a:pt x="10" y="68"/>
                </a:lnTo>
                <a:lnTo>
                  <a:pt x="10" y="64"/>
                </a:lnTo>
                <a:lnTo>
                  <a:pt x="10" y="64"/>
                </a:lnTo>
                <a:lnTo>
                  <a:pt x="10" y="64"/>
                </a:lnTo>
                <a:close/>
                <a:moveTo>
                  <a:pt x="74" y="78"/>
                </a:moveTo>
                <a:lnTo>
                  <a:pt x="70" y="78"/>
                </a:lnTo>
                <a:lnTo>
                  <a:pt x="70" y="74"/>
                </a:lnTo>
                <a:lnTo>
                  <a:pt x="74" y="74"/>
                </a:lnTo>
                <a:lnTo>
                  <a:pt x="74" y="78"/>
                </a:lnTo>
                <a:lnTo>
                  <a:pt x="74" y="78"/>
                </a:lnTo>
                <a:lnTo>
                  <a:pt x="74" y="78"/>
                </a:lnTo>
                <a:close/>
                <a:moveTo>
                  <a:pt x="14" y="82"/>
                </a:moveTo>
                <a:lnTo>
                  <a:pt x="14" y="78"/>
                </a:lnTo>
                <a:lnTo>
                  <a:pt x="10" y="78"/>
                </a:lnTo>
                <a:lnTo>
                  <a:pt x="10" y="74"/>
                </a:lnTo>
                <a:lnTo>
                  <a:pt x="14" y="74"/>
                </a:lnTo>
                <a:lnTo>
                  <a:pt x="14" y="78"/>
                </a:lnTo>
                <a:lnTo>
                  <a:pt x="18" y="78"/>
                </a:lnTo>
                <a:lnTo>
                  <a:pt x="14" y="78"/>
                </a:lnTo>
                <a:lnTo>
                  <a:pt x="14" y="82"/>
                </a:lnTo>
                <a:lnTo>
                  <a:pt x="14" y="82"/>
                </a:lnTo>
                <a:lnTo>
                  <a:pt x="14" y="82"/>
                </a:lnTo>
                <a:close/>
                <a:moveTo>
                  <a:pt x="100" y="82"/>
                </a:moveTo>
                <a:lnTo>
                  <a:pt x="100" y="78"/>
                </a:lnTo>
                <a:lnTo>
                  <a:pt x="96" y="78"/>
                </a:lnTo>
                <a:lnTo>
                  <a:pt x="100" y="78"/>
                </a:lnTo>
                <a:lnTo>
                  <a:pt x="104" y="78"/>
                </a:lnTo>
                <a:lnTo>
                  <a:pt x="100" y="78"/>
                </a:lnTo>
                <a:lnTo>
                  <a:pt x="100" y="82"/>
                </a:lnTo>
                <a:lnTo>
                  <a:pt x="100" y="82"/>
                </a:lnTo>
                <a:lnTo>
                  <a:pt x="100" y="82"/>
                </a:lnTo>
                <a:close/>
                <a:moveTo>
                  <a:pt x="90" y="82"/>
                </a:moveTo>
                <a:lnTo>
                  <a:pt x="92" y="78"/>
                </a:lnTo>
                <a:lnTo>
                  <a:pt x="92" y="82"/>
                </a:lnTo>
                <a:lnTo>
                  <a:pt x="90" y="82"/>
                </a:lnTo>
                <a:lnTo>
                  <a:pt x="90" y="82"/>
                </a:lnTo>
                <a:lnTo>
                  <a:pt x="90" y="82"/>
                </a:lnTo>
                <a:close/>
                <a:moveTo>
                  <a:pt x="62" y="82"/>
                </a:moveTo>
                <a:lnTo>
                  <a:pt x="62" y="78"/>
                </a:lnTo>
                <a:lnTo>
                  <a:pt x="66" y="78"/>
                </a:lnTo>
                <a:lnTo>
                  <a:pt x="66" y="82"/>
                </a:lnTo>
                <a:lnTo>
                  <a:pt x="62" y="82"/>
                </a:lnTo>
                <a:lnTo>
                  <a:pt x="62" y="82"/>
                </a:lnTo>
                <a:lnTo>
                  <a:pt x="62" y="82"/>
                </a:lnTo>
                <a:close/>
                <a:moveTo>
                  <a:pt x="74" y="78"/>
                </a:moveTo>
                <a:lnTo>
                  <a:pt x="74" y="82"/>
                </a:lnTo>
                <a:lnTo>
                  <a:pt x="78" y="82"/>
                </a:lnTo>
                <a:lnTo>
                  <a:pt x="74" y="82"/>
                </a:lnTo>
                <a:lnTo>
                  <a:pt x="74" y="78"/>
                </a:lnTo>
                <a:lnTo>
                  <a:pt x="74" y="78"/>
                </a:lnTo>
                <a:lnTo>
                  <a:pt x="74" y="78"/>
                </a:lnTo>
                <a:close/>
                <a:moveTo>
                  <a:pt x="66" y="82"/>
                </a:moveTo>
                <a:lnTo>
                  <a:pt x="66" y="86"/>
                </a:lnTo>
                <a:lnTo>
                  <a:pt x="62" y="86"/>
                </a:lnTo>
                <a:lnTo>
                  <a:pt x="66" y="86"/>
                </a:lnTo>
                <a:lnTo>
                  <a:pt x="66" y="82"/>
                </a:lnTo>
                <a:lnTo>
                  <a:pt x="66" y="82"/>
                </a:lnTo>
                <a:lnTo>
                  <a:pt x="66" y="82"/>
                </a:lnTo>
                <a:close/>
                <a:moveTo>
                  <a:pt x="82" y="94"/>
                </a:moveTo>
                <a:lnTo>
                  <a:pt x="78" y="90"/>
                </a:lnTo>
                <a:lnTo>
                  <a:pt x="82" y="90"/>
                </a:lnTo>
                <a:lnTo>
                  <a:pt x="82" y="94"/>
                </a:lnTo>
                <a:lnTo>
                  <a:pt x="82" y="94"/>
                </a:lnTo>
                <a:lnTo>
                  <a:pt x="82" y="94"/>
                </a:lnTo>
                <a:close/>
                <a:moveTo>
                  <a:pt x="78" y="94"/>
                </a:moveTo>
                <a:lnTo>
                  <a:pt x="74" y="94"/>
                </a:lnTo>
                <a:lnTo>
                  <a:pt x="74" y="90"/>
                </a:lnTo>
                <a:lnTo>
                  <a:pt x="78" y="90"/>
                </a:lnTo>
                <a:lnTo>
                  <a:pt x="78" y="94"/>
                </a:lnTo>
                <a:lnTo>
                  <a:pt x="78" y="94"/>
                </a:lnTo>
                <a:lnTo>
                  <a:pt x="78" y="94"/>
                </a:lnTo>
                <a:close/>
                <a:moveTo>
                  <a:pt x="100" y="94"/>
                </a:moveTo>
                <a:lnTo>
                  <a:pt x="100" y="90"/>
                </a:lnTo>
                <a:lnTo>
                  <a:pt x="100" y="94"/>
                </a:lnTo>
                <a:lnTo>
                  <a:pt x="104" y="94"/>
                </a:lnTo>
                <a:lnTo>
                  <a:pt x="100" y="94"/>
                </a:lnTo>
                <a:lnTo>
                  <a:pt x="100" y="94"/>
                </a:lnTo>
                <a:lnTo>
                  <a:pt x="100" y="94"/>
                </a:lnTo>
                <a:close/>
                <a:moveTo>
                  <a:pt x="100" y="102"/>
                </a:moveTo>
                <a:lnTo>
                  <a:pt x="100" y="98"/>
                </a:lnTo>
                <a:lnTo>
                  <a:pt x="104" y="98"/>
                </a:lnTo>
                <a:lnTo>
                  <a:pt x="104" y="94"/>
                </a:lnTo>
                <a:lnTo>
                  <a:pt x="108" y="94"/>
                </a:lnTo>
                <a:lnTo>
                  <a:pt x="108" y="98"/>
                </a:lnTo>
                <a:lnTo>
                  <a:pt x="104" y="98"/>
                </a:lnTo>
                <a:lnTo>
                  <a:pt x="100" y="98"/>
                </a:lnTo>
                <a:lnTo>
                  <a:pt x="100" y="102"/>
                </a:lnTo>
                <a:lnTo>
                  <a:pt x="100" y="102"/>
                </a:lnTo>
                <a:lnTo>
                  <a:pt x="100" y="102"/>
                </a:lnTo>
                <a:close/>
                <a:moveTo>
                  <a:pt x="78" y="102"/>
                </a:moveTo>
                <a:lnTo>
                  <a:pt x="78" y="98"/>
                </a:lnTo>
                <a:lnTo>
                  <a:pt x="78" y="102"/>
                </a:lnTo>
                <a:lnTo>
                  <a:pt x="78" y="102"/>
                </a:lnTo>
                <a:lnTo>
                  <a:pt x="78" y="102"/>
                </a:lnTo>
                <a:close/>
                <a:moveTo>
                  <a:pt x="62" y="102"/>
                </a:moveTo>
                <a:lnTo>
                  <a:pt x="62" y="98"/>
                </a:lnTo>
                <a:lnTo>
                  <a:pt x="66" y="98"/>
                </a:lnTo>
                <a:lnTo>
                  <a:pt x="66" y="102"/>
                </a:lnTo>
                <a:lnTo>
                  <a:pt x="62" y="102"/>
                </a:lnTo>
                <a:lnTo>
                  <a:pt x="62" y="102"/>
                </a:lnTo>
                <a:lnTo>
                  <a:pt x="62" y="102"/>
                </a:lnTo>
                <a:close/>
                <a:moveTo>
                  <a:pt x="118" y="104"/>
                </a:moveTo>
                <a:lnTo>
                  <a:pt x="118" y="108"/>
                </a:lnTo>
                <a:lnTo>
                  <a:pt x="116" y="112"/>
                </a:lnTo>
                <a:lnTo>
                  <a:pt x="112" y="112"/>
                </a:lnTo>
                <a:lnTo>
                  <a:pt x="112" y="108"/>
                </a:lnTo>
                <a:lnTo>
                  <a:pt x="116" y="108"/>
                </a:lnTo>
                <a:lnTo>
                  <a:pt x="116" y="104"/>
                </a:lnTo>
                <a:lnTo>
                  <a:pt x="118" y="104"/>
                </a:lnTo>
                <a:lnTo>
                  <a:pt x="118" y="104"/>
                </a:lnTo>
                <a:lnTo>
                  <a:pt x="118" y="104"/>
                </a:lnTo>
                <a:close/>
                <a:moveTo>
                  <a:pt x="44" y="104"/>
                </a:moveTo>
                <a:lnTo>
                  <a:pt x="48" y="108"/>
                </a:lnTo>
                <a:lnTo>
                  <a:pt x="44" y="108"/>
                </a:lnTo>
                <a:lnTo>
                  <a:pt x="44" y="104"/>
                </a:lnTo>
                <a:lnTo>
                  <a:pt x="44" y="104"/>
                </a:lnTo>
                <a:lnTo>
                  <a:pt x="44" y="104"/>
                </a:lnTo>
                <a:close/>
                <a:moveTo>
                  <a:pt x="104" y="124"/>
                </a:moveTo>
                <a:lnTo>
                  <a:pt x="104" y="120"/>
                </a:lnTo>
                <a:lnTo>
                  <a:pt x="104" y="116"/>
                </a:lnTo>
                <a:lnTo>
                  <a:pt x="104" y="120"/>
                </a:lnTo>
                <a:lnTo>
                  <a:pt x="104" y="124"/>
                </a:lnTo>
                <a:lnTo>
                  <a:pt x="104" y="124"/>
                </a:lnTo>
                <a:lnTo>
                  <a:pt x="104" y="124"/>
                </a:lnTo>
                <a:close/>
                <a:moveTo>
                  <a:pt x="56" y="128"/>
                </a:moveTo>
                <a:lnTo>
                  <a:pt x="52" y="128"/>
                </a:lnTo>
                <a:lnTo>
                  <a:pt x="52" y="120"/>
                </a:lnTo>
                <a:lnTo>
                  <a:pt x="56" y="120"/>
                </a:lnTo>
                <a:lnTo>
                  <a:pt x="60" y="120"/>
                </a:lnTo>
                <a:lnTo>
                  <a:pt x="62" y="120"/>
                </a:lnTo>
                <a:lnTo>
                  <a:pt x="60" y="124"/>
                </a:lnTo>
                <a:lnTo>
                  <a:pt x="62" y="124"/>
                </a:lnTo>
                <a:lnTo>
                  <a:pt x="66" y="124"/>
                </a:lnTo>
                <a:lnTo>
                  <a:pt x="70" y="124"/>
                </a:lnTo>
                <a:lnTo>
                  <a:pt x="74" y="124"/>
                </a:lnTo>
                <a:lnTo>
                  <a:pt x="78" y="124"/>
                </a:lnTo>
                <a:lnTo>
                  <a:pt x="82" y="128"/>
                </a:lnTo>
                <a:lnTo>
                  <a:pt x="82" y="124"/>
                </a:lnTo>
                <a:lnTo>
                  <a:pt x="86" y="124"/>
                </a:lnTo>
                <a:lnTo>
                  <a:pt x="86" y="128"/>
                </a:lnTo>
                <a:lnTo>
                  <a:pt x="90" y="128"/>
                </a:lnTo>
                <a:lnTo>
                  <a:pt x="92" y="128"/>
                </a:lnTo>
                <a:lnTo>
                  <a:pt x="92" y="130"/>
                </a:lnTo>
                <a:lnTo>
                  <a:pt x="90" y="130"/>
                </a:lnTo>
                <a:lnTo>
                  <a:pt x="82" y="130"/>
                </a:lnTo>
                <a:lnTo>
                  <a:pt x="78" y="130"/>
                </a:lnTo>
                <a:lnTo>
                  <a:pt x="74" y="130"/>
                </a:lnTo>
                <a:lnTo>
                  <a:pt x="70" y="130"/>
                </a:lnTo>
                <a:lnTo>
                  <a:pt x="66" y="130"/>
                </a:lnTo>
                <a:lnTo>
                  <a:pt x="66" y="128"/>
                </a:lnTo>
                <a:lnTo>
                  <a:pt x="62" y="128"/>
                </a:lnTo>
                <a:lnTo>
                  <a:pt x="60" y="128"/>
                </a:lnTo>
                <a:lnTo>
                  <a:pt x="56" y="128"/>
                </a:lnTo>
                <a:lnTo>
                  <a:pt x="56" y="128"/>
                </a:lnTo>
                <a:lnTo>
                  <a:pt x="56" y="128"/>
                </a:lnTo>
                <a:close/>
              </a:path>
            </a:pathLst>
          </a:custGeom>
          <a:solidFill>
            <a:srgbClr val="A0DCFF"/>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96" name="Freeform 103"/>
          <p:cNvSpPr>
            <a:spLocks/>
          </p:cNvSpPr>
          <p:nvPr/>
        </p:nvSpPr>
        <p:spPr bwMode="auto">
          <a:xfrm>
            <a:off x="4214813" y="2621755"/>
            <a:ext cx="2381" cy="4763"/>
          </a:xfrm>
          <a:custGeom>
            <a:avLst/>
            <a:gdLst>
              <a:gd name="T0" fmla="*/ 0 w 2"/>
              <a:gd name="T1" fmla="*/ 4 h 4"/>
              <a:gd name="T2" fmla="*/ 0 w 2"/>
              <a:gd name="T3" fmla="*/ 4 h 4"/>
              <a:gd name="T4" fmla="*/ 0 w 2"/>
              <a:gd name="T5" fmla="*/ 4 h 4"/>
              <a:gd name="T6" fmla="*/ 0 w 2"/>
              <a:gd name="T7" fmla="*/ 4 h 4"/>
              <a:gd name="T8" fmla="*/ 0 w 2"/>
              <a:gd name="T9" fmla="*/ 4 h 4"/>
              <a:gd name="T10" fmla="*/ 0 w 2"/>
              <a:gd name="T11" fmla="*/ 4 h 4"/>
              <a:gd name="T12" fmla="*/ 0 w 2"/>
              <a:gd name="T13" fmla="*/ 0 h 4"/>
              <a:gd name="T14" fmla="*/ 2 w 2"/>
              <a:gd name="T15" fmla="*/ 0 h 4"/>
              <a:gd name="T16" fmla="*/ 0 w 2"/>
              <a:gd name="T17" fmla="*/ 4 h 4"/>
              <a:gd name="T18" fmla="*/ 0 w 2"/>
              <a:gd name="T19" fmla="*/ 4 h 4"/>
              <a:gd name="T20" fmla="*/ 0 w 2"/>
              <a:gd name="T21" fmla="*/ 4 h 4"/>
              <a:gd name="T22" fmla="*/ 0 w 2"/>
              <a:gd name="T23" fmla="*/ 4 h 4"/>
              <a:gd name="T24" fmla="*/ 0 w 2"/>
              <a:gd name="T2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 h="4">
                <a:moveTo>
                  <a:pt x="0" y="4"/>
                </a:moveTo>
                <a:lnTo>
                  <a:pt x="0" y="4"/>
                </a:lnTo>
                <a:lnTo>
                  <a:pt x="0" y="4"/>
                </a:lnTo>
                <a:lnTo>
                  <a:pt x="0" y="4"/>
                </a:lnTo>
                <a:lnTo>
                  <a:pt x="0" y="4"/>
                </a:lnTo>
                <a:lnTo>
                  <a:pt x="0" y="4"/>
                </a:lnTo>
                <a:lnTo>
                  <a:pt x="0" y="0"/>
                </a:lnTo>
                <a:lnTo>
                  <a:pt x="2" y="0"/>
                </a:lnTo>
                <a:lnTo>
                  <a:pt x="0" y="4"/>
                </a:lnTo>
                <a:lnTo>
                  <a:pt x="0" y="4"/>
                </a:lnTo>
                <a:lnTo>
                  <a:pt x="0" y="4"/>
                </a:lnTo>
                <a:lnTo>
                  <a:pt x="0" y="4"/>
                </a:lnTo>
                <a:lnTo>
                  <a:pt x="0" y="4"/>
                </a:lnTo>
                <a:close/>
              </a:path>
            </a:pathLst>
          </a:custGeom>
          <a:solidFill>
            <a:srgbClr val="A0DCFF"/>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97" name="Freeform 104"/>
          <p:cNvSpPr>
            <a:spLocks/>
          </p:cNvSpPr>
          <p:nvPr/>
        </p:nvSpPr>
        <p:spPr bwMode="auto">
          <a:xfrm>
            <a:off x="4529137" y="2647949"/>
            <a:ext cx="114300" cy="66675"/>
          </a:xfrm>
          <a:custGeom>
            <a:avLst/>
            <a:gdLst>
              <a:gd name="T0" fmla="*/ 74 w 96"/>
              <a:gd name="T1" fmla="*/ 42 h 56"/>
              <a:gd name="T2" fmla="*/ 70 w 96"/>
              <a:gd name="T3" fmla="*/ 46 h 56"/>
              <a:gd name="T4" fmla="*/ 66 w 96"/>
              <a:gd name="T5" fmla="*/ 46 h 56"/>
              <a:gd name="T6" fmla="*/ 66 w 96"/>
              <a:gd name="T7" fmla="*/ 46 h 56"/>
              <a:gd name="T8" fmla="*/ 62 w 96"/>
              <a:gd name="T9" fmla="*/ 50 h 56"/>
              <a:gd name="T10" fmla="*/ 58 w 96"/>
              <a:gd name="T11" fmla="*/ 50 h 56"/>
              <a:gd name="T12" fmla="*/ 56 w 96"/>
              <a:gd name="T13" fmla="*/ 50 h 56"/>
              <a:gd name="T14" fmla="*/ 52 w 96"/>
              <a:gd name="T15" fmla="*/ 50 h 56"/>
              <a:gd name="T16" fmla="*/ 44 w 96"/>
              <a:gd name="T17" fmla="*/ 52 h 56"/>
              <a:gd name="T18" fmla="*/ 40 w 96"/>
              <a:gd name="T19" fmla="*/ 52 h 56"/>
              <a:gd name="T20" fmla="*/ 36 w 96"/>
              <a:gd name="T21" fmla="*/ 52 h 56"/>
              <a:gd name="T22" fmla="*/ 32 w 96"/>
              <a:gd name="T23" fmla="*/ 56 h 56"/>
              <a:gd name="T24" fmla="*/ 30 w 96"/>
              <a:gd name="T25" fmla="*/ 56 h 56"/>
              <a:gd name="T26" fmla="*/ 22 w 96"/>
              <a:gd name="T27" fmla="*/ 52 h 56"/>
              <a:gd name="T28" fmla="*/ 18 w 96"/>
              <a:gd name="T29" fmla="*/ 52 h 56"/>
              <a:gd name="T30" fmla="*/ 14 w 96"/>
              <a:gd name="T31" fmla="*/ 50 h 56"/>
              <a:gd name="T32" fmla="*/ 10 w 96"/>
              <a:gd name="T33" fmla="*/ 46 h 56"/>
              <a:gd name="T34" fmla="*/ 10 w 96"/>
              <a:gd name="T35" fmla="*/ 46 h 56"/>
              <a:gd name="T36" fmla="*/ 6 w 96"/>
              <a:gd name="T37" fmla="*/ 42 h 56"/>
              <a:gd name="T38" fmla="*/ 2 w 96"/>
              <a:gd name="T39" fmla="*/ 38 h 56"/>
              <a:gd name="T40" fmla="*/ 2 w 96"/>
              <a:gd name="T41" fmla="*/ 34 h 56"/>
              <a:gd name="T42" fmla="*/ 0 w 96"/>
              <a:gd name="T43" fmla="*/ 34 h 56"/>
              <a:gd name="T44" fmla="*/ 2 w 96"/>
              <a:gd name="T45" fmla="*/ 30 h 56"/>
              <a:gd name="T46" fmla="*/ 2 w 96"/>
              <a:gd name="T47" fmla="*/ 26 h 56"/>
              <a:gd name="T48" fmla="*/ 2 w 96"/>
              <a:gd name="T49" fmla="*/ 24 h 56"/>
              <a:gd name="T50" fmla="*/ 6 w 96"/>
              <a:gd name="T51" fmla="*/ 20 h 56"/>
              <a:gd name="T52" fmla="*/ 6 w 96"/>
              <a:gd name="T53" fmla="*/ 20 h 56"/>
              <a:gd name="T54" fmla="*/ 6 w 96"/>
              <a:gd name="T55" fmla="*/ 16 h 56"/>
              <a:gd name="T56" fmla="*/ 10 w 96"/>
              <a:gd name="T57" fmla="*/ 16 h 56"/>
              <a:gd name="T58" fmla="*/ 14 w 96"/>
              <a:gd name="T59" fmla="*/ 16 h 56"/>
              <a:gd name="T60" fmla="*/ 14 w 96"/>
              <a:gd name="T61" fmla="*/ 12 h 56"/>
              <a:gd name="T62" fmla="*/ 18 w 96"/>
              <a:gd name="T63" fmla="*/ 12 h 56"/>
              <a:gd name="T64" fmla="*/ 18 w 96"/>
              <a:gd name="T65" fmla="*/ 12 h 56"/>
              <a:gd name="T66" fmla="*/ 26 w 96"/>
              <a:gd name="T67" fmla="*/ 16 h 56"/>
              <a:gd name="T68" fmla="*/ 32 w 96"/>
              <a:gd name="T69" fmla="*/ 16 h 56"/>
              <a:gd name="T70" fmla="*/ 36 w 96"/>
              <a:gd name="T71" fmla="*/ 16 h 56"/>
              <a:gd name="T72" fmla="*/ 36 w 96"/>
              <a:gd name="T73" fmla="*/ 16 h 56"/>
              <a:gd name="T74" fmla="*/ 36 w 96"/>
              <a:gd name="T75" fmla="*/ 12 h 56"/>
              <a:gd name="T76" fmla="*/ 40 w 96"/>
              <a:gd name="T77" fmla="*/ 8 h 56"/>
              <a:gd name="T78" fmla="*/ 44 w 96"/>
              <a:gd name="T79" fmla="*/ 8 h 56"/>
              <a:gd name="T80" fmla="*/ 48 w 96"/>
              <a:gd name="T81" fmla="*/ 8 h 56"/>
              <a:gd name="T82" fmla="*/ 56 w 96"/>
              <a:gd name="T83" fmla="*/ 8 h 56"/>
              <a:gd name="T84" fmla="*/ 56 w 96"/>
              <a:gd name="T85" fmla="*/ 8 h 56"/>
              <a:gd name="T86" fmla="*/ 58 w 96"/>
              <a:gd name="T87" fmla="*/ 4 h 56"/>
              <a:gd name="T88" fmla="*/ 62 w 96"/>
              <a:gd name="T89" fmla="*/ 0 h 56"/>
              <a:gd name="T90" fmla="*/ 66 w 96"/>
              <a:gd name="T91" fmla="*/ 0 h 56"/>
              <a:gd name="T92" fmla="*/ 70 w 96"/>
              <a:gd name="T93" fmla="*/ 0 h 56"/>
              <a:gd name="T94" fmla="*/ 78 w 96"/>
              <a:gd name="T95" fmla="*/ 0 h 56"/>
              <a:gd name="T96" fmla="*/ 82 w 96"/>
              <a:gd name="T97" fmla="*/ 4 h 56"/>
              <a:gd name="T98" fmla="*/ 84 w 96"/>
              <a:gd name="T99" fmla="*/ 4 h 56"/>
              <a:gd name="T100" fmla="*/ 84 w 96"/>
              <a:gd name="T101" fmla="*/ 0 h 56"/>
              <a:gd name="T102" fmla="*/ 88 w 96"/>
              <a:gd name="T103" fmla="*/ 4 h 56"/>
              <a:gd name="T104" fmla="*/ 92 w 96"/>
              <a:gd name="T105" fmla="*/ 8 h 56"/>
              <a:gd name="T106" fmla="*/ 96 w 96"/>
              <a:gd name="T107" fmla="*/ 8 h 56"/>
              <a:gd name="T108" fmla="*/ 92 w 96"/>
              <a:gd name="T109" fmla="*/ 16 h 56"/>
              <a:gd name="T110" fmla="*/ 88 w 96"/>
              <a:gd name="T111" fmla="*/ 16 h 56"/>
              <a:gd name="T112" fmla="*/ 84 w 96"/>
              <a:gd name="T113" fmla="*/ 20 h 56"/>
              <a:gd name="T114" fmla="*/ 84 w 96"/>
              <a:gd name="T115" fmla="*/ 20 h 56"/>
              <a:gd name="T116" fmla="*/ 84 w 96"/>
              <a:gd name="T117" fmla="*/ 24 h 56"/>
              <a:gd name="T118" fmla="*/ 82 w 96"/>
              <a:gd name="T119" fmla="*/ 26 h 56"/>
              <a:gd name="T120" fmla="*/ 78 w 96"/>
              <a:gd name="T121" fmla="*/ 30 h 56"/>
              <a:gd name="T122" fmla="*/ 78 w 96"/>
              <a:gd name="T123" fmla="*/ 34 h 56"/>
              <a:gd name="T124" fmla="*/ 78 w 96"/>
              <a:gd name="T125" fmla="*/ 3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6" h="56">
                <a:moveTo>
                  <a:pt x="78" y="38"/>
                </a:moveTo>
                <a:lnTo>
                  <a:pt x="74" y="38"/>
                </a:lnTo>
                <a:lnTo>
                  <a:pt x="74" y="38"/>
                </a:lnTo>
                <a:lnTo>
                  <a:pt x="74" y="38"/>
                </a:lnTo>
                <a:lnTo>
                  <a:pt x="74" y="42"/>
                </a:lnTo>
                <a:lnTo>
                  <a:pt x="74" y="42"/>
                </a:lnTo>
                <a:lnTo>
                  <a:pt x="74" y="42"/>
                </a:lnTo>
                <a:lnTo>
                  <a:pt x="70" y="46"/>
                </a:lnTo>
                <a:lnTo>
                  <a:pt x="70" y="46"/>
                </a:lnTo>
                <a:lnTo>
                  <a:pt x="70" y="46"/>
                </a:lnTo>
                <a:lnTo>
                  <a:pt x="70" y="46"/>
                </a:lnTo>
                <a:lnTo>
                  <a:pt x="70" y="46"/>
                </a:lnTo>
                <a:lnTo>
                  <a:pt x="70" y="46"/>
                </a:lnTo>
                <a:lnTo>
                  <a:pt x="70" y="46"/>
                </a:lnTo>
                <a:lnTo>
                  <a:pt x="66" y="46"/>
                </a:lnTo>
                <a:lnTo>
                  <a:pt x="66" y="46"/>
                </a:lnTo>
                <a:lnTo>
                  <a:pt x="66" y="46"/>
                </a:lnTo>
                <a:lnTo>
                  <a:pt x="66" y="46"/>
                </a:lnTo>
                <a:lnTo>
                  <a:pt x="66" y="46"/>
                </a:lnTo>
                <a:lnTo>
                  <a:pt x="66" y="46"/>
                </a:lnTo>
                <a:lnTo>
                  <a:pt x="66" y="50"/>
                </a:lnTo>
                <a:lnTo>
                  <a:pt x="66" y="50"/>
                </a:lnTo>
                <a:lnTo>
                  <a:pt x="66" y="50"/>
                </a:lnTo>
                <a:lnTo>
                  <a:pt x="66" y="50"/>
                </a:lnTo>
                <a:lnTo>
                  <a:pt x="62" y="50"/>
                </a:lnTo>
                <a:lnTo>
                  <a:pt x="62" y="50"/>
                </a:lnTo>
                <a:lnTo>
                  <a:pt x="62" y="50"/>
                </a:lnTo>
                <a:lnTo>
                  <a:pt x="62" y="50"/>
                </a:lnTo>
                <a:lnTo>
                  <a:pt x="62" y="50"/>
                </a:lnTo>
                <a:lnTo>
                  <a:pt x="58" y="50"/>
                </a:lnTo>
                <a:lnTo>
                  <a:pt x="58" y="50"/>
                </a:lnTo>
                <a:lnTo>
                  <a:pt x="58" y="50"/>
                </a:lnTo>
                <a:lnTo>
                  <a:pt x="58" y="50"/>
                </a:lnTo>
                <a:lnTo>
                  <a:pt x="58" y="50"/>
                </a:lnTo>
                <a:lnTo>
                  <a:pt x="56" y="50"/>
                </a:lnTo>
                <a:lnTo>
                  <a:pt x="56" y="50"/>
                </a:lnTo>
                <a:lnTo>
                  <a:pt x="52" y="50"/>
                </a:lnTo>
                <a:lnTo>
                  <a:pt x="52" y="50"/>
                </a:lnTo>
                <a:lnTo>
                  <a:pt x="52" y="50"/>
                </a:lnTo>
                <a:lnTo>
                  <a:pt x="52" y="50"/>
                </a:lnTo>
                <a:lnTo>
                  <a:pt x="48" y="50"/>
                </a:lnTo>
                <a:lnTo>
                  <a:pt x="48" y="50"/>
                </a:lnTo>
                <a:lnTo>
                  <a:pt x="48" y="50"/>
                </a:lnTo>
                <a:lnTo>
                  <a:pt x="48" y="50"/>
                </a:lnTo>
                <a:lnTo>
                  <a:pt x="44" y="52"/>
                </a:lnTo>
                <a:lnTo>
                  <a:pt x="44" y="52"/>
                </a:lnTo>
                <a:lnTo>
                  <a:pt x="44" y="52"/>
                </a:lnTo>
                <a:lnTo>
                  <a:pt x="40" y="52"/>
                </a:lnTo>
                <a:lnTo>
                  <a:pt x="40" y="52"/>
                </a:lnTo>
                <a:lnTo>
                  <a:pt x="40" y="52"/>
                </a:lnTo>
                <a:lnTo>
                  <a:pt x="36" y="52"/>
                </a:lnTo>
                <a:lnTo>
                  <a:pt x="36" y="52"/>
                </a:lnTo>
                <a:lnTo>
                  <a:pt x="36" y="52"/>
                </a:lnTo>
                <a:lnTo>
                  <a:pt x="36" y="52"/>
                </a:lnTo>
                <a:lnTo>
                  <a:pt x="36" y="52"/>
                </a:lnTo>
                <a:lnTo>
                  <a:pt x="36" y="52"/>
                </a:lnTo>
                <a:lnTo>
                  <a:pt x="36" y="56"/>
                </a:lnTo>
                <a:lnTo>
                  <a:pt x="32" y="56"/>
                </a:lnTo>
                <a:lnTo>
                  <a:pt x="32" y="56"/>
                </a:lnTo>
                <a:lnTo>
                  <a:pt x="32" y="56"/>
                </a:lnTo>
                <a:lnTo>
                  <a:pt x="32" y="56"/>
                </a:lnTo>
                <a:lnTo>
                  <a:pt x="30" y="56"/>
                </a:lnTo>
                <a:lnTo>
                  <a:pt x="30" y="56"/>
                </a:lnTo>
                <a:lnTo>
                  <a:pt x="30" y="56"/>
                </a:lnTo>
                <a:lnTo>
                  <a:pt x="30" y="56"/>
                </a:lnTo>
                <a:lnTo>
                  <a:pt x="26" y="56"/>
                </a:lnTo>
                <a:lnTo>
                  <a:pt x="26" y="56"/>
                </a:lnTo>
                <a:lnTo>
                  <a:pt x="22" y="56"/>
                </a:lnTo>
                <a:lnTo>
                  <a:pt x="22" y="52"/>
                </a:lnTo>
                <a:lnTo>
                  <a:pt x="22" y="52"/>
                </a:lnTo>
                <a:lnTo>
                  <a:pt x="22" y="52"/>
                </a:lnTo>
                <a:lnTo>
                  <a:pt x="22" y="52"/>
                </a:lnTo>
                <a:lnTo>
                  <a:pt x="18" y="52"/>
                </a:lnTo>
                <a:lnTo>
                  <a:pt x="18" y="52"/>
                </a:lnTo>
                <a:lnTo>
                  <a:pt x="18" y="52"/>
                </a:lnTo>
                <a:lnTo>
                  <a:pt x="18" y="52"/>
                </a:lnTo>
                <a:lnTo>
                  <a:pt x="18" y="52"/>
                </a:lnTo>
                <a:lnTo>
                  <a:pt x="14" y="52"/>
                </a:lnTo>
                <a:lnTo>
                  <a:pt x="14" y="50"/>
                </a:lnTo>
                <a:lnTo>
                  <a:pt x="14" y="50"/>
                </a:lnTo>
                <a:lnTo>
                  <a:pt x="14" y="50"/>
                </a:lnTo>
                <a:lnTo>
                  <a:pt x="14" y="50"/>
                </a:lnTo>
                <a:lnTo>
                  <a:pt x="14" y="50"/>
                </a:lnTo>
                <a:lnTo>
                  <a:pt x="10" y="46"/>
                </a:lnTo>
                <a:lnTo>
                  <a:pt x="10" y="46"/>
                </a:lnTo>
                <a:lnTo>
                  <a:pt x="10" y="46"/>
                </a:lnTo>
                <a:lnTo>
                  <a:pt x="10" y="46"/>
                </a:lnTo>
                <a:lnTo>
                  <a:pt x="10" y="46"/>
                </a:lnTo>
                <a:lnTo>
                  <a:pt x="10" y="46"/>
                </a:lnTo>
                <a:lnTo>
                  <a:pt x="10" y="46"/>
                </a:lnTo>
                <a:lnTo>
                  <a:pt x="10" y="46"/>
                </a:lnTo>
                <a:lnTo>
                  <a:pt x="10" y="46"/>
                </a:lnTo>
                <a:lnTo>
                  <a:pt x="6" y="42"/>
                </a:lnTo>
                <a:lnTo>
                  <a:pt x="6" y="42"/>
                </a:lnTo>
                <a:lnTo>
                  <a:pt x="6" y="42"/>
                </a:lnTo>
                <a:lnTo>
                  <a:pt x="6" y="42"/>
                </a:lnTo>
                <a:lnTo>
                  <a:pt x="2" y="38"/>
                </a:lnTo>
                <a:lnTo>
                  <a:pt x="2" y="38"/>
                </a:lnTo>
                <a:lnTo>
                  <a:pt x="2" y="38"/>
                </a:lnTo>
                <a:lnTo>
                  <a:pt x="2" y="38"/>
                </a:lnTo>
                <a:lnTo>
                  <a:pt x="2" y="38"/>
                </a:lnTo>
                <a:lnTo>
                  <a:pt x="2" y="34"/>
                </a:lnTo>
                <a:lnTo>
                  <a:pt x="2" y="34"/>
                </a:lnTo>
                <a:lnTo>
                  <a:pt x="2" y="34"/>
                </a:lnTo>
                <a:lnTo>
                  <a:pt x="2" y="34"/>
                </a:lnTo>
                <a:lnTo>
                  <a:pt x="2" y="34"/>
                </a:lnTo>
                <a:lnTo>
                  <a:pt x="2" y="34"/>
                </a:lnTo>
                <a:lnTo>
                  <a:pt x="0" y="34"/>
                </a:lnTo>
                <a:lnTo>
                  <a:pt x="0" y="34"/>
                </a:lnTo>
                <a:lnTo>
                  <a:pt x="0" y="34"/>
                </a:lnTo>
                <a:lnTo>
                  <a:pt x="0" y="34"/>
                </a:lnTo>
                <a:lnTo>
                  <a:pt x="2" y="30"/>
                </a:lnTo>
                <a:lnTo>
                  <a:pt x="2" y="30"/>
                </a:lnTo>
                <a:lnTo>
                  <a:pt x="2" y="30"/>
                </a:lnTo>
                <a:lnTo>
                  <a:pt x="2" y="30"/>
                </a:lnTo>
                <a:lnTo>
                  <a:pt x="2" y="30"/>
                </a:lnTo>
                <a:lnTo>
                  <a:pt x="2" y="30"/>
                </a:lnTo>
                <a:lnTo>
                  <a:pt x="6" y="30"/>
                </a:lnTo>
                <a:lnTo>
                  <a:pt x="6" y="30"/>
                </a:lnTo>
                <a:lnTo>
                  <a:pt x="2" y="26"/>
                </a:lnTo>
                <a:lnTo>
                  <a:pt x="2" y="26"/>
                </a:lnTo>
                <a:lnTo>
                  <a:pt x="2" y="26"/>
                </a:lnTo>
                <a:lnTo>
                  <a:pt x="6" y="26"/>
                </a:lnTo>
                <a:lnTo>
                  <a:pt x="6" y="26"/>
                </a:lnTo>
                <a:lnTo>
                  <a:pt x="2" y="24"/>
                </a:lnTo>
                <a:lnTo>
                  <a:pt x="2" y="24"/>
                </a:lnTo>
                <a:lnTo>
                  <a:pt x="6" y="24"/>
                </a:lnTo>
                <a:lnTo>
                  <a:pt x="6" y="24"/>
                </a:lnTo>
                <a:lnTo>
                  <a:pt x="6" y="24"/>
                </a:lnTo>
                <a:lnTo>
                  <a:pt x="6" y="20"/>
                </a:lnTo>
                <a:lnTo>
                  <a:pt x="6" y="20"/>
                </a:lnTo>
                <a:lnTo>
                  <a:pt x="6" y="20"/>
                </a:lnTo>
                <a:lnTo>
                  <a:pt x="6" y="20"/>
                </a:lnTo>
                <a:lnTo>
                  <a:pt x="6" y="20"/>
                </a:lnTo>
                <a:lnTo>
                  <a:pt x="6" y="20"/>
                </a:lnTo>
                <a:lnTo>
                  <a:pt x="2" y="20"/>
                </a:lnTo>
                <a:lnTo>
                  <a:pt x="2" y="16"/>
                </a:lnTo>
                <a:lnTo>
                  <a:pt x="6" y="16"/>
                </a:lnTo>
                <a:lnTo>
                  <a:pt x="6" y="16"/>
                </a:lnTo>
                <a:lnTo>
                  <a:pt x="6" y="16"/>
                </a:lnTo>
                <a:lnTo>
                  <a:pt x="6" y="16"/>
                </a:lnTo>
                <a:lnTo>
                  <a:pt x="10" y="16"/>
                </a:lnTo>
                <a:lnTo>
                  <a:pt x="10" y="20"/>
                </a:lnTo>
                <a:lnTo>
                  <a:pt x="10" y="20"/>
                </a:lnTo>
                <a:lnTo>
                  <a:pt x="10" y="16"/>
                </a:lnTo>
                <a:lnTo>
                  <a:pt x="10" y="16"/>
                </a:lnTo>
                <a:lnTo>
                  <a:pt x="14" y="16"/>
                </a:lnTo>
                <a:lnTo>
                  <a:pt x="14" y="16"/>
                </a:lnTo>
                <a:lnTo>
                  <a:pt x="14" y="16"/>
                </a:lnTo>
                <a:lnTo>
                  <a:pt x="14" y="16"/>
                </a:lnTo>
                <a:lnTo>
                  <a:pt x="14" y="16"/>
                </a:lnTo>
                <a:lnTo>
                  <a:pt x="14" y="12"/>
                </a:lnTo>
                <a:lnTo>
                  <a:pt x="14" y="12"/>
                </a:lnTo>
                <a:lnTo>
                  <a:pt x="14" y="12"/>
                </a:lnTo>
                <a:lnTo>
                  <a:pt x="14" y="12"/>
                </a:lnTo>
                <a:lnTo>
                  <a:pt x="14" y="12"/>
                </a:lnTo>
                <a:lnTo>
                  <a:pt x="14" y="12"/>
                </a:lnTo>
                <a:lnTo>
                  <a:pt x="14" y="12"/>
                </a:lnTo>
                <a:lnTo>
                  <a:pt x="18" y="12"/>
                </a:lnTo>
                <a:lnTo>
                  <a:pt x="18" y="12"/>
                </a:lnTo>
                <a:lnTo>
                  <a:pt x="18" y="12"/>
                </a:lnTo>
                <a:lnTo>
                  <a:pt x="18" y="12"/>
                </a:lnTo>
                <a:lnTo>
                  <a:pt x="18" y="12"/>
                </a:lnTo>
                <a:lnTo>
                  <a:pt x="18" y="12"/>
                </a:lnTo>
                <a:lnTo>
                  <a:pt x="18" y="12"/>
                </a:lnTo>
                <a:lnTo>
                  <a:pt x="22" y="16"/>
                </a:lnTo>
                <a:lnTo>
                  <a:pt x="26" y="16"/>
                </a:lnTo>
                <a:lnTo>
                  <a:pt x="26" y="16"/>
                </a:lnTo>
                <a:lnTo>
                  <a:pt x="26" y="16"/>
                </a:lnTo>
                <a:lnTo>
                  <a:pt x="26" y="16"/>
                </a:lnTo>
                <a:lnTo>
                  <a:pt x="30" y="16"/>
                </a:lnTo>
                <a:lnTo>
                  <a:pt x="30" y="16"/>
                </a:lnTo>
                <a:lnTo>
                  <a:pt x="30" y="16"/>
                </a:lnTo>
                <a:lnTo>
                  <a:pt x="30" y="16"/>
                </a:lnTo>
                <a:lnTo>
                  <a:pt x="32" y="16"/>
                </a:lnTo>
                <a:lnTo>
                  <a:pt x="32" y="16"/>
                </a:lnTo>
                <a:lnTo>
                  <a:pt x="32" y="16"/>
                </a:lnTo>
                <a:lnTo>
                  <a:pt x="32" y="16"/>
                </a:lnTo>
                <a:lnTo>
                  <a:pt x="32" y="16"/>
                </a:lnTo>
                <a:lnTo>
                  <a:pt x="36" y="16"/>
                </a:lnTo>
                <a:lnTo>
                  <a:pt x="36" y="16"/>
                </a:lnTo>
                <a:lnTo>
                  <a:pt x="36" y="16"/>
                </a:lnTo>
                <a:lnTo>
                  <a:pt x="36" y="16"/>
                </a:lnTo>
                <a:lnTo>
                  <a:pt x="36" y="16"/>
                </a:lnTo>
                <a:lnTo>
                  <a:pt x="36" y="16"/>
                </a:lnTo>
                <a:lnTo>
                  <a:pt x="36" y="16"/>
                </a:lnTo>
                <a:lnTo>
                  <a:pt x="40" y="16"/>
                </a:lnTo>
                <a:lnTo>
                  <a:pt x="40" y="16"/>
                </a:lnTo>
                <a:lnTo>
                  <a:pt x="36" y="16"/>
                </a:lnTo>
                <a:lnTo>
                  <a:pt x="36" y="12"/>
                </a:lnTo>
                <a:lnTo>
                  <a:pt x="36" y="12"/>
                </a:lnTo>
                <a:lnTo>
                  <a:pt x="36" y="12"/>
                </a:lnTo>
                <a:lnTo>
                  <a:pt x="36" y="12"/>
                </a:lnTo>
                <a:lnTo>
                  <a:pt x="40" y="12"/>
                </a:lnTo>
                <a:lnTo>
                  <a:pt x="40" y="8"/>
                </a:lnTo>
                <a:lnTo>
                  <a:pt x="40" y="8"/>
                </a:lnTo>
                <a:lnTo>
                  <a:pt x="40" y="8"/>
                </a:lnTo>
                <a:lnTo>
                  <a:pt x="40" y="8"/>
                </a:lnTo>
                <a:lnTo>
                  <a:pt x="40" y="8"/>
                </a:lnTo>
                <a:lnTo>
                  <a:pt x="44" y="8"/>
                </a:lnTo>
                <a:lnTo>
                  <a:pt x="44" y="8"/>
                </a:lnTo>
                <a:lnTo>
                  <a:pt x="48" y="8"/>
                </a:lnTo>
                <a:lnTo>
                  <a:pt x="48" y="8"/>
                </a:lnTo>
                <a:lnTo>
                  <a:pt x="48" y="8"/>
                </a:lnTo>
                <a:lnTo>
                  <a:pt x="48" y="8"/>
                </a:lnTo>
                <a:lnTo>
                  <a:pt x="48" y="8"/>
                </a:lnTo>
                <a:lnTo>
                  <a:pt x="52" y="8"/>
                </a:lnTo>
                <a:lnTo>
                  <a:pt x="52" y="8"/>
                </a:lnTo>
                <a:lnTo>
                  <a:pt x="52" y="8"/>
                </a:lnTo>
                <a:lnTo>
                  <a:pt x="56" y="8"/>
                </a:lnTo>
                <a:lnTo>
                  <a:pt x="56" y="8"/>
                </a:lnTo>
                <a:lnTo>
                  <a:pt x="56" y="8"/>
                </a:lnTo>
                <a:lnTo>
                  <a:pt x="56" y="8"/>
                </a:lnTo>
                <a:lnTo>
                  <a:pt x="56" y="8"/>
                </a:lnTo>
                <a:lnTo>
                  <a:pt x="56" y="8"/>
                </a:lnTo>
                <a:lnTo>
                  <a:pt x="56" y="8"/>
                </a:lnTo>
                <a:lnTo>
                  <a:pt x="58" y="4"/>
                </a:lnTo>
                <a:lnTo>
                  <a:pt x="58" y="4"/>
                </a:lnTo>
                <a:lnTo>
                  <a:pt x="58" y="4"/>
                </a:lnTo>
                <a:lnTo>
                  <a:pt x="58" y="4"/>
                </a:lnTo>
                <a:lnTo>
                  <a:pt x="58" y="4"/>
                </a:lnTo>
                <a:lnTo>
                  <a:pt x="58" y="4"/>
                </a:lnTo>
                <a:lnTo>
                  <a:pt x="58" y="4"/>
                </a:lnTo>
                <a:lnTo>
                  <a:pt x="62" y="0"/>
                </a:lnTo>
                <a:lnTo>
                  <a:pt x="62" y="0"/>
                </a:lnTo>
                <a:lnTo>
                  <a:pt x="62" y="0"/>
                </a:lnTo>
                <a:lnTo>
                  <a:pt x="62" y="0"/>
                </a:lnTo>
                <a:lnTo>
                  <a:pt x="62" y="0"/>
                </a:lnTo>
                <a:lnTo>
                  <a:pt x="62" y="0"/>
                </a:lnTo>
                <a:lnTo>
                  <a:pt x="66" y="0"/>
                </a:lnTo>
                <a:lnTo>
                  <a:pt x="66" y="0"/>
                </a:lnTo>
                <a:lnTo>
                  <a:pt x="66" y="0"/>
                </a:lnTo>
                <a:lnTo>
                  <a:pt x="66" y="0"/>
                </a:lnTo>
                <a:lnTo>
                  <a:pt x="66" y="0"/>
                </a:lnTo>
                <a:lnTo>
                  <a:pt x="70" y="0"/>
                </a:lnTo>
                <a:lnTo>
                  <a:pt x="70" y="0"/>
                </a:lnTo>
                <a:lnTo>
                  <a:pt x="74" y="0"/>
                </a:lnTo>
                <a:lnTo>
                  <a:pt x="74" y="0"/>
                </a:lnTo>
                <a:lnTo>
                  <a:pt x="74" y="0"/>
                </a:lnTo>
                <a:lnTo>
                  <a:pt x="78" y="0"/>
                </a:lnTo>
                <a:lnTo>
                  <a:pt x="78" y="0"/>
                </a:lnTo>
                <a:lnTo>
                  <a:pt x="78" y="0"/>
                </a:lnTo>
                <a:lnTo>
                  <a:pt x="78" y="4"/>
                </a:lnTo>
                <a:lnTo>
                  <a:pt x="82" y="4"/>
                </a:lnTo>
                <a:lnTo>
                  <a:pt x="82" y="4"/>
                </a:lnTo>
                <a:lnTo>
                  <a:pt x="82" y="4"/>
                </a:lnTo>
                <a:lnTo>
                  <a:pt x="82" y="4"/>
                </a:lnTo>
                <a:lnTo>
                  <a:pt x="82" y="4"/>
                </a:lnTo>
                <a:lnTo>
                  <a:pt x="84" y="4"/>
                </a:lnTo>
                <a:lnTo>
                  <a:pt x="84" y="4"/>
                </a:lnTo>
                <a:lnTo>
                  <a:pt x="84" y="4"/>
                </a:lnTo>
                <a:lnTo>
                  <a:pt x="84" y="4"/>
                </a:lnTo>
                <a:lnTo>
                  <a:pt x="84" y="4"/>
                </a:lnTo>
                <a:lnTo>
                  <a:pt x="84" y="4"/>
                </a:lnTo>
                <a:lnTo>
                  <a:pt x="84" y="0"/>
                </a:lnTo>
                <a:lnTo>
                  <a:pt x="88" y="4"/>
                </a:lnTo>
                <a:lnTo>
                  <a:pt x="88" y="4"/>
                </a:lnTo>
                <a:lnTo>
                  <a:pt x="88" y="4"/>
                </a:lnTo>
                <a:lnTo>
                  <a:pt x="88" y="4"/>
                </a:lnTo>
                <a:lnTo>
                  <a:pt x="88" y="4"/>
                </a:lnTo>
                <a:lnTo>
                  <a:pt x="88" y="4"/>
                </a:lnTo>
                <a:lnTo>
                  <a:pt x="92" y="8"/>
                </a:lnTo>
                <a:lnTo>
                  <a:pt x="92" y="8"/>
                </a:lnTo>
                <a:lnTo>
                  <a:pt x="92" y="8"/>
                </a:lnTo>
                <a:lnTo>
                  <a:pt x="92" y="8"/>
                </a:lnTo>
                <a:lnTo>
                  <a:pt x="92" y="8"/>
                </a:lnTo>
                <a:lnTo>
                  <a:pt x="92" y="8"/>
                </a:lnTo>
                <a:lnTo>
                  <a:pt x="92" y="8"/>
                </a:lnTo>
                <a:lnTo>
                  <a:pt x="92" y="8"/>
                </a:lnTo>
                <a:lnTo>
                  <a:pt x="96" y="8"/>
                </a:lnTo>
                <a:lnTo>
                  <a:pt x="96" y="12"/>
                </a:lnTo>
                <a:lnTo>
                  <a:pt x="96" y="12"/>
                </a:lnTo>
                <a:lnTo>
                  <a:pt x="96" y="12"/>
                </a:lnTo>
                <a:lnTo>
                  <a:pt x="92" y="16"/>
                </a:lnTo>
                <a:lnTo>
                  <a:pt x="92" y="16"/>
                </a:lnTo>
                <a:lnTo>
                  <a:pt x="92" y="16"/>
                </a:lnTo>
                <a:lnTo>
                  <a:pt x="92" y="16"/>
                </a:lnTo>
                <a:lnTo>
                  <a:pt x="92" y="16"/>
                </a:lnTo>
                <a:lnTo>
                  <a:pt x="88" y="16"/>
                </a:lnTo>
                <a:lnTo>
                  <a:pt x="88" y="16"/>
                </a:lnTo>
                <a:lnTo>
                  <a:pt x="88" y="16"/>
                </a:lnTo>
                <a:lnTo>
                  <a:pt x="88" y="16"/>
                </a:lnTo>
                <a:lnTo>
                  <a:pt x="88" y="16"/>
                </a:lnTo>
                <a:lnTo>
                  <a:pt x="84" y="20"/>
                </a:lnTo>
                <a:lnTo>
                  <a:pt x="84" y="20"/>
                </a:lnTo>
                <a:lnTo>
                  <a:pt x="84" y="20"/>
                </a:lnTo>
                <a:lnTo>
                  <a:pt x="84" y="20"/>
                </a:lnTo>
                <a:lnTo>
                  <a:pt x="84" y="20"/>
                </a:lnTo>
                <a:lnTo>
                  <a:pt x="84" y="20"/>
                </a:lnTo>
                <a:lnTo>
                  <a:pt x="84" y="20"/>
                </a:lnTo>
                <a:lnTo>
                  <a:pt x="84" y="20"/>
                </a:lnTo>
                <a:lnTo>
                  <a:pt x="84" y="24"/>
                </a:lnTo>
                <a:lnTo>
                  <a:pt x="84" y="24"/>
                </a:lnTo>
                <a:lnTo>
                  <a:pt x="84" y="24"/>
                </a:lnTo>
                <a:lnTo>
                  <a:pt x="84" y="24"/>
                </a:lnTo>
                <a:lnTo>
                  <a:pt x="82" y="24"/>
                </a:lnTo>
                <a:lnTo>
                  <a:pt x="82" y="24"/>
                </a:lnTo>
                <a:lnTo>
                  <a:pt x="82" y="24"/>
                </a:lnTo>
                <a:lnTo>
                  <a:pt x="82" y="26"/>
                </a:lnTo>
                <a:lnTo>
                  <a:pt x="82" y="26"/>
                </a:lnTo>
                <a:lnTo>
                  <a:pt x="82" y="26"/>
                </a:lnTo>
                <a:lnTo>
                  <a:pt x="82" y="30"/>
                </a:lnTo>
                <a:lnTo>
                  <a:pt x="82" y="30"/>
                </a:lnTo>
                <a:lnTo>
                  <a:pt x="78" y="30"/>
                </a:lnTo>
                <a:lnTo>
                  <a:pt x="78" y="30"/>
                </a:lnTo>
                <a:lnTo>
                  <a:pt x="78" y="30"/>
                </a:lnTo>
                <a:lnTo>
                  <a:pt x="78" y="30"/>
                </a:lnTo>
                <a:lnTo>
                  <a:pt x="78" y="30"/>
                </a:lnTo>
                <a:lnTo>
                  <a:pt x="78" y="34"/>
                </a:lnTo>
                <a:lnTo>
                  <a:pt x="78" y="34"/>
                </a:lnTo>
                <a:lnTo>
                  <a:pt x="78" y="38"/>
                </a:lnTo>
                <a:lnTo>
                  <a:pt x="78" y="38"/>
                </a:lnTo>
                <a:lnTo>
                  <a:pt x="78" y="38"/>
                </a:lnTo>
                <a:lnTo>
                  <a:pt x="78" y="38"/>
                </a:lnTo>
                <a:lnTo>
                  <a:pt x="78" y="38"/>
                </a:lnTo>
                <a:lnTo>
                  <a:pt x="78" y="38"/>
                </a:lnTo>
                <a:close/>
              </a:path>
            </a:pathLst>
          </a:custGeom>
          <a:solidFill>
            <a:srgbClr val="A0DCFF"/>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98" name="Freeform 105"/>
          <p:cNvSpPr>
            <a:spLocks/>
          </p:cNvSpPr>
          <p:nvPr/>
        </p:nvSpPr>
        <p:spPr bwMode="auto">
          <a:xfrm>
            <a:off x="3845718" y="2169319"/>
            <a:ext cx="185738" cy="88106"/>
          </a:xfrm>
          <a:custGeom>
            <a:avLst/>
            <a:gdLst>
              <a:gd name="T0" fmla="*/ 36 w 156"/>
              <a:gd name="T1" fmla="*/ 48 h 74"/>
              <a:gd name="T2" fmla="*/ 30 w 156"/>
              <a:gd name="T3" fmla="*/ 44 h 74"/>
              <a:gd name="T4" fmla="*/ 14 w 156"/>
              <a:gd name="T5" fmla="*/ 40 h 74"/>
              <a:gd name="T6" fmla="*/ 14 w 156"/>
              <a:gd name="T7" fmla="*/ 40 h 74"/>
              <a:gd name="T8" fmla="*/ 30 w 156"/>
              <a:gd name="T9" fmla="*/ 38 h 74"/>
              <a:gd name="T10" fmla="*/ 32 w 156"/>
              <a:gd name="T11" fmla="*/ 34 h 74"/>
              <a:gd name="T12" fmla="*/ 32 w 156"/>
              <a:gd name="T13" fmla="*/ 30 h 74"/>
              <a:gd name="T14" fmla="*/ 32 w 156"/>
              <a:gd name="T15" fmla="*/ 26 h 74"/>
              <a:gd name="T16" fmla="*/ 30 w 156"/>
              <a:gd name="T17" fmla="*/ 26 h 74"/>
              <a:gd name="T18" fmla="*/ 18 w 156"/>
              <a:gd name="T19" fmla="*/ 26 h 74"/>
              <a:gd name="T20" fmla="*/ 0 w 156"/>
              <a:gd name="T21" fmla="*/ 26 h 74"/>
              <a:gd name="T22" fmla="*/ 6 w 156"/>
              <a:gd name="T23" fmla="*/ 26 h 74"/>
              <a:gd name="T24" fmla="*/ 6 w 156"/>
              <a:gd name="T25" fmla="*/ 22 h 74"/>
              <a:gd name="T26" fmla="*/ 10 w 156"/>
              <a:gd name="T27" fmla="*/ 22 h 74"/>
              <a:gd name="T28" fmla="*/ 10 w 156"/>
              <a:gd name="T29" fmla="*/ 18 h 74"/>
              <a:gd name="T30" fmla="*/ 14 w 156"/>
              <a:gd name="T31" fmla="*/ 14 h 74"/>
              <a:gd name="T32" fmla="*/ 14 w 156"/>
              <a:gd name="T33" fmla="*/ 10 h 74"/>
              <a:gd name="T34" fmla="*/ 18 w 156"/>
              <a:gd name="T35" fmla="*/ 10 h 74"/>
              <a:gd name="T36" fmla="*/ 26 w 156"/>
              <a:gd name="T37" fmla="*/ 18 h 74"/>
              <a:gd name="T38" fmla="*/ 30 w 156"/>
              <a:gd name="T39" fmla="*/ 10 h 74"/>
              <a:gd name="T40" fmla="*/ 30 w 156"/>
              <a:gd name="T41" fmla="*/ 8 h 74"/>
              <a:gd name="T42" fmla="*/ 22 w 156"/>
              <a:gd name="T43" fmla="*/ 4 h 74"/>
              <a:gd name="T44" fmla="*/ 32 w 156"/>
              <a:gd name="T45" fmla="*/ 4 h 74"/>
              <a:gd name="T46" fmla="*/ 44 w 156"/>
              <a:gd name="T47" fmla="*/ 14 h 74"/>
              <a:gd name="T48" fmla="*/ 40 w 156"/>
              <a:gd name="T49" fmla="*/ 22 h 74"/>
              <a:gd name="T50" fmla="*/ 44 w 156"/>
              <a:gd name="T51" fmla="*/ 26 h 74"/>
              <a:gd name="T52" fmla="*/ 52 w 156"/>
              <a:gd name="T53" fmla="*/ 22 h 74"/>
              <a:gd name="T54" fmla="*/ 60 w 156"/>
              <a:gd name="T55" fmla="*/ 14 h 74"/>
              <a:gd name="T56" fmla="*/ 66 w 156"/>
              <a:gd name="T57" fmla="*/ 18 h 74"/>
              <a:gd name="T58" fmla="*/ 78 w 156"/>
              <a:gd name="T59" fmla="*/ 10 h 74"/>
              <a:gd name="T60" fmla="*/ 84 w 156"/>
              <a:gd name="T61" fmla="*/ 14 h 74"/>
              <a:gd name="T62" fmla="*/ 88 w 156"/>
              <a:gd name="T63" fmla="*/ 18 h 74"/>
              <a:gd name="T64" fmla="*/ 92 w 156"/>
              <a:gd name="T65" fmla="*/ 10 h 74"/>
              <a:gd name="T66" fmla="*/ 104 w 156"/>
              <a:gd name="T67" fmla="*/ 8 h 74"/>
              <a:gd name="T68" fmla="*/ 114 w 156"/>
              <a:gd name="T69" fmla="*/ 8 h 74"/>
              <a:gd name="T70" fmla="*/ 122 w 156"/>
              <a:gd name="T71" fmla="*/ 0 h 74"/>
              <a:gd name="T72" fmla="*/ 130 w 156"/>
              <a:gd name="T73" fmla="*/ 8 h 74"/>
              <a:gd name="T74" fmla="*/ 134 w 156"/>
              <a:gd name="T75" fmla="*/ 10 h 74"/>
              <a:gd name="T76" fmla="*/ 136 w 156"/>
              <a:gd name="T77" fmla="*/ 14 h 74"/>
              <a:gd name="T78" fmla="*/ 140 w 156"/>
              <a:gd name="T79" fmla="*/ 22 h 74"/>
              <a:gd name="T80" fmla="*/ 152 w 156"/>
              <a:gd name="T81" fmla="*/ 30 h 74"/>
              <a:gd name="T82" fmla="*/ 156 w 156"/>
              <a:gd name="T83" fmla="*/ 34 h 74"/>
              <a:gd name="T84" fmla="*/ 152 w 156"/>
              <a:gd name="T85" fmla="*/ 40 h 74"/>
              <a:gd name="T86" fmla="*/ 144 w 156"/>
              <a:gd name="T87" fmla="*/ 44 h 74"/>
              <a:gd name="T88" fmla="*/ 140 w 156"/>
              <a:gd name="T89" fmla="*/ 52 h 74"/>
              <a:gd name="T90" fmla="*/ 130 w 156"/>
              <a:gd name="T91" fmla="*/ 56 h 74"/>
              <a:gd name="T92" fmla="*/ 118 w 156"/>
              <a:gd name="T93" fmla="*/ 60 h 74"/>
              <a:gd name="T94" fmla="*/ 106 w 156"/>
              <a:gd name="T95" fmla="*/ 64 h 74"/>
              <a:gd name="T96" fmla="*/ 92 w 156"/>
              <a:gd name="T97" fmla="*/ 68 h 74"/>
              <a:gd name="T98" fmla="*/ 82 w 156"/>
              <a:gd name="T99" fmla="*/ 74 h 74"/>
              <a:gd name="T100" fmla="*/ 62 w 156"/>
              <a:gd name="T101" fmla="*/ 70 h 74"/>
              <a:gd name="T102" fmla="*/ 56 w 156"/>
              <a:gd name="T103" fmla="*/ 68 h 74"/>
              <a:gd name="T104" fmla="*/ 48 w 156"/>
              <a:gd name="T105" fmla="*/ 68 h 74"/>
              <a:gd name="T106" fmla="*/ 36 w 156"/>
              <a:gd name="T107" fmla="*/ 64 h 74"/>
              <a:gd name="T108" fmla="*/ 26 w 156"/>
              <a:gd name="T109" fmla="*/ 68 h 74"/>
              <a:gd name="T110" fmla="*/ 30 w 156"/>
              <a:gd name="T111" fmla="*/ 60 h 74"/>
              <a:gd name="T112" fmla="*/ 36 w 156"/>
              <a:gd name="T113" fmla="*/ 56 h 74"/>
              <a:gd name="T114" fmla="*/ 44 w 156"/>
              <a:gd name="T115" fmla="*/ 52 h 74"/>
              <a:gd name="T116" fmla="*/ 32 w 156"/>
              <a:gd name="T117" fmla="*/ 5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6" h="74">
                <a:moveTo>
                  <a:pt x="32" y="52"/>
                </a:moveTo>
                <a:lnTo>
                  <a:pt x="36" y="48"/>
                </a:lnTo>
                <a:lnTo>
                  <a:pt x="40" y="48"/>
                </a:lnTo>
                <a:lnTo>
                  <a:pt x="40" y="44"/>
                </a:lnTo>
                <a:lnTo>
                  <a:pt x="36" y="48"/>
                </a:lnTo>
                <a:lnTo>
                  <a:pt x="32" y="48"/>
                </a:lnTo>
                <a:lnTo>
                  <a:pt x="32" y="52"/>
                </a:lnTo>
                <a:lnTo>
                  <a:pt x="32" y="48"/>
                </a:lnTo>
                <a:lnTo>
                  <a:pt x="30" y="48"/>
                </a:lnTo>
                <a:lnTo>
                  <a:pt x="30" y="44"/>
                </a:lnTo>
                <a:lnTo>
                  <a:pt x="30" y="40"/>
                </a:lnTo>
                <a:lnTo>
                  <a:pt x="26" y="40"/>
                </a:lnTo>
                <a:lnTo>
                  <a:pt x="22" y="40"/>
                </a:lnTo>
                <a:lnTo>
                  <a:pt x="18" y="40"/>
                </a:lnTo>
                <a:lnTo>
                  <a:pt x="14" y="40"/>
                </a:lnTo>
                <a:lnTo>
                  <a:pt x="10" y="44"/>
                </a:lnTo>
                <a:lnTo>
                  <a:pt x="6" y="44"/>
                </a:lnTo>
                <a:lnTo>
                  <a:pt x="6" y="40"/>
                </a:lnTo>
                <a:lnTo>
                  <a:pt x="10" y="40"/>
                </a:lnTo>
                <a:lnTo>
                  <a:pt x="14" y="40"/>
                </a:lnTo>
                <a:lnTo>
                  <a:pt x="14" y="38"/>
                </a:lnTo>
                <a:lnTo>
                  <a:pt x="18" y="38"/>
                </a:lnTo>
                <a:lnTo>
                  <a:pt x="22" y="38"/>
                </a:lnTo>
                <a:lnTo>
                  <a:pt x="26" y="38"/>
                </a:lnTo>
                <a:lnTo>
                  <a:pt x="30" y="38"/>
                </a:lnTo>
                <a:lnTo>
                  <a:pt x="32" y="38"/>
                </a:lnTo>
                <a:lnTo>
                  <a:pt x="36" y="38"/>
                </a:lnTo>
                <a:lnTo>
                  <a:pt x="40" y="34"/>
                </a:lnTo>
                <a:lnTo>
                  <a:pt x="36" y="34"/>
                </a:lnTo>
                <a:lnTo>
                  <a:pt x="32" y="34"/>
                </a:lnTo>
                <a:lnTo>
                  <a:pt x="30" y="34"/>
                </a:lnTo>
                <a:lnTo>
                  <a:pt x="26" y="34"/>
                </a:lnTo>
                <a:lnTo>
                  <a:pt x="30" y="34"/>
                </a:lnTo>
                <a:lnTo>
                  <a:pt x="30" y="30"/>
                </a:lnTo>
                <a:lnTo>
                  <a:pt x="32" y="30"/>
                </a:lnTo>
                <a:lnTo>
                  <a:pt x="36" y="30"/>
                </a:lnTo>
                <a:lnTo>
                  <a:pt x="36" y="26"/>
                </a:lnTo>
                <a:lnTo>
                  <a:pt x="40" y="26"/>
                </a:lnTo>
                <a:lnTo>
                  <a:pt x="36" y="26"/>
                </a:lnTo>
                <a:lnTo>
                  <a:pt x="32" y="26"/>
                </a:lnTo>
                <a:lnTo>
                  <a:pt x="30" y="26"/>
                </a:lnTo>
                <a:lnTo>
                  <a:pt x="32" y="26"/>
                </a:lnTo>
                <a:lnTo>
                  <a:pt x="32" y="22"/>
                </a:lnTo>
                <a:lnTo>
                  <a:pt x="32" y="26"/>
                </a:lnTo>
                <a:lnTo>
                  <a:pt x="30" y="26"/>
                </a:lnTo>
                <a:lnTo>
                  <a:pt x="26" y="26"/>
                </a:lnTo>
                <a:lnTo>
                  <a:pt x="22" y="26"/>
                </a:lnTo>
                <a:lnTo>
                  <a:pt x="22" y="22"/>
                </a:lnTo>
                <a:lnTo>
                  <a:pt x="22" y="26"/>
                </a:lnTo>
                <a:lnTo>
                  <a:pt x="18" y="26"/>
                </a:lnTo>
                <a:lnTo>
                  <a:pt x="14" y="26"/>
                </a:lnTo>
                <a:lnTo>
                  <a:pt x="10" y="26"/>
                </a:lnTo>
                <a:lnTo>
                  <a:pt x="6" y="26"/>
                </a:lnTo>
                <a:lnTo>
                  <a:pt x="2" y="26"/>
                </a:lnTo>
                <a:lnTo>
                  <a:pt x="0" y="26"/>
                </a:lnTo>
                <a:lnTo>
                  <a:pt x="2" y="22"/>
                </a:lnTo>
                <a:lnTo>
                  <a:pt x="0" y="22"/>
                </a:lnTo>
                <a:lnTo>
                  <a:pt x="2" y="22"/>
                </a:lnTo>
                <a:lnTo>
                  <a:pt x="6" y="22"/>
                </a:lnTo>
                <a:lnTo>
                  <a:pt x="6" y="26"/>
                </a:lnTo>
                <a:lnTo>
                  <a:pt x="10" y="26"/>
                </a:lnTo>
                <a:lnTo>
                  <a:pt x="6" y="26"/>
                </a:lnTo>
                <a:lnTo>
                  <a:pt x="6" y="22"/>
                </a:lnTo>
                <a:lnTo>
                  <a:pt x="10" y="22"/>
                </a:lnTo>
                <a:lnTo>
                  <a:pt x="6" y="22"/>
                </a:lnTo>
                <a:lnTo>
                  <a:pt x="6" y="18"/>
                </a:lnTo>
                <a:lnTo>
                  <a:pt x="2" y="18"/>
                </a:lnTo>
                <a:lnTo>
                  <a:pt x="6" y="18"/>
                </a:lnTo>
                <a:lnTo>
                  <a:pt x="10" y="18"/>
                </a:lnTo>
                <a:lnTo>
                  <a:pt x="10" y="22"/>
                </a:lnTo>
                <a:lnTo>
                  <a:pt x="14" y="22"/>
                </a:lnTo>
                <a:lnTo>
                  <a:pt x="14" y="18"/>
                </a:lnTo>
                <a:lnTo>
                  <a:pt x="18" y="18"/>
                </a:lnTo>
                <a:lnTo>
                  <a:pt x="14" y="18"/>
                </a:lnTo>
                <a:lnTo>
                  <a:pt x="10" y="18"/>
                </a:lnTo>
                <a:lnTo>
                  <a:pt x="6" y="14"/>
                </a:lnTo>
                <a:lnTo>
                  <a:pt x="10" y="14"/>
                </a:lnTo>
                <a:lnTo>
                  <a:pt x="14" y="14"/>
                </a:lnTo>
                <a:lnTo>
                  <a:pt x="18" y="18"/>
                </a:lnTo>
                <a:lnTo>
                  <a:pt x="14" y="14"/>
                </a:lnTo>
                <a:lnTo>
                  <a:pt x="10" y="14"/>
                </a:lnTo>
                <a:lnTo>
                  <a:pt x="10" y="10"/>
                </a:lnTo>
                <a:lnTo>
                  <a:pt x="14" y="10"/>
                </a:lnTo>
                <a:lnTo>
                  <a:pt x="14" y="14"/>
                </a:lnTo>
                <a:lnTo>
                  <a:pt x="14" y="10"/>
                </a:lnTo>
                <a:lnTo>
                  <a:pt x="10" y="10"/>
                </a:lnTo>
                <a:lnTo>
                  <a:pt x="14" y="10"/>
                </a:lnTo>
                <a:lnTo>
                  <a:pt x="14" y="8"/>
                </a:lnTo>
                <a:lnTo>
                  <a:pt x="18" y="8"/>
                </a:lnTo>
                <a:lnTo>
                  <a:pt x="18" y="10"/>
                </a:lnTo>
                <a:lnTo>
                  <a:pt x="22" y="10"/>
                </a:lnTo>
                <a:lnTo>
                  <a:pt x="22" y="14"/>
                </a:lnTo>
                <a:lnTo>
                  <a:pt x="26" y="10"/>
                </a:lnTo>
                <a:lnTo>
                  <a:pt x="26" y="14"/>
                </a:lnTo>
                <a:lnTo>
                  <a:pt x="26" y="18"/>
                </a:lnTo>
                <a:lnTo>
                  <a:pt x="26" y="14"/>
                </a:lnTo>
                <a:lnTo>
                  <a:pt x="30" y="14"/>
                </a:lnTo>
                <a:lnTo>
                  <a:pt x="30" y="18"/>
                </a:lnTo>
                <a:lnTo>
                  <a:pt x="30" y="14"/>
                </a:lnTo>
                <a:lnTo>
                  <a:pt x="30" y="10"/>
                </a:lnTo>
                <a:lnTo>
                  <a:pt x="26" y="10"/>
                </a:lnTo>
                <a:lnTo>
                  <a:pt x="22" y="10"/>
                </a:lnTo>
                <a:lnTo>
                  <a:pt x="22" y="8"/>
                </a:lnTo>
                <a:lnTo>
                  <a:pt x="26" y="8"/>
                </a:lnTo>
                <a:lnTo>
                  <a:pt x="30" y="8"/>
                </a:lnTo>
                <a:lnTo>
                  <a:pt x="26" y="8"/>
                </a:lnTo>
                <a:lnTo>
                  <a:pt x="22" y="8"/>
                </a:lnTo>
                <a:lnTo>
                  <a:pt x="18" y="8"/>
                </a:lnTo>
                <a:lnTo>
                  <a:pt x="18" y="4"/>
                </a:lnTo>
                <a:lnTo>
                  <a:pt x="22" y="4"/>
                </a:lnTo>
                <a:lnTo>
                  <a:pt x="18" y="4"/>
                </a:lnTo>
                <a:lnTo>
                  <a:pt x="22" y="4"/>
                </a:lnTo>
                <a:lnTo>
                  <a:pt x="26" y="4"/>
                </a:lnTo>
                <a:lnTo>
                  <a:pt x="30" y="4"/>
                </a:lnTo>
                <a:lnTo>
                  <a:pt x="32" y="4"/>
                </a:lnTo>
                <a:lnTo>
                  <a:pt x="32" y="8"/>
                </a:lnTo>
                <a:lnTo>
                  <a:pt x="36" y="8"/>
                </a:lnTo>
                <a:lnTo>
                  <a:pt x="40" y="10"/>
                </a:lnTo>
                <a:lnTo>
                  <a:pt x="44" y="10"/>
                </a:lnTo>
                <a:lnTo>
                  <a:pt x="44" y="14"/>
                </a:lnTo>
                <a:lnTo>
                  <a:pt x="40" y="14"/>
                </a:lnTo>
                <a:lnTo>
                  <a:pt x="44" y="14"/>
                </a:lnTo>
                <a:lnTo>
                  <a:pt x="44" y="18"/>
                </a:lnTo>
                <a:lnTo>
                  <a:pt x="44" y="22"/>
                </a:lnTo>
                <a:lnTo>
                  <a:pt x="40" y="22"/>
                </a:lnTo>
                <a:lnTo>
                  <a:pt x="40" y="18"/>
                </a:lnTo>
                <a:lnTo>
                  <a:pt x="36" y="18"/>
                </a:lnTo>
                <a:lnTo>
                  <a:pt x="40" y="22"/>
                </a:lnTo>
                <a:lnTo>
                  <a:pt x="44" y="22"/>
                </a:lnTo>
                <a:lnTo>
                  <a:pt x="44" y="26"/>
                </a:lnTo>
                <a:lnTo>
                  <a:pt x="48" y="26"/>
                </a:lnTo>
                <a:lnTo>
                  <a:pt x="48" y="30"/>
                </a:lnTo>
                <a:lnTo>
                  <a:pt x="48" y="34"/>
                </a:lnTo>
                <a:lnTo>
                  <a:pt x="48" y="26"/>
                </a:lnTo>
                <a:lnTo>
                  <a:pt x="52" y="22"/>
                </a:lnTo>
                <a:lnTo>
                  <a:pt x="56" y="22"/>
                </a:lnTo>
                <a:lnTo>
                  <a:pt x="56" y="26"/>
                </a:lnTo>
                <a:lnTo>
                  <a:pt x="60" y="22"/>
                </a:lnTo>
                <a:lnTo>
                  <a:pt x="60" y="18"/>
                </a:lnTo>
                <a:lnTo>
                  <a:pt x="60" y="14"/>
                </a:lnTo>
                <a:lnTo>
                  <a:pt x="60" y="10"/>
                </a:lnTo>
                <a:lnTo>
                  <a:pt x="62" y="10"/>
                </a:lnTo>
                <a:lnTo>
                  <a:pt x="62" y="14"/>
                </a:lnTo>
                <a:lnTo>
                  <a:pt x="66" y="14"/>
                </a:lnTo>
                <a:lnTo>
                  <a:pt x="66" y="18"/>
                </a:lnTo>
                <a:lnTo>
                  <a:pt x="70" y="18"/>
                </a:lnTo>
                <a:lnTo>
                  <a:pt x="70" y="14"/>
                </a:lnTo>
                <a:lnTo>
                  <a:pt x="70" y="10"/>
                </a:lnTo>
                <a:lnTo>
                  <a:pt x="74" y="10"/>
                </a:lnTo>
                <a:lnTo>
                  <a:pt x="78" y="10"/>
                </a:lnTo>
                <a:lnTo>
                  <a:pt x="78" y="8"/>
                </a:lnTo>
                <a:lnTo>
                  <a:pt x="82" y="8"/>
                </a:lnTo>
                <a:lnTo>
                  <a:pt x="82" y="10"/>
                </a:lnTo>
                <a:lnTo>
                  <a:pt x="84" y="10"/>
                </a:lnTo>
                <a:lnTo>
                  <a:pt x="84" y="14"/>
                </a:lnTo>
                <a:lnTo>
                  <a:pt x="88" y="14"/>
                </a:lnTo>
                <a:lnTo>
                  <a:pt x="88" y="18"/>
                </a:lnTo>
                <a:lnTo>
                  <a:pt x="88" y="22"/>
                </a:lnTo>
                <a:lnTo>
                  <a:pt x="92" y="22"/>
                </a:lnTo>
                <a:lnTo>
                  <a:pt x="88" y="18"/>
                </a:lnTo>
                <a:lnTo>
                  <a:pt x="88" y="14"/>
                </a:lnTo>
                <a:lnTo>
                  <a:pt x="84" y="10"/>
                </a:lnTo>
                <a:lnTo>
                  <a:pt x="88" y="8"/>
                </a:lnTo>
                <a:lnTo>
                  <a:pt x="88" y="10"/>
                </a:lnTo>
                <a:lnTo>
                  <a:pt x="92" y="10"/>
                </a:lnTo>
                <a:lnTo>
                  <a:pt x="96" y="10"/>
                </a:lnTo>
                <a:lnTo>
                  <a:pt x="96" y="14"/>
                </a:lnTo>
                <a:lnTo>
                  <a:pt x="100" y="14"/>
                </a:lnTo>
                <a:lnTo>
                  <a:pt x="100" y="10"/>
                </a:lnTo>
                <a:lnTo>
                  <a:pt x="104" y="8"/>
                </a:lnTo>
                <a:lnTo>
                  <a:pt x="106" y="8"/>
                </a:lnTo>
                <a:lnTo>
                  <a:pt x="106" y="10"/>
                </a:lnTo>
                <a:lnTo>
                  <a:pt x="110" y="10"/>
                </a:lnTo>
                <a:lnTo>
                  <a:pt x="110" y="8"/>
                </a:lnTo>
                <a:lnTo>
                  <a:pt x="114" y="8"/>
                </a:lnTo>
                <a:lnTo>
                  <a:pt x="110" y="4"/>
                </a:lnTo>
                <a:lnTo>
                  <a:pt x="110" y="0"/>
                </a:lnTo>
                <a:lnTo>
                  <a:pt x="114" y="0"/>
                </a:lnTo>
                <a:lnTo>
                  <a:pt x="118" y="0"/>
                </a:lnTo>
                <a:lnTo>
                  <a:pt x="122" y="0"/>
                </a:lnTo>
                <a:lnTo>
                  <a:pt x="122" y="4"/>
                </a:lnTo>
                <a:lnTo>
                  <a:pt x="122" y="8"/>
                </a:lnTo>
                <a:lnTo>
                  <a:pt x="126" y="8"/>
                </a:lnTo>
                <a:lnTo>
                  <a:pt x="130" y="10"/>
                </a:lnTo>
                <a:lnTo>
                  <a:pt x="130" y="8"/>
                </a:lnTo>
                <a:lnTo>
                  <a:pt x="134" y="8"/>
                </a:lnTo>
                <a:lnTo>
                  <a:pt x="134" y="4"/>
                </a:lnTo>
                <a:lnTo>
                  <a:pt x="136" y="4"/>
                </a:lnTo>
                <a:lnTo>
                  <a:pt x="134" y="8"/>
                </a:lnTo>
                <a:lnTo>
                  <a:pt x="134" y="10"/>
                </a:lnTo>
                <a:lnTo>
                  <a:pt x="130" y="10"/>
                </a:lnTo>
                <a:lnTo>
                  <a:pt x="134" y="10"/>
                </a:lnTo>
                <a:lnTo>
                  <a:pt x="136" y="10"/>
                </a:lnTo>
                <a:lnTo>
                  <a:pt x="140" y="14"/>
                </a:lnTo>
                <a:lnTo>
                  <a:pt x="136" y="14"/>
                </a:lnTo>
                <a:lnTo>
                  <a:pt x="136" y="18"/>
                </a:lnTo>
                <a:lnTo>
                  <a:pt x="140" y="18"/>
                </a:lnTo>
                <a:lnTo>
                  <a:pt x="144" y="18"/>
                </a:lnTo>
                <a:lnTo>
                  <a:pt x="144" y="22"/>
                </a:lnTo>
                <a:lnTo>
                  <a:pt x="140" y="22"/>
                </a:lnTo>
                <a:lnTo>
                  <a:pt x="140" y="26"/>
                </a:lnTo>
                <a:lnTo>
                  <a:pt x="144" y="22"/>
                </a:lnTo>
                <a:lnTo>
                  <a:pt x="148" y="22"/>
                </a:lnTo>
                <a:lnTo>
                  <a:pt x="152" y="26"/>
                </a:lnTo>
                <a:lnTo>
                  <a:pt x="152" y="30"/>
                </a:lnTo>
                <a:lnTo>
                  <a:pt x="156" y="30"/>
                </a:lnTo>
                <a:lnTo>
                  <a:pt x="152" y="34"/>
                </a:lnTo>
                <a:lnTo>
                  <a:pt x="148" y="34"/>
                </a:lnTo>
                <a:lnTo>
                  <a:pt x="152" y="34"/>
                </a:lnTo>
                <a:lnTo>
                  <a:pt x="156" y="34"/>
                </a:lnTo>
                <a:lnTo>
                  <a:pt x="156" y="38"/>
                </a:lnTo>
                <a:lnTo>
                  <a:pt x="152" y="38"/>
                </a:lnTo>
                <a:lnTo>
                  <a:pt x="148" y="38"/>
                </a:lnTo>
                <a:lnTo>
                  <a:pt x="152" y="38"/>
                </a:lnTo>
                <a:lnTo>
                  <a:pt x="152" y="40"/>
                </a:lnTo>
                <a:lnTo>
                  <a:pt x="148" y="40"/>
                </a:lnTo>
                <a:lnTo>
                  <a:pt x="152" y="40"/>
                </a:lnTo>
                <a:lnTo>
                  <a:pt x="148" y="40"/>
                </a:lnTo>
                <a:lnTo>
                  <a:pt x="148" y="44"/>
                </a:lnTo>
                <a:lnTo>
                  <a:pt x="144" y="44"/>
                </a:lnTo>
                <a:lnTo>
                  <a:pt x="140" y="44"/>
                </a:lnTo>
                <a:lnTo>
                  <a:pt x="140" y="40"/>
                </a:lnTo>
                <a:lnTo>
                  <a:pt x="140" y="44"/>
                </a:lnTo>
                <a:lnTo>
                  <a:pt x="140" y="48"/>
                </a:lnTo>
                <a:lnTo>
                  <a:pt x="140" y="52"/>
                </a:lnTo>
                <a:lnTo>
                  <a:pt x="136" y="52"/>
                </a:lnTo>
                <a:lnTo>
                  <a:pt x="134" y="56"/>
                </a:lnTo>
                <a:lnTo>
                  <a:pt x="136" y="56"/>
                </a:lnTo>
                <a:lnTo>
                  <a:pt x="134" y="56"/>
                </a:lnTo>
                <a:lnTo>
                  <a:pt x="130" y="56"/>
                </a:lnTo>
                <a:lnTo>
                  <a:pt x="130" y="52"/>
                </a:lnTo>
                <a:lnTo>
                  <a:pt x="130" y="56"/>
                </a:lnTo>
                <a:lnTo>
                  <a:pt x="126" y="56"/>
                </a:lnTo>
                <a:lnTo>
                  <a:pt x="122" y="56"/>
                </a:lnTo>
                <a:lnTo>
                  <a:pt x="118" y="60"/>
                </a:lnTo>
                <a:lnTo>
                  <a:pt x="114" y="60"/>
                </a:lnTo>
                <a:lnTo>
                  <a:pt x="114" y="64"/>
                </a:lnTo>
                <a:lnTo>
                  <a:pt x="110" y="64"/>
                </a:lnTo>
                <a:lnTo>
                  <a:pt x="106" y="68"/>
                </a:lnTo>
                <a:lnTo>
                  <a:pt x="106" y="64"/>
                </a:lnTo>
                <a:lnTo>
                  <a:pt x="104" y="64"/>
                </a:lnTo>
                <a:lnTo>
                  <a:pt x="104" y="68"/>
                </a:lnTo>
                <a:lnTo>
                  <a:pt x="100" y="68"/>
                </a:lnTo>
                <a:lnTo>
                  <a:pt x="96" y="68"/>
                </a:lnTo>
                <a:lnTo>
                  <a:pt x="92" y="68"/>
                </a:lnTo>
                <a:lnTo>
                  <a:pt x="92" y="70"/>
                </a:lnTo>
                <a:lnTo>
                  <a:pt x="92" y="74"/>
                </a:lnTo>
                <a:lnTo>
                  <a:pt x="88" y="74"/>
                </a:lnTo>
                <a:lnTo>
                  <a:pt x="84" y="74"/>
                </a:lnTo>
                <a:lnTo>
                  <a:pt x="82" y="74"/>
                </a:lnTo>
                <a:lnTo>
                  <a:pt x="78" y="74"/>
                </a:lnTo>
                <a:lnTo>
                  <a:pt x="74" y="74"/>
                </a:lnTo>
                <a:lnTo>
                  <a:pt x="70" y="74"/>
                </a:lnTo>
                <a:lnTo>
                  <a:pt x="66" y="70"/>
                </a:lnTo>
                <a:lnTo>
                  <a:pt x="62" y="70"/>
                </a:lnTo>
                <a:lnTo>
                  <a:pt x="60" y="70"/>
                </a:lnTo>
                <a:lnTo>
                  <a:pt x="56" y="70"/>
                </a:lnTo>
                <a:lnTo>
                  <a:pt x="56" y="68"/>
                </a:lnTo>
                <a:lnTo>
                  <a:pt x="60" y="68"/>
                </a:lnTo>
                <a:lnTo>
                  <a:pt x="56" y="68"/>
                </a:lnTo>
                <a:lnTo>
                  <a:pt x="52" y="68"/>
                </a:lnTo>
                <a:lnTo>
                  <a:pt x="56" y="68"/>
                </a:lnTo>
                <a:lnTo>
                  <a:pt x="56" y="64"/>
                </a:lnTo>
                <a:lnTo>
                  <a:pt x="52" y="68"/>
                </a:lnTo>
                <a:lnTo>
                  <a:pt x="48" y="68"/>
                </a:lnTo>
                <a:lnTo>
                  <a:pt x="48" y="64"/>
                </a:lnTo>
                <a:lnTo>
                  <a:pt x="44" y="64"/>
                </a:lnTo>
                <a:lnTo>
                  <a:pt x="40" y="68"/>
                </a:lnTo>
                <a:lnTo>
                  <a:pt x="40" y="64"/>
                </a:lnTo>
                <a:lnTo>
                  <a:pt x="36" y="64"/>
                </a:lnTo>
                <a:lnTo>
                  <a:pt x="36" y="68"/>
                </a:lnTo>
                <a:lnTo>
                  <a:pt x="32" y="68"/>
                </a:lnTo>
                <a:lnTo>
                  <a:pt x="32" y="64"/>
                </a:lnTo>
                <a:lnTo>
                  <a:pt x="30" y="64"/>
                </a:lnTo>
                <a:lnTo>
                  <a:pt x="26" y="68"/>
                </a:lnTo>
                <a:lnTo>
                  <a:pt x="26" y="64"/>
                </a:lnTo>
                <a:lnTo>
                  <a:pt x="26" y="60"/>
                </a:lnTo>
                <a:lnTo>
                  <a:pt x="26" y="64"/>
                </a:lnTo>
                <a:lnTo>
                  <a:pt x="30" y="64"/>
                </a:lnTo>
                <a:lnTo>
                  <a:pt x="30" y="60"/>
                </a:lnTo>
                <a:lnTo>
                  <a:pt x="32" y="60"/>
                </a:lnTo>
                <a:lnTo>
                  <a:pt x="36" y="60"/>
                </a:lnTo>
                <a:lnTo>
                  <a:pt x="36" y="56"/>
                </a:lnTo>
                <a:lnTo>
                  <a:pt x="36" y="60"/>
                </a:lnTo>
                <a:lnTo>
                  <a:pt x="36" y="56"/>
                </a:lnTo>
                <a:lnTo>
                  <a:pt x="40" y="56"/>
                </a:lnTo>
                <a:lnTo>
                  <a:pt x="36" y="56"/>
                </a:lnTo>
                <a:lnTo>
                  <a:pt x="36" y="52"/>
                </a:lnTo>
                <a:lnTo>
                  <a:pt x="40" y="52"/>
                </a:lnTo>
                <a:lnTo>
                  <a:pt x="44" y="52"/>
                </a:lnTo>
                <a:lnTo>
                  <a:pt x="40" y="52"/>
                </a:lnTo>
                <a:lnTo>
                  <a:pt x="36" y="52"/>
                </a:lnTo>
                <a:lnTo>
                  <a:pt x="36" y="56"/>
                </a:lnTo>
                <a:lnTo>
                  <a:pt x="32" y="56"/>
                </a:lnTo>
                <a:lnTo>
                  <a:pt x="32" y="52"/>
                </a:lnTo>
                <a:lnTo>
                  <a:pt x="32" y="52"/>
                </a:lnTo>
                <a:lnTo>
                  <a:pt x="32" y="52"/>
                </a:lnTo>
                <a:close/>
              </a:path>
            </a:pathLst>
          </a:custGeom>
          <a:solidFill>
            <a:schemeClr val="accent1">
              <a:lumMod val="10000"/>
              <a:lumOff val="90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99" name="Freeform 106"/>
          <p:cNvSpPr>
            <a:spLocks noEditPoints="1"/>
          </p:cNvSpPr>
          <p:nvPr/>
        </p:nvSpPr>
        <p:spPr bwMode="auto">
          <a:xfrm>
            <a:off x="4079081" y="2474118"/>
            <a:ext cx="76200" cy="102394"/>
          </a:xfrm>
          <a:custGeom>
            <a:avLst/>
            <a:gdLst>
              <a:gd name="T0" fmla="*/ 20 w 64"/>
              <a:gd name="T1" fmla="*/ 46 h 86"/>
              <a:gd name="T2" fmla="*/ 16 w 64"/>
              <a:gd name="T3" fmla="*/ 46 h 86"/>
              <a:gd name="T4" fmla="*/ 12 w 64"/>
              <a:gd name="T5" fmla="*/ 46 h 86"/>
              <a:gd name="T6" fmla="*/ 12 w 64"/>
              <a:gd name="T7" fmla="*/ 42 h 86"/>
              <a:gd name="T8" fmla="*/ 8 w 64"/>
              <a:gd name="T9" fmla="*/ 38 h 86"/>
              <a:gd name="T10" fmla="*/ 8 w 64"/>
              <a:gd name="T11" fmla="*/ 34 h 86"/>
              <a:gd name="T12" fmla="*/ 12 w 64"/>
              <a:gd name="T13" fmla="*/ 34 h 86"/>
              <a:gd name="T14" fmla="*/ 12 w 64"/>
              <a:gd name="T15" fmla="*/ 30 h 86"/>
              <a:gd name="T16" fmla="*/ 8 w 64"/>
              <a:gd name="T17" fmla="*/ 30 h 86"/>
              <a:gd name="T18" fmla="*/ 8 w 64"/>
              <a:gd name="T19" fmla="*/ 26 h 86"/>
              <a:gd name="T20" fmla="*/ 12 w 64"/>
              <a:gd name="T21" fmla="*/ 26 h 86"/>
              <a:gd name="T22" fmla="*/ 20 w 64"/>
              <a:gd name="T23" fmla="*/ 24 h 86"/>
              <a:gd name="T24" fmla="*/ 26 w 64"/>
              <a:gd name="T25" fmla="*/ 26 h 86"/>
              <a:gd name="T26" fmla="*/ 30 w 64"/>
              <a:gd name="T27" fmla="*/ 20 h 86"/>
              <a:gd name="T28" fmla="*/ 30 w 64"/>
              <a:gd name="T29" fmla="*/ 16 h 86"/>
              <a:gd name="T30" fmla="*/ 30 w 64"/>
              <a:gd name="T31" fmla="*/ 12 h 86"/>
              <a:gd name="T32" fmla="*/ 38 w 64"/>
              <a:gd name="T33" fmla="*/ 4 h 86"/>
              <a:gd name="T34" fmla="*/ 42 w 64"/>
              <a:gd name="T35" fmla="*/ 4 h 86"/>
              <a:gd name="T36" fmla="*/ 42 w 64"/>
              <a:gd name="T37" fmla="*/ 8 h 86"/>
              <a:gd name="T38" fmla="*/ 46 w 64"/>
              <a:gd name="T39" fmla="*/ 8 h 86"/>
              <a:gd name="T40" fmla="*/ 46 w 64"/>
              <a:gd name="T41" fmla="*/ 4 h 86"/>
              <a:gd name="T42" fmla="*/ 50 w 64"/>
              <a:gd name="T43" fmla="*/ 4 h 86"/>
              <a:gd name="T44" fmla="*/ 50 w 64"/>
              <a:gd name="T45" fmla="*/ 8 h 86"/>
              <a:gd name="T46" fmla="*/ 42 w 64"/>
              <a:gd name="T47" fmla="*/ 16 h 86"/>
              <a:gd name="T48" fmla="*/ 38 w 64"/>
              <a:gd name="T49" fmla="*/ 20 h 86"/>
              <a:gd name="T50" fmla="*/ 38 w 64"/>
              <a:gd name="T51" fmla="*/ 24 h 86"/>
              <a:gd name="T52" fmla="*/ 46 w 64"/>
              <a:gd name="T53" fmla="*/ 26 h 86"/>
              <a:gd name="T54" fmla="*/ 54 w 64"/>
              <a:gd name="T55" fmla="*/ 24 h 86"/>
              <a:gd name="T56" fmla="*/ 60 w 64"/>
              <a:gd name="T57" fmla="*/ 30 h 86"/>
              <a:gd name="T58" fmla="*/ 64 w 64"/>
              <a:gd name="T59" fmla="*/ 30 h 86"/>
              <a:gd name="T60" fmla="*/ 60 w 64"/>
              <a:gd name="T61" fmla="*/ 38 h 86"/>
              <a:gd name="T62" fmla="*/ 64 w 64"/>
              <a:gd name="T63" fmla="*/ 46 h 86"/>
              <a:gd name="T64" fmla="*/ 64 w 64"/>
              <a:gd name="T65" fmla="*/ 50 h 86"/>
              <a:gd name="T66" fmla="*/ 60 w 64"/>
              <a:gd name="T67" fmla="*/ 60 h 86"/>
              <a:gd name="T68" fmla="*/ 60 w 64"/>
              <a:gd name="T69" fmla="*/ 68 h 86"/>
              <a:gd name="T70" fmla="*/ 54 w 64"/>
              <a:gd name="T71" fmla="*/ 72 h 86"/>
              <a:gd name="T72" fmla="*/ 54 w 64"/>
              <a:gd name="T73" fmla="*/ 68 h 86"/>
              <a:gd name="T74" fmla="*/ 46 w 64"/>
              <a:gd name="T75" fmla="*/ 72 h 86"/>
              <a:gd name="T76" fmla="*/ 38 w 64"/>
              <a:gd name="T77" fmla="*/ 76 h 86"/>
              <a:gd name="T78" fmla="*/ 30 w 64"/>
              <a:gd name="T79" fmla="*/ 76 h 86"/>
              <a:gd name="T80" fmla="*/ 30 w 64"/>
              <a:gd name="T81" fmla="*/ 82 h 86"/>
              <a:gd name="T82" fmla="*/ 20 w 64"/>
              <a:gd name="T83" fmla="*/ 82 h 86"/>
              <a:gd name="T84" fmla="*/ 12 w 64"/>
              <a:gd name="T85" fmla="*/ 86 h 86"/>
              <a:gd name="T86" fmla="*/ 12 w 64"/>
              <a:gd name="T87" fmla="*/ 82 h 86"/>
              <a:gd name="T88" fmla="*/ 8 w 64"/>
              <a:gd name="T89" fmla="*/ 82 h 86"/>
              <a:gd name="T90" fmla="*/ 16 w 64"/>
              <a:gd name="T91" fmla="*/ 76 h 86"/>
              <a:gd name="T92" fmla="*/ 4 w 64"/>
              <a:gd name="T93" fmla="*/ 78 h 86"/>
              <a:gd name="T94" fmla="*/ 4 w 64"/>
              <a:gd name="T95" fmla="*/ 76 h 86"/>
              <a:gd name="T96" fmla="*/ 8 w 64"/>
              <a:gd name="T97" fmla="*/ 72 h 86"/>
              <a:gd name="T98" fmla="*/ 0 w 64"/>
              <a:gd name="T99" fmla="*/ 68 h 86"/>
              <a:gd name="T100" fmla="*/ 12 w 64"/>
              <a:gd name="T101" fmla="*/ 68 h 86"/>
              <a:gd name="T102" fmla="*/ 16 w 64"/>
              <a:gd name="T103" fmla="*/ 60 h 86"/>
              <a:gd name="T104" fmla="*/ 26 w 64"/>
              <a:gd name="T105" fmla="*/ 60 h 86"/>
              <a:gd name="T106" fmla="*/ 24 w 64"/>
              <a:gd name="T107" fmla="*/ 60 h 86"/>
              <a:gd name="T108" fmla="*/ 12 w 64"/>
              <a:gd name="T109" fmla="*/ 60 h 86"/>
              <a:gd name="T110" fmla="*/ 16 w 64"/>
              <a:gd name="T111" fmla="*/ 56 h 86"/>
              <a:gd name="T112" fmla="*/ 24 w 64"/>
              <a:gd name="T113" fmla="*/ 50 h 86"/>
              <a:gd name="T114" fmla="*/ 8 w 64"/>
              <a:gd name="T115" fmla="*/ 30 h 86"/>
              <a:gd name="T116" fmla="*/ 4 w 64"/>
              <a:gd name="T117" fmla="*/ 30 h 86"/>
              <a:gd name="T118" fmla="*/ 8 w 64"/>
              <a:gd name="T119" fmla="*/ 3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4" h="86">
                <a:moveTo>
                  <a:pt x="24" y="50"/>
                </a:moveTo>
                <a:lnTo>
                  <a:pt x="24" y="46"/>
                </a:lnTo>
                <a:lnTo>
                  <a:pt x="20" y="46"/>
                </a:lnTo>
                <a:lnTo>
                  <a:pt x="16" y="46"/>
                </a:lnTo>
                <a:lnTo>
                  <a:pt x="16" y="50"/>
                </a:lnTo>
                <a:lnTo>
                  <a:pt x="16" y="46"/>
                </a:lnTo>
                <a:lnTo>
                  <a:pt x="12" y="46"/>
                </a:lnTo>
                <a:lnTo>
                  <a:pt x="16" y="46"/>
                </a:lnTo>
                <a:lnTo>
                  <a:pt x="12" y="46"/>
                </a:lnTo>
                <a:lnTo>
                  <a:pt x="8" y="46"/>
                </a:lnTo>
                <a:lnTo>
                  <a:pt x="12" y="46"/>
                </a:lnTo>
                <a:lnTo>
                  <a:pt x="12" y="42"/>
                </a:lnTo>
                <a:lnTo>
                  <a:pt x="8" y="46"/>
                </a:lnTo>
                <a:lnTo>
                  <a:pt x="4" y="42"/>
                </a:lnTo>
                <a:lnTo>
                  <a:pt x="8" y="38"/>
                </a:lnTo>
                <a:lnTo>
                  <a:pt x="12" y="38"/>
                </a:lnTo>
                <a:lnTo>
                  <a:pt x="8" y="38"/>
                </a:lnTo>
                <a:lnTo>
                  <a:pt x="8" y="34"/>
                </a:lnTo>
                <a:lnTo>
                  <a:pt x="12" y="34"/>
                </a:lnTo>
                <a:lnTo>
                  <a:pt x="16" y="34"/>
                </a:lnTo>
                <a:lnTo>
                  <a:pt x="12" y="34"/>
                </a:lnTo>
                <a:lnTo>
                  <a:pt x="8" y="34"/>
                </a:lnTo>
                <a:lnTo>
                  <a:pt x="8" y="30"/>
                </a:lnTo>
                <a:lnTo>
                  <a:pt x="12" y="30"/>
                </a:lnTo>
                <a:lnTo>
                  <a:pt x="12" y="34"/>
                </a:lnTo>
                <a:lnTo>
                  <a:pt x="12" y="30"/>
                </a:lnTo>
                <a:lnTo>
                  <a:pt x="8" y="30"/>
                </a:lnTo>
                <a:lnTo>
                  <a:pt x="8" y="26"/>
                </a:lnTo>
                <a:lnTo>
                  <a:pt x="8" y="30"/>
                </a:lnTo>
                <a:lnTo>
                  <a:pt x="8" y="26"/>
                </a:lnTo>
                <a:lnTo>
                  <a:pt x="8" y="24"/>
                </a:lnTo>
                <a:lnTo>
                  <a:pt x="8" y="26"/>
                </a:lnTo>
                <a:lnTo>
                  <a:pt x="12" y="26"/>
                </a:lnTo>
                <a:lnTo>
                  <a:pt x="12" y="24"/>
                </a:lnTo>
                <a:lnTo>
                  <a:pt x="16" y="24"/>
                </a:lnTo>
                <a:lnTo>
                  <a:pt x="20" y="24"/>
                </a:lnTo>
                <a:lnTo>
                  <a:pt x="20" y="26"/>
                </a:lnTo>
                <a:lnTo>
                  <a:pt x="24" y="24"/>
                </a:lnTo>
                <a:lnTo>
                  <a:pt x="26" y="26"/>
                </a:lnTo>
                <a:lnTo>
                  <a:pt x="30" y="24"/>
                </a:lnTo>
                <a:lnTo>
                  <a:pt x="26" y="24"/>
                </a:lnTo>
                <a:lnTo>
                  <a:pt x="30" y="20"/>
                </a:lnTo>
                <a:lnTo>
                  <a:pt x="34" y="20"/>
                </a:lnTo>
                <a:lnTo>
                  <a:pt x="34" y="16"/>
                </a:lnTo>
                <a:lnTo>
                  <a:pt x="30" y="16"/>
                </a:lnTo>
                <a:lnTo>
                  <a:pt x="26" y="20"/>
                </a:lnTo>
                <a:lnTo>
                  <a:pt x="26" y="16"/>
                </a:lnTo>
                <a:lnTo>
                  <a:pt x="30" y="12"/>
                </a:lnTo>
                <a:lnTo>
                  <a:pt x="30" y="8"/>
                </a:lnTo>
                <a:lnTo>
                  <a:pt x="34" y="4"/>
                </a:lnTo>
                <a:lnTo>
                  <a:pt x="38" y="4"/>
                </a:lnTo>
                <a:lnTo>
                  <a:pt x="42" y="4"/>
                </a:lnTo>
                <a:lnTo>
                  <a:pt x="42" y="8"/>
                </a:lnTo>
                <a:lnTo>
                  <a:pt x="42" y="4"/>
                </a:lnTo>
                <a:lnTo>
                  <a:pt x="38" y="4"/>
                </a:lnTo>
                <a:lnTo>
                  <a:pt x="42" y="4"/>
                </a:lnTo>
                <a:lnTo>
                  <a:pt x="42" y="8"/>
                </a:lnTo>
                <a:lnTo>
                  <a:pt x="42" y="12"/>
                </a:lnTo>
                <a:lnTo>
                  <a:pt x="42" y="8"/>
                </a:lnTo>
                <a:lnTo>
                  <a:pt x="46" y="8"/>
                </a:lnTo>
                <a:lnTo>
                  <a:pt x="46" y="4"/>
                </a:lnTo>
                <a:lnTo>
                  <a:pt x="42" y="4"/>
                </a:lnTo>
                <a:lnTo>
                  <a:pt x="46" y="4"/>
                </a:lnTo>
                <a:lnTo>
                  <a:pt x="46" y="0"/>
                </a:lnTo>
                <a:lnTo>
                  <a:pt x="50" y="0"/>
                </a:lnTo>
                <a:lnTo>
                  <a:pt x="50" y="4"/>
                </a:lnTo>
                <a:lnTo>
                  <a:pt x="54" y="4"/>
                </a:lnTo>
                <a:lnTo>
                  <a:pt x="50" y="4"/>
                </a:lnTo>
                <a:lnTo>
                  <a:pt x="50" y="8"/>
                </a:lnTo>
                <a:lnTo>
                  <a:pt x="46" y="8"/>
                </a:lnTo>
                <a:lnTo>
                  <a:pt x="46" y="12"/>
                </a:lnTo>
                <a:lnTo>
                  <a:pt x="42" y="16"/>
                </a:lnTo>
                <a:lnTo>
                  <a:pt x="38" y="16"/>
                </a:lnTo>
                <a:lnTo>
                  <a:pt x="42" y="20"/>
                </a:lnTo>
                <a:lnTo>
                  <a:pt x="38" y="20"/>
                </a:lnTo>
                <a:lnTo>
                  <a:pt x="34" y="20"/>
                </a:lnTo>
                <a:lnTo>
                  <a:pt x="34" y="24"/>
                </a:lnTo>
                <a:lnTo>
                  <a:pt x="38" y="24"/>
                </a:lnTo>
                <a:lnTo>
                  <a:pt x="38" y="26"/>
                </a:lnTo>
                <a:lnTo>
                  <a:pt x="42" y="26"/>
                </a:lnTo>
                <a:lnTo>
                  <a:pt x="46" y="26"/>
                </a:lnTo>
                <a:lnTo>
                  <a:pt x="50" y="26"/>
                </a:lnTo>
                <a:lnTo>
                  <a:pt x="50" y="24"/>
                </a:lnTo>
                <a:lnTo>
                  <a:pt x="54" y="24"/>
                </a:lnTo>
                <a:lnTo>
                  <a:pt x="54" y="26"/>
                </a:lnTo>
                <a:lnTo>
                  <a:pt x="56" y="30"/>
                </a:lnTo>
                <a:lnTo>
                  <a:pt x="60" y="30"/>
                </a:lnTo>
                <a:lnTo>
                  <a:pt x="60" y="26"/>
                </a:lnTo>
                <a:lnTo>
                  <a:pt x="60" y="30"/>
                </a:lnTo>
                <a:lnTo>
                  <a:pt x="64" y="30"/>
                </a:lnTo>
                <a:lnTo>
                  <a:pt x="60" y="30"/>
                </a:lnTo>
                <a:lnTo>
                  <a:pt x="60" y="34"/>
                </a:lnTo>
                <a:lnTo>
                  <a:pt x="60" y="38"/>
                </a:lnTo>
                <a:lnTo>
                  <a:pt x="64" y="38"/>
                </a:lnTo>
                <a:lnTo>
                  <a:pt x="64" y="42"/>
                </a:lnTo>
                <a:lnTo>
                  <a:pt x="64" y="46"/>
                </a:lnTo>
                <a:lnTo>
                  <a:pt x="60" y="46"/>
                </a:lnTo>
                <a:lnTo>
                  <a:pt x="64" y="46"/>
                </a:lnTo>
                <a:lnTo>
                  <a:pt x="64" y="50"/>
                </a:lnTo>
                <a:lnTo>
                  <a:pt x="64" y="52"/>
                </a:lnTo>
                <a:lnTo>
                  <a:pt x="64" y="56"/>
                </a:lnTo>
                <a:lnTo>
                  <a:pt x="60" y="60"/>
                </a:lnTo>
                <a:lnTo>
                  <a:pt x="60" y="64"/>
                </a:lnTo>
                <a:lnTo>
                  <a:pt x="56" y="64"/>
                </a:lnTo>
                <a:lnTo>
                  <a:pt x="60" y="68"/>
                </a:lnTo>
                <a:lnTo>
                  <a:pt x="56" y="68"/>
                </a:lnTo>
                <a:lnTo>
                  <a:pt x="54" y="68"/>
                </a:lnTo>
                <a:lnTo>
                  <a:pt x="54" y="72"/>
                </a:lnTo>
                <a:lnTo>
                  <a:pt x="54" y="68"/>
                </a:lnTo>
                <a:lnTo>
                  <a:pt x="50" y="68"/>
                </a:lnTo>
                <a:lnTo>
                  <a:pt x="54" y="68"/>
                </a:lnTo>
                <a:lnTo>
                  <a:pt x="54" y="72"/>
                </a:lnTo>
                <a:lnTo>
                  <a:pt x="50" y="72"/>
                </a:lnTo>
                <a:lnTo>
                  <a:pt x="46" y="72"/>
                </a:lnTo>
                <a:lnTo>
                  <a:pt x="42" y="72"/>
                </a:lnTo>
                <a:lnTo>
                  <a:pt x="42" y="76"/>
                </a:lnTo>
                <a:lnTo>
                  <a:pt x="38" y="76"/>
                </a:lnTo>
                <a:lnTo>
                  <a:pt x="34" y="78"/>
                </a:lnTo>
                <a:lnTo>
                  <a:pt x="34" y="76"/>
                </a:lnTo>
                <a:lnTo>
                  <a:pt x="30" y="76"/>
                </a:lnTo>
                <a:lnTo>
                  <a:pt x="34" y="78"/>
                </a:lnTo>
                <a:lnTo>
                  <a:pt x="30" y="78"/>
                </a:lnTo>
                <a:lnTo>
                  <a:pt x="30" y="82"/>
                </a:lnTo>
                <a:lnTo>
                  <a:pt x="26" y="82"/>
                </a:lnTo>
                <a:lnTo>
                  <a:pt x="24" y="82"/>
                </a:lnTo>
                <a:lnTo>
                  <a:pt x="20" y="82"/>
                </a:lnTo>
                <a:lnTo>
                  <a:pt x="16" y="82"/>
                </a:lnTo>
                <a:lnTo>
                  <a:pt x="12" y="82"/>
                </a:lnTo>
                <a:lnTo>
                  <a:pt x="12" y="86"/>
                </a:lnTo>
                <a:lnTo>
                  <a:pt x="12" y="82"/>
                </a:lnTo>
                <a:lnTo>
                  <a:pt x="16" y="82"/>
                </a:lnTo>
                <a:lnTo>
                  <a:pt x="12" y="82"/>
                </a:lnTo>
                <a:lnTo>
                  <a:pt x="16" y="78"/>
                </a:lnTo>
                <a:lnTo>
                  <a:pt x="12" y="78"/>
                </a:lnTo>
                <a:lnTo>
                  <a:pt x="8" y="82"/>
                </a:lnTo>
                <a:lnTo>
                  <a:pt x="8" y="78"/>
                </a:lnTo>
                <a:lnTo>
                  <a:pt x="12" y="78"/>
                </a:lnTo>
                <a:lnTo>
                  <a:pt x="16" y="76"/>
                </a:lnTo>
                <a:lnTo>
                  <a:pt x="12" y="76"/>
                </a:lnTo>
                <a:lnTo>
                  <a:pt x="8" y="78"/>
                </a:lnTo>
                <a:lnTo>
                  <a:pt x="4" y="78"/>
                </a:lnTo>
                <a:lnTo>
                  <a:pt x="4" y="76"/>
                </a:lnTo>
                <a:lnTo>
                  <a:pt x="4" y="78"/>
                </a:lnTo>
                <a:lnTo>
                  <a:pt x="4" y="76"/>
                </a:lnTo>
                <a:lnTo>
                  <a:pt x="8" y="72"/>
                </a:lnTo>
                <a:lnTo>
                  <a:pt x="12" y="72"/>
                </a:lnTo>
                <a:lnTo>
                  <a:pt x="8" y="72"/>
                </a:lnTo>
                <a:lnTo>
                  <a:pt x="4" y="72"/>
                </a:lnTo>
                <a:lnTo>
                  <a:pt x="0" y="72"/>
                </a:lnTo>
                <a:lnTo>
                  <a:pt x="0" y="68"/>
                </a:lnTo>
                <a:lnTo>
                  <a:pt x="4" y="68"/>
                </a:lnTo>
                <a:lnTo>
                  <a:pt x="8" y="68"/>
                </a:lnTo>
                <a:lnTo>
                  <a:pt x="12" y="68"/>
                </a:lnTo>
                <a:lnTo>
                  <a:pt x="12" y="64"/>
                </a:lnTo>
                <a:lnTo>
                  <a:pt x="12" y="60"/>
                </a:lnTo>
                <a:lnTo>
                  <a:pt x="16" y="60"/>
                </a:lnTo>
                <a:lnTo>
                  <a:pt x="20" y="60"/>
                </a:lnTo>
                <a:lnTo>
                  <a:pt x="24" y="60"/>
                </a:lnTo>
                <a:lnTo>
                  <a:pt x="26" y="60"/>
                </a:lnTo>
                <a:lnTo>
                  <a:pt x="24" y="60"/>
                </a:lnTo>
                <a:lnTo>
                  <a:pt x="24" y="56"/>
                </a:lnTo>
                <a:lnTo>
                  <a:pt x="24" y="60"/>
                </a:lnTo>
                <a:lnTo>
                  <a:pt x="20" y="60"/>
                </a:lnTo>
                <a:lnTo>
                  <a:pt x="16" y="60"/>
                </a:lnTo>
                <a:lnTo>
                  <a:pt x="12" y="60"/>
                </a:lnTo>
                <a:lnTo>
                  <a:pt x="8" y="60"/>
                </a:lnTo>
                <a:lnTo>
                  <a:pt x="12" y="60"/>
                </a:lnTo>
                <a:lnTo>
                  <a:pt x="16" y="56"/>
                </a:lnTo>
                <a:lnTo>
                  <a:pt x="16" y="52"/>
                </a:lnTo>
                <a:lnTo>
                  <a:pt x="20" y="50"/>
                </a:lnTo>
                <a:lnTo>
                  <a:pt x="24" y="50"/>
                </a:lnTo>
                <a:lnTo>
                  <a:pt x="24" y="50"/>
                </a:lnTo>
                <a:lnTo>
                  <a:pt x="24" y="50"/>
                </a:lnTo>
                <a:close/>
                <a:moveTo>
                  <a:pt x="8" y="30"/>
                </a:moveTo>
                <a:lnTo>
                  <a:pt x="8" y="34"/>
                </a:lnTo>
                <a:lnTo>
                  <a:pt x="8" y="30"/>
                </a:lnTo>
                <a:lnTo>
                  <a:pt x="4" y="30"/>
                </a:lnTo>
                <a:lnTo>
                  <a:pt x="8" y="30"/>
                </a:lnTo>
                <a:lnTo>
                  <a:pt x="8" y="30"/>
                </a:lnTo>
                <a:lnTo>
                  <a:pt x="8" y="30"/>
                </a:lnTo>
                <a:close/>
              </a:path>
            </a:pathLst>
          </a:custGeom>
          <a:solidFill>
            <a:srgbClr val="A0DCFF"/>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00" name="Freeform 107"/>
          <p:cNvSpPr>
            <a:spLocks/>
          </p:cNvSpPr>
          <p:nvPr/>
        </p:nvSpPr>
        <p:spPr bwMode="auto">
          <a:xfrm>
            <a:off x="4176712" y="2502693"/>
            <a:ext cx="9525" cy="7144"/>
          </a:xfrm>
          <a:custGeom>
            <a:avLst/>
            <a:gdLst>
              <a:gd name="T0" fmla="*/ 0 w 8"/>
              <a:gd name="T1" fmla="*/ 6 h 6"/>
              <a:gd name="T2" fmla="*/ 0 w 8"/>
              <a:gd name="T3" fmla="*/ 6 h 6"/>
              <a:gd name="T4" fmla="*/ 0 w 8"/>
              <a:gd name="T5" fmla="*/ 2 h 6"/>
              <a:gd name="T6" fmla="*/ 0 w 8"/>
              <a:gd name="T7" fmla="*/ 2 h 6"/>
              <a:gd name="T8" fmla="*/ 0 w 8"/>
              <a:gd name="T9" fmla="*/ 2 h 6"/>
              <a:gd name="T10" fmla="*/ 0 w 8"/>
              <a:gd name="T11" fmla="*/ 2 h 6"/>
              <a:gd name="T12" fmla="*/ 4 w 8"/>
              <a:gd name="T13" fmla="*/ 0 h 6"/>
              <a:gd name="T14" fmla="*/ 4 w 8"/>
              <a:gd name="T15" fmla="*/ 0 h 6"/>
              <a:gd name="T16" fmla="*/ 4 w 8"/>
              <a:gd name="T17" fmla="*/ 0 h 6"/>
              <a:gd name="T18" fmla="*/ 4 w 8"/>
              <a:gd name="T19" fmla="*/ 0 h 6"/>
              <a:gd name="T20" fmla="*/ 4 w 8"/>
              <a:gd name="T21" fmla="*/ 0 h 6"/>
              <a:gd name="T22" fmla="*/ 4 w 8"/>
              <a:gd name="T23" fmla="*/ 0 h 6"/>
              <a:gd name="T24" fmla="*/ 4 w 8"/>
              <a:gd name="T25" fmla="*/ 0 h 6"/>
              <a:gd name="T26" fmla="*/ 4 w 8"/>
              <a:gd name="T27" fmla="*/ 0 h 6"/>
              <a:gd name="T28" fmla="*/ 4 w 8"/>
              <a:gd name="T29" fmla="*/ 0 h 6"/>
              <a:gd name="T30" fmla="*/ 4 w 8"/>
              <a:gd name="T31" fmla="*/ 0 h 6"/>
              <a:gd name="T32" fmla="*/ 4 w 8"/>
              <a:gd name="T33" fmla="*/ 0 h 6"/>
              <a:gd name="T34" fmla="*/ 8 w 8"/>
              <a:gd name="T35" fmla="*/ 0 h 6"/>
              <a:gd name="T36" fmla="*/ 8 w 8"/>
              <a:gd name="T37" fmla="*/ 0 h 6"/>
              <a:gd name="T38" fmla="*/ 4 w 8"/>
              <a:gd name="T39" fmla="*/ 2 h 6"/>
              <a:gd name="T40" fmla="*/ 4 w 8"/>
              <a:gd name="T41" fmla="*/ 2 h 6"/>
              <a:gd name="T42" fmla="*/ 4 w 8"/>
              <a:gd name="T43" fmla="*/ 2 h 6"/>
              <a:gd name="T44" fmla="*/ 4 w 8"/>
              <a:gd name="T45" fmla="*/ 2 h 6"/>
              <a:gd name="T46" fmla="*/ 4 w 8"/>
              <a:gd name="T47" fmla="*/ 2 h 6"/>
              <a:gd name="T48" fmla="*/ 0 w 8"/>
              <a:gd name="T49" fmla="*/ 6 h 6"/>
              <a:gd name="T50" fmla="*/ 0 w 8"/>
              <a:gd name="T51" fmla="*/ 6 h 6"/>
              <a:gd name="T52" fmla="*/ 0 w 8"/>
              <a:gd name="T53" fmla="*/ 6 h 6"/>
              <a:gd name="T54" fmla="*/ 0 w 8"/>
              <a:gd name="T55" fmla="*/ 6 h 6"/>
              <a:gd name="T56" fmla="*/ 0 w 8"/>
              <a:gd name="T57" fmla="*/ 6 h 6"/>
              <a:gd name="T58" fmla="*/ 0 w 8"/>
              <a:gd name="T59" fmla="*/ 6 h 6"/>
              <a:gd name="T60" fmla="*/ 0 w 8"/>
              <a:gd name="T61"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 h="6">
                <a:moveTo>
                  <a:pt x="0" y="6"/>
                </a:moveTo>
                <a:lnTo>
                  <a:pt x="0" y="6"/>
                </a:lnTo>
                <a:lnTo>
                  <a:pt x="0" y="2"/>
                </a:lnTo>
                <a:lnTo>
                  <a:pt x="0" y="2"/>
                </a:lnTo>
                <a:lnTo>
                  <a:pt x="0" y="2"/>
                </a:lnTo>
                <a:lnTo>
                  <a:pt x="0" y="2"/>
                </a:lnTo>
                <a:lnTo>
                  <a:pt x="4" y="0"/>
                </a:lnTo>
                <a:lnTo>
                  <a:pt x="4" y="0"/>
                </a:lnTo>
                <a:lnTo>
                  <a:pt x="4" y="0"/>
                </a:lnTo>
                <a:lnTo>
                  <a:pt x="4" y="0"/>
                </a:lnTo>
                <a:lnTo>
                  <a:pt x="4" y="0"/>
                </a:lnTo>
                <a:lnTo>
                  <a:pt x="4" y="0"/>
                </a:lnTo>
                <a:lnTo>
                  <a:pt x="4" y="0"/>
                </a:lnTo>
                <a:lnTo>
                  <a:pt x="4" y="0"/>
                </a:lnTo>
                <a:lnTo>
                  <a:pt x="4" y="0"/>
                </a:lnTo>
                <a:lnTo>
                  <a:pt x="4" y="0"/>
                </a:lnTo>
                <a:lnTo>
                  <a:pt x="4" y="0"/>
                </a:lnTo>
                <a:lnTo>
                  <a:pt x="8" y="0"/>
                </a:lnTo>
                <a:lnTo>
                  <a:pt x="8" y="0"/>
                </a:lnTo>
                <a:lnTo>
                  <a:pt x="4" y="2"/>
                </a:lnTo>
                <a:lnTo>
                  <a:pt x="4" y="2"/>
                </a:lnTo>
                <a:lnTo>
                  <a:pt x="4" y="2"/>
                </a:lnTo>
                <a:lnTo>
                  <a:pt x="4" y="2"/>
                </a:lnTo>
                <a:lnTo>
                  <a:pt x="4" y="2"/>
                </a:lnTo>
                <a:lnTo>
                  <a:pt x="0" y="6"/>
                </a:lnTo>
                <a:lnTo>
                  <a:pt x="0" y="6"/>
                </a:lnTo>
                <a:lnTo>
                  <a:pt x="0" y="6"/>
                </a:lnTo>
                <a:lnTo>
                  <a:pt x="0" y="6"/>
                </a:lnTo>
                <a:lnTo>
                  <a:pt x="0" y="6"/>
                </a:lnTo>
                <a:lnTo>
                  <a:pt x="0" y="6"/>
                </a:lnTo>
                <a:lnTo>
                  <a:pt x="0" y="6"/>
                </a:lnTo>
                <a:close/>
              </a:path>
            </a:pathLst>
          </a:custGeom>
          <a:solidFill>
            <a:srgbClr val="A0DCFF"/>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01" name="Freeform 108"/>
          <p:cNvSpPr>
            <a:spLocks noEditPoints="1"/>
          </p:cNvSpPr>
          <p:nvPr/>
        </p:nvSpPr>
        <p:spPr bwMode="auto">
          <a:xfrm>
            <a:off x="4367212" y="2683668"/>
            <a:ext cx="200025" cy="245269"/>
          </a:xfrm>
          <a:custGeom>
            <a:avLst/>
            <a:gdLst>
              <a:gd name="T0" fmla="*/ 98 w 168"/>
              <a:gd name="T1" fmla="*/ 72 h 206"/>
              <a:gd name="T2" fmla="*/ 106 w 168"/>
              <a:gd name="T3" fmla="*/ 90 h 206"/>
              <a:gd name="T4" fmla="*/ 124 w 168"/>
              <a:gd name="T5" fmla="*/ 100 h 206"/>
              <a:gd name="T6" fmla="*/ 136 w 168"/>
              <a:gd name="T7" fmla="*/ 108 h 206"/>
              <a:gd name="T8" fmla="*/ 150 w 168"/>
              <a:gd name="T9" fmla="*/ 120 h 206"/>
              <a:gd name="T10" fmla="*/ 166 w 168"/>
              <a:gd name="T11" fmla="*/ 130 h 206"/>
              <a:gd name="T12" fmla="*/ 166 w 168"/>
              <a:gd name="T13" fmla="*/ 142 h 206"/>
              <a:gd name="T14" fmla="*/ 150 w 168"/>
              <a:gd name="T15" fmla="*/ 130 h 206"/>
              <a:gd name="T16" fmla="*/ 142 w 168"/>
              <a:gd name="T17" fmla="*/ 142 h 206"/>
              <a:gd name="T18" fmla="*/ 150 w 168"/>
              <a:gd name="T19" fmla="*/ 156 h 206"/>
              <a:gd name="T20" fmla="*/ 142 w 168"/>
              <a:gd name="T21" fmla="*/ 172 h 206"/>
              <a:gd name="T22" fmla="*/ 128 w 168"/>
              <a:gd name="T23" fmla="*/ 176 h 206"/>
              <a:gd name="T24" fmla="*/ 138 w 168"/>
              <a:gd name="T25" fmla="*/ 160 h 206"/>
              <a:gd name="T26" fmla="*/ 132 w 168"/>
              <a:gd name="T27" fmla="*/ 146 h 206"/>
              <a:gd name="T28" fmla="*/ 120 w 168"/>
              <a:gd name="T29" fmla="*/ 130 h 206"/>
              <a:gd name="T30" fmla="*/ 106 w 168"/>
              <a:gd name="T31" fmla="*/ 116 h 206"/>
              <a:gd name="T32" fmla="*/ 86 w 168"/>
              <a:gd name="T33" fmla="*/ 112 h 206"/>
              <a:gd name="T34" fmla="*/ 76 w 168"/>
              <a:gd name="T35" fmla="*/ 96 h 206"/>
              <a:gd name="T36" fmla="*/ 64 w 168"/>
              <a:gd name="T37" fmla="*/ 86 h 206"/>
              <a:gd name="T38" fmla="*/ 54 w 168"/>
              <a:gd name="T39" fmla="*/ 72 h 206"/>
              <a:gd name="T40" fmla="*/ 38 w 168"/>
              <a:gd name="T41" fmla="*/ 56 h 206"/>
              <a:gd name="T42" fmla="*/ 20 w 168"/>
              <a:gd name="T43" fmla="*/ 64 h 206"/>
              <a:gd name="T44" fmla="*/ 16 w 168"/>
              <a:gd name="T45" fmla="*/ 60 h 206"/>
              <a:gd name="T46" fmla="*/ 4 w 168"/>
              <a:gd name="T47" fmla="*/ 52 h 206"/>
              <a:gd name="T48" fmla="*/ 4 w 168"/>
              <a:gd name="T49" fmla="*/ 38 h 206"/>
              <a:gd name="T50" fmla="*/ 4 w 168"/>
              <a:gd name="T51" fmla="*/ 24 h 206"/>
              <a:gd name="T52" fmla="*/ 24 w 168"/>
              <a:gd name="T53" fmla="*/ 16 h 206"/>
              <a:gd name="T54" fmla="*/ 34 w 168"/>
              <a:gd name="T55" fmla="*/ 24 h 206"/>
              <a:gd name="T56" fmla="*/ 38 w 168"/>
              <a:gd name="T57" fmla="*/ 12 h 206"/>
              <a:gd name="T58" fmla="*/ 50 w 168"/>
              <a:gd name="T59" fmla="*/ 12 h 206"/>
              <a:gd name="T60" fmla="*/ 56 w 168"/>
              <a:gd name="T61" fmla="*/ 4 h 206"/>
              <a:gd name="T62" fmla="*/ 76 w 168"/>
              <a:gd name="T63" fmla="*/ 0 h 206"/>
              <a:gd name="T64" fmla="*/ 90 w 168"/>
              <a:gd name="T65" fmla="*/ 8 h 206"/>
              <a:gd name="T66" fmla="*/ 98 w 168"/>
              <a:gd name="T67" fmla="*/ 16 h 206"/>
              <a:gd name="T68" fmla="*/ 102 w 168"/>
              <a:gd name="T69" fmla="*/ 26 h 206"/>
              <a:gd name="T70" fmla="*/ 94 w 168"/>
              <a:gd name="T71" fmla="*/ 26 h 206"/>
              <a:gd name="T72" fmla="*/ 86 w 168"/>
              <a:gd name="T73" fmla="*/ 30 h 206"/>
              <a:gd name="T74" fmla="*/ 86 w 168"/>
              <a:gd name="T75" fmla="*/ 42 h 206"/>
              <a:gd name="T76" fmla="*/ 86 w 168"/>
              <a:gd name="T77" fmla="*/ 60 h 206"/>
              <a:gd name="T78" fmla="*/ 82 w 168"/>
              <a:gd name="T79" fmla="*/ 100 h 206"/>
              <a:gd name="T80" fmla="*/ 82 w 168"/>
              <a:gd name="T81" fmla="*/ 64 h 206"/>
              <a:gd name="T82" fmla="*/ 54 w 168"/>
              <a:gd name="T83" fmla="*/ 82 h 206"/>
              <a:gd name="T84" fmla="*/ 26 w 168"/>
              <a:gd name="T85" fmla="*/ 150 h 206"/>
              <a:gd name="T86" fmla="*/ 26 w 168"/>
              <a:gd name="T87" fmla="*/ 126 h 206"/>
              <a:gd name="T88" fmla="*/ 38 w 168"/>
              <a:gd name="T89" fmla="*/ 116 h 206"/>
              <a:gd name="T90" fmla="*/ 46 w 168"/>
              <a:gd name="T91" fmla="*/ 126 h 206"/>
              <a:gd name="T92" fmla="*/ 46 w 168"/>
              <a:gd name="T93" fmla="*/ 150 h 206"/>
              <a:gd name="T94" fmla="*/ 34 w 168"/>
              <a:gd name="T95" fmla="*/ 160 h 206"/>
              <a:gd name="T96" fmla="*/ 26 w 168"/>
              <a:gd name="T97" fmla="*/ 152 h 206"/>
              <a:gd name="T98" fmla="*/ 112 w 168"/>
              <a:gd name="T99" fmla="*/ 198 h 206"/>
              <a:gd name="T100" fmla="*/ 94 w 168"/>
              <a:gd name="T101" fmla="*/ 190 h 206"/>
              <a:gd name="T102" fmla="*/ 82 w 168"/>
              <a:gd name="T103" fmla="*/ 178 h 206"/>
              <a:gd name="T104" fmla="*/ 98 w 168"/>
              <a:gd name="T105" fmla="*/ 176 h 206"/>
              <a:gd name="T106" fmla="*/ 120 w 168"/>
              <a:gd name="T107" fmla="*/ 176 h 206"/>
              <a:gd name="T108" fmla="*/ 124 w 168"/>
              <a:gd name="T109" fmla="*/ 182 h 206"/>
              <a:gd name="T110" fmla="*/ 120 w 168"/>
              <a:gd name="T111" fmla="*/ 198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8" h="206">
                <a:moveTo>
                  <a:pt x="86" y="64"/>
                </a:moveTo>
                <a:lnTo>
                  <a:pt x="90" y="64"/>
                </a:lnTo>
                <a:lnTo>
                  <a:pt x="94" y="64"/>
                </a:lnTo>
                <a:lnTo>
                  <a:pt x="94" y="68"/>
                </a:lnTo>
                <a:lnTo>
                  <a:pt x="98" y="68"/>
                </a:lnTo>
                <a:lnTo>
                  <a:pt x="98" y="72"/>
                </a:lnTo>
                <a:lnTo>
                  <a:pt x="102" y="72"/>
                </a:lnTo>
                <a:lnTo>
                  <a:pt x="102" y="76"/>
                </a:lnTo>
                <a:lnTo>
                  <a:pt x="106" y="80"/>
                </a:lnTo>
                <a:lnTo>
                  <a:pt x="106" y="82"/>
                </a:lnTo>
                <a:lnTo>
                  <a:pt x="106" y="86"/>
                </a:lnTo>
                <a:lnTo>
                  <a:pt x="106" y="90"/>
                </a:lnTo>
                <a:lnTo>
                  <a:pt x="110" y="90"/>
                </a:lnTo>
                <a:lnTo>
                  <a:pt x="112" y="96"/>
                </a:lnTo>
                <a:lnTo>
                  <a:pt x="116" y="96"/>
                </a:lnTo>
                <a:lnTo>
                  <a:pt x="116" y="100"/>
                </a:lnTo>
                <a:lnTo>
                  <a:pt x="120" y="100"/>
                </a:lnTo>
                <a:lnTo>
                  <a:pt x="124" y="100"/>
                </a:lnTo>
                <a:lnTo>
                  <a:pt x="124" y="104"/>
                </a:lnTo>
                <a:lnTo>
                  <a:pt x="128" y="100"/>
                </a:lnTo>
                <a:lnTo>
                  <a:pt x="132" y="100"/>
                </a:lnTo>
                <a:lnTo>
                  <a:pt x="136" y="100"/>
                </a:lnTo>
                <a:lnTo>
                  <a:pt x="136" y="104"/>
                </a:lnTo>
                <a:lnTo>
                  <a:pt x="136" y="108"/>
                </a:lnTo>
                <a:lnTo>
                  <a:pt x="132" y="108"/>
                </a:lnTo>
                <a:lnTo>
                  <a:pt x="132" y="112"/>
                </a:lnTo>
                <a:lnTo>
                  <a:pt x="136" y="112"/>
                </a:lnTo>
                <a:lnTo>
                  <a:pt x="142" y="116"/>
                </a:lnTo>
                <a:lnTo>
                  <a:pt x="146" y="116"/>
                </a:lnTo>
                <a:lnTo>
                  <a:pt x="150" y="120"/>
                </a:lnTo>
                <a:lnTo>
                  <a:pt x="154" y="120"/>
                </a:lnTo>
                <a:lnTo>
                  <a:pt x="154" y="122"/>
                </a:lnTo>
                <a:lnTo>
                  <a:pt x="158" y="126"/>
                </a:lnTo>
                <a:lnTo>
                  <a:pt x="162" y="126"/>
                </a:lnTo>
                <a:lnTo>
                  <a:pt x="162" y="130"/>
                </a:lnTo>
                <a:lnTo>
                  <a:pt x="166" y="130"/>
                </a:lnTo>
                <a:lnTo>
                  <a:pt x="168" y="134"/>
                </a:lnTo>
                <a:lnTo>
                  <a:pt x="168" y="138"/>
                </a:lnTo>
                <a:lnTo>
                  <a:pt x="168" y="142"/>
                </a:lnTo>
                <a:lnTo>
                  <a:pt x="168" y="146"/>
                </a:lnTo>
                <a:lnTo>
                  <a:pt x="168" y="142"/>
                </a:lnTo>
                <a:lnTo>
                  <a:pt x="166" y="142"/>
                </a:lnTo>
                <a:lnTo>
                  <a:pt x="162" y="142"/>
                </a:lnTo>
                <a:lnTo>
                  <a:pt x="162" y="138"/>
                </a:lnTo>
                <a:lnTo>
                  <a:pt x="162" y="134"/>
                </a:lnTo>
                <a:lnTo>
                  <a:pt x="158" y="134"/>
                </a:lnTo>
                <a:lnTo>
                  <a:pt x="154" y="134"/>
                </a:lnTo>
                <a:lnTo>
                  <a:pt x="150" y="130"/>
                </a:lnTo>
                <a:lnTo>
                  <a:pt x="154" y="130"/>
                </a:lnTo>
                <a:lnTo>
                  <a:pt x="150" y="130"/>
                </a:lnTo>
                <a:lnTo>
                  <a:pt x="146" y="130"/>
                </a:lnTo>
                <a:lnTo>
                  <a:pt x="146" y="134"/>
                </a:lnTo>
                <a:lnTo>
                  <a:pt x="142" y="138"/>
                </a:lnTo>
                <a:lnTo>
                  <a:pt x="142" y="142"/>
                </a:lnTo>
                <a:lnTo>
                  <a:pt x="142" y="146"/>
                </a:lnTo>
                <a:lnTo>
                  <a:pt x="146" y="146"/>
                </a:lnTo>
                <a:lnTo>
                  <a:pt x="146" y="150"/>
                </a:lnTo>
                <a:lnTo>
                  <a:pt x="150" y="150"/>
                </a:lnTo>
                <a:lnTo>
                  <a:pt x="150" y="152"/>
                </a:lnTo>
                <a:lnTo>
                  <a:pt x="150" y="156"/>
                </a:lnTo>
                <a:lnTo>
                  <a:pt x="150" y="160"/>
                </a:lnTo>
                <a:lnTo>
                  <a:pt x="146" y="160"/>
                </a:lnTo>
                <a:lnTo>
                  <a:pt x="142" y="160"/>
                </a:lnTo>
                <a:lnTo>
                  <a:pt x="142" y="164"/>
                </a:lnTo>
                <a:lnTo>
                  <a:pt x="142" y="168"/>
                </a:lnTo>
                <a:lnTo>
                  <a:pt x="142" y="172"/>
                </a:lnTo>
                <a:lnTo>
                  <a:pt x="138" y="172"/>
                </a:lnTo>
                <a:lnTo>
                  <a:pt x="136" y="176"/>
                </a:lnTo>
                <a:lnTo>
                  <a:pt x="136" y="178"/>
                </a:lnTo>
                <a:lnTo>
                  <a:pt x="132" y="178"/>
                </a:lnTo>
                <a:lnTo>
                  <a:pt x="128" y="178"/>
                </a:lnTo>
                <a:lnTo>
                  <a:pt x="128" y="176"/>
                </a:lnTo>
                <a:lnTo>
                  <a:pt x="132" y="172"/>
                </a:lnTo>
                <a:lnTo>
                  <a:pt x="132" y="168"/>
                </a:lnTo>
                <a:lnTo>
                  <a:pt x="132" y="164"/>
                </a:lnTo>
                <a:lnTo>
                  <a:pt x="136" y="164"/>
                </a:lnTo>
                <a:lnTo>
                  <a:pt x="138" y="164"/>
                </a:lnTo>
                <a:lnTo>
                  <a:pt x="138" y="160"/>
                </a:lnTo>
                <a:lnTo>
                  <a:pt x="136" y="160"/>
                </a:lnTo>
                <a:lnTo>
                  <a:pt x="136" y="156"/>
                </a:lnTo>
                <a:lnTo>
                  <a:pt x="136" y="152"/>
                </a:lnTo>
                <a:lnTo>
                  <a:pt x="136" y="150"/>
                </a:lnTo>
                <a:lnTo>
                  <a:pt x="132" y="150"/>
                </a:lnTo>
                <a:lnTo>
                  <a:pt x="132" y="146"/>
                </a:lnTo>
                <a:lnTo>
                  <a:pt x="132" y="142"/>
                </a:lnTo>
                <a:lnTo>
                  <a:pt x="128" y="138"/>
                </a:lnTo>
                <a:lnTo>
                  <a:pt x="124" y="138"/>
                </a:lnTo>
                <a:lnTo>
                  <a:pt x="120" y="138"/>
                </a:lnTo>
                <a:lnTo>
                  <a:pt x="120" y="134"/>
                </a:lnTo>
                <a:lnTo>
                  <a:pt x="120" y="130"/>
                </a:lnTo>
                <a:lnTo>
                  <a:pt x="116" y="126"/>
                </a:lnTo>
                <a:lnTo>
                  <a:pt x="112" y="126"/>
                </a:lnTo>
                <a:lnTo>
                  <a:pt x="110" y="122"/>
                </a:lnTo>
                <a:lnTo>
                  <a:pt x="106" y="122"/>
                </a:lnTo>
                <a:lnTo>
                  <a:pt x="106" y="120"/>
                </a:lnTo>
                <a:lnTo>
                  <a:pt x="106" y="116"/>
                </a:lnTo>
                <a:lnTo>
                  <a:pt x="102" y="116"/>
                </a:lnTo>
                <a:lnTo>
                  <a:pt x="98" y="116"/>
                </a:lnTo>
                <a:lnTo>
                  <a:pt x="94" y="116"/>
                </a:lnTo>
                <a:lnTo>
                  <a:pt x="90" y="116"/>
                </a:lnTo>
                <a:lnTo>
                  <a:pt x="90" y="112"/>
                </a:lnTo>
                <a:lnTo>
                  <a:pt x="86" y="112"/>
                </a:lnTo>
                <a:lnTo>
                  <a:pt x="86" y="108"/>
                </a:lnTo>
                <a:lnTo>
                  <a:pt x="82" y="108"/>
                </a:lnTo>
                <a:lnTo>
                  <a:pt x="80" y="104"/>
                </a:lnTo>
                <a:lnTo>
                  <a:pt x="80" y="100"/>
                </a:lnTo>
                <a:lnTo>
                  <a:pt x="76" y="100"/>
                </a:lnTo>
                <a:lnTo>
                  <a:pt x="76" y="96"/>
                </a:lnTo>
                <a:lnTo>
                  <a:pt x="72" y="96"/>
                </a:lnTo>
                <a:lnTo>
                  <a:pt x="72" y="94"/>
                </a:lnTo>
                <a:lnTo>
                  <a:pt x="68" y="94"/>
                </a:lnTo>
                <a:lnTo>
                  <a:pt x="64" y="94"/>
                </a:lnTo>
                <a:lnTo>
                  <a:pt x="64" y="90"/>
                </a:lnTo>
                <a:lnTo>
                  <a:pt x="64" y="86"/>
                </a:lnTo>
                <a:lnTo>
                  <a:pt x="60" y="86"/>
                </a:lnTo>
                <a:lnTo>
                  <a:pt x="60" y="82"/>
                </a:lnTo>
                <a:lnTo>
                  <a:pt x="56" y="82"/>
                </a:lnTo>
                <a:lnTo>
                  <a:pt x="56" y="80"/>
                </a:lnTo>
                <a:lnTo>
                  <a:pt x="56" y="76"/>
                </a:lnTo>
                <a:lnTo>
                  <a:pt x="54" y="72"/>
                </a:lnTo>
                <a:lnTo>
                  <a:pt x="54" y="68"/>
                </a:lnTo>
                <a:lnTo>
                  <a:pt x="54" y="64"/>
                </a:lnTo>
                <a:lnTo>
                  <a:pt x="50" y="60"/>
                </a:lnTo>
                <a:lnTo>
                  <a:pt x="46" y="60"/>
                </a:lnTo>
                <a:lnTo>
                  <a:pt x="42" y="56"/>
                </a:lnTo>
                <a:lnTo>
                  <a:pt x="38" y="56"/>
                </a:lnTo>
                <a:lnTo>
                  <a:pt x="30" y="52"/>
                </a:lnTo>
                <a:lnTo>
                  <a:pt x="26" y="56"/>
                </a:lnTo>
                <a:lnTo>
                  <a:pt x="26" y="60"/>
                </a:lnTo>
                <a:lnTo>
                  <a:pt x="24" y="60"/>
                </a:lnTo>
                <a:lnTo>
                  <a:pt x="24" y="64"/>
                </a:lnTo>
                <a:lnTo>
                  <a:pt x="20" y="64"/>
                </a:lnTo>
                <a:lnTo>
                  <a:pt x="16" y="64"/>
                </a:lnTo>
                <a:lnTo>
                  <a:pt x="16" y="68"/>
                </a:lnTo>
                <a:lnTo>
                  <a:pt x="16" y="64"/>
                </a:lnTo>
                <a:lnTo>
                  <a:pt x="12" y="64"/>
                </a:lnTo>
                <a:lnTo>
                  <a:pt x="16" y="64"/>
                </a:lnTo>
                <a:lnTo>
                  <a:pt x="16" y="60"/>
                </a:lnTo>
                <a:lnTo>
                  <a:pt x="16" y="56"/>
                </a:lnTo>
                <a:lnTo>
                  <a:pt x="16" y="60"/>
                </a:lnTo>
                <a:lnTo>
                  <a:pt x="12" y="60"/>
                </a:lnTo>
                <a:lnTo>
                  <a:pt x="8" y="56"/>
                </a:lnTo>
                <a:lnTo>
                  <a:pt x="4" y="56"/>
                </a:lnTo>
                <a:lnTo>
                  <a:pt x="4" y="52"/>
                </a:lnTo>
                <a:lnTo>
                  <a:pt x="4" y="50"/>
                </a:lnTo>
                <a:lnTo>
                  <a:pt x="8" y="46"/>
                </a:lnTo>
                <a:lnTo>
                  <a:pt x="4" y="46"/>
                </a:lnTo>
                <a:lnTo>
                  <a:pt x="0" y="42"/>
                </a:lnTo>
                <a:lnTo>
                  <a:pt x="0" y="38"/>
                </a:lnTo>
                <a:lnTo>
                  <a:pt x="4" y="38"/>
                </a:lnTo>
                <a:lnTo>
                  <a:pt x="8" y="38"/>
                </a:lnTo>
                <a:lnTo>
                  <a:pt x="8" y="34"/>
                </a:lnTo>
                <a:lnTo>
                  <a:pt x="8" y="30"/>
                </a:lnTo>
                <a:lnTo>
                  <a:pt x="4" y="30"/>
                </a:lnTo>
                <a:lnTo>
                  <a:pt x="4" y="26"/>
                </a:lnTo>
                <a:lnTo>
                  <a:pt x="4" y="24"/>
                </a:lnTo>
                <a:lnTo>
                  <a:pt x="8" y="24"/>
                </a:lnTo>
                <a:lnTo>
                  <a:pt x="12" y="24"/>
                </a:lnTo>
                <a:lnTo>
                  <a:pt x="16" y="24"/>
                </a:lnTo>
                <a:lnTo>
                  <a:pt x="20" y="24"/>
                </a:lnTo>
                <a:lnTo>
                  <a:pt x="24" y="20"/>
                </a:lnTo>
                <a:lnTo>
                  <a:pt x="24" y="16"/>
                </a:lnTo>
                <a:lnTo>
                  <a:pt x="26" y="12"/>
                </a:lnTo>
                <a:lnTo>
                  <a:pt x="26" y="16"/>
                </a:lnTo>
                <a:lnTo>
                  <a:pt x="30" y="20"/>
                </a:lnTo>
                <a:lnTo>
                  <a:pt x="34" y="20"/>
                </a:lnTo>
                <a:lnTo>
                  <a:pt x="30" y="24"/>
                </a:lnTo>
                <a:lnTo>
                  <a:pt x="34" y="24"/>
                </a:lnTo>
                <a:lnTo>
                  <a:pt x="34" y="26"/>
                </a:lnTo>
                <a:lnTo>
                  <a:pt x="34" y="24"/>
                </a:lnTo>
                <a:lnTo>
                  <a:pt x="34" y="20"/>
                </a:lnTo>
                <a:lnTo>
                  <a:pt x="38" y="20"/>
                </a:lnTo>
                <a:lnTo>
                  <a:pt x="38" y="16"/>
                </a:lnTo>
                <a:lnTo>
                  <a:pt x="38" y="12"/>
                </a:lnTo>
                <a:lnTo>
                  <a:pt x="42" y="12"/>
                </a:lnTo>
                <a:lnTo>
                  <a:pt x="42" y="16"/>
                </a:lnTo>
                <a:lnTo>
                  <a:pt x="46" y="16"/>
                </a:lnTo>
                <a:lnTo>
                  <a:pt x="50" y="16"/>
                </a:lnTo>
                <a:lnTo>
                  <a:pt x="54" y="16"/>
                </a:lnTo>
                <a:lnTo>
                  <a:pt x="50" y="12"/>
                </a:lnTo>
                <a:lnTo>
                  <a:pt x="50" y="8"/>
                </a:lnTo>
                <a:lnTo>
                  <a:pt x="54" y="8"/>
                </a:lnTo>
                <a:lnTo>
                  <a:pt x="54" y="12"/>
                </a:lnTo>
                <a:lnTo>
                  <a:pt x="56" y="12"/>
                </a:lnTo>
                <a:lnTo>
                  <a:pt x="56" y="8"/>
                </a:lnTo>
                <a:lnTo>
                  <a:pt x="56" y="4"/>
                </a:lnTo>
                <a:lnTo>
                  <a:pt x="60" y="4"/>
                </a:lnTo>
                <a:lnTo>
                  <a:pt x="60" y="8"/>
                </a:lnTo>
                <a:lnTo>
                  <a:pt x="64" y="4"/>
                </a:lnTo>
                <a:lnTo>
                  <a:pt x="64" y="0"/>
                </a:lnTo>
                <a:lnTo>
                  <a:pt x="72" y="0"/>
                </a:lnTo>
                <a:lnTo>
                  <a:pt x="76" y="0"/>
                </a:lnTo>
                <a:lnTo>
                  <a:pt x="80" y="0"/>
                </a:lnTo>
                <a:lnTo>
                  <a:pt x="80" y="4"/>
                </a:lnTo>
                <a:lnTo>
                  <a:pt x="82" y="4"/>
                </a:lnTo>
                <a:lnTo>
                  <a:pt x="82" y="8"/>
                </a:lnTo>
                <a:lnTo>
                  <a:pt x="86" y="8"/>
                </a:lnTo>
                <a:lnTo>
                  <a:pt x="90" y="8"/>
                </a:lnTo>
                <a:lnTo>
                  <a:pt x="94" y="12"/>
                </a:lnTo>
                <a:lnTo>
                  <a:pt x="98" y="12"/>
                </a:lnTo>
                <a:lnTo>
                  <a:pt x="102" y="12"/>
                </a:lnTo>
                <a:lnTo>
                  <a:pt x="98" y="16"/>
                </a:lnTo>
                <a:lnTo>
                  <a:pt x="98" y="20"/>
                </a:lnTo>
                <a:lnTo>
                  <a:pt x="98" y="16"/>
                </a:lnTo>
                <a:lnTo>
                  <a:pt x="98" y="20"/>
                </a:lnTo>
                <a:lnTo>
                  <a:pt x="102" y="20"/>
                </a:lnTo>
                <a:lnTo>
                  <a:pt x="98" y="20"/>
                </a:lnTo>
                <a:lnTo>
                  <a:pt x="98" y="24"/>
                </a:lnTo>
                <a:lnTo>
                  <a:pt x="102" y="24"/>
                </a:lnTo>
                <a:lnTo>
                  <a:pt x="102" y="26"/>
                </a:lnTo>
                <a:lnTo>
                  <a:pt x="106" y="26"/>
                </a:lnTo>
                <a:lnTo>
                  <a:pt x="106" y="30"/>
                </a:lnTo>
                <a:lnTo>
                  <a:pt x="102" y="30"/>
                </a:lnTo>
                <a:lnTo>
                  <a:pt x="102" y="26"/>
                </a:lnTo>
                <a:lnTo>
                  <a:pt x="98" y="26"/>
                </a:lnTo>
                <a:lnTo>
                  <a:pt x="94" y="26"/>
                </a:lnTo>
                <a:lnTo>
                  <a:pt x="94" y="30"/>
                </a:lnTo>
                <a:lnTo>
                  <a:pt x="90" y="30"/>
                </a:lnTo>
                <a:lnTo>
                  <a:pt x="86" y="30"/>
                </a:lnTo>
                <a:lnTo>
                  <a:pt x="82" y="34"/>
                </a:lnTo>
                <a:lnTo>
                  <a:pt x="82" y="30"/>
                </a:lnTo>
                <a:lnTo>
                  <a:pt x="86" y="30"/>
                </a:lnTo>
                <a:lnTo>
                  <a:pt x="82" y="30"/>
                </a:lnTo>
                <a:lnTo>
                  <a:pt x="82" y="34"/>
                </a:lnTo>
                <a:lnTo>
                  <a:pt x="80" y="34"/>
                </a:lnTo>
                <a:lnTo>
                  <a:pt x="80" y="38"/>
                </a:lnTo>
                <a:lnTo>
                  <a:pt x="82" y="42"/>
                </a:lnTo>
                <a:lnTo>
                  <a:pt x="86" y="42"/>
                </a:lnTo>
                <a:lnTo>
                  <a:pt x="82" y="46"/>
                </a:lnTo>
                <a:lnTo>
                  <a:pt x="80" y="50"/>
                </a:lnTo>
                <a:lnTo>
                  <a:pt x="82" y="52"/>
                </a:lnTo>
                <a:lnTo>
                  <a:pt x="82" y="56"/>
                </a:lnTo>
                <a:lnTo>
                  <a:pt x="82" y="60"/>
                </a:lnTo>
                <a:lnTo>
                  <a:pt x="86" y="60"/>
                </a:lnTo>
                <a:lnTo>
                  <a:pt x="86" y="64"/>
                </a:lnTo>
                <a:lnTo>
                  <a:pt x="86" y="64"/>
                </a:lnTo>
                <a:lnTo>
                  <a:pt x="86" y="64"/>
                </a:lnTo>
                <a:close/>
                <a:moveTo>
                  <a:pt x="82" y="100"/>
                </a:moveTo>
                <a:lnTo>
                  <a:pt x="82" y="104"/>
                </a:lnTo>
                <a:lnTo>
                  <a:pt x="82" y="100"/>
                </a:lnTo>
                <a:lnTo>
                  <a:pt x="82" y="100"/>
                </a:lnTo>
                <a:lnTo>
                  <a:pt x="82" y="100"/>
                </a:lnTo>
                <a:close/>
                <a:moveTo>
                  <a:pt x="82" y="64"/>
                </a:moveTo>
                <a:lnTo>
                  <a:pt x="82" y="60"/>
                </a:lnTo>
                <a:lnTo>
                  <a:pt x="82" y="64"/>
                </a:lnTo>
                <a:lnTo>
                  <a:pt x="82" y="64"/>
                </a:lnTo>
                <a:lnTo>
                  <a:pt x="82" y="64"/>
                </a:lnTo>
                <a:close/>
                <a:moveTo>
                  <a:pt x="56" y="86"/>
                </a:moveTo>
                <a:lnTo>
                  <a:pt x="54" y="86"/>
                </a:lnTo>
                <a:lnTo>
                  <a:pt x="50" y="86"/>
                </a:lnTo>
                <a:lnTo>
                  <a:pt x="54" y="86"/>
                </a:lnTo>
                <a:lnTo>
                  <a:pt x="54" y="82"/>
                </a:lnTo>
                <a:lnTo>
                  <a:pt x="56" y="82"/>
                </a:lnTo>
                <a:lnTo>
                  <a:pt x="56" y="86"/>
                </a:lnTo>
                <a:lnTo>
                  <a:pt x="56" y="86"/>
                </a:lnTo>
                <a:lnTo>
                  <a:pt x="56" y="86"/>
                </a:lnTo>
                <a:close/>
                <a:moveTo>
                  <a:pt x="26" y="152"/>
                </a:moveTo>
                <a:lnTo>
                  <a:pt x="26" y="150"/>
                </a:lnTo>
                <a:lnTo>
                  <a:pt x="26" y="146"/>
                </a:lnTo>
                <a:lnTo>
                  <a:pt x="26" y="142"/>
                </a:lnTo>
                <a:lnTo>
                  <a:pt x="26" y="138"/>
                </a:lnTo>
                <a:lnTo>
                  <a:pt x="26" y="134"/>
                </a:lnTo>
                <a:lnTo>
                  <a:pt x="26" y="130"/>
                </a:lnTo>
                <a:lnTo>
                  <a:pt x="26" y="126"/>
                </a:lnTo>
                <a:lnTo>
                  <a:pt x="24" y="126"/>
                </a:lnTo>
                <a:lnTo>
                  <a:pt x="24" y="122"/>
                </a:lnTo>
                <a:lnTo>
                  <a:pt x="26" y="122"/>
                </a:lnTo>
                <a:lnTo>
                  <a:pt x="30" y="122"/>
                </a:lnTo>
                <a:lnTo>
                  <a:pt x="34" y="120"/>
                </a:lnTo>
                <a:lnTo>
                  <a:pt x="38" y="116"/>
                </a:lnTo>
                <a:lnTo>
                  <a:pt x="42" y="116"/>
                </a:lnTo>
                <a:lnTo>
                  <a:pt x="42" y="120"/>
                </a:lnTo>
                <a:lnTo>
                  <a:pt x="46" y="120"/>
                </a:lnTo>
                <a:lnTo>
                  <a:pt x="42" y="122"/>
                </a:lnTo>
                <a:lnTo>
                  <a:pt x="46" y="122"/>
                </a:lnTo>
                <a:lnTo>
                  <a:pt x="46" y="126"/>
                </a:lnTo>
                <a:lnTo>
                  <a:pt x="46" y="130"/>
                </a:lnTo>
                <a:lnTo>
                  <a:pt x="46" y="134"/>
                </a:lnTo>
                <a:lnTo>
                  <a:pt x="46" y="138"/>
                </a:lnTo>
                <a:lnTo>
                  <a:pt x="46" y="142"/>
                </a:lnTo>
                <a:lnTo>
                  <a:pt x="46" y="146"/>
                </a:lnTo>
                <a:lnTo>
                  <a:pt x="46" y="150"/>
                </a:lnTo>
                <a:lnTo>
                  <a:pt x="42" y="152"/>
                </a:lnTo>
                <a:lnTo>
                  <a:pt x="42" y="156"/>
                </a:lnTo>
                <a:lnTo>
                  <a:pt x="38" y="156"/>
                </a:lnTo>
                <a:lnTo>
                  <a:pt x="34" y="152"/>
                </a:lnTo>
                <a:lnTo>
                  <a:pt x="34" y="156"/>
                </a:lnTo>
                <a:lnTo>
                  <a:pt x="34" y="160"/>
                </a:lnTo>
                <a:lnTo>
                  <a:pt x="30" y="160"/>
                </a:lnTo>
                <a:lnTo>
                  <a:pt x="26" y="156"/>
                </a:lnTo>
                <a:lnTo>
                  <a:pt x="26" y="160"/>
                </a:lnTo>
                <a:lnTo>
                  <a:pt x="26" y="156"/>
                </a:lnTo>
                <a:lnTo>
                  <a:pt x="26" y="152"/>
                </a:lnTo>
                <a:lnTo>
                  <a:pt x="26" y="152"/>
                </a:lnTo>
                <a:lnTo>
                  <a:pt x="26" y="152"/>
                </a:lnTo>
                <a:close/>
                <a:moveTo>
                  <a:pt x="120" y="206"/>
                </a:moveTo>
                <a:lnTo>
                  <a:pt x="120" y="202"/>
                </a:lnTo>
                <a:lnTo>
                  <a:pt x="116" y="202"/>
                </a:lnTo>
                <a:lnTo>
                  <a:pt x="112" y="202"/>
                </a:lnTo>
                <a:lnTo>
                  <a:pt x="112" y="198"/>
                </a:lnTo>
                <a:lnTo>
                  <a:pt x="110" y="198"/>
                </a:lnTo>
                <a:lnTo>
                  <a:pt x="110" y="194"/>
                </a:lnTo>
                <a:lnTo>
                  <a:pt x="106" y="194"/>
                </a:lnTo>
                <a:lnTo>
                  <a:pt x="102" y="194"/>
                </a:lnTo>
                <a:lnTo>
                  <a:pt x="98" y="190"/>
                </a:lnTo>
                <a:lnTo>
                  <a:pt x="94" y="190"/>
                </a:lnTo>
                <a:lnTo>
                  <a:pt x="94" y="186"/>
                </a:lnTo>
                <a:lnTo>
                  <a:pt x="90" y="186"/>
                </a:lnTo>
                <a:lnTo>
                  <a:pt x="86" y="186"/>
                </a:lnTo>
                <a:lnTo>
                  <a:pt x="82" y="186"/>
                </a:lnTo>
                <a:lnTo>
                  <a:pt x="82" y="182"/>
                </a:lnTo>
                <a:lnTo>
                  <a:pt x="82" y="178"/>
                </a:lnTo>
                <a:lnTo>
                  <a:pt x="86" y="176"/>
                </a:lnTo>
                <a:lnTo>
                  <a:pt x="90" y="176"/>
                </a:lnTo>
                <a:lnTo>
                  <a:pt x="90" y="178"/>
                </a:lnTo>
                <a:lnTo>
                  <a:pt x="90" y="176"/>
                </a:lnTo>
                <a:lnTo>
                  <a:pt x="94" y="176"/>
                </a:lnTo>
                <a:lnTo>
                  <a:pt x="98" y="176"/>
                </a:lnTo>
                <a:lnTo>
                  <a:pt x="102" y="178"/>
                </a:lnTo>
                <a:lnTo>
                  <a:pt x="106" y="178"/>
                </a:lnTo>
                <a:lnTo>
                  <a:pt x="110" y="178"/>
                </a:lnTo>
                <a:lnTo>
                  <a:pt x="112" y="178"/>
                </a:lnTo>
                <a:lnTo>
                  <a:pt x="116" y="176"/>
                </a:lnTo>
                <a:lnTo>
                  <a:pt x="120" y="176"/>
                </a:lnTo>
                <a:lnTo>
                  <a:pt x="124" y="176"/>
                </a:lnTo>
                <a:lnTo>
                  <a:pt x="128" y="172"/>
                </a:lnTo>
                <a:lnTo>
                  <a:pt x="128" y="176"/>
                </a:lnTo>
                <a:lnTo>
                  <a:pt x="128" y="178"/>
                </a:lnTo>
                <a:lnTo>
                  <a:pt x="124" y="178"/>
                </a:lnTo>
                <a:lnTo>
                  <a:pt x="124" y="182"/>
                </a:lnTo>
                <a:lnTo>
                  <a:pt x="124" y="186"/>
                </a:lnTo>
                <a:lnTo>
                  <a:pt x="120" y="186"/>
                </a:lnTo>
                <a:lnTo>
                  <a:pt x="120" y="190"/>
                </a:lnTo>
                <a:lnTo>
                  <a:pt x="124" y="194"/>
                </a:lnTo>
                <a:lnTo>
                  <a:pt x="124" y="198"/>
                </a:lnTo>
                <a:lnTo>
                  <a:pt x="120" y="198"/>
                </a:lnTo>
                <a:lnTo>
                  <a:pt x="120" y="202"/>
                </a:lnTo>
                <a:lnTo>
                  <a:pt x="120" y="206"/>
                </a:lnTo>
                <a:lnTo>
                  <a:pt x="120" y="206"/>
                </a:lnTo>
                <a:lnTo>
                  <a:pt x="120" y="206"/>
                </a:lnTo>
                <a:close/>
              </a:path>
            </a:pathLst>
          </a:custGeom>
          <a:solidFill>
            <a:srgbClr val="A0DCFF"/>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02" name="Freeform 109"/>
          <p:cNvSpPr>
            <a:spLocks/>
          </p:cNvSpPr>
          <p:nvPr/>
        </p:nvSpPr>
        <p:spPr bwMode="auto">
          <a:xfrm>
            <a:off x="4102894" y="2031206"/>
            <a:ext cx="21431" cy="9525"/>
          </a:xfrm>
          <a:custGeom>
            <a:avLst/>
            <a:gdLst>
              <a:gd name="T0" fmla="*/ 2 w 18"/>
              <a:gd name="T1" fmla="*/ 8 h 8"/>
              <a:gd name="T2" fmla="*/ 2 w 18"/>
              <a:gd name="T3" fmla="*/ 8 h 8"/>
              <a:gd name="T4" fmla="*/ 2 w 18"/>
              <a:gd name="T5" fmla="*/ 8 h 8"/>
              <a:gd name="T6" fmla="*/ 0 w 18"/>
              <a:gd name="T7" fmla="*/ 8 h 8"/>
              <a:gd name="T8" fmla="*/ 0 w 18"/>
              <a:gd name="T9" fmla="*/ 8 h 8"/>
              <a:gd name="T10" fmla="*/ 2 w 18"/>
              <a:gd name="T11" fmla="*/ 8 h 8"/>
              <a:gd name="T12" fmla="*/ 2 w 18"/>
              <a:gd name="T13" fmla="*/ 8 h 8"/>
              <a:gd name="T14" fmla="*/ 2 w 18"/>
              <a:gd name="T15" fmla="*/ 8 h 8"/>
              <a:gd name="T16" fmla="*/ 6 w 18"/>
              <a:gd name="T17" fmla="*/ 4 h 8"/>
              <a:gd name="T18" fmla="*/ 6 w 18"/>
              <a:gd name="T19" fmla="*/ 4 h 8"/>
              <a:gd name="T20" fmla="*/ 10 w 18"/>
              <a:gd name="T21" fmla="*/ 4 h 8"/>
              <a:gd name="T22" fmla="*/ 10 w 18"/>
              <a:gd name="T23" fmla="*/ 4 h 8"/>
              <a:gd name="T24" fmla="*/ 10 w 18"/>
              <a:gd name="T25" fmla="*/ 4 h 8"/>
              <a:gd name="T26" fmla="*/ 10 w 18"/>
              <a:gd name="T27" fmla="*/ 4 h 8"/>
              <a:gd name="T28" fmla="*/ 10 w 18"/>
              <a:gd name="T29" fmla="*/ 4 h 8"/>
              <a:gd name="T30" fmla="*/ 10 w 18"/>
              <a:gd name="T31" fmla="*/ 0 h 8"/>
              <a:gd name="T32" fmla="*/ 10 w 18"/>
              <a:gd name="T33" fmla="*/ 0 h 8"/>
              <a:gd name="T34" fmla="*/ 10 w 18"/>
              <a:gd name="T35" fmla="*/ 0 h 8"/>
              <a:gd name="T36" fmla="*/ 10 w 18"/>
              <a:gd name="T37" fmla="*/ 0 h 8"/>
              <a:gd name="T38" fmla="*/ 14 w 18"/>
              <a:gd name="T39" fmla="*/ 0 h 8"/>
              <a:gd name="T40" fmla="*/ 14 w 18"/>
              <a:gd name="T41" fmla="*/ 0 h 8"/>
              <a:gd name="T42" fmla="*/ 18 w 18"/>
              <a:gd name="T43" fmla="*/ 0 h 8"/>
              <a:gd name="T44" fmla="*/ 18 w 18"/>
              <a:gd name="T45" fmla="*/ 0 h 8"/>
              <a:gd name="T46" fmla="*/ 18 w 18"/>
              <a:gd name="T47" fmla="*/ 0 h 8"/>
              <a:gd name="T48" fmla="*/ 18 w 18"/>
              <a:gd name="T49" fmla="*/ 0 h 8"/>
              <a:gd name="T50" fmla="*/ 18 w 18"/>
              <a:gd name="T51" fmla="*/ 0 h 8"/>
              <a:gd name="T52" fmla="*/ 18 w 18"/>
              <a:gd name="T53" fmla="*/ 0 h 8"/>
              <a:gd name="T54" fmla="*/ 18 w 18"/>
              <a:gd name="T55" fmla="*/ 4 h 8"/>
              <a:gd name="T56" fmla="*/ 18 w 18"/>
              <a:gd name="T57" fmla="*/ 4 h 8"/>
              <a:gd name="T58" fmla="*/ 18 w 18"/>
              <a:gd name="T59" fmla="*/ 4 h 8"/>
              <a:gd name="T60" fmla="*/ 14 w 18"/>
              <a:gd name="T61" fmla="*/ 4 h 8"/>
              <a:gd name="T62" fmla="*/ 14 w 18"/>
              <a:gd name="T63" fmla="*/ 4 h 8"/>
              <a:gd name="T64" fmla="*/ 10 w 18"/>
              <a:gd name="T65" fmla="*/ 4 h 8"/>
              <a:gd name="T66" fmla="*/ 10 w 18"/>
              <a:gd name="T67" fmla="*/ 4 h 8"/>
              <a:gd name="T68" fmla="*/ 10 w 18"/>
              <a:gd name="T69" fmla="*/ 4 h 8"/>
              <a:gd name="T70" fmla="*/ 10 w 18"/>
              <a:gd name="T71" fmla="*/ 4 h 8"/>
              <a:gd name="T72" fmla="*/ 10 w 18"/>
              <a:gd name="T73" fmla="*/ 4 h 8"/>
              <a:gd name="T74" fmla="*/ 10 w 18"/>
              <a:gd name="T75" fmla="*/ 4 h 8"/>
              <a:gd name="T76" fmla="*/ 6 w 18"/>
              <a:gd name="T77" fmla="*/ 4 h 8"/>
              <a:gd name="T78" fmla="*/ 6 w 18"/>
              <a:gd name="T79" fmla="*/ 4 h 8"/>
              <a:gd name="T80" fmla="*/ 6 w 18"/>
              <a:gd name="T81" fmla="*/ 4 h 8"/>
              <a:gd name="T82" fmla="*/ 2 w 18"/>
              <a:gd name="T83" fmla="*/ 8 h 8"/>
              <a:gd name="T84" fmla="*/ 2 w 18"/>
              <a:gd name="T85" fmla="*/ 8 h 8"/>
              <a:gd name="T86" fmla="*/ 2 w 18"/>
              <a:gd name="T87" fmla="*/ 8 h 8"/>
              <a:gd name="T88" fmla="*/ 2 w 18"/>
              <a:gd name="T89" fmla="*/ 8 h 8"/>
              <a:gd name="T90" fmla="*/ 2 w 18"/>
              <a:gd name="T91" fmla="*/ 8 h 8"/>
              <a:gd name="T92" fmla="*/ 2 w 18"/>
              <a:gd name="T93" fmla="*/ 8 h 8"/>
              <a:gd name="T94" fmla="*/ 2 w 18"/>
              <a:gd name="T95" fmla="*/ 8 h 8"/>
              <a:gd name="T96" fmla="*/ 2 w 18"/>
              <a:gd name="T9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 h="8">
                <a:moveTo>
                  <a:pt x="2" y="8"/>
                </a:moveTo>
                <a:lnTo>
                  <a:pt x="2" y="8"/>
                </a:lnTo>
                <a:lnTo>
                  <a:pt x="2" y="8"/>
                </a:lnTo>
                <a:lnTo>
                  <a:pt x="0" y="8"/>
                </a:lnTo>
                <a:lnTo>
                  <a:pt x="0" y="8"/>
                </a:lnTo>
                <a:lnTo>
                  <a:pt x="2" y="8"/>
                </a:lnTo>
                <a:lnTo>
                  <a:pt x="2" y="8"/>
                </a:lnTo>
                <a:lnTo>
                  <a:pt x="2" y="8"/>
                </a:lnTo>
                <a:lnTo>
                  <a:pt x="6" y="4"/>
                </a:lnTo>
                <a:lnTo>
                  <a:pt x="6" y="4"/>
                </a:lnTo>
                <a:lnTo>
                  <a:pt x="10" y="4"/>
                </a:lnTo>
                <a:lnTo>
                  <a:pt x="10" y="4"/>
                </a:lnTo>
                <a:lnTo>
                  <a:pt x="10" y="4"/>
                </a:lnTo>
                <a:lnTo>
                  <a:pt x="10" y="4"/>
                </a:lnTo>
                <a:lnTo>
                  <a:pt x="10" y="4"/>
                </a:lnTo>
                <a:lnTo>
                  <a:pt x="10" y="0"/>
                </a:lnTo>
                <a:lnTo>
                  <a:pt x="10" y="0"/>
                </a:lnTo>
                <a:lnTo>
                  <a:pt x="10" y="0"/>
                </a:lnTo>
                <a:lnTo>
                  <a:pt x="10" y="0"/>
                </a:lnTo>
                <a:lnTo>
                  <a:pt x="14" y="0"/>
                </a:lnTo>
                <a:lnTo>
                  <a:pt x="14" y="0"/>
                </a:lnTo>
                <a:lnTo>
                  <a:pt x="18" y="0"/>
                </a:lnTo>
                <a:lnTo>
                  <a:pt x="18" y="0"/>
                </a:lnTo>
                <a:lnTo>
                  <a:pt x="18" y="0"/>
                </a:lnTo>
                <a:lnTo>
                  <a:pt x="18" y="0"/>
                </a:lnTo>
                <a:lnTo>
                  <a:pt x="18" y="0"/>
                </a:lnTo>
                <a:lnTo>
                  <a:pt x="18" y="0"/>
                </a:lnTo>
                <a:lnTo>
                  <a:pt x="18" y="4"/>
                </a:lnTo>
                <a:lnTo>
                  <a:pt x="18" y="4"/>
                </a:lnTo>
                <a:lnTo>
                  <a:pt x="18" y="4"/>
                </a:lnTo>
                <a:lnTo>
                  <a:pt x="14" y="4"/>
                </a:lnTo>
                <a:lnTo>
                  <a:pt x="14" y="4"/>
                </a:lnTo>
                <a:lnTo>
                  <a:pt x="10" y="4"/>
                </a:lnTo>
                <a:lnTo>
                  <a:pt x="10" y="4"/>
                </a:lnTo>
                <a:lnTo>
                  <a:pt x="10" y="4"/>
                </a:lnTo>
                <a:lnTo>
                  <a:pt x="10" y="4"/>
                </a:lnTo>
                <a:lnTo>
                  <a:pt x="10" y="4"/>
                </a:lnTo>
                <a:lnTo>
                  <a:pt x="10" y="4"/>
                </a:lnTo>
                <a:lnTo>
                  <a:pt x="6" y="4"/>
                </a:lnTo>
                <a:lnTo>
                  <a:pt x="6" y="4"/>
                </a:lnTo>
                <a:lnTo>
                  <a:pt x="6" y="4"/>
                </a:lnTo>
                <a:lnTo>
                  <a:pt x="2" y="8"/>
                </a:lnTo>
                <a:lnTo>
                  <a:pt x="2" y="8"/>
                </a:lnTo>
                <a:lnTo>
                  <a:pt x="2" y="8"/>
                </a:lnTo>
                <a:lnTo>
                  <a:pt x="2" y="8"/>
                </a:lnTo>
                <a:lnTo>
                  <a:pt x="2" y="8"/>
                </a:lnTo>
                <a:lnTo>
                  <a:pt x="2" y="8"/>
                </a:lnTo>
                <a:lnTo>
                  <a:pt x="2" y="8"/>
                </a:lnTo>
                <a:lnTo>
                  <a:pt x="2" y="8"/>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03" name="Freeform 110"/>
          <p:cNvSpPr>
            <a:spLocks/>
          </p:cNvSpPr>
          <p:nvPr/>
        </p:nvSpPr>
        <p:spPr bwMode="auto">
          <a:xfrm>
            <a:off x="4612481" y="2405062"/>
            <a:ext cx="119063" cy="61913"/>
          </a:xfrm>
          <a:custGeom>
            <a:avLst/>
            <a:gdLst>
              <a:gd name="T0" fmla="*/ 48 w 100"/>
              <a:gd name="T1" fmla="*/ 4 h 52"/>
              <a:gd name="T2" fmla="*/ 56 w 100"/>
              <a:gd name="T3" fmla="*/ 0 h 52"/>
              <a:gd name="T4" fmla="*/ 60 w 100"/>
              <a:gd name="T5" fmla="*/ 0 h 52"/>
              <a:gd name="T6" fmla="*/ 60 w 100"/>
              <a:gd name="T7" fmla="*/ 0 h 52"/>
              <a:gd name="T8" fmla="*/ 64 w 100"/>
              <a:gd name="T9" fmla="*/ 4 h 52"/>
              <a:gd name="T10" fmla="*/ 68 w 100"/>
              <a:gd name="T11" fmla="*/ 4 h 52"/>
              <a:gd name="T12" fmla="*/ 78 w 100"/>
              <a:gd name="T13" fmla="*/ 10 h 52"/>
              <a:gd name="T14" fmla="*/ 82 w 100"/>
              <a:gd name="T15" fmla="*/ 10 h 52"/>
              <a:gd name="T16" fmla="*/ 86 w 100"/>
              <a:gd name="T17" fmla="*/ 10 h 52"/>
              <a:gd name="T18" fmla="*/ 90 w 100"/>
              <a:gd name="T19" fmla="*/ 10 h 52"/>
              <a:gd name="T20" fmla="*/ 94 w 100"/>
              <a:gd name="T21" fmla="*/ 14 h 52"/>
              <a:gd name="T22" fmla="*/ 98 w 100"/>
              <a:gd name="T23" fmla="*/ 18 h 52"/>
              <a:gd name="T24" fmla="*/ 94 w 100"/>
              <a:gd name="T25" fmla="*/ 26 h 52"/>
              <a:gd name="T26" fmla="*/ 98 w 100"/>
              <a:gd name="T27" fmla="*/ 30 h 52"/>
              <a:gd name="T28" fmla="*/ 100 w 100"/>
              <a:gd name="T29" fmla="*/ 36 h 52"/>
              <a:gd name="T30" fmla="*/ 100 w 100"/>
              <a:gd name="T31" fmla="*/ 40 h 52"/>
              <a:gd name="T32" fmla="*/ 94 w 100"/>
              <a:gd name="T33" fmla="*/ 48 h 52"/>
              <a:gd name="T34" fmla="*/ 94 w 100"/>
              <a:gd name="T35" fmla="*/ 52 h 52"/>
              <a:gd name="T36" fmla="*/ 82 w 100"/>
              <a:gd name="T37" fmla="*/ 48 h 52"/>
              <a:gd name="T38" fmla="*/ 78 w 100"/>
              <a:gd name="T39" fmla="*/ 52 h 52"/>
              <a:gd name="T40" fmla="*/ 78 w 100"/>
              <a:gd name="T41" fmla="*/ 52 h 52"/>
              <a:gd name="T42" fmla="*/ 74 w 100"/>
              <a:gd name="T43" fmla="*/ 52 h 52"/>
              <a:gd name="T44" fmla="*/ 72 w 100"/>
              <a:gd name="T45" fmla="*/ 48 h 52"/>
              <a:gd name="T46" fmla="*/ 68 w 100"/>
              <a:gd name="T47" fmla="*/ 44 h 52"/>
              <a:gd name="T48" fmla="*/ 60 w 100"/>
              <a:gd name="T49" fmla="*/ 40 h 52"/>
              <a:gd name="T50" fmla="*/ 56 w 100"/>
              <a:gd name="T51" fmla="*/ 40 h 52"/>
              <a:gd name="T52" fmla="*/ 56 w 100"/>
              <a:gd name="T53" fmla="*/ 36 h 52"/>
              <a:gd name="T54" fmla="*/ 48 w 100"/>
              <a:gd name="T55" fmla="*/ 40 h 52"/>
              <a:gd name="T56" fmla="*/ 46 w 100"/>
              <a:gd name="T57" fmla="*/ 40 h 52"/>
              <a:gd name="T58" fmla="*/ 42 w 100"/>
              <a:gd name="T59" fmla="*/ 40 h 52"/>
              <a:gd name="T60" fmla="*/ 34 w 100"/>
              <a:gd name="T61" fmla="*/ 36 h 52"/>
              <a:gd name="T62" fmla="*/ 34 w 100"/>
              <a:gd name="T63" fmla="*/ 36 h 52"/>
              <a:gd name="T64" fmla="*/ 30 w 100"/>
              <a:gd name="T65" fmla="*/ 40 h 52"/>
              <a:gd name="T66" fmla="*/ 26 w 100"/>
              <a:gd name="T67" fmla="*/ 36 h 52"/>
              <a:gd name="T68" fmla="*/ 22 w 100"/>
              <a:gd name="T69" fmla="*/ 36 h 52"/>
              <a:gd name="T70" fmla="*/ 22 w 100"/>
              <a:gd name="T71" fmla="*/ 36 h 52"/>
              <a:gd name="T72" fmla="*/ 16 w 100"/>
              <a:gd name="T73" fmla="*/ 36 h 52"/>
              <a:gd name="T74" fmla="*/ 4 w 100"/>
              <a:gd name="T75" fmla="*/ 40 h 52"/>
              <a:gd name="T76" fmla="*/ 4 w 100"/>
              <a:gd name="T77" fmla="*/ 40 h 52"/>
              <a:gd name="T78" fmla="*/ 0 w 100"/>
              <a:gd name="T79" fmla="*/ 44 h 52"/>
              <a:gd name="T80" fmla="*/ 0 w 100"/>
              <a:gd name="T81" fmla="*/ 40 h 52"/>
              <a:gd name="T82" fmla="*/ 0 w 100"/>
              <a:gd name="T83" fmla="*/ 32 h 52"/>
              <a:gd name="T84" fmla="*/ 0 w 100"/>
              <a:gd name="T85" fmla="*/ 32 h 52"/>
              <a:gd name="T86" fmla="*/ 0 w 100"/>
              <a:gd name="T87" fmla="*/ 30 h 52"/>
              <a:gd name="T88" fmla="*/ 4 w 100"/>
              <a:gd name="T89" fmla="*/ 26 h 52"/>
              <a:gd name="T90" fmla="*/ 4 w 100"/>
              <a:gd name="T91" fmla="*/ 22 h 52"/>
              <a:gd name="T92" fmla="*/ 4 w 100"/>
              <a:gd name="T93" fmla="*/ 18 h 52"/>
              <a:gd name="T94" fmla="*/ 8 w 100"/>
              <a:gd name="T95" fmla="*/ 10 h 52"/>
              <a:gd name="T96" fmla="*/ 12 w 100"/>
              <a:gd name="T97" fmla="*/ 10 h 52"/>
              <a:gd name="T98" fmla="*/ 16 w 100"/>
              <a:gd name="T99" fmla="*/ 10 h 52"/>
              <a:gd name="T100" fmla="*/ 22 w 100"/>
              <a:gd name="T101" fmla="*/ 6 h 52"/>
              <a:gd name="T102" fmla="*/ 26 w 100"/>
              <a:gd name="T103" fmla="*/ 14 h 52"/>
              <a:gd name="T104" fmla="*/ 30 w 100"/>
              <a:gd name="T105" fmla="*/ 14 h 52"/>
              <a:gd name="T106" fmla="*/ 30 w 100"/>
              <a:gd name="T107" fmla="*/ 22 h 52"/>
              <a:gd name="T108" fmla="*/ 38 w 100"/>
              <a:gd name="T109" fmla="*/ 26 h 52"/>
              <a:gd name="T110" fmla="*/ 42 w 100"/>
              <a:gd name="T111" fmla="*/ 22 h 52"/>
              <a:gd name="T112" fmla="*/ 48 w 100"/>
              <a:gd name="T113" fmla="*/ 18 h 52"/>
              <a:gd name="T114" fmla="*/ 46 w 100"/>
              <a:gd name="T115" fmla="*/ 6 h 52"/>
              <a:gd name="T116" fmla="*/ 46 w 100"/>
              <a:gd name="T117" fmla="*/ 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0" h="52">
                <a:moveTo>
                  <a:pt x="46" y="4"/>
                </a:moveTo>
                <a:lnTo>
                  <a:pt x="46" y="4"/>
                </a:lnTo>
                <a:lnTo>
                  <a:pt x="46" y="4"/>
                </a:lnTo>
                <a:lnTo>
                  <a:pt x="48" y="4"/>
                </a:lnTo>
                <a:lnTo>
                  <a:pt x="48" y="4"/>
                </a:lnTo>
                <a:lnTo>
                  <a:pt x="48" y="4"/>
                </a:lnTo>
                <a:lnTo>
                  <a:pt x="48" y="4"/>
                </a:lnTo>
                <a:lnTo>
                  <a:pt x="52" y="4"/>
                </a:lnTo>
                <a:lnTo>
                  <a:pt x="56" y="0"/>
                </a:lnTo>
                <a:lnTo>
                  <a:pt x="56" y="0"/>
                </a:lnTo>
                <a:lnTo>
                  <a:pt x="56" y="0"/>
                </a:lnTo>
                <a:lnTo>
                  <a:pt x="56" y="0"/>
                </a:lnTo>
                <a:lnTo>
                  <a:pt x="56" y="0"/>
                </a:lnTo>
                <a:lnTo>
                  <a:pt x="60" y="0"/>
                </a:lnTo>
                <a:lnTo>
                  <a:pt x="60" y="0"/>
                </a:lnTo>
                <a:lnTo>
                  <a:pt x="60" y="0"/>
                </a:lnTo>
                <a:lnTo>
                  <a:pt x="60" y="0"/>
                </a:lnTo>
                <a:lnTo>
                  <a:pt x="60" y="4"/>
                </a:lnTo>
                <a:lnTo>
                  <a:pt x="60" y="4"/>
                </a:lnTo>
                <a:lnTo>
                  <a:pt x="60" y="0"/>
                </a:lnTo>
                <a:lnTo>
                  <a:pt x="60" y="0"/>
                </a:lnTo>
                <a:lnTo>
                  <a:pt x="60" y="0"/>
                </a:lnTo>
                <a:lnTo>
                  <a:pt x="60" y="0"/>
                </a:lnTo>
                <a:lnTo>
                  <a:pt x="64" y="0"/>
                </a:lnTo>
                <a:lnTo>
                  <a:pt x="64" y="4"/>
                </a:lnTo>
                <a:lnTo>
                  <a:pt x="64" y="4"/>
                </a:lnTo>
                <a:lnTo>
                  <a:pt x="68" y="4"/>
                </a:lnTo>
                <a:lnTo>
                  <a:pt x="68" y="4"/>
                </a:lnTo>
                <a:lnTo>
                  <a:pt x="68" y="4"/>
                </a:lnTo>
                <a:lnTo>
                  <a:pt x="68" y="4"/>
                </a:lnTo>
                <a:lnTo>
                  <a:pt x="72" y="6"/>
                </a:lnTo>
                <a:lnTo>
                  <a:pt x="72" y="6"/>
                </a:lnTo>
                <a:lnTo>
                  <a:pt x="74" y="10"/>
                </a:lnTo>
                <a:lnTo>
                  <a:pt x="74" y="10"/>
                </a:lnTo>
                <a:lnTo>
                  <a:pt x="78" y="10"/>
                </a:lnTo>
                <a:lnTo>
                  <a:pt x="78" y="10"/>
                </a:lnTo>
                <a:lnTo>
                  <a:pt x="78" y="10"/>
                </a:lnTo>
                <a:lnTo>
                  <a:pt x="78" y="10"/>
                </a:lnTo>
                <a:lnTo>
                  <a:pt x="78" y="10"/>
                </a:lnTo>
                <a:lnTo>
                  <a:pt x="82" y="10"/>
                </a:lnTo>
                <a:lnTo>
                  <a:pt x="82" y="10"/>
                </a:lnTo>
                <a:lnTo>
                  <a:pt x="82" y="10"/>
                </a:lnTo>
                <a:lnTo>
                  <a:pt x="82" y="10"/>
                </a:lnTo>
                <a:lnTo>
                  <a:pt x="86" y="10"/>
                </a:lnTo>
                <a:lnTo>
                  <a:pt x="86" y="10"/>
                </a:lnTo>
                <a:lnTo>
                  <a:pt x="86" y="10"/>
                </a:lnTo>
                <a:lnTo>
                  <a:pt x="90" y="10"/>
                </a:lnTo>
                <a:lnTo>
                  <a:pt x="90" y="10"/>
                </a:lnTo>
                <a:lnTo>
                  <a:pt x="90" y="10"/>
                </a:lnTo>
                <a:lnTo>
                  <a:pt x="90" y="10"/>
                </a:lnTo>
                <a:lnTo>
                  <a:pt x="90" y="10"/>
                </a:lnTo>
                <a:lnTo>
                  <a:pt x="94" y="10"/>
                </a:lnTo>
                <a:lnTo>
                  <a:pt x="94" y="14"/>
                </a:lnTo>
                <a:lnTo>
                  <a:pt x="90" y="14"/>
                </a:lnTo>
                <a:lnTo>
                  <a:pt x="94" y="14"/>
                </a:lnTo>
                <a:lnTo>
                  <a:pt x="94" y="14"/>
                </a:lnTo>
                <a:lnTo>
                  <a:pt x="94" y="14"/>
                </a:lnTo>
                <a:lnTo>
                  <a:pt x="98" y="18"/>
                </a:lnTo>
                <a:lnTo>
                  <a:pt x="98" y="18"/>
                </a:lnTo>
                <a:lnTo>
                  <a:pt x="98" y="18"/>
                </a:lnTo>
                <a:lnTo>
                  <a:pt x="98" y="18"/>
                </a:lnTo>
                <a:lnTo>
                  <a:pt x="94" y="22"/>
                </a:lnTo>
                <a:lnTo>
                  <a:pt x="94" y="26"/>
                </a:lnTo>
                <a:lnTo>
                  <a:pt x="94" y="26"/>
                </a:lnTo>
                <a:lnTo>
                  <a:pt x="94" y="26"/>
                </a:lnTo>
                <a:lnTo>
                  <a:pt x="98" y="26"/>
                </a:lnTo>
                <a:lnTo>
                  <a:pt x="98" y="26"/>
                </a:lnTo>
                <a:lnTo>
                  <a:pt x="98" y="26"/>
                </a:lnTo>
                <a:lnTo>
                  <a:pt x="98" y="30"/>
                </a:lnTo>
                <a:lnTo>
                  <a:pt x="98" y="30"/>
                </a:lnTo>
                <a:lnTo>
                  <a:pt x="98" y="30"/>
                </a:lnTo>
                <a:lnTo>
                  <a:pt x="98" y="32"/>
                </a:lnTo>
                <a:lnTo>
                  <a:pt x="100" y="32"/>
                </a:lnTo>
                <a:lnTo>
                  <a:pt x="100" y="36"/>
                </a:lnTo>
                <a:lnTo>
                  <a:pt x="100" y="36"/>
                </a:lnTo>
                <a:lnTo>
                  <a:pt x="100" y="40"/>
                </a:lnTo>
                <a:lnTo>
                  <a:pt x="100" y="40"/>
                </a:lnTo>
                <a:lnTo>
                  <a:pt x="100" y="40"/>
                </a:lnTo>
                <a:lnTo>
                  <a:pt x="100" y="44"/>
                </a:lnTo>
                <a:lnTo>
                  <a:pt x="100" y="40"/>
                </a:lnTo>
                <a:lnTo>
                  <a:pt x="100" y="40"/>
                </a:lnTo>
                <a:lnTo>
                  <a:pt x="98" y="44"/>
                </a:lnTo>
                <a:lnTo>
                  <a:pt x="98" y="44"/>
                </a:lnTo>
                <a:lnTo>
                  <a:pt x="94" y="44"/>
                </a:lnTo>
                <a:lnTo>
                  <a:pt x="94" y="48"/>
                </a:lnTo>
                <a:lnTo>
                  <a:pt x="94" y="48"/>
                </a:lnTo>
                <a:lnTo>
                  <a:pt x="94" y="48"/>
                </a:lnTo>
                <a:lnTo>
                  <a:pt x="94" y="48"/>
                </a:lnTo>
                <a:lnTo>
                  <a:pt x="94" y="52"/>
                </a:lnTo>
                <a:lnTo>
                  <a:pt x="94" y="52"/>
                </a:lnTo>
                <a:lnTo>
                  <a:pt x="90" y="52"/>
                </a:lnTo>
                <a:lnTo>
                  <a:pt x="90" y="52"/>
                </a:lnTo>
                <a:lnTo>
                  <a:pt x="86" y="48"/>
                </a:lnTo>
                <a:lnTo>
                  <a:pt x="86" y="48"/>
                </a:lnTo>
                <a:lnTo>
                  <a:pt x="82" y="48"/>
                </a:lnTo>
                <a:lnTo>
                  <a:pt x="82" y="52"/>
                </a:lnTo>
                <a:lnTo>
                  <a:pt x="82" y="52"/>
                </a:lnTo>
                <a:lnTo>
                  <a:pt x="82" y="52"/>
                </a:lnTo>
                <a:lnTo>
                  <a:pt x="82" y="52"/>
                </a:lnTo>
                <a:lnTo>
                  <a:pt x="78" y="52"/>
                </a:lnTo>
                <a:lnTo>
                  <a:pt x="78" y="52"/>
                </a:lnTo>
                <a:lnTo>
                  <a:pt x="78" y="52"/>
                </a:lnTo>
                <a:lnTo>
                  <a:pt x="78" y="52"/>
                </a:lnTo>
                <a:lnTo>
                  <a:pt x="78" y="52"/>
                </a:lnTo>
                <a:lnTo>
                  <a:pt x="78" y="52"/>
                </a:lnTo>
                <a:lnTo>
                  <a:pt x="78" y="52"/>
                </a:lnTo>
                <a:lnTo>
                  <a:pt x="78" y="52"/>
                </a:lnTo>
                <a:lnTo>
                  <a:pt x="78" y="52"/>
                </a:lnTo>
                <a:lnTo>
                  <a:pt x="74" y="52"/>
                </a:lnTo>
                <a:lnTo>
                  <a:pt x="74" y="52"/>
                </a:lnTo>
                <a:lnTo>
                  <a:pt x="74" y="52"/>
                </a:lnTo>
                <a:lnTo>
                  <a:pt x="74" y="52"/>
                </a:lnTo>
                <a:lnTo>
                  <a:pt x="74" y="48"/>
                </a:lnTo>
                <a:lnTo>
                  <a:pt x="72" y="48"/>
                </a:lnTo>
                <a:lnTo>
                  <a:pt x="72" y="48"/>
                </a:lnTo>
                <a:lnTo>
                  <a:pt x="72" y="48"/>
                </a:lnTo>
                <a:lnTo>
                  <a:pt x="72" y="48"/>
                </a:lnTo>
                <a:lnTo>
                  <a:pt x="68" y="48"/>
                </a:lnTo>
                <a:lnTo>
                  <a:pt x="68" y="44"/>
                </a:lnTo>
                <a:lnTo>
                  <a:pt x="68" y="44"/>
                </a:lnTo>
                <a:lnTo>
                  <a:pt x="64" y="44"/>
                </a:lnTo>
                <a:lnTo>
                  <a:pt x="64" y="40"/>
                </a:lnTo>
                <a:lnTo>
                  <a:pt x="60" y="40"/>
                </a:lnTo>
                <a:lnTo>
                  <a:pt x="60" y="40"/>
                </a:lnTo>
                <a:lnTo>
                  <a:pt x="60" y="40"/>
                </a:lnTo>
                <a:lnTo>
                  <a:pt x="56" y="40"/>
                </a:lnTo>
                <a:lnTo>
                  <a:pt x="56" y="40"/>
                </a:lnTo>
                <a:lnTo>
                  <a:pt x="56" y="40"/>
                </a:lnTo>
                <a:lnTo>
                  <a:pt x="56" y="40"/>
                </a:lnTo>
                <a:lnTo>
                  <a:pt x="56" y="40"/>
                </a:lnTo>
                <a:lnTo>
                  <a:pt x="56" y="36"/>
                </a:lnTo>
                <a:lnTo>
                  <a:pt x="56" y="36"/>
                </a:lnTo>
                <a:lnTo>
                  <a:pt x="56" y="36"/>
                </a:lnTo>
                <a:lnTo>
                  <a:pt x="56" y="36"/>
                </a:lnTo>
                <a:lnTo>
                  <a:pt x="56" y="36"/>
                </a:lnTo>
                <a:lnTo>
                  <a:pt x="52" y="36"/>
                </a:lnTo>
                <a:lnTo>
                  <a:pt x="52" y="36"/>
                </a:lnTo>
                <a:lnTo>
                  <a:pt x="48" y="36"/>
                </a:lnTo>
                <a:lnTo>
                  <a:pt x="48" y="40"/>
                </a:lnTo>
                <a:lnTo>
                  <a:pt x="48" y="40"/>
                </a:lnTo>
                <a:lnTo>
                  <a:pt x="48" y="40"/>
                </a:lnTo>
                <a:lnTo>
                  <a:pt x="48" y="40"/>
                </a:lnTo>
                <a:lnTo>
                  <a:pt x="48" y="40"/>
                </a:lnTo>
                <a:lnTo>
                  <a:pt x="46" y="40"/>
                </a:lnTo>
                <a:lnTo>
                  <a:pt x="46" y="40"/>
                </a:lnTo>
                <a:lnTo>
                  <a:pt x="46" y="40"/>
                </a:lnTo>
                <a:lnTo>
                  <a:pt x="46" y="40"/>
                </a:lnTo>
                <a:lnTo>
                  <a:pt x="46" y="40"/>
                </a:lnTo>
                <a:lnTo>
                  <a:pt x="42" y="40"/>
                </a:lnTo>
                <a:lnTo>
                  <a:pt x="42" y="40"/>
                </a:lnTo>
                <a:lnTo>
                  <a:pt x="42" y="36"/>
                </a:lnTo>
                <a:lnTo>
                  <a:pt x="42" y="36"/>
                </a:lnTo>
                <a:lnTo>
                  <a:pt x="38" y="36"/>
                </a:lnTo>
                <a:lnTo>
                  <a:pt x="38" y="36"/>
                </a:lnTo>
                <a:lnTo>
                  <a:pt x="34" y="36"/>
                </a:lnTo>
                <a:lnTo>
                  <a:pt x="34" y="36"/>
                </a:lnTo>
                <a:lnTo>
                  <a:pt x="34" y="36"/>
                </a:lnTo>
                <a:lnTo>
                  <a:pt x="34" y="36"/>
                </a:lnTo>
                <a:lnTo>
                  <a:pt x="34" y="36"/>
                </a:lnTo>
                <a:lnTo>
                  <a:pt x="34" y="36"/>
                </a:lnTo>
                <a:lnTo>
                  <a:pt x="30" y="36"/>
                </a:lnTo>
                <a:lnTo>
                  <a:pt x="30" y="36"/>
                </a:lnTo>
                <a:lnTo>
                  <a:pt x="30" y="40"/>
                </a:lnTo>
                <a:lnTo>
                  <a:pt x="30" y="40"/>
                </a:lnTo>
                <a:lnTo>
                  <a:pt x="30" y="40"/>
                </a:lnTo>
                <a:lnTo>
                  <a:pt x="26" y="36"/>
                </a:lnTo>
                <a:lnTo>
                  <a:pt x="26" y="36"/>
                </a:lnTo>
                <a:lnTo>
                  <a:pt x="26" y="36"/>
                </a:lnTo>
                <a:lnTo>
                  <a:pt x="26" y="36"/>
                </a:lnTo>
                <a:lnTo>
                  <a:pt x="26" y="36"/>
                </a:lnTo>
                <a:lnTo>
                  <a:pt x="26" y="36"/>
                </a:lnTo>
                <a:lnTo>
                  <a:pt x="26" y="36"/>
                </a:lnTo>
                <a:lnTo>
                  <a:pt x="26" y="36"/>
                </a:lnTo>
                <a:lnTo>
                  <a:pt x="26" y="36"/>
                </a:lnTo>
                <a:lnTo>
                  <a:pt x="22" y="36"/>
                </a:lnTo>
                <a:lnTo>
                  <a:pt x="22" y="36"/>
                </a:lnTo>
                <a:lnTo>
                  <a:pt x="22" y="36"/>
                </a:lnTo>
                <a:lnTo>
                  <a:pt x="22" y="36"/>
                </a:lnTo>
                <a:lnTo>
                  <a:pt x="22" y="36"/>
                </a:lnTo>
                <a:lnTo>
                  <a:pt x="22" y="36"/>
                </a:lnTo>
                <a:lnTo>
                  <a:pt x="18" y="36"/>
                </a:lnTo>
                <a:lnTo>
                  <a:pt x="18" y="36"/>
                </a:lnTo>
                <a:lnTo>
                  <a:pt x="18" y="36"/>
                </a:lnTo>
                <a:lnTo>
                  <a:pt x="16" y="36"/>
                </a:lnTo>
                <a:lnTo>
                  <a:pt x="16" y="36"/>
                </a:lnTo>
                <a:lnTo>
                  <a:pt x="16" y="36"/>
                </a:lnTo>
                <a:lnTo>
                  <a:pt x="12" y="36"/>
                </a:lnTo>
                <a:lnTo>
                  <a:pt x="8" y="36"/>
                </a:lnTo>
                <a:lnTo>
                  <a:pt x="8" y="40"/>
                </a:lnTo>
                <a:lnTo>
                  <a:pt x="4" y="40"/>
                </a:lnTo>
                <a:lnTo>
                  <a:pt x="4" y="40"/>
                </a:lnTo>
                <a:lnTo>
                  <a:pt x="4" y="40"/>
                </a:lnTo>
                <a:lnTo>
                  <a:pt x="4" y="40"/>
                </a:lnTo>
                <a:lnTo>
                  <a:pt x="4" y="40"/>
                </a:lnTo>
                <a:lnTo>
                  <a:pt x="4" y="40"/>
                </a:lnTo>
                <a:lnTo>
                  <a:pt x="4" y="44"/>
                </a:lnTo>
                <a:lnTo>
                  <a:pt x="4" y="44"/>
                </a:lnTo>
                <a:lnTo>
                  <a:pt x="0" y="44"/>
                </a:lnTo>
                <a:lnTo>
                  <a:pt x="0" y="44"/>
                </a:lnTo>
                <a:lnTo>
                  <a:pt x="0" y="44"/>
                </a:lnTo>
                <a:lnTo>
                  <a:pt x="0" y="44"/>
                </a:lnTo>
                <a:lnTo>
                  <a:pt x="0" y="44"/>
                </a:lnTo>
                <a:lnTo>
                  <a:pt x="0" y="44"/>
                </a:lnTo>
                <a:lnTo>
                  <a:pt x="0" y="44"/>
                </a:lnTo>
                <a:lnTo>
                  <a:pt x="0" y="40"/>
                </a:lnTo>
                <a:lnTo>
                  <a:pt x="0" y="40"/>
                </a:lnTo>
                <a:lnTo>
                  <a:pt x="0" y="40"/>
                </a:lnTo>
                <a:lnTo>
                  <a:pt x="0" y="40"/>
                </a:lnTo>
                <a:lnTo>
                  <a:pt x="0" y="36"/>
                </a:lnTo>
                <a:lnTo>
                  <a:pt x="0" y="32"/>
                </a:lnTo>
                <a:lnTo>
                  <a:pt x="0" y="32"/>
                </a:lnTo>
                <a:lnTo>
                  <a:pt x="0" y="36"/>
                </a:lnTo>
                <a:lnTo>
                  <a:pt x="0" y="36"/>
                </a:lnTo>
                <a:lnTo>
                  <a:pt x="0" y="32"/>
                </a:lnTo>
                <a:lnTo>
                  <a:pt x="0" y="32"/>
                </a:lnTo>
                <a:lnTo>
                  <a:pt x="0" y="32"/>
                </a:lnTo>
                <a:lnTo>
                  <a:pt x="0" y="30"/>
                </a:lnTo>
                <a:lnTo>
                  <a:pt x="0" y="30"/>
                </a:lnTo>
                <a:lnTo>
                  <a:pt x="0" y="30"/>
                </a:lnTo>
                <a:lnTo>
                  <a:pt x="0" y="30"/>
                </a:lnTo>
                <a:lnTo>
                  <a:pt x="0" y="30"/>
                </a:lnTo>
                <a:lnTo>
                  <a:pt x="0" y="26"/>
                </a:lnTo>
                <a:lnTo>
                  <a:pt x="0" y="26"/>
                </a:lnTo>
                <a:lnTo>
                  <a:pt x="4" y="26"/>
                </a:lnTo>
                <a:lnTo>
                  <a:pt x="4" y="26"/>
                </a:lnTo>
                <a:lnTo>
                  <a:pt x="4" y="26"/>
                </a:lnTo>
                <a:lnTo>
                  <a:pt x="4" y="22"/>
                </a:lnTo>
                <a:lnTo>
                  <a:pt x="4" y="22"/>
                </a:lnTo>
                <a:lnTo>
                  <a:pt x="4" y="22"/>
                </a:lnTo>
                <a:lnTo>
                  <a:pt x="4" y="22"/>
                </a:lnTo>
                <a:lnTo>
                  <a:pt x="4" y="22"/>
                </a:lnTo>
                <a:lnTo>
                  <a:pt x="4" y="18"/>
                </a:lnTo>
                <a:lnTo>
                  <a:pt x="4" y="18"/>
                </a:lnTo>
                <a:lnTo>
                  <a:pt x="4" y="18"/>
                </a:lnTo>
                <a:lnTo>
                  <a:pt x="4" y="18"/>
                </a:lnTo>
                <a:lnTo>
                  <a:pt x="8" y="18"/>
                </a:lnTo>
                <a:lnTo>
                  <a:pt x="8" y="14"/>
                </a:lnTo>
                <a:lnTo>
                  <a:pt x="8" y="14"/>
                </a:lnTo>
                <a:lnTo>
                  <a:pt x="8" y="10"/>
                </a:lnTo>
                <a:lnTo>
                  <a:pt x="8" y="10"/>
                </a:lnTo>
                <a:lnTo>
                  <a:pt x="8" y="10"/>
                </a:lnTo>
                <a:lnTo>
                  <a:pt x="8" y="10"/>
                </a:lnTo>
                <a:lnTo>
                  <a:pt x="12" y="10"/>
                </a:lnTo>
                <a:lnTo>
                  <a:pt x="12" y="10"/>
                </a:lnTo>
                <a:lnTo>
                  <a:pt x="12" y="10"/>
                </a:lnTo>
                <a:lnTo>
                  <a:pt x="12" y="10"/>
                </a:lnTo>
                <a:lnTo>
                  <a:pt x="12" y="10"/>
                </a:lnTo>
                <a:lnTo>
                  <a:pt x="16" y="10"/>
                </a:lnTo>
                <a:lnTo>
                  <a:pt x="16" y="10"/>
                </a:lnTo>
                <a:lnTo>
                  <a:pt x="16" y="10"/>
                </a:lnTo>
                <a:lnTo>
                  <a:pt x="18" y="6"/>
                </a:lnTo>
                <a:lnTo>
                  <a:pt x="18" y="6"/>
                </a:lnTo>
                <a:lnTo>
                  <a:pt x="22" y="6"/>
                </a:lnTo>
                <a:lnTo>
                  <a:pt x="22" y="6"/>
                </a:lnTo>
                <a:lnTo>
                  <a:pt x="22" y="6"/>
                </a:lnTo>
                <a:lnTo>
                  <a:pt x="22" y="10"/>
                </a:lnTo>
                <a:lnTo>
                  <a:pt x="22" y="10"/>
                </a:lnTo>
                <a:lnTo>
                  <a:pt x="22" y="10"/>
                </a:lnTo>
                <a:lnTo>
                  <a:pt x="22" y="10"/>
                </a:lnTo>
                <a:lnTo>
                  <a:pt x="26" y="14"/>
                </a:lnTo>
                <a:lnTo>
                  <a:pt x="26" y="14"/>
                </a:lnTo>
                <a:lnTo>
                  <a:pt x="26" y="14"/>
                </a:lnTo>
                <a:lnTo>
                  <a:pt x="26" y="14"/>
                </a:lnTo>
                <a:lnTo>
                  <a:pt x="30" y="14"/>
                </a:lnTo>
                <a:lnTo>
                  <a:pt x="30" y="14"/>
                </a:lnTo>
                <a:lnTo>
                  <a:pt x="30" y="14"/>
                </a:lnTo>
                <a:lnTo>
                  <a:pt x="30" y="18"/>
                </a:lnTo>
                <a:lnTo>
                  <a:pt x="30" y="18"/>
                </a:lnTo>
                <a:lnTo>
                  <a:pt x="30" y="22"/>
                </a:lnTo>
                <a:lnTo>
                  <a:pt x="30" y="22"/>
                </a:lnTo>
                <a:lnTo>
                  <a:pt x="30" y="22"/>
                </a:lnTo>
                <a:lnTo>
                  <a:pt x="34" y="22"/>
                </a:lnTo>
                <a:lnTo>
                  <a:pt x="34" y="22"/>
                </a:lnTo>
                <a:lnTo>
                  <a:pt x="38" y="26"/>
                </a:lnTo>
                <a:lnTo>
                  <a:pt x="38" y="26"/>
                </a:lnTo>
                <a:lnTo>
                  <a:pt x="38" y="26"/>
                </a:lnTo>
                <a:lnTo>
                  <a:pt x="38" y="26"/>
                </a:lnTo>
                <a:lnTo>
                  <a:pt x="42" y="26"/>
                </a:lnTo>
                <a:lnTo>
                  <a:pt x="42" y="26"/>
                </a:lnTo>
                <a:lnTo>
                  <a:pt x="42" y="22"/>
                </a:lnTo>
                <a:lnTo>
                  <a:pt x="42" y="22"/>
                </a:lnTo>
                <a:lnTo>
                  <a:pt x="46" y="22"/>
                </a:lnTo>
                <a:lnTo>
                  <a:pt x="46" y="22"/>
                </a:lnTo>
                <a:lnTo>
                  <a:pt x="46" y="18"/>
                </a:lnTo>
                <a:lnTo>
                  <a:pt x="48" y="18"/>
                </a:lnTo>
                <a:lnTo>
                  <a:pt x="48" y="18"/>
                </a:lnTo>
                <a:lnTo>
                  <a:pt x="48" y="14"/>
                </a:lnTo>
                <a:lnTo>
                  <a:pt x="46" y="10"/>
                </a:lnTo>
                <a:lnTo>
                  <a:pt x="46" y="6"/>
                </a:lnTo>
                <a:lnTo>
                  <a:pt x="46" y="6"/>
                </a:lnTo>
                <a:lnTo>
                  <a:pt x="46" y="6"/>
                </a:lnTo>
                <a:lnTo>
                  <a:pt x="46" y="6"/>
                </a:lnTo>
                <a:lnTo>
                  <a:pt x="46" y="4"/>
                </a:lnTo>
                <a:lnTo>
                  <a:pt x="46" y="4"/>
                </a:lnTo>
                <a:lnTo>
                  <a:pt x="46" y="4"/>
                </a:lnTo>
                <a:close/>
              </a:path>
            </a:pathLst>
          </a:custGeom>
          <a:solidFill>
            <a:srgbClr val="A0DCFF"/>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04" name="Freeform 111"/>
          <p:cNvSpPr>
            <a:spLocks noEditPoints="1"/>
          </p:cNvSpPr>
          <p:nvPr/>
        </p:nvSpPr>
        <p:spPr bwMode="auto">
          <a:xfrm>
            <a:off x="4607719" y="2447924"/>
            <a:ext cx="102394" cy="66675"/>
          </a:xfrm>
          <a:custGeom>
            <a:avLst/>
            <a:gdLst>
              <a:gd name="T0" fmla="*/ 38 w 86"/>
              <a:gd name="T1" fmla="*/ 50 h 56"/>
              <a:gd name="T2" fmla="*/ 34 w 86"/>
              <a:gd name="T3" fmla="*/ 46 h 56"/>
              <a:gd name="T4" fmla="*/ 26 w 86"/>
              <a:gd name="T5" fmla="*/ 46 h 56"/>
              <a:gd name="T6" fmla="*/ 26 w 86"/>
              <a:gd name="T7" fmla="*/ 42 h 56"/>
              <a:gd name="T8" fmla="*/ 30 w 86"/>
              <a:gd name="T9" fmla="*/ 38 h 56"/>
              <a:gd name="T10" fmla="*/ 26 w 86"/>
              <a:gd name="T11" fmla="*/ 30 h 56"/>
              <a:gd name="T12" fmla="*/ 22 w 86"/>
              <a:gd name="T13" fmla="*/ 30 h 56"/>
              <a:gd name="T14" fmla="*/ 18 w 86"/>
              <a:gd name="T15" fmla="*/ 30 h 56"/>
              <a:gd name="T16" fmla="*/ 8 w 86"/>
              <a:gd name="T17" fmla="*/ 26 h 56"/>
              <a:gd name="T18" fmla="*/ 8 w 86"/>
              <a:gd name="T19" fmla="*/ 26 h 56"/>
              <a:gd name="T20" fmla="*/ 4 w 86"/>
              <a:gd name="T21" fmla="*/ 16 h 56"/>
              <a:gd name="T22" fmla="*/ 4 w 86"/>
              <a:gd name="T23" fmla="*/ 12 h 56"/>
              <a:gd name="T24" fmla="*/ 4 w 86"/>
              <a:gd name="T25" fmla="*/ 8 h 56"/>
              <a:gd name="T26" fmla="*/ 8 w 86"/>
              <a:gd name="T27" fmla="*/ 8 h 56"/>
              <a:gd name="T28" fmla="*/ 8 w 86"/>
              <a:gd name="T29" fmla="*/ 4 h 56"/>
              <a:gd name="T30" fmla="*/ 18 w 86"/>
              <a:gd name="T31" fmla="*/ 0 h 56"/>
              <a:gd name="T32" fmla="*/ 22 w 86"/>
              <a:gd name="T33" fmla="*/ 0 h 56"/>
              <a:gd name="T34" fmla="*/ 26 w 86"/>
              <a:gd name="T35" fmla="*/ 0 h 56"/>
              <a:gd name="T36" fmla="*/ 30 w 86"/>
              <a:gd name="T37" fmla="*/ 0 h 56"/>
              <a:gd name="T38" fmla="*/ 30 w 86"/>
              <a:gd name="T39" fmla="*/ 0 h 56"/>
              <a:gd name="T40" fmla="*/ 34 w 86"/>
              <a:gd name="T41" fmla="*/ 0 h 56"/>
              <a:gd name="T42" fmla="*/ 38 w 86"/>
              <a:gd name="T43" fmla="*/ 0 h 56"/>
              <a:gd name="T44" fmla="*/ 44 w 86"/>
              <a:gd name="T45" fmla="*/ 0 h 56"/>
              <a:gd name="T46" fmla="*/ 48 w 86"/>
              <a:gd name="T47" fmla="*/ 4 h 56"/>
              <a:gd name="T48" fmla="*/ 52 w 86"/>
              <a:gd name="T49" fmla="*/ 4 h 56"/>
              <a:gd name="T50" fmla="*/ 56 w 86"/>
              <a:gd name="T51" fmla="*/ 0 h 56"/>
              <a:gd name="T52" fmla="*/ 60 w 86"/>
              <a:gd name="T53" fmla="*/ 0 h 56"/>
              <a:gd name="T54" fmla="*/ 60 w 86"/>
              <a:gd name="T55" fmla="*/ 4 h 56"/>
              <a:gd name="T56" fmla="*/ 68 w 86"/>
              <a:gd name="T57" fmla="*/ 8 h 56"/>
              <a:gd name="T58" fmla="*/ 74 w 86"/>
              <a:gd name="T59" fmla="*/ 12 h 56"/>
              <a:gd name="T60" fmla="*/ 78 w 86"/>
              <a:gd name="T61" fmla="*/ 16 h 56"/>
              <a:gd name="T62" fmla="*/ 82 w 86"/>
              <a:gd name="T63" fmla="*/ 16 h 56"/>
              <a:gd name="T64" fmla="*/ 78 w 86"/>
              <a:gd name="T65" fmla="*/ 24 h 56"/>
              <a:gd name="T66" fmla="*/ 82 w 86"/>
              <a:gd name="T67" fmla="*/ 24 h 56"/>
              <a:gd name="T68" fmla="*/ 82 w 86"/>
              <a:gd name="T69" fmla="*/ 26 h 56"/>
              <a:gd name="T70" fmla="*/ 78 w 86"/>
              <a:gd name="T71" fmla="*/ 30 h 56"/>
              <a:gd name="T72" fmla="*/ 70 w 86"/>
              <a:gd name="T73" fmla="*/ 34 h 56"/>
              <a:gd name="T74" fmla="*/ 70 w 86"/>
              <a:gd name="T75" fmla="*/ 38 h 56"/>
              <a:gd name="T76" fmla="*/ 68 w 86"/>
              <a:gd name="T77" fmla="*/ 42 h 56"/>
              <a:gd name="T78" fmla="*/ 68 w 86"/>
              <a:gd name="T79" fmla="*/ 46 h 56"/>
              <a:gd name="T80" fmla="*/ 70 w 86"/>
              <a:gd name="T81" fmla="*/ 50 h 56"/>
              <a:gd name="T82" fmla="*/ 68 w 86"/>
              <a:gd name="T83" fmla="*/ 50 h 56"/>
              <a:gd name="T84" fmla="*/ 64 w 86"/>
              <a:gd name="T85" fmla="*/ 50 h 56"/>
              <a:gd name="T86" fmla="*/ 60 w 86"/>
              <a:gd name="T87" fmla="*/ 50 h 56"/>
              <a:gd name="T88" fmla="*/ 60 w 86"/>
              <a:gd name="T89" fmla="*/ 50 h 56"/>
              <a:gd name="T90" fmla="*/ 56 w 86"/>
              <a:gd name="T91" fmla="*/ 52 h 56"/>
              <a:gd name="T92" fmla="*/ 52 w 86"/>
              <a:gd name="T93" fmla="*/ 52 h 56"/>
              <a:gd name="T94" fmla="*/ 48 w 86"/>
              <a:gd name="T95" fmla="*/ 52 h 56"/>
              <a:gd name="T96" fmla="*/ 44 w 86"/>
              <a:gd name="T97" fmla="*/ 52 h 56"/>
              <a:gd name="T98" fmla="*/ 42 w 86"/>
              <a:gd name="T99" fmla="*/ 52 h 56"/>
              <a:gd name="T100" fmla="*/ 38 w 86"/>
              <a:gd name="T101" fmla="*/ 52 h 56"/>
              <a:gd name="T102" fmla="*/ 4 w 86"/>
              <a:gd name="T103" fmla="*/ 24 h 56"/>
              <a:gd name="T104" fmla="*/ 4 w 86"/>
              <a:gd name="T105" fmla="*/ 20 h 56"/>
              <a:gd name="T106" fmla="*/ 4 w 86"/>
              <a:gd name="T107" fmla="*/ 16 h 56"/>
              <a:gd name="T108" fmla="*/ 4 w 86"/>
              <a:gd name="T109"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6" h="56">
                <a:moveTo>
                  <a:pt x="38" y="52"/>
                </a:moveTo>
                <a:lnTo>
                  <a:pt x="38" y="52"/>
                </a:lnTo>
                <a:lnTo>
                  <a:pt x="38" y="52"/>
                </a:lnTo>
                <a:lnTo>
                  <a:pt x="38" y="50"/>
                </a:lnTo>
                <a:lnTo>
                  <a:pt x="38" y="50"/>
                </a:lnTo>
                <a:lnTo>
                  <a:pt x="38" y="50"/>
                </a:lnTo>
                <a:lnTo>
                  <a:pt x="38" y="50"/>
                </a:lnTo>
                <a:lnTo>
                  <a:pt x="38" y="50"/>
                </a:lnTo>
                <a:lnTo>
                  <a:pt x="34" y="46"/>
                </a:lnTo>
                <a:lnTo>
                  <a:pt x="34" y="46"/>
                </a:lnTo>
                <a:lnTo>
                  <a:pt x="30" y="46"/>
                </a:lnTo>
                <a:lnTo>
                  <a:pt x="30" y="46"/>
                </a:lnTo>
                <a:lnTo>
                  <a:pt x="30" y="46"/>
                </a:lnTo>
                <a:lnTo>
                  <a:pt x="30" y="46"/>
                </a:lnTo>
                <a:lnTo>
                  <a:pt x="26" y="46"/>
                </a:lnTo>
                <a:lnTo>
                  <a:pt x="26" y="46"/>
                </a:lnTo>
                <a:lnTo>
                  <a:pt x="26" y="46"/>
                </a:lnTo>
                <a:lnTo>
                  <a:pt x="26" y="42"/>
                </a:lnTo>
                <a:lnTo>
                  <a:pt x="26" y="42"/>
                </a:lnTo>
                <a:lnTo>
                  <a:pt x="26" y="42"/>
                </a:lnTo>
                <a:lnTo>
                  <a:pt x="26" y="42"/>
                </a:lnTo>
                <a:lnTo>
                  <a:pt x="26" y="38"/>
                </a:lnTo>
                <a:lnTo>
                  <a:pt x="26" y="38"/>
                </a:lnTo>
                <a:lnTo>
                  <a:pt x="30" y="38"/>
                </a:lnTo>
                <a:lnTo>
                  <a:pt x="30" y="38"/>
                </a:lnTo>
                <a:lnTo>
                  <a:pt x="30" y="34"/>
                </a:lnTo>
                <a:lnTo>
                  <a:pt x="30" y="34"/>
                </a:lnTo>
                <a:lnTo>
                  <a:pt x="30" y="34"/>
                </a:lnTo>
                <a:lnTo>
                  <a:pt x="30" y="34"/>
                </a:lnTo>
                <a:lnTo>
                  <a:pt x="26" y="30"/>
                </a:lnTo>
                <a:lnTo>
                  <a:pt x="26" y="30"/>
                </a:lnTo>
                <a:lnTo>
                  <a:pt x="26" y="30"/>
                </a:lnTo>
                <a:lnTo>
                  <a:pt x="26" y="30"/>
                </a:lnTo>
                <a:lnTo>
                  <a:pt x="22" y="30"/>
                </a:lnTo>
                <a:lnTo>
                  <a:pt x="22" y="30"/>
                </a:lnTo>
                <a:lnTo>
                  <a:pt x="18" y="30"/>
                </a:lnTo>
                <a:lnTo>
                  <a:pt x="18" y="30"/>
                </a:lnTo>
                <a:lnTo>
                  <a:pt x="18" y="30"/>
                </a:lnTo>
                <a:lnTo>
                  <a:pt x="18" y="30"/>
                </a:lnTo>
                <a:lnTo>
                  <a:pt x="18" y="30"/>
                </a:lnTo>
                <a:lnTo>
                  <a:pt x="18" y="30"/>
                </a:lnTo>
                <a:lnTo>
                  <a:pt x="12" y="26"/>
                </a:lnTo>
                <a:lnTo>
                  <a:pt x="12" y="26"/>
                </a:lnTo>
                <a:lnTo>
                  <a:pt x="12" y="26"/>
                </a:lnTo>
                <a:lnTo>
                  <a:pt x="8" y="26"/>
                </a:lnTo>
                <a:lnTo>
                  <a:pt x="8" y="26"/>
                </a:lnTo>
                <a:lnTo>
                  <a:pt x="8" y="26"/>
                </a:lnTo>
                <a:lnTo>
                  <a:pt x="8" y="26"/>
                </a:lnTo>
                <a:lnTo>
                  <a:pt x="8" y="26"/>
                </a:lnTo>
                <a:lnTo>
                  <a:pt x="8" y="26"/>
                </a:lnTo>
                <a:lnTo>
                  <a:pt x="8" y="26"/>
                </a:lnTo>
                <a:lnTo>
                  <a:pt x="8" y="24"/>
                </a:lnTo>
                <a:lnTo>
                  <a:pt x="4" y="20"/>
                </a:lnTo>
                <a:lnTo>
                  <a:pt x="4" y="16"/>
                </a:lnTo>
                <a:lnTo>
                  <a:pt x="4" y="16"/>
                </a:lnTo>
                <a:lnTo>
                  <a:pt x="4" y="16"/>
                </a:lnTo>
                <a:lnTo>
                  <a:pt x="4" y="16"/>
                </a:lnTo>
                <a:lnTo>
                  <a:pt x="4" y="12"/>
                </a:lnTo>
                <a:lnTo>
                  <a:pt x="4" y="12"/>
                </a:lnTo>
                <a:lnTo>
                  <a:pt x="4" y="12"/>
                </a:lnTo>
                <a:lnTo>
                  <a:pt x="4" y="8"/>
                </a:lnTo>
                <a:lnTo>
                  <a:pt x="4" y="8"/>
                </a:lnTo>
                <a:lnTo>
                  <a:pt x="4" y="8"/>
                </a:lnTo>
                <a:lnTo>
                  <a:pt x="4" y="8"/>
                </a:lnTo>
                <a:lnTo>
                  <a:pt x="4" y="8"/>
                </a:lnTo>
                <a:lnTo>
                  <a:pt x="4" y="8"/>
                </a:lnTo>
                <a:lnTo>
                  <a:pt x="4" y="8"/>
                </a:lnTo>
                <a:lnTo>
                  <a:pt x="4" y="8"/>
                </a:lnTo>
                <a:lnTo>
                  <a:pt x="8" y="8"/>
                </a:lnTo>
                <a:lnTo>
                  <a:pt x="8" y="8"/>
                </a:lnTo>
                <a:lnTo>
                  <a:pt x="8" y="4"/>
                </a:lnTo>
                <a:lnTo>
                  <a:pt x="8" y="4"/>
                </a:lnTo>
                <a:lnTo>
                  <a:pt x="8" y="4"/>
                </a:lnTo>
                <a:lnTo>
                  <a:pt x="8" y="4"/>
                </a:lnTo>
                <a:lnTo>
                  <a:pt x="8" y="4"/>
                </a:lnTo>
                <a:lnTo>
                  <a:pt x="8" y="4"/>
                </a:lnTo>
                <a:lnTo>
                  <a:pt x="12" y="4"/>
                </a:lnTo>
                <a:lnTo>
                  <a:pt x="12" y="0"/>
                </a:lnTo>
                <a:lnTo>
                  <a:pt x="16" y="0"/>
                </a:lnTo>
                <a:lnTo>
                  <a:pt x="18" y="0"/>
                </a:lnTo>
                <a:lnTo>
                  <a:pt x="18" y="0"/>
                </a:lnTo>
                <a:lnTo>
                  <a:pt x="18" y="0"/>
                </a:lnTo>
                <a:lnTo>
                  <a:pt x="22" y="0"/>
                </a:lnTo>
                <a:lnTo>
                  <a:pt x="22" y="0"/>
                </a:lnTo>
                <a:lnTo>
                  <a:pt x="22" y="0"/>
                </a:lnTo>
                <a:lnTo>
                  <a:pt x="26" y="0"/>
                </a:lnTo>
                <a:lnTo>
                  <a:pt x="26" y="0"/>
                </a:lnTo>
                <a:lnTo>
                  <a:pt x="26" y="0"/>
                </a:lnTo>
                <a:lnTo>
                  <a:pt x="26" y="0"/>
                </a:lnTo>
                <a:lnTo>
                  <a:pt x="26" y="0"/>
                </a:lnTo>
                <a:lnTo>
                  <a:pt x="26" y="0"/>
                </a:lnTo>
                <a:lnTo>
                  <a:pt x="30" y="0"/>
                </a:lnTo>
                <a:lnTo>
                  <a:pt x="30" y="0"/>
                </a:lnTo>
                <a:lnTo>
                  <a:pt x="30" y="0"/>
                </a:lnTo>
                <a:lnTo>
                  <a:pt x="30" y="0"/>
                </a:lnTo>
                <a:lnTo>
                  <a:pt x="30" y="0"/>
                </a:lnTo>
                <a:lnTo>
                  <a:pt x="30" y="0"/>
                </a:lnTo>
                <a:lnTo>
                  <a:pt x="30" y="0"/>
                </a:lnTo>
                <a:lnTo>
                  <a:pt x="30" y="0"/>
                </a:lnTo>
                <a:lnTo>
                  <a:pt x="30" y="0"/>
                </a:lnTo>
                <a:lnTo>
                  <a:pt x="34" y="4"/>
                </a:lnTo>
                <a:lnTo>
                  <a:pt x="34" y="4"/>
                </a:lnTo>
                <a:lnTo>
                  <a:pt x="34" y="4"/>
                </a:lnTo>
                <a:lnTo>
                  <a:pt x="34" y="0"/>
                </a:lnTo>
                <a:lnTo>
                  <a:pt x="34" y="0"/>
                </a:lnTo>
                <a:lnTo>
                  <a:pt x="38" y="0"/>
                </a:lnTo>
                <a:lnTo>
                  <a:pt x="38" y="0"/>
                </a:lnTo>
                <a:lnTo>
                  <a:pt x="38" y="0"/>
                </a:lnTo>
                <a:lnTo>
                  <a:pt x="38" y="0"/>
                </a:lnTo>
                <a:lnTo>
                  <a:pt x="38" y="0"/>
                </a:lnTo>
                <a:lnTo>
                  <a:pt x="38" y="0"/>
                </a:lnTo>
                <a:lnTo>
                  <a:pt x="42" y="0"/>
                </a:lnTo>
                <a:lnTo>
                  <a:pt x="42" y="0"/>
                </a:lnTo>
                <a:lnTo>
                  <a:pt x="44" y="0"/>
                </a:lnTo>
                <a:lnTo>
                  <a:pt x="44" y="0"/>
                </a:lnTo>
                <a:lnTo>
                  <a:pt x="44" y="4"/>
                </a:lnTo>
                <a:lnTo>
                  <a:pt x="44" y="4"/>
                </a:lnTo>
                <a:lnTo>
                  <a:pt x="48" y="4"/>
                </a:lnTo>
                <a:lnTo>
                  <a:pt x="48" y="4"/>
                </a:lnTo>
                <a:lnTo>
                  <a:pt x="48" y="4"/>
                </a:lnTo>
                <a:lnTo>
                  <a:pt x="48" y="4"/>
                </a:lnTo>
                <a:lnTo>
                  <a:pt x="48" y="4"/>
                </a:lnTo>
                <a:lnTo>
                  <a:pt x="52" y="4"/>
                </a:lnTo>
                <a:lnTo>
                  <a:pt x="52" y="4"/>
                </a:lnTo>
                <a:lnTo>
                  <a:pt x="52" y="4"/>
                </a:lnTo>
                <a:lnTo>
                  <a:pt x="52" y="4"/>
                </a:lnTo>
                <a:lnTo>
                  <a:pt x="52" y="4"/>
                </a:lnTo>
                <a:lnTo>
                  <a:pt x="52" y="0"/>
                </a:lnTo>
                <a:lnTo>
                  <a:pt x="56" y="0"/>
                </a:lnTo>
                <a:lnTo>
                  <a:pt x="56" y="0"/>
                </a:lnTo>
                <a:lnTo>
                  <a:pt x="60" y="0"/>
                </a:lnTo>
                <a:lnTo>
                  <a:pt x="60" y="0"/>
                </a:lnTo>
                <a:lnTo>
                  <a:pt x="60" y="0"/>
                </a:lnTo>
                <a:lnTo>
                  <a:pt x="60" y="0"/>
                </a:lnTo>
                <a:lnTo>
                  <a:pt x="60" y="0"/>
                </a:lnTo>
                <a:lnTo>
                  <a:pt x="60" y="4"/>
                </a:lnTo>
                <a:lnTo>
                  <a:pt x="60" y="4"/>
                </a:lnTo>
                <a:lnTo>
                  <a:pt x="60" y="4"/>
                </a:lnTo>
                <a:lnTo>
                  <a:pt x="60" y="4"/>
                </a:lnTo>
                <a:lnTo>
                  <a:pt x="60" y="4"/>
                </a:lnTo>
                <a:lnTo>
                  <a:pt x="64" y="4"/>
                </a:lnTo>
                <a:lnTo>
                  <a:pt x="64" y="4"/>
                </a:lnTo>
                <a:lnTo>
                  <a:pt x="64" y="4"/>
                </a:lnTo>
                <a:lnTo>
                  <a:pt x="68" y="4"/>
                </a:lnTo>
                <a:lnTo>
                  <a:pt x="68" y="8"/>
                </a:lnTo>
                <a:lnTo>
                  <a:pt x="70" y="8"/>
                </a:lnTo>
                <a:lnTo>
                  <a:pt x="70" y="8"/>
                </a:lnTo>
                <a:lnTo>
                  <a:pt x="70" y="12"/>
                </a:lnTo>
                <a:lnTo>
                  <a:pt x="74" y="12"/>
                </a:lnTo>
                <a:lnTo>
                  <a:pt x="74" y="12"/>
                </a:lnTo>
                <a:lnTo>
                  <a:pt x="74" y="12"/>
                </a:lnTo>
                <a:lnTo>
                  <a:pt x="74" y="12"/>
                </a:lnTo>
                <a:lnTo>
                  <a:pt x="78" y="12"/>
                </a:lnTo>
                <a:lnTo>
                  <a:pt x="78" y="16"/>
                </a:lnTo>
                <a:lnTo>
                  <a:pt x="78" y="16"/>
                </a:lnTo>
                <a:lnTo>
                  <a:pt x="78" y="16"/>
                </a:lnTo>
                <a:lnTo>
                  <a:pt x="78" y="16"/>
                </a:lnTo>
                <a:lnTo>
                  <a:pt x="82" y="16"/>
                </a:lnTo>
                <a:lnTo>
                  <a:pt x="82" y="16"/>
                </a:lnTo>
                <a:lnTo>
                  <a:pt x="82" y="16"/>
                </a:lnTo>
                <a:lnTo>
                  <a:pt x="82" y="16"/>
                </a:lnTo>
                <a:lnTo>
                  <a:pt x="82" y="16"/>
                </a:lnTo>
                <a:lnTo>
                  <a:pt x="82" y="20"/>
                </a:lnTo>
                <a:lnTo>
                  <a:pt x="82" y="24"/>
                </a:lnTo>
                <a:lnTo>
                  <a:pt x="78" y="24"/>
                </a:lnTo>
                <a:lnTo>
                  <a:pt x="82" y="24"/>
                </a:lnTo>
                <a:lnTo>
                  <a:pt x="82" y="24"/>
                </a:lnTo>
                <a:lnTo>
                  <a:pt x="82" y="24"/>
                </a:lnTo>
                <a:lnTo>
                  <a:pt x="82" y="24"/>
                </a:lnTo>
                <a:lnTo>
                  <a:pt x="82" y="24"/>
                </a:lnTo>
                <a:lnTo>
                  <a:pt x="86" y="24"/>
                </a:lnTo>
                <a:lnTo>
                  <a:pt x="86" y="26"/>
                </a:lnTo>
                <a:lnTo>
                  <a:pt x="86" y="26"/>
                </a:lnTo>
                <a:lnTo>
                  <a:pt x="86" y="26"/>
                </a:lnTo>
                <a:lnTo>
                  <a:pt x="82" y="26"/>
                </a:lnTo>
                <a:lnTo>
                  <a:pt x="82" y="26"/>
                </a:lnTo>
                <a:lnTo>
                  <a:pt x="78" y="26"/>
                </a:lnTo>
                <a:lnTo>
                  <a:pt x="78" y="26"/>
                </a:lnTo>
                <a:lnTo>
                  <a:pt x="78" y="30"/>
                </a:lnTo>
                <a:lnTo>
                  <a:pt x="78" y="30"/>
                </a:lnTo>
                <a:lnTo>
                  <a:pt x="74" y="30"/>
                </a:lnTo>
                <a:lnTo>
                  <a:pt x="74" y="30"/>
                </a:lnTo>
                <a:lnTo>
                  <a:pt x="74" y="30"/>
                </a:lnTo>
                <a:lnTo>
                  <a:pt x="70" y="34"/>
                </a:lnTo>
                <a:lnTo>
                  <a:pt x="70" y="34"/>
                </a:lnTo>
                <a:lnTo>
                  <a:pt x="70" y="34"/>
                </a:lnTo>
                <a:lnTo>
                  <a:pt x="70" y="34"/>
                </a:lnTo>
                <a:lnTo>
                  <a:pt x="70" y="34"/>
                </a:lnTo>
                <a:lnTo>
                  <a:pt x="70" y="38"/>
                </a:lnTo>
                <a:lnTo>
                  <a:pt x="70" y="38"/>
                </a:lnTo>
                <a:lnTo>
                  <a:pt x="70" y="38"/>
                </a:lnTo>
                <a:lnTo>
                  <a:pt x="70" y="42"/>
                </a:lnTo>
                <a:lnTo>
                  <a:pt x="70" y="42"/>
                </a:lnTo>
                <a:lnTo>
                  <a:pt x="70" y="42"/>
                </a:lnTo>
                <a:lnTo>
                  <a:pt x="68" y="42"/>
                </a:lnTo>
                <a:lnTo>
                  <a:pt x="68" y="46"/>
                </a:lnTo>
                <a:lnTo>
                  <a:pt x="68" y="46"/>
                </a:lnTo>
                <a:lnTo>
                  <a:pt x="68" y="46"/>
                </a:lnTo>
                <a:lnTo>
                  <a:pt x="68" y="46"/>
                </a:lnTo>
                <a:lnTo>
                  <a:pt x="68" y="46"/>
                </a:lnTo>
                <a:lnTo>
                  <a:pt x="68" y="46"/>
                </a:lnTo>
                <a:lnTo>
                  <a:pt x="70" y="46"/>
                </a:lnTo>
                <a:lnTo>
                  <a:pt x="70" y="50"/>
                </a:lnTo>
                <a:lnTo>
                  <a:pt x="70" y="50"/>
                </a:lnTo>
                <a:lnTo>
                  <a:pt x="70" y="50"/>
                </a:lnTo>
                <a:lnTo>
                  <a:pt x="68" y="50"/>
                </a:lnTo>
                <a:lnTo>
                  <a:pt x="68" y="50"/>
                </a:lnTo>
                <a:lnTo>
                  <a:pt x="68" y="50"/>
                </a:lnTo>
                <a:lnTo>
                  <a:pt x="68" y="50"/>
                </a:lnTo>
                <a:lnTo>
                  <a:pt x="68" y="50"/>
                </a:lnTo>
                <a:lnTo>
                  <a:pt x="68" y="46"/>
                </a:lnTo>
                <a:lnTo>
                  <a:pt x="68" y="46"/>
                </a:lnTo>
                <a:lnTo>
                  <a:pt x="68" y="46"/>
                </a:lnTo>
                <a:lnTo>
                  <a:pt x="64" y="46"/>
                </a:lnTo>
                <a:lnTo>
                  <a:pt x="64" y="50"/>
                </a:lnTo>
                <a:lnTo>
                  <a:pt x="64" y="50"/>
                </a:lnTo>
                <a:lnTo>
                  <a:pt x="64" y="50"/>
                </a:lnTo>
                <a:lnTo>
                  <a:pt x="64" y="50"/>
                </a:lnTo>
                <a:lnTo>
                  <a:pt x="64" y="50"/>
                </a:lnTo>
                <a:lnTo>
                  <a:pt x="60" y="50"/>
                </a:lnTo>
                <a:lnTo>
                  <a:pt x="60" y="50"/>
                </a:lnTo>
                <a:lnTo>
                  <a:pt x="60" y="50"/>
                </a:lnTo>
                <a:lnTo>
                  <a:pt x="60" y="50"/>
                </a:lnTo>
                <a:lnTo>
                  <a:pt x="60" y="50"/>
                </a:lnTo>
                <a:lnTo>
                  <a:pt x="60" y="50"/>
                </a:lnTo>
                <a:lnTo>
                  <a:pt x="56" y="50"/>
                </a:lnTo>
                <a:lnTo>
                  <a:pt x="56" y="50"/>
                </a:lnTo>
                <a:lnTo>
                  <a:pt x="56" y="52"/>
                </a:lnTo>
                <a:lnTo>
                  <a:pt x="56" y="52"/>
                </a:lnTo>
                <a:lnTo>
                  <a:pt x="56" y="52"/>
                </a:lnTo>
                <a:lnTo>
                  <a:pt x="56" y="52"/>
                </a:lnTo>
                <a:lnTo>
                  <a:pt x="56" y="52"/>
                </a:lnTo>
                <a:lnTo>
                  <a:pt x="56" y="52"/>
                </a:lnTo>
                <a:lnTo>
                  <a:pt x="52" y="52"/>
                </a:lnTo>
                <a:lnTo>
                  <a:pt x="52" y="52"/>
                </a:lnTo>
                <a:lnTo>
                  <a:pt x="52" y="52"/>
                </a:lnTo>
                <a:lnTo>
                  <a:pt x="52" y="56"/>
                </a:lnTo>
                <a:lnTo>
                  <a:pt x="48" y="56"/>
                </a:lnTo>
                <a:lnTo>
                  <a:pt x="48" y="52"/>
                </a:lnTo>
                <a:lnTo>
                  <a:pt x="48" y="52"/>
                </a:lnTo>
                <a:lnTo>
                  <a:pt x="48" y="52"/>
                </a:lnTo>
                <a:lnTo>
                  <a:pt x="48" y="52"/>
                </a:lnTo>
                <a:lnTo>
                  <a:pt x="48" y="52"/>
                </a:lnTo>
                <a:lnTo>
                  <a:pt x="48" y="52"/>
                </a:lnTo>
                <a:lnTo>
                  <a:pt x="44" y="52"/>
                </a:lnTo>
                <a:lnTo>
                  <a:pt x="44" y="52"/>
                </a:lnTo>
                <a:lnTo>
                  <a:pt x="44" y="52"/>
                </a:lnTo>
                <a:lnTo>
                  <a:pt x="44" y="52"/>
                </a:lnTo>
                <a:lnTo>
                  <a:pt x="42" y="52"/>
                </a:lnTo>
                <a:lnTo>
                  <a:pt x="42" y="52"/>
                </a:lnTo>
                <a:lnTo>
                  <a:pt x="42" y="52"/>
                </a:lnTo>
                <a:lnTo>
                  <a:pt x="38" y="52"/>
                </a:lnTo>
                <a:lnTo>
                  <a:pt x="38" y="52"/>
                </a:lnTo>
                <a:lnTo>
                  <a:pt x="38" y="52"/>
                </a:lnTo>
                <a:lnTo>
                  <a:pt x="38" y="52"/>
                </a:lnTo>
                <a:lnTo>
                  <a:pt x="38" y="52"/>
                </a:lnTo>
                <a:lnTo>
                  <a:pt x="38" y="52"/>
                </a:lnTo>
                <a:close/>
                <a:moveTo>
                  <a:pt x="4" y="26"/>
                </a:moveTo>
                <a:lnTo>
                  <a:pt x="0" y="26"/>
                </a:lnTo>
                <a:lnTo>
                  <a:pt x="4" y="24"/>
                </a:lnTo>
                <a:lnTo>
                  <a:pt x="4" y="24"/>
                </a:lnTo>
                <a:lnTo>
                  <a:pt x="4" y="24"/>
                </a:lnTo>
                <a:lnTo>
                  <a:pt x="4" y="24"/>
                </a:lnTo>
                <a:lnTo>
                  <a:pt x="4" y="20"/>
                </a:lnTo>
                <a:lnTo>
                  <a:pt x="4" y="20"/>
                </a:lnTo>
                <a:lnTo>
                  <a:pt x="4" y="20"/>
                </a:lnTo>
                <a:lnTo>
                  <a:pt x="4" y="16"/>
                </a:lnTo>
                <a:lnTo>
                  <a:pt x="4" y="16"/>
                </a:lnTo>
                <a:lnTo>
                  <a:pt x="4" y="16"/>
                </a:lnTo>
                <a:lnTo>
                  <a:pt x="4" y="16"/>
                </a:lnTo>
                <a:lnTo>
                  <a:pt x="4" y="20"/>
                </a:lnTo>
                <a:lnTo>
                  <a:pt x="4" y="20"/>
                </a:lnTo>
                <a:lnTo>
                  <a:pt x="4" y="24"/>
                </a:lnTo>
                <a:lnTo>
                  <a:pt x="4" y="24"/>
                </a:lnTo>
                <a:lnTo>
                  <a:pt x="4" y="26"/>
                </a:lnTo>
                <a:lnTo>
                  <a:pt x="4" y="26"/>
                </a:lnTo>
                <a:lnTo>
                  <a:pt x="4" y="26"/>
                </a:lnTo>
                <a:close/>
              </a:path>
            </a:pathLst>
          </a:custGeom>
          <a:solidFill>
            <a:srgbClr val="A0DCFF"/>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05" name="Freeform 112"/>
          <p:cNvSpPr>
            <a:spLocks/>
          </p:cNvSpPr>
          <p:nvPr/>
        </p:nvSpPr>
        <p:spPr bwMode="auto">
          <a:xfrm>
            <a:off x="4355306" y="2609850"/>
            <a:ext cx="11906" cy="16669"/>
          </a:xfrm>
          <a:custGeom>
            <a:avLst/>
            <a:gdLst>
              <a:gd name="T0" fmla="*/ 6 w 10"/>
              <a:gd name="T1" fmla="*/ 10 h 14"/>
              <a:gd name="T2" fmla="*/ 6 w 10"/>
              <a:gd name="T3" fmla="*/ 14 h 14"/>
              <a:gd name="T4" fmla="*/ 6 w 10"/>
              <a:gd name="T5" fmla="*/ 14 h 14"/>
              <a:gd name="T6" fmla="*/ 6 w 10"/>
              <a:gd name="T7" fmla="*/ 14 h 14"/>
              <a:gd name="T8" fmla="*/ 6 w 10"/>
              <a:gd name="T9" fmla="*/ 14 h 14"/>
              <a:gd name="T10" fmla="*/ 6 w 10"/>
              <a:gd name="T11" fmla="*/ 10 h 14"/>
              <a:gd name="T12" fmla="*/ 6 w 10"/>
              <a:gd name="T13" fmla="*/ 10 h 14"/>
              <a:gd name="T14" fmla="*/ 4 w 10"/>
              <a:gd name="T15" fmla="*/ 10 h 14"/>
              <a:gd name="T16" fmla="*/ 4 w 10"/>
              <a:gd name="T17" fmla="*/ 14 h 14"/>
              <a:gd name="T18" fmla="*/ 4 w 10"/>
              <a:gd name="T19" fmla="*/ 14 h 14"/>
              <a:gd name="T20" fmla="*/ 4 w 10"/>
              <a:gd name="T21" fmla="*/ 14 h 14"/>
              <a:gd name="T22" fmla="*/ 0 w 10"/>
              <a:gd name="T23" fmla="*/ 14 h 14"/>
              <a:gd name="T24" fmla="*/ 0 w 10"/>
              <a:gd name="T25" fmla="*/ 10 h 14"/>
              <a:gd name="T26" fmla="*/ 0 w 10"/>
              <a:gd name="T27" fmla="*/ 10 h 14"/>
              <a:gd name="T28" fmla="*/ 0 w 10"/>
              <a:gd name="T29" fmla="*/ 10 h 14"/>
              <a:gd name="T30" fmla="*/ 0 w 10"/>
              <a:gd name="T31" fmla="*/ 10 h 14"/>
              <a:gd name="T32" fmla="*/ 0 w 10"/>
              <a:gd name="T33" fmla="*/ 10 h 14"/>
              <a:gd name="T34" fmla="*/ 0 w 10"/>
              <a:gd name="T35" fmla="*/ 10 h 14"/>
              <a:gd name="T36" fmla="*/ 0 w 10"/>
              <a:gd name="T37" fmla="*/ 10 h 14"/>
              <a:gd name="T38" fmla="*/ 0 w 10"/>
              <a:gd name="T39" fmla="*/ 6 h 14"/>
              <a:gd name="T40" fmla="*/ 0 w 10"/>
              <a:gd name="T41" fmla="*/ 6 h 14"/>
              <a:gd name="T42" fmla="*/ 0 w 10"/>
              <a:gd name="T43" fmla="*/ 6 h 14"/>
              <a:gd name="T44" fmla="*/ 0 w 10"/>
              <a:gd name="T45" fmla="*/ 6 h 14"/>
              <a:gd name="T46" fmla="*/ 0 w 10"/>
              <a:gd name="T47" fmla="*/ 6 h 14"/>
              <a:gd name="T48" fmla="*/ 0 w 10"/>
              <a:gd name="T49" fmla="*/ 2 h 14"/>
              <a:gd name="T50" fmla="*/ 0 w 10"/>
              <a:gd name="T51" fmla="*/ 2 h 14"/>
              <a:gd name="T52" fmla="*/ 0 w 10"/>
              <a:gd name="T53" fmla="*/ 2 h 14"/>
              <a:gd name="T54" fmla="*/ 0 w 10"/>
              <a:gd name="T55" fmla="*/ 0 h 14"/>
              <a:gd name="T56" fmla="*/ 0 w 10"/>
              <a:gd name="T57" fmla="*/ 0 h 14"/>
              <a:gd name="T58" fmla="*/ 4 w 10"/>
              <a:gd name="T59" fmla="*/ 0 h 14"/>
              <a:gd name="T60" fmla="*/ 4 w 10"/>
              <a:gd name="T61" fmla="*/ 0 h 14"/>
              <a:gd name="T62" fmla="*/ 4 w 10"/>
              <a:gd name="T63" fmla="*/ 0 h 14"/>
              <a:gd name="T64" fmla="*/ 4 w 10"/>
              <a:gd name="T65" fmla="*/ 0 h 14"/>
              <a:gd name="T66" fmla="*/ 4 w 10"/>
              <a:gd name="T67" fmla="*/ 0 h 14"/>
              <a:gd name="T68" fmla="*/ 4 w 10"/>
              <a:gd name="T69" fmla="*/ 0 h 14"/>
              <a:gd name="T70" fmla="*/ 4 w 10"/>
              <a:gd name="T71" fmla="*/ 0 h 14"/>
              <a:gd name="T72" fmla="*/ 4 w 10"/>
              <a:gd name="T73" fmla="*/ 0 h 14"/>
              <a:gd name="T74" fmla="*/ 4 w 10"/>
              <a:gd name="T75" fmla="*/ 0 h 14"/>
              <a:gd name="T76" fmla="*/ 4 w 10"/>
              <a:gd name="T77" fmla="*/ 2 h 14"/>
              <a:gd name="T78" fmla="*/ 4 w 10"/>
              <a:gd name="T79" fmla="*/ 2 h 14"/>
              <a:gd name="T80" fmla="*/ 4 w 10"/>
              <a:gd name="T81" fmla="*/ 2 h 14"/>
              <a:gd name="T82" fmla="*/ 6 w 10"/>
              <a:gd name="T83" fmla="*/ 2 h 14"/>
              <a:gd name="T84" fmla="*/ 6 w 10"/>
              <a:gd name="T85" fmla="*/ 2 h 14"/>
              <a:gd name="T86" fmla="*/ 6 w 10"/>
              <a:gd name="T87" fmla="*/ 6 h 14"/>
              <a:gd name="T88" fmla="*/ 6 w 10"/>
              <a:gd name="T89" fmla="*/ 6 h 14"/>
              <a:gd name="T90" fmla="*/ 6 w 10"/>
              <a:gd name="T91" fmla="*/ 6 h 14"/>
              <a:gd name="T92" fmla="*/ 6 w 10"/>
              <a:gd name="T93" fmla="*/ 6 h 14"/>
              <a:gd name="T94" fmla="*/ 10 w 10"/>
              <a:gd name="T95" fmla="*/ 6 h 14"/>
              <a:gd name="T96" fmla="*/ 10 w 10"/>
              <a:gd name="T97" fmla="*/ 6 h 14"/>
              <a:gd name="T98" fmla="*/ 10 w 10"/>
              <a:gd name="T99" fmla="*/ 6 h 14"/>
              <a:gd name="T100" fmla="*/ 10 w 10"/>
              <a:gd name="T101" fmla="*/ 6 h 14"/>
              <a:gd name="T102" fmla="*/ 6 w 10"/>
              <a:gd name="T103" fmla="*/ 10 h 14"/>
              <a:gd name="T104" fmla="*/ 6 w 10"/>
              <a:gd name="T105" fmla="*/ 10 h 14"/>
              <a:gd name="T106" fmla="*/ 6 w 10"/>
              <a:gd name="T107" fmla="*/ 10 h 14"/>
              <a:gd name="T108" fmla="*/ 6 w 10"/>
              <a:gd name="T109" fmla="*/ 1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 h="14">
                <a:moveTo>
                  <a:pt x="6" y="10"/>
                </a:moveTo>
                <a:lnTo>
                  <a:pt x="6" y="14"/>
                </a:lnTo>
                <a:lnTo>
                  <a:pt x="6" y="14"/>
                </a:lnTo>
                <a:lnTo>
                  <a:pt x="6" y="14"/>
                </a:lnTo>
                <a:lnTo>
                  <a:pt x="6" y="14"/>
                </a:lnTo>
                <a:lnTo>
                  <a:pt x="6" y="10"/>
                </a:lnTo>
                <a:lnTo>
                  <a:pt x="6" y="10"/>
                </a:lnTo>
                <a:lnTo>
                  <a:pt x="4" y="10"/>
                </a:lnTo>
                <a:lnTo>
                  <a:pt x="4" y="14"/>
                </a:lnTo>
                <a:lnTo>
                  <a:pt x="4" y="14"/>
                </a:lnTo>
                <a:lnTo>
                  <a:pt x="4" y="14"/>
                </a:lnTo>
                <a:lnTo>
                  <a:pt x="0" y="14"/>
                </a:lnTo>
                <a:lnTo>
                  <a:pt x="0" y="10"/>
                </a:lnTo>
                <a:lnTo>
                  <a:pt x="0" y="10"/>
                </a:lnTo>
                <a:lnTo>
                  <a:pt x="0" y="10"/>
                </a:lnTo>
                <a:lnTo>
                  <a:pt x="0" y="10"/>
                </a:lnTo>
                <a:lnTo>
                  <a:pt x="0" y="10"/>
                </a:lnTo>
                <a:lnTo>
                  <a:pt x="0" y="10"/>
                </a:lnTo>
                <a:lnTo>
                  <a:pt x="0" y="10"/>
                </a:lnTo>
                <a:lnTo>
                  <a:pt x="0" y="6"/>
                </a:lnTo>
                <a:lnTo>
                  <a:pt x="0" y="6"/>
                </a:lnTo>
                <a:lnTo>
                  <a:pt x="0" y="6"/>
                </a:lnTo>
                <a:lnTo>
                  <a:pt x="0" y="6"/>
                </a:lnTo>
                <a:lnTo>
                  <a:pt x="0" y="6"/>
                </a:lnTo>
                <a:lnTo>
                  <a:pt x="0" y="2"/>
                </a:lnTo>
                <a:lnTo>
                  <a:pt x="0" y="2"/>
                </a:lnTo>
                <a:lnTo>
                  <a:pt x="0" y="2"/>
                </a:lnTo>
                <a:lnTo>
                  <a:pt x="0" y="0"/>
                </a:lnTo>
                <a:lnTo>
                  <a:pt x="0" y="0"/>
                </a:lnTo>
                <a:lnTo>
                  <a:pt x="4" y="0"/>
                </a:lnTo>
                <a:lnTo>
                  <a:pt x="4" y="0"/>
                </a:lnTo>
                <a:lnTo>
                  <a:pt x="4" y="0"/>
                </a:lnTo>
                <a:lnTo>
                  <a:pt x="4" y="0"/>
                </a:lnTo>
                <a:lnTo>
                  <a:pt x="4" y="0"/>
                </a:lnTo>
                <a:lnTo>
                  <a:pt x="4" y="0"/>
                </a:lnTo>
                <a:lnTo>
                  <a:pt x="4" y="0"/>
                </a:lnTo>
                <a:lnTo>
                  <a:pt x="4" y="0"/>
                </a:lnTo>
                <a:lnTo>
                  <a:pt x="4" y="0"/>
                </a:lnTo>
                <a:lnTo>
                  <a:pt x="4" y="2"/>
                </a:lnTo>
                <a:lnTo>
                  <a:pt x="4" y="2"/>
                </a:lnTo>
                <a:lnTo>
                  <a:pt x="4" y="2"/>
                </a:lnTo>
                <a:lnTo>
                  <a:pt x="6" y="2"/>
                </a:lnTo>
                <a:lnTo>
                  <a:pt x="6" y="2"/>
                </a:lnTo>
                <a:lnTo>
                  <a:pt x="6" y="6"/>
                </a:lnTo>
                <a:lnTo>
                  <a:pt x="6" y="6"/>
                </a:lnTo>
                <a:lnTo>
                  <a:pt x="6" y="6"/>
                </a:lnTo>
                <a:lnTo>
                  <a:pt x="6" y="6"/>
                </a:lnTo>
                <a:lnTo>
                  <a:pt x="10" y="6"/>
                </a:lnTo>
                <a:lnTo>
                  <a:pt x="10" y="6"/>
                </a:lnTo>
                <a:lnTo>
                  <a:pt x="10" y="6"/>
                </a:lnTo>
                <a:lnTo>
                  <a:pt x="10" y="6"/>
                </a:lnTo>
                <a:lnTo>
                  <a:pt x="6" y="10"/>
                </a:lnTo>
                <a:lnTo>
                  <a:pt x="6" y="10"/>
                </a:lnTo>
                <a:lnTo>
                  <a:pt x="6" y="10"/>
                </a:lnTo>
                <a:lnTo>
                  <a:pt x="6" y="10"/>
                </a:lnTo>
                <a:close/>
              </a:path>
            </a:pathLst>
          </a:custGeom>
          <a:solidFill>
            <a:srgbClr val="A0DCFF"/>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06" name="Freeform 113"/>
          <p:cNvSpPr>
            <a:spLocks/>
          </p:cNvSpPr>
          <p:nvPr/>
        </p:nvSpPr>
        <p:spPr bwMode="auto">
          <a:xfrm>
            <a:off x="4602956" y="2793206"/>
            <a:ext cx="40481" cy="35719"/>
          </a:xfrm>
          <a:custGeom>
            <a:avLst/>
            <a:gdLst>
              <a:gd name="T0" fmla="*/ 0 w 34"/>
              <a:gd name="T1" fmla="*/ 12 h 30"/>
              <a:gd name="T2" fmla="*/ 4 w 34"/>
              <a:gd name="T3" fmla="*/ 12 h 30"/>
              <a:gd name="T4" fmla="*/ 4 w 34"/>
              <a:gd name="T5" fmla="*/ 8 h 30"/>
              <a:gd name="T6" fmla="*/ 4 w 34"/>
              <a:gd name="T7" fmla="*/ 8 h 30"/>
              <a:gd name="T8" fmla="*/ 4 w 34"/>
              <a:gd name="T9" fmla="*/ 4 h 30"/>
              <a:gd name="T10" fmla="*/ 8 w 34"/>
              <a:gd name="T11" fmla="*/ 4 h 30"/>
              <a:gd name="T12" fmla="*/ 12 w 34"/>
              <a:gd name="T13" fmla="*/ 4 h 30"/>
              <a:gd name="T14" fmla="*/ 12 w 34"/>
              <a:gd name="T15" fmla="*/ 4 h 30"/>
              <a:gd name="T16" fmla="*/ 16 w 34"/>
              <a:gd name="T17" fmla="*/ 4 h 30"/>
              <a:gd name="T18" fmla="*/ 16 w 34"/>
              <a:gd name="T19" fmla="*/ 4 h 30"/>
              <a:gd name="T20" fmla="*/ 20 w 34"/>
              <a:gd name="T21" fmla="*/ 0 h 30"/>
              <a:gd name="T22" fmla="*/ 22 w 34"/>
              <a:gd name="T23" fmla="*/ 0 h 30"/>
              <a:gd name="T24" fmla="*/ 22 w 34"/>
              <a:gd name="T25" fmla="*/ 0 h 30"/>
              <a:gd name="T26" fmla="*/ 26 w 34"/>
              <a:gd name="T27" fmla="*/ 0 h 30"/>
              <a:gd name="T28" fmla="*/ 26 w 34"/>
              <a:gd name="T29" fmla="*/ 4 h 30"/>
              <a:gd name="T30" fmla="*/ 30 w 34"/>
              <a:gd name="T31" fmla="*/ 4 h 30"/>
              <a:gd name="T32" fmla="*/ 34 w 34"/>
              <a:gd name="T33" fmla="*/ 8 h 30"/>
              <a:gd name="T34" fmla="*/ 34 w 34"/>
              <a:gd name="T35" fmla="*/ 12 h 30"/>
              <a:gd name="T36" fmla="*/ 34 w 34"/>
              <a:gd name="T37" fmla="*/ 12 h 30"/>
              <a:gd name="T38" fmla="*/ 34 w 34"/>
              <a:gd name="T39" fmla="*/ 12 h 30"/>
              <a:gd name="T40" fmla="*/ 34 w 34"/>
              <a:gd name="T41" fmla="*/ 16 h 30"/>
              <a:gd name="T42" fmla="*/ 34 w 34"/>
              <a:gd name="T43" fmla="*/ 16 h 30"/>
              <a:gd name="T44" fmla="*/ 34 w 34"/>
              <a:gd name="T45" fmla="*/ 20 h 30"/>
              <a:gd name="T46" fmla="*/ 34 w 34"/>
              <a:gd name="T47" fmla="*/ 20 h 30"/>
              <a:gd name="T48" fmla="*/ 34 w 34"/>
              <a:gd name="T49" fmla="*/ 20 h 30"/>
              <a:gd name="T50" fmla="*/ 30 w 34"/>
              <a:gd name="T51" fmla="*/ 24 h 30"/>
              <a:gd name="T52" fmla="*/ 30 w 34"/>
              <a:gd name="T53" fmla="*/ 24 h 30"/>
              <a:gd name="T54" fmla="*/ 30 w 34"/>
              <a:gd name="T55" fmla="*/ 26 h 30"/>
              <a:gd name="T56" fmla="*/ 26 w 34"/>
              <a:gd name="T57" fmla="*/ 26 h 30"/>
              <a:gd name="T58" fmla="*/ 26 w 34"/>
              <a:gd name="T59" fmla="*/ 24 h 30"/>
              <a:gd name="T60" fmla="*/ 22 w 34"/>
              <a:gd name="T61" fmla="*/ 24 h 30"/>
              <a:gd name="T62" fmla="*/ 20 w 34"/>
              <a:gd name="T63" fmla="*/ 26 h 30"/>
              <a:gd name="T64" fmla="*/ 20 w 34"/>
              <a:gd name="T65" fmla="*/ 30 h 30"/>
              <a:gd name="T66" fmla="*/ 16 w 34"/>
              <a:gd name="T67" fmla="*/ 30 h 30"/>
              <a:gd name="T68" fmla="*/ 16 w 34"/>
              <a:gd name="T69" fmla="*/ 30 h 30"/>
              <a:gd name="T70" fmla="*/ 12 w 34"/>
              <a:gd name="T71" fmla="*/ 30 h 30"/>
              <a:gd name="T72" fmla="*/ 12 w 34"/>
              <a:gd name="T73" fmla="*/ 30 h 30"/>
              <a:gd name="T74" fmla="*/ 8 w 34"/>
              <a:gd name="T75" fmla="*/ 30 h 30"/>
              <a:gd name="T76" fmla="*/ 8 w 34"/>
              <a:gd name="T77" fmla="*/ 30 h 30"/>
              <a:gd name="T78" fmla="*/ 4 w 34"/>
              <a:gd name="T79" fmla="*/ 30 h 30"/>
              <a:gd name="T80" fmla="*/ 4 w 34"/>
              <a:gd name="T81" fmla="*/ 30 h 30"/>
              <a:gd name="T82" fmla="*/ 4 w 34"/>
              <a:gd name="T83" fmla="*/ 30 h 30"/>
              <a:gd name="T84" fmla="*/ 0 w 34"/>
              <a:gd name="T85" fmla="*/ 26 h 30"/>
              <a:gd name="T86" fmla="*/ 0 w 34"/>
              <a:gd name="T87" fmla="*/ 24 h 30"/>
              <a:gd name="T88" fmla="*/ 0 w 34"/>
              <a:gd name="T89" fmla="*/ 20 h 30"/>
              <a:gd name="T90" fmla="*/ 0 w 34"/>
              <a:gd name="T91" fmla="*/ 20 h 30"/>
              <a:gd name="T92" fmla="*/ 0 w 34"/>
              <a:gd name="T93" fmla="*/ 20 h 30"/>
              <a:gd name="T94" fmla="*/ 0 w 34"/>
              <a:gd name="T95" fmla="*/ 20 h 30"/>
              <a:gd name="T96" fmla="*/ 0 w 34"/>
              <a:gd name="T97" fmla="*/ 16 h 30"/>
              <a:gd name="T98" fmla="*/ 0 w 34"/>
              <a:gd name="T99" fmla="*/ 12 h 30"/>
              <a:gd name="T100" fmla="*/ 0 w 34"/>
              <a:gd name="T101" fmla="*/ 1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4" h="30">
                <a:moveTo>
                  <a:pt x="0" y="12"/>
                </a:moveTo>
                <a:lnTo>
                  <a:pt x="0" y="12"/>
                </a:lnTo>
                <a:lnTo>
                  <a:pt x="0" y="12"/>
                </a:lnTo>
                <a:lnTo>
                  <a:pt x="4" y="12"/>
                </a:lnTo>
                <a:lnTo>
                  <a:pt x="4" y="12"/>
                </a:lnTo>
                <a:lnTo>
                  <a:pt x="4" y="8"/>
                </a:lnTo>
                <a:lnTo>
                  <a:pt x="4" y="8"/>
                </a:lnTo>
                <a:lnTo>
                  <a:pt x="4" y="8"/>
                </a:lnTo>
                <a:lnTo>
                  <a:pt x="4" y="8"/>
                </a:lnTo>
                <a:lnTo>
                  <a:pt x="4" y="4"/>
                </a:lnTo>
                <a:lnTo>
                  <a:pt x="8" y="4"/>
                </a:lnTo>
                <a:lnTo>
                  <a:pt x="8" y="4"/>
                </a:lnTo>
                <a:lnTo>
                  <a:pt x="12" y="4"/>
                </a:lnTo>
                <a:lnTo>
                  <a:pt x="12" y="4"/>
                </a:lnTo>
                <a:lnTo>
                  <a:pt x="12" y="4"/>
                </a:lnTo>
                <a:lnTo>
                  <a:pt x="12" y="4"/>
                </a:lnTo>
                <a:lnTo>
                  <a:pt x="16" y="4"/>
                </a:lnTo>
                <a:lnTo>
                  <a:pt x="16" y="4"/>
                </a:lnTo>
                <a:lnTo>
                  <a:pt x="16" y="4"/>
                </a:lnTo>
                <a:lnTo>
                  <a:pt x="16" y="4"/>
                </a:lnTo>
                <a:lnTo>
                  <a:pt x="20" y="4"/>
                </a:lnTo>
                <a:lnTo>
                  <a:pt x="20" y="0"/>
                </a:lnTo>
                <a:lnTo>
                  <a:pt x="20" y="0"/>
                </a:lnTo>
                <a:lnTo>
                  <a:pt x="22" y="0"/>
                </a:lnTo>
                <a:lnTo>
                  <a:pt x="22" y="0"/>
                </a:lnTo>
                <a:lnTo>
                  <a:pt x="22" y="0"/>
                </a:lnTo>
                <a:lnTo>
                  <a:pt x="22" y="0"/>
                </a:lnTo>
                <a:lnTo>
                  <a:pt x="26" y="0"/>
                </a:lnTo>
                <a:lnTo>
                  <a:pt x="26" y="0"/>
                </a:lnTo>
                <a:lnTo>
                  <a:pt x="26" y="4"/>
                </a:lnTo>
                <a:lnTo>
                  <a:pt x="26" y="4"/>
                </a:lnTo>
                <a:lnTo>
                  <a:pt x="30" y="4"/>
                </a:lnTo>
                <a:lnTo>
                  <a:pt x="30" y="8"/>
                </a:lnTo>
                <a:lnTo>
                  <a:pt x="34" y="8"/>
                </a:lnTo>
                <a:lnTo>
                  <a:pt x="34" y="8"/>
                </a:lnTo>
                <a:lnTo>
                  <a:pt x="34" y="12"/>
                </a:lnTo>
                <a:lnTo>
                  <a:pt x="34" y="12"/>
                </a:lnTo>
                <a:lnTo>
                  <a:pt x="34" y="12"/>
                </a:lnTo>
                <a:lnTo>
                  <a:pt x="34" y="12"/>
                </a:lnTo>
                <a:lnTo>
                  <a:pt x="34" y="12"/>
                </a:lnTo>
                <a:lnTo>
                  <a:pt x="34" y="16"/>
                </a:lnTo>
                <a:lnTo>
                  <a:pt x="34" y="16"/>
                </a:lnTo>
                <a:lnTo>
                  <a:pt x="34" y="16"/>
                </a:lnTo>
                <a:lnTo>
                  <a:pt x="34" y="16"/>
                </a:lnTo>
                <a:lnTo>
                  <a:pt x="34" y="20"/>
                </a:lnTo>
                <a:lnTo>
                  <a:pt x="34" y="20"/>
                </a:lnTo>
                <a:lnTo>
                  <a:pt x="34" y="20"/>
                </a:lnTo>
                <a:lnTo>
                  <a:pt x="34" y="20"/>
                </a:lnTo>
                <a:lnTo>
                  <a:pt x="34" y="20"/>
                </a:lnTo>
                <a:lnTo>
                  <a:pt x="34" y="20"/>
                </a:lnTo>
                <a:lnTo>
                  <a:pt x="30" y="24"/>
                </a:lnTo>
                <a:lnTo>
                  <a:pt x="30" y="24"/>
                </a:lnTo>
                <a:lnTo>
                  <a:pt x="30" y="24"/>
                </a:lnTo>
                <a:lnTo>
                  <a:pt x="30" y="24"/>
                </a:lnTo>
                <a:lnTo>
                  <a:pt x="30" y="24"/>
                </a:lnTo>
                <a:lnTo>
                  <a:pt x="30" y="26"/>
                </a:lnTo>
                <a:lnTo>
                  <a:pt x="26" y="26"/>
                </a:lnTo>
                <a:lnTo>
                  <a:pt x="26" y="26"/>
                </a:lnTo>
                <a:lnTo>
                  <a:pt x="26" y="26"/>
                </a:lnTo>
                <a:lnTo>
                  <a:pt x="26" y="24"/>
                </a:lnTo>
                <a:lnTo>
                  <a:pt x="22" y="24"/>
                </a:lnTo>
                <a:lnTo>
                  <a:pt x="22" y="24"/>
                </a:lnTo>
                <a:lnTo>
                  <a:pt x="20" y="26"/>
                </a:lnTo>
                <a:lnTo>
                  <a:pt x="20" y="26"/>
                </a:lnTo>
                <a:lnTo>
                  <a:pt x="20" y="26"/>
                </a:lnTo>
                <a:lnTo>
                  <a:pt x="20" y="30"/>
                </a:lnTo>
                <a:lnTo>
                  <a:pt x="16" y="30"/>
                </a:lnTo>
                <a:lnTo>
                  <a:pt x="16" y="30"/>
                </a:lnTo>
                <a:lnTo>
                  <a:pt x="16" y="30"/>
                </a:lnTo>
                <a:lnTo>
                  <a:pt x="16" y="30"/>
                </a:lnTo>
                <a:lnTo>
                  <a:pt x="12" y="30"/>
                </a:lnTo>
                <a:lnTo>
                  <a:pt x="12" y="30"/>
                </a:lnTo>
                <a:lnTo>
                  <a:pt x="12" y="30"/>
                </a:lnTo>
                <a:lnTo>
                  <a:pt x="12" y="30"/>
                </a:lnTo>
                <a:lnTo>
                  <a:pt x="8" y="30"/>
                </a:lnTo>
                <a:lnTo>
                  <a:pt x="8" y="30"/>
                </a:lnTo>
                <a:lnTo>
                  <a:pt x="8" y="30"/>
                </a:lnTo>
                <a:lnTo>
                  <a:pt x="8" y="30"/>
                </a:lnTo>
                <a:lnTo>
                  <a:pt x="8" y="30"/>
                </a:lnTo>
                <a:lnTo>
                  <a:pt x="4" y="30"/>
                </a:lnTo>
                <a:lnTo>
                  <a:pt x="4" y="30"/>
                </a:lnTo>
                <a:lnTo>
                  <a:pt x="4" y="30"/>
                </a:lnTo>
                <a:lnTo>
                  <a:pt x="4" y="30"/>
                </a:lnTo>
                <a:lnTo>
                  <a:pt x="4" y="30"/>
                </a:lnTo>
                <a:lnTo>
                  <a:pt x="0" y="26"/>
                </a:lnTo>
                <a:lnTo>
                  <a:pt x="0" y="26"/>
                </a:lnTo>
                <a:lnTo>
                  <a:pt x="0" y="24"/>
                </a:lnTo>
                <a:lnTo>
                  <a:pt x="0" y="24"/>
                </a:lnTo>
                <a:lnTo>
                  <a:pt x="0" y="24"/>
                </a:lnTo>
                <a:lnTo>
                  <a:pt x="0" y="20"/>
                </a:lnTo>
                <a:lnTo>
                  <a:pt x="0" y="20"/>
                </a:lnTo>
                <a:lnTo>
                  <a:pt x="0" y="20"/>
                </a:lnTo>
                <a:lnTo>
                  <a:pt x="0" y="20"/>
                </a:lnTo>
                <a:lnTo>
                  <a:pt x="0" y="20"/>
                </a:lnTo>
                <a:lnTo>
                  <a:pt x="0" y="20"/>
                </a:lnTo>
                <a:lnTo>
                  <a:pt x="0" y="20"/>
                </a:lnTo>
                <a:lnTo>
                  <a:pt x="0" y="16"/>
                </a:lnTo>
                <a:lnTo>
                  <a:pt x="0" y="16"/>
                </a:lnTo>
                <a:lnTo>
                  <a:pt x="0" y="12"/>
                </a:lnTo>
                <a:lnTo>
                  <a:pt x="0" y="12"/>
                </a:lnTo>
                <a:lnTo>
                  <a:pt x="0" y="12"/>
                </a:lnTo>
                <a:lnTo>
                  <a:pt x="0" y="12"/>
                </a:lnTo>
                <a:lnTo>
                  <a:pt x="0" y="12"/>
                </a:lnTo>
                <a:close/>
              </a:path>
            </a:pathLst>
          </a:custGeom>
          <a:solidFill>
            <a:srgbClr val="A0DCFF"/>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07" name="Freeform 114"/>
          <p:cNvSpPr>
            <a:spLocks/>
          </p:cNvSpPr>
          <p:nvPr/>
        </p:nvSpPr>
        <p:spPr bwMode="auto">
          <a:xfrm>
            <a:off x="4705350" y="2647949"/>
            <a:ext cx="57150" cy="76200"/>
          </a:xfrm>
          <a:custGeom>
            <a:avLst/>
            <a:gdLst>
              <a:gd name="T0" fmla="*/ 22 w 48"/>
              <a:gd name="T1" fmla="*/ 42 h 64"/>
              <a:gd name="T2" fmla="*/ 22 w 48"/>
              <a:gd name="T3" fmla="*/ 38 h 64"/>
              <a:gd name="T4" fmla="*/ 22 w 48"/>
              <a:gd name="T5" fmla="*/ 34 h 64"/>
              <a:gd name="T6" fmla="*/ 20 w 48"/>
              <a:gd name="T7" fmla="*/ 30 h 64"/>
              <a:gd name="T8" fmla="*/ 16 w 48"/>
              <a:gd name="T9" fmla="*/ 26 h 64"/>
              <a:gd name="T10" fmla="*/ 16 w 48"/>
              <a:gd name="T11" fmla="*/ 24 h 64"/>
              <a:gd name="T12" fmla="*/ 12 w 48"/>
              <a:gd name="T13" fmla="*/ 20 h 64"/>
              <a:gd name="T14" fmla="*/ 8 w 48"/>
              <a:gd name="T15" fmla="*/ 16 h 64"/>
              <a:gd name="T16" fmla="*/ 4 w 48"/>
              <a:gd name="T17" fmla="*/ 8 h 64"/>
              <a:gd name="T18" fmla="*/ 0 w 48"/>
              <a:gd name="T19" fmla="*/ 4 h 64"/>
              <a:gd name="T20" fmla="*/ 4 w 48"/>
              <a:gd name="T21" fmla="*/ 4 h 64"/>
              <a:gd name="T22" fmla="*/ 16 w 48"/>
              <a:gd name="T23" fmla="*/ 0 h 64"/>
              <a:gd name="T24" fmla="*/ 20 w 48"/>
              <a:gd name="T25" fmla="*/ 4 h 64"/>
              <a:gd name="T26" fmla="*/ 20 w 48"/>
              <a:gd name="T27" fmla="*/ 4 h 64"/>
              <a:gd name="T28" fmla="*/ 22 w 48"/>
              <a:gd name="T29" fmla="*/ 8 h 64"/>
              <a:gd name="T30" fmla="*/ 26 w 48"/>
              <a:gd name="T31" fmla="*/ 4 h 64"/>
              <a:gd name="T32" fmla="*/ 26 w 48"/>
              <a:gd name="T33" fmla="*/ 8 h 64"/>
              <a:gd name="T34" fmla="*/ 30 w 48"/>
              <a:gd name="T35" fmla="*/ 8 h 64"/>
              <a:gd name="T36" fmla="*/ 34 w 48"/>
              <a:gd name="T37" fmla="*/ 12 h 64"/>
              <a:gd name="T38" fmla="*/ 34 w 48"/>
              <a:gd name="T39" fmla="*/ 12 h 64"/>
              <a:gd name="T40" fmla="*/ 34 w 48"/>
              <a:gd name="T41" fmla="*/ 12 h 64"/>
              <a:gd name="T42" fmla="*/ 36 w 48"/>
              <a:gd name="T43" fmla="*/ 20 h 64"/>
              <a:gd name="T44" fmla="*/ 36 w 48"/>
              <a:gd name="T45" fmla="*/ 24 h 64"/>
              <a:gd name="T46" fmla="*/ 36 w 48"/>
              <a:gd name="T47" fmla="*/ 24 h 64"/>
              <a:gd name="T48" fmla="*/ 40 w 48"/>
              <a:gd name="T49" fmla="*/ 26 h 64"/>
              <a:gd name="T50" fmla="*/ 40 w 48"/>
              <a:gd name="T51" fmla="*/ 26 h 64"/>
              <a:gd name="T52" fmla="*/ 40 w 48"/>
              <a:gd name="T53" fmla="*/ 34 h 64"/>
              <a:gd name="T54" fmla="*/ 48 w 48"/>
              <a:gd name="T55" fmla="*/ 38 h 64"/>
              <a:gd name="T56" fmla="*/ 48 w 48"/>
              <a:gd name="T57" fmla="*/ 42 h 64"/>
              <a:gd name="T58" fmla="*/ 48 w 48"/>
              <a:gd name="T59" fmla="*/ 42 h 64"/>
              <a:gd name="T60" fmla="*/ 48 w 48"/>
              <a:gd name="T61" fmla="*/ 46 h 64"/>
              <a:gd name="T62" fmla="*/ 44 w 48"/>
              <a:gd name="T63" fmla="*/ 46 h 64"/>
              <a:gd name="T64" fmla="*/ 40 w 48"/>
              <a:gd name="T65" fmla="*/ 46 h 64"/>
              <a:gd name="T66" fmla="*/ 36 w 48"/>
              <a:gd name="T67" fmla="*/ 42 h 64"/>
              <a:gd name="T68" fmla="*/ 36 w 48"/>
              <a:gd name="T69" fmla="*/ 46 h 64"/>
              <a:gd name="T70" fmla="*/ 36 w 48"/>
              <a:gd name="T71" fmla="*/ 42 h 64"/>
              <a:gd name="T72" fmla="*/ 34 w 48"/>
              <a:gd name="T73" fmla="*/ 42 h 64"/>
              <a:gd name="T74" fmla="*/ 34 w 48"/>
              <a:gd name="T75" fmla="*/ 50 h 64"/>
              <a:gd name="T76" fmla="*/ 30 w 48"/>
              <a:gd name="T77" fmla="*/ 54 h 64"/>
              <a:gd name="T78" fmla="*/ 30 w 48"/>
              <a:gd name="T79" fmla="*/ 54 h 64"/>
              <a:gd name="T80" fmla="*/ 26 w 48"/>
              <a:gd name="T81" fmla="*/ 56 h 64"/>
              <a:gd name="T82" fmla="*/ 26 w 48"/>
              <a:gd name="T83" fmla="*/ 60 h 64"/>
              <a:gd name="T84" fmla="*/ 22 w 48"/>
              <a:gd name="T85" fmla="*/ 60 h 64"/>
              <a:gd name="T86" fmla="*/ 22 w 48"/>
              <a:gd name="T87" fmla="*/ 60 h 64"/>
              <a:gd name="T88" fmla="*/ 22 w 48"/>
              <a:gd name="T89" fmla="*/ 64 h 64"/>
              <a:gd name="T90" fmla="*/ 22 w 48"/>
              <a:gd name="T91" fmla="*/ 56 h 64"/>
              <a:gd name="T92" fmla="*/ 22 w 48"/>
              <a:gd name="T93" fmla="*/ 54 h 64"/>
              <a:gd name="T94" fmla="*/ 22 w 48"/>
              <a:gd name="T95" fmla="*/ 5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8" h="64">
                <a:moveTo>
                  <a:pt x="22" y="50"/>
                </a:moveTo>
                <a:lnTo>
                  <a:pt x="22" y="50"/>
                </a:lnTo>
                <a:lnTo>
                  <a:pt x="22" y="46"/>
                </a:lnTo>
                <a:lnTo>
                  <a:pt x="22" y="42"/>
                </a:lnTo>
                <a:lnTo>
                  <a:pt x="22" y="38"/>
                </a:lnTo>
                <a:lnTo>
                  <a:pt x="22" y="38"/>
                </a:lnTo>
                <a:lnTo>
                  <a:pt x="22" y="38"/>
                </a:lnTo>
                <a:lnTo>
                  <a:pt x="22" y="38"/>
                </a:lnTo>
                <a:lnTo>
                  <a:pt x="22" y="34"/>
                </a:lnTo>
                <a:lnTo>
                  <a:pt x="22" y="34"/>
                </a:lnTo>
                <a:lnTo>
                  <a:pt x="22" y="34"/>
                </a:lnTo>
                <a:lnTo>
                  <a:pt x="22" y="34"/>
                </a:lnTo>
                <a:lnTo>
                  <a:pt x="22" y="30"/>
                </a:lnTo>
                <a:lnTo>
                  <a:pt x="20" y="30"/>
                </a:lnTo>
                <a:lnTo>
                  <a:pt x="20" y="30"/>
                </a:lnTo>
                <a:lnTo>
                  <a:pt x="20" y="30"/>
                </a:lnTo>
                <a:lnTo>
                  <a:pt x="20" y="30"/>
                </a:lnTo>
                <a:lnTo>
                  <a:pt x="16" y="26"/>
                </a:lnTo>
                <a:lnTo>
                  <a:pt x="16" y="26"/>
                </a:lnTo>
                <a:lnTo>
                  <a:pt x="16" y="26"/>
                </a:lnTo>
                <a:lnTo>
                  <a:pt x="16" y="26"/>
                </a:lnTo>
                <a:lnTo>
                  <a:pt x="16" y="26"/>
                </a:lnTo>
                <a:lnTo>
                  <a:pt x="16" y="26"/>
                </a:lnTo>
                <a:lnTo>
                  <a:pt x="16" y="24"/>
                </a:lnTo>
                <a:lnTo>
                  <a:pt x="12" y="24"/>
                </a:lnTo>
                <a:lnTo>
                  <a:pt x="12" y="20"/>
                </a:lnTo>
                <a:lnTo>
                  <a:pt x="12" y="20"/>
                </a:lnTo>
                <a:lnTo>
                  <a:pt x="12" y="20"/>
                </a:lnTo>
                <a:lnTo>
                  <a:pt x="12" y="20"/>
                </a:lnTo>
                <a:lnTo>
                  <a:pt x="12" y="16"/>
                </a:lnTo>
                <a:lnTo>
                  <a:pt x="8" y="16"/>
                </a:lnTo>
                <a:lnTo>
                  <a:pt x="8" y="16"/>
                </a:lnTo>
                <a:lnTo>
                  <a:pt x="8" y="12"/>
                </a:lnTo>
                <a:lnTo>
                  <a:pt x="8" y="12"/>
                </a:lnTo>
                <a:lnTo>
                  <a:pt x="4" y="8"/>
                </a:lnTo>
                <a:lnTo>
                  <a:pt x="4" y="8"/>
                </a:lnTo>
                <a:lnTo>
                  <a:pt x="4" y="4"/>
                </a:lnTo>
                <a:lnTo>
                  <a:pt x="0" y="4"/>
                </a:lnTo>
                <a:lnTo>
                  <a:pt x="0" y="4"/>
                </a:lnTo>
                <a:lnTo>
                  <a:pt x="0" y="4"/>
                </a:lnTo>
                <a:lnTo>
                  <a:pt x="0" y="4"/>
                </a:lnTo>
                <a:lnTo>
                  <a:pt x="0" y="4"/>
                </a:lnTo>
                <a:lnTo>
                  <a:pt x="4" y="4"/>
                </a:lnTo>
                <a:lnTo>
                  <a:pt x="4" y="4"/>
                </a:lnTo>
                <a:lnTo>
                  <a:pt x="8" y="4"/>
                </a:lnTo>
                <a:lnTo>
                  <a:pt x="12" y="0"/>
                </a:lnTo>
                <a:lnTo>
                  <a:pt x="12" y="0"/>
                </a:lnTo>
                <a:lnTo>
                  <a:pt x="16" y="0"/>
                </a:lnTo>
                <a:lnTo>
                  <a:pt x="16" y="0"/>
                </a:lnTo>
                <a:lnTo>
                  <a:pt x="20" y="4"/>
                </a:lnTo>
                <a:lnTo>
                  <a:pt x="20" y="4"/>
                </a:lnTo>
                <a:lnTo>
                  <a:pt x="20" y="4"/>
                </a:lnTo>
                <a:lnTo>
                  <a:pt x="20" y="4"/>
                </a:lnTo>
                <a:lnTo>
                  <a:pt x="20" y="4"/>
                </a:lnTo>
                <a:lnTo>
                  <a:pt x="20" y="4"/>
                </a:lnTo>
                <a:lnTo>
                  <a:pt x="20" y="4"/>
                </a:lnTo>
                <a:lnTo>
                  <a:pt x="22" y="4"/>
                </a:lnTo>
                <a:lnTo>
                  <a:pt x="22" y="4"/>
                </a:lnTo>
                <a:lnTo>
                  <a:pt x="22" y="4"/>
                </a:lnTo>
                <a:lnTo>
                  <a:pt x="22" y="8"/>
                </a:lnTo>
                <a:lnTo>
                  <a:pt x="22" y="8"/>
                </a:lnTo>
                <a:lnTo>
                  <a:pt x="22" y="8"/>
                </a:lnTo>
                <a:lnTo>
                  <a:pt x="22" y="4"/>
                </a:lnTo>
                <a:lnTo>
                  <a:pt x="26" y="4"/>
                </a:lnTo>
                <a:lnTo>
                  <a:pt x="26" y="8"/>
                </a:lnTo>
                <a:lnTo>
                  <a:pt x="26" y="8"/>
                </a:lnTo>
                <a:lnTo>
                  <a:pt x="26" y="8"/>
                </a:lnTo>
                <a:lnTo>
                  <a:pt x="26" y="8"/>
                </a:lnTo>
                <a:lnTo>
                  <a:pt x="26" y="8"/>
                </a:lnTo>
                <a:lnTo>
                  <a:pt x="26" y="8"/>
                </a:lnTo>
                <a:lnTo>
                  <a:pt x="30" y="8"/>
                </a:lnTo>
                <a:lnTo>
                  <a:pt x="30" y="8"/>
                </a:lnTo>
                <a:lnTo>
                  <a:pt x="30" y="8"/>
                </a:lnTo>
                <a:lnTo>
                  <a:pt x="30" y="8"/>
                </a:lnTo>
                <a:lnTo>
                  <a:pt x="34" y="12"/>
                </a:lnTo>
                <a:lnTo>
                  <a:pt x="34" y="12"/>
                </a:lnTo>
                <a:lnTo>
                  <a:pt x="34" y="12"/>
                </a:lnTo>
                <a:lnTo>
                  <a:pt x="34" y="12"/>
                </a:lnTo>
                <a:lnTo>
                  <a:pt x="34" y="12"/>
                </a:lnTo>
                <a:lnTo>
                  <a:pt x="34" y="12"/>
                </a:lnTo>
                <a:lnTo>
                  <a:pt x="34" y="12"/>
                </a:lnTo>
                <a:lnTo>
                  <a:pt x="34" y="12"/>
                </a:lnTo>
                <a:lnTo>
                  <a:pt x="34" y="12"/>
                </a:lnTo>
                <a:lnTo>
                  <a:pt x="34" y="12"/>
                </a:lnTo>
                <a:lnTo>
                  <a:pt x="36" y="12"/>
                </a:lnTo>
                <a:lnTo>
                  <a:pt x="36" y="12"/>
                </a:lnTo>
                <a:lnTo>
                  <a:pt x="36" y="16"/>
                </a:lnTo>
                <a:lnTo>
                  <a:pt x="36" y="20"/>
                </a:lnTo>
                <a:lnTo>
                  <a:pt x="36" y="20"/>
                </a:lnTo>
                <a:lnTo>
                  <a:pt x="36" y="20"/>
                </a:lnTo>
                <a:lnTo>
                  <a:pt x="36" y="20"/>
                </a:lnTo>
                <a:lnTo>
                  <a:pt x="36" y="24"/>
                </a:lnTo>
                <a:lnTo>
                  <a:pt x="36" y="24"/>
                </a:lnTo>
                <a:lnTo>
                  <a:pt x="36" y="24"/>
                </a:lnTo>
                <a:lnTo>
                  <a:pt x="36" y="24"/>
                </a:lnTo>
                <a:lnTo>
                  <a:pt x="36" y="24"/>
                </a:lnTo>
                <a:lnTo>
                  <a:pt x="40" y="24"/>
                </a:lnTo>
                <a:lnTo>
                  <a:pt x="36" y="24"/>
                </a:lnTo>
                <a:lnTo>
                  <a:pt x="40" y="26"/>
                </a:lnTo>
                <a:lnTo>
                  <a:pt x="40" y="26"/>
                </a:lnTo>
                <a:lnTo>
                  <a:pt x="40" y="24"/>
                </a:lnTo>
                <a:lnTo>
                  <a:pt x="40" y="24"/>
                </a:lnTo>
                <a:lnTo>
                  <a:pt x="40" y="24"/>
                </a:lnTo>
                <a:lnTo>
                  <a:pt x="40" y="26"/>
                </a:lnTo>
                <a:lnTo>
                  <a:pt x="40" y="26"/>
                </a:lnTo>
                <a:lnTo>
                  <a:pt x="40" y="26"/>
                </a:lnTo>
                <a:lnTo>
                  <a:pt x="40" y="30"/>
                </a:lnTo>
                <a:lnTo>
                  <a:pt x="40" y="34"/>
                </a:lnTo>
                <a:lnTo>
                  <a:pt x="44" y="34"/>
                </a:lnTo>
                <a:lnTo>
                  <a:pt x="44" y="34"/>
                </a:lnTo>
                <a:lnTo>
                  <a:pt x="48" y="34"/>
                </a:lnTo>
                <a:lnTo>
                  <a:pt x="48" y="38"/>
                </a:lnTo>
                <a:lnTo>
                  <a:pt x="48" y="42"/>
                </a:lnTo>
                <a:lnTo>
                  <a:pt x="48" y="42"/>
                </a:lnTo>
                <a:lnTo>
                  <a:pt x="44" y="42"/>
                </a:lnTo>
                <a:lnTo>
                  <a:pt x="48" y="42"/>
                </a:lnTo>
                <a:lnTo>
                  <a:pt x="48" y="42"/>
                </a:lnTo>
                <a:lnTo>
                  <a:pt x="48" y="42"/>
                </a:lnTo>
                <a:lnTo>
                  <a:pt x="48" y="42"/>
                </a:lnTo>
                <a:lnTo>
                  <a:pt x="48" y="42"/>
                </a:lnTo>
                <a:lnTo>
                  <a:pt x="48" y="42"/>
                </a:lnTo>
                <a:lnTo>
                  <a:pt x="48" y="42"/>
                </a:lnTo>
                <a:lnTo>
                  <a:pt x="48" y="46"/>
                </a:lnTo>
                <a:lnTo>
                  <a:pt x="48" y="46"/>
                </a:lnTo>
                <a:lnTo>
                  <a:pt x="48" y="46"/>
                </a:lnTo>
                <a:lnTo>
                  <a:pt x="48" y="46"/>
                </a:lnTo>
                <a:lnTo>
                  <a:pt x="48" y="46"/>
                </a:lnTo>
                <a:lnTo>
                  <a:pt x="44" y="46"/>
                </a:lnTo>
                <a:lnTo>
                  <a:pt x="44" y="46"/>
                </a:lnTo>
                <a:lnTo>
                  <a:pt x="44" y="42"/>
                </a:lnTo>
                <a:lnTo>
                  <a:pt x="44" y="46"/>
                </a:lnTo>
                <a:lnTo>
                  <a:pt x="40" y="46"/>
                </a:lnTo>
                <a:lnTo>
                  <a:pt x="40" y="46"/>
                </a:lnTo>
                <a:lnTo>
                  <a:pt x="40" y="42"/>
                </a:lnTo>
                <a:lnTo>
                  <a:pt x="40" y="42"/>
                </a:lnTo>
                <a:lnTo>
                  <a:pt x="36" y="42"/>
                </a:lnTo>
                <a:lnTo>
                  <a:pt x="36" y="42"/>
                </a:lnTo>
                <a:lnTo>
                  <a:pt x="36" y="42"/>
                </a:lnTo>
                <a:lnTo>
                  <a:pt x="36" y="46"/>
                </a:lnTo>
                <a:lnTo>
                  <a:pt x="36" y="46"/>
                </a:lnTo>
                <a:lnTo>
                  <a:pt x="36" y="46"/>
                </a:lnTo>
                <a:lnTo>
                  <a:pt x="36" y="42"/>
                </a:lnTo>
                <a:lnTo>
                  <a:pt x="36" y="42"/>
                </a:lnTo>
                <a:lnTo>
                  <a:pt x="36" y="42"/>
                </a:lnTo>
                <a:lnTo>
                  <a:pt x="36" y="42"/>
                </a:lnTo>
                <a:lnTo>
                  <a:pt x="36" y="42"/>
                </a:lnTo>
                <a:lnTo>
                  <a:pt x="34" y="42"/>
                </a:lnTo>
                <a:lnTo>
                  <a:pt x="34" y="42"/>
                </a:lnTo>
                <a:lnTo>
                  <a:pt x="34" y="42"/>
                </a:lnTo>
                <a:lnTo>
                  <a:pt x="34" y="42"/>
                </a:lnTo>
                <a:lnTo>
                  <a:pt x="34" y="46"/>
                </a:lnTo>
                <a:lnTo>
                  <a:pt x="34" y="50"/>
                </a:lnTo>
                <a:lnTo>
                  <a:pt x="34" y="50"/>
                </a:lnTo>
                <a:lnTo>
                  <a:pt x="34" y="54"/>
                </a:lnTo>
                <a:lnTo>
                  <a:pt x="34" y="54"/>
                </a:lnTo>
                <a:lnTo>
                  <a:pt x="30" y="54"/>
                </a:lnTo>
                <a:lnTo>
                  <a:pt x="30" y="54"/>
                </a:lnTo>
                <a:lnTo>
                  <a:pt x="30" y="54"/>
                </a:lnTo>
                <a:lnTo>
                  <a:pt x="30" y="54"/>
                </a:lnTo>
                <a:lnTo>
                  <a:pt x="30" y="54"/>
                </a:lnTo>
                <a:lnTo>
                  <a:pt x="30" y="56"/>
                </a:lnTo>
                <a:lnTo>
                  <a:pt x="30" y="56"/>
                </a:lnTo>
                <a:lnTo>
                  <a:pt x="26" y="56"/>
                </a:lnTo>
                <a:lnTo>
                  <a:pt x="26" y="56"/>
                </a:lnTo>
                <a:lnTo>
                  <a:pt x="26" y="60"/>
                </a:lnTo>
                <a:lnTo>
                  <a:pt x="26" y="60"/>
                </a:lnTo>
                <a:lnTo>
                  <a:pt x="26" y="60"/>
                </a:lnTo>
                <a:lnTo>
                  <a:pt x="26" y="60"/>
                </a:lnTo>
                <a:lnTo>
                  <a:pt x="26" y="60"/>
                </a:lnTo>
                <a:lnTo>
                  <a:pt x="26" y="60"/>
                </a:lnTo>
                <a:lnTo>
                  <a:pt x="26" y="60"/>
                </a:lnTo>
                <a:lnTo>
                  <a:pt x="22" y="60"/>
                </a:lnTo>
                <a:lnTo>
                  <a:pt x="22" y="60"/>
                </a:lnTo>
                <a:lnTo>
                  <a:pt x="22" y="60"/>
                </a:lnTo>
                <a:lnTo>
                  <a:pt x="22" y="60"/>
                </a:lnTo>
                <a:lnTo>
                  <a:pt x="22" y="60"/>
                </a:lnTo>
                <a:lnTo>
                  <a:pt x="22" y="64"/>
                </a:lnTo>
                <a:lnTo>
                  <a:pt x="22" y="64"/>
                </a:lnTo>
                <a:lnTo>
                  <a:pt x="22" y="64"/>
                </a:lnTo>
                <a:lnTo>
                  <a:pt x="22" y="64"/>
                </a:lnTo>
                <a:lnTo>
                  <a:pt x="22" y="60"/>
                </a:lnTo>
                <a:lnTo>
                  <a:pt x="22" y="60"/>
                </a:lnTo>
                <a:lnTo>
                  <a:pt x="22" y="60"/>
                </a:lnTo>
                <a:lnTo>
                  <a:pt x="22" y="56"/>
                </a:lnTo>
                <a:lnTo>
                  <a:pt x="22" y="56"/>
                </a:lnTo>
                <a:lnTo>
                  <a:pt x="22" y="54"/>
                </a:lnTo>
                <a:lnTo>
                  <a:pt x="22" y="54"/>
                </a:lnTo>
                <a:lnTo>
                  <a:pt x="22" y="54"/>
                </a:lnTo>
                <a:lnTo>
                  <a:pt x="22" y="50"/>
                </a:lnTo>
                <a:lnTo>
                  <a:pt x="22" y="50"/>
                </a:lnTo>
                <a:lnTo>
                  <a:pt x="22" y="50"/>
                </a:lnTo>
                <a:lnTo>
                  <a:pt x="22" y="50"/>
                </a:lnTo>
                <a:close/>
              </a:path>
            </a:pathLst>
          </a:custGeom>
          <a:solidFill>
            <a:srgbClr val="A0DCFF"/>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08" name="Freeform 115"/>
          <p:cNvSpPr>
            <a:spLocks noEditPoints="1"/>
          </p:cNvSpPr>
          <p:nvPr/>
        </p:nvSpPr>
        <p:spPr bwMode="auto">
          <a:xfrm>
            <a:off x="4314824" y="2524124"/>
            <a:ext cx="61913" cy="71438"/>
          </a:xfrm>
          <a:custGeom>
            <a:avLst/>
            <a:gdLst>
              <a:gd name="T0" fmla="*/ 30 w 52"/>
              <a:gd name="T1" fmla="*/ 26 h 60"/>
              <a:gd name="T2" fmla="*/ 34 w 52"/>
              <a:gd name="T3" fmla="*/ 22 h 60"/>
              <a:gd name="T4" fmla="*/ 34 w 52"/>
              <a:gd name="T5" fmla="*/ 16 h 60"/>
              <a:gd name="T6" fmla="*/ 26 w 52"/>
              <a:gd name="T7" fmla="*/ 8 h 60"/>
              <a:gd name="T8" fmla="*/ 26 w 52"/>
              <a:gd name="T9" fmla="*/ 16 h 60"/>
              <a:gd name="T10" fmla="*/ 22 w 52"/>
              <a:gd name="T11" fmla="*/ 18 h 60"/>
              <a:gd name="T12" fmla="*/ 22 w 52"/>
              <a:gd name="T13" fmla="*/ 22 h 60"/>
              <a:gd name="T14" fmla="*/ 20 w 52"/>
              <a:gd name="T15" fmla="*/ 18 h 60"/>
              <a:gd name="T16" fmla="*/ 22 w 52"/>
              <a:gd name="T17" fmla="*/ 12 h 60"/>
              <a:gd name="T18" fmla="*/ 26 w 52"/>
              <a:gd name="T19" fmla="*/ 8 h 60"/>
              <a:gd name="T20" fmla="*/ 38 w 52"/>
              <a:gd name="T21" fmla="*/ 0 h 60"/>
              <a:gd name="T22" fmla="*/ 48 w 52"/>
              <a:gd name="T23" fmla="*/ 0 h 60"/>
              <a:gd name="T24" fmla="*/ 52 w 52"/>
              <a:gd name="T25" fmla="*/ 12 h 60"/>
              <a:gd name="T26" fmla="*/ 52 w 52"/>
              <a:gd name="T27" fmla="*/ 18 h 60"/>
              <a:gd name="T28" fmla="*/ 44 w 52"/>
              <a:gd name="T29" fmla="*/ 18 h 60"/>
              <a:gd name="T30" fmla="*/ 52 w 52"/>
              <a:gd name="T31" fmla="*/ 26 h 60"/>
              <a:gd name="T32" fmla="*/ 48 w 52"/>
              <a:gd name="T33" fmla="*/ 30 h 60"/>
              <a:gd name="T34" fmla="*/ 44 w 52"/>
              <a:gd name="T35" fmla="*/ 34 h 60"/>
              <a:gd name="T36" fmla="*/ 38 w 52"/>
              <a:gd name="T37" fmla="*/ 42 h 60"/>
              <a:gd name="T38" fmla="*/ 38 w 52"/>
              <a:gd name="T39" fmla="*/ 48 h 60"/>
              <a:gd name="T40" fmla="*/ 38 w 52"/>
              <a:gd name="T41" fmla="*/ 56 h 60"/>
              <a:gd name="T42" fmla="*/ 34 w 52"/>
              <a:gd name="T43" fmla="*/ 56 h 60"/>
              <a:gd name="T44" fmla="*/ 30 w 52"/>
              <a:gd name="T45" fmla="*/ 56 h 60"/>
              <a:gd name="T46" fmla="*/ 30 w 52"/>
              <a:gd name="T47" fmla="*/ 48 h 60"/>
              <a:gd name="T48" fmla="*/ 26 w 52"/>
              <a:gd name="T49" fmla="*/ 44 h 60"/>
              <a:gd name="T50" fmla="*/ 20 w 52"/>
              <a:gd name="T51" fmla="*/ 44 h 60"/>
              <a:gd name="T52" fmla="*/ 16 w 52"/>
              <a:gd name="T53" fmla="*/ 44 h 60"/>
              <a:gd name="T54" fmla="*/ 16 w 52"/>
              <a:gd name="T55" fmla="*/ 44 h 60"/>
              <a:gd name="T56" fmla="*/ 4 w 52"/>
              <a:gd name="T57" fmla="*/ 44 h 60"/>
              <a:gd name="T58" fmla="*/ 8 w 52"/>
              <a:gd name="T59" fmla="*/ 42 h 60"/>
              <a:gd name="T60" fmla="*/ 8 w 52"/>
              <a:gd name="T61" fmla="*/ 42 h 60"/>
              <a:gd name="T62" fmla="*/ 12 w 52"/>
              <a:gd name="T63" fmla="*/ 42 h 60"/>
              <a:gd name="T64" fmla="*/ 12 w 52"/>
              <a:gd name="T65" fmla="*/ 42 h 60"/>
              <a:gd name="T66" fmla="*/ 12 w 52"/>
              <a:gd name="T67" fmla="*/ 38 h 60"/>
              <a:gd name="T68" fmla="*/ 8 w 52"/>
              <a:gd name="T69" fmla="*/ 38 h 60"/>
              <a:gd name="T70" fmla="*/ 12 w 52"/>
              <a:gd name="T71" fmla="*/ 34 h 60"/>
              <a:gd name="T72" fmla="*/ 16 w 52"/>
              <a:gd name="T73" fmla="*/ 22 h 60"/>
              <a:gd name="T74" fmla="*/ 22 w 52"/>
              <a:gd name="T75" fmla="*/ 26 h 60"/>
              <a:gd name="T76" fmla="*/ 22 w 52"/>
              <a:gd name="T77" fmla="*/ 18 h 60"/>
              <a:gd name="T78" fmla="*/ 26 w 52"/>
              <a:gd name="T79" fmla="*/ 18 h 60"/>
              <a:gd name="T80" fmla="*/ 30 w 52"/>
              <a:gd name="T81" fmla="*/ 22 h 60"/>
              <a:gd name="T82" fmla="*/ 22 w 52"/>
              <a:gd name="T83" fmla="*/ 22 h 60"/>
              <a:gd name="T84" fmla="*/ 30 w 52"/>
              <a:gd name="T85" fmla="*/ 26 h 60"/>
              <a:gd name="T86" fmla="*/ 26 w 52"/>
              <a:gd name="T87" fmla="*/ 26 h 60"/>
              <a:gd name="T88" fmla="*/ 30 w 52"/>
              <a:gd name="T89" fmla="*/ 22 h 60"/>
              <a:gd name="T90" fmla="*/ 34 w 52"/>
              <a:gd name="T91" fmla="*/ 22 h 60"/>
              <a:gd name="T92" fmla="*/ 8 w 52"/>
              <a:gd name="T93" fmla="*/ 38 h 60"/>
              <a:gd name="T94" fmla="*/ 8 w 52"/>
              <a:gd name="T95" fmla="*/ 42 h 60"/>
              <a:gd name="T96" fmla="*/ 8 w 52"/>
              <a:gd name="T97" fmla="*/ 38 h 60"/>
              <a:gd name="T98" fmla="*/ 8 w 52"/>
              <a:gd name="T99" fmla="*/ 44 h 60"/>
              <a:gd name="T100" fmla="*/ 8 w 52"/>
              <a:gd name="T101" fmla="*/ 48 h 60"/>
              <a:gd name="T102" fmla="*/ 0 w 52"/>
              <a:gd name="T103" fmla="*/ 48 h 60"/>
              <a:gd name="T104" fmla="*/ 26 w 52"/>
              <a:gd name="T105" fmla="*/ 4 h 60"/>
              <a:gd name="T106" fmla="*/ 26 w 52"/>
              <a:gd name="T107" fmla="*/ 4 h 60"/>
              <a:gd name="T108" fmla="*/ 20 w 52"/>
              <a:gd name="T109" fmla="*/ 12 h 60"/>
              <a:gd name="T110" fmla="*/ 22 w 52"/>
              <a:gd name="T111" fmla="*/ 8 h 60"/>
              <a:gd name="T112" fmla="*/ 20 w 52"/>
              <a:gd name="T113"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2" h="60">
                <a:moveTo>
                  <a:pt x="26" y="26"/>
                </a:moveTo>
                <a:lnTo>
                  <a:pt x="26" y="26"/>
                </a:lnTo>
                <a:lnTo>
                  <a:pt x="26" y="26"/>
                </a:lnTo>
                <a:lnTo>
                  <a:pt x="30" y="26"/>
                </a:lnTo>
                <a:lnTo>
                  <a:pt x="30" y="26"/>
                </a:lnTo>
                <a:lnTo>
                  <a:pt x="30" y="26"/>
                </a:lnTo>
                <a:lnTo>
                  <a:pt x="30" y="26"/>
                </a:lnTo>
                <a:lnTo>
                  <a:pt x="30" y="26"/>
                </a:lnTo>
                <a:lnTo>
                  <a:pt x="30" y="26"/>
                </a:lnTo>
                <a:lnTo>
                  <a:pt x="30" y="22"/>
                </a:lnTo>
                <a:lnTo>
                  <a:pt x="34" y="22"/>
                </a:lnTo>
                <a:lnTo>
                  <a:pt x="34" y="22"/>
                </a:lnTo>
                <a:lnTo>
                  <a:pt x="34" y="22"/>
                </a:lnTo>
                <a:lnTo>
                  <a:pt x="34" y="22"/>
                </a:lnTo>
                <a:lnTo>
                  <a:pt x="34" y="22"/>
                </a:lnTo>
                <a:lnTo>
                  <a:pt x="34" y="22"/>
                </a:lnTo>
                <a:lnTo>
                  <a:pt x="34" y="22"/>
                </a:lnTo>
                <a:lnTo>
                  <a:pt x="34" y="22"/>
                </a:lnTo>
                <a:lnTo>
                  <a:pt x="34" y="18"/>
                </a:lnTo>
                <a:lnTo>
                  <a:pt x="34" y="18"/>
                </a:lnTo>
                <a:lnTo>
                  <a:pt x="34" y="18"/>
                </a:lnTo>
                <a:lnTo>
                  <a:pt x="34" y="18"/>
                </a:lnTo>
                <a:lnTo>
                  <a:pt x="30" y="18"/>
                </a:lnTo>
                <a:lnTo>
                  <a:pt x="30" y="16"/>
                </a:lnTo>
                <a:lnTo>
                  <a:pt x="30" y="16"/>
                </a:lnTo>
                <a:lnTo>
                  <a:pt x="34" y="16"/>
                </a:lnTo>
                <a:lnTo>
                  <a:pt x="34" y="16"/>
                </a:lnTo>
                <a:lnTo>
                  <a:pt x="34" y="16"/>
                </a:lnTo>
                <a:lnTo>
                  <a:pt x="30" y="16"/>
                </a:lnTo>
                <a:lnTo>
                  <a:pt x="30" y="16"/>
                </a:lnTo>
                <a:lnTo>
                  <a:pt x="30" y="16"/>
                </a:lnTo>
                <a:lnTo>
                  <a:pt x="26" y="12"/>
                </a:lnTo>
                <a:lnTo>
                  <a:pt x="30" y="12"/>
                </a:lnTo>
                <a:lnTo>
                  <a:pt x="30" y="12"/>
                </a:lnTo>
                <a:lnTo>
                  <a:pt x="30" y="12"/>
                </a:lnTo>
                <a:lnTo>
                  <a:pt x="26" y="8"/>
                </a:lnTo>
                <a:lnTo>
                  <a:pt x="26" y="8"/>
                </a:lnTo>
                <a:lnTo>
                  <a:pt x="26" y="8"/>
                </a:lnTo>
                <a:lnTo>
                  <a:pt x="26" y="12"/>
                </a:lnTo>
                <a:lnTo>
                  <a:pt x="26" y="12"/>
                </a:lnTo>
                <a:lnTo>
                  <a:pt x="22" y="12"/>
                </a:lnTo>
                <a:lnTo>
                  <a:pt x="22" y="12"/>
                </a:lnTo>
                <a:lnTo>
                  <a:pt x="22" y="16"/>
                </a:lnTo>
                <a:lnTo>
                  <a:pt x="26" y="16"/>
                </a:lnTo>
                <a:lnTo>
                  <a:pt x="26" y="16"/>
                </a:lnTo>
                <a:lnTo>
                  <a:pt x="26" y="16"/>
                </a:lnTo>
                <a:lnTo>
                  <a:pt x="26" y="16"/>
                </a:lnTo>
                <a:lnTo>
                  <a:pt x="26" y="18"/>
                </a:lnTo>
                <a:lnTo>
                  <a:pt x="26" y="18"/>
                </a:lnTo>
                <a:lnTo>
                  <a:pt x="26" y="18"/>
                </a:lnTo>
                <a:lnTo>
                  <a:pt x="26" y="18"/>
                </a:lnTo>
                <a:lnTo>
                  <a:pt x="26" y="18"/>
                </a:lnTo>
                <a:lnTo>
                  <a:pt x="22" y="18"/>
                </a:lnTo>
                <a:lnTo>
                  <a:pt x="22" y="18"/>
                </a:lnTo>
                <a:lnTo>
                  <a:pt x="22" y="18"/>
                </a:lnTo>
                <a:lnTo>
                  <a:pt x="22" y="18"/>
                </a:lnTo>
                <a:lnTo>
                  <a:pt x="22" y="18"/>
                </a:lnTo>
                <a:lnTo>
                  <a:pt x="22" y="22"/>
                </a:lnTo>
                <a:lnTo>
                  <a:pt x="22" y="22"/>
                </a:lnTo>
                <a:lnTo>
                  <a:pt x="22" y="22"/>
                </a:lnTo>
                <a:lnTo>
                  <a:pt x="22" y="22"/>
                </a:lnTo>
                <a:lnTo>
                  <a:pt x="22" y="22"/>
                </a:lnTo>
                <a:lnTo>
                  <a:pt x="22" y="22"/>
                </a:lnTo>
                <a:lnTo>
                  <a:pt x="22" y="22"/>
                </a:lnTo>
                <a:lnTo>
                  <a:pt x="20" y="22"/>
                </a:lnTo>
                <a:lnTo>
                  <a:pt x="20" y="22"/>
                </a:lnTo>
                <a:lnTo>
                  <a:pt x="20" y="22"/>
                </a:lnTo>
                <a:lnTo>
                  <a:pt x="16" y="22"/>
                </a:lnTo>
                <a:lnTo>
                  <a:pt x="16" y="22"/>
                </a:lnTo>
                <a:lnTo>
                  <a:pt x="20" y="18"/>
                </a:lnTo>
                <a:lnTo>
                  <a:pt x="20" y="18"/>
                </a:lnTo>
                <a:lnTo>
                  <a:pt x="20" y="18"/>
                </a:lnTo>
                <a:lnTo>
                  <a:pt x="20" y="16"/>
                </a:lnTo>
                <a:lnTo>
                  <a:pt x="20" y="12"/>
                </a:lnTo>
                <a:lnTo>
                  <a:pt x="20" y="12"/>
                </a:lnTo>
                <a:lnTo>
                  <a:pt x="20" y="12"/>
                </a:lnTo>
                <a:lnTo>
                  <a:pt x="20" y="12"/>
                </a:lnTo>
                <a:lnTo>
                  <a:pt x="20" y="12"/>
                </a:lnTo>
                <a:lnTo>
                  <a:pt x="20" y="12"/>
                </a:lnTo>
                <a:lnTo>
                  <a:pt x="22" y="12"/>
                </a:lnTo>
                <a:lnTo>
                  <a:pt x="22" y="12"/>
                </a:lnTo>
                <a:lnTo>
                  <a:pt x="22" y="12"/>
                </a:lnTo>
                <a:lnTo>
                  <a:pt x="26" y="12"/>
                </a:lnTo>
                <a:lnTo>
                  <a:pt x="26" y="12"/>
                </a:lnTo>
                <a:lnTo>
                  <a:pt x="26" y="12"/>
                </a:lnTo>
                <a:lnTo>
                  <a:pt x="26" y="12"/>
                </a:lnTo>
                <a:lnTo>
                  <a:pt x="26" y="8"/>
                </a:lnTo>
                <a:lnTo>
                  <a:pt x="26" y="8"/>
                </a:lnTo>
                <a:lnTo>
                  <a:pt x="26" y="8"/>
                </a:lnTo>
                <a:lnTo>
                  <a:pt x="26" y="8"/>
                </a:lnTo>
                <a:lnTo>
                  <a:pt x="30" y="8"/>
                </a:lnTo>
                <a:lnTo>
                  <a:pt x="30" y="8"/>
                </a:lnTo>
                <a:lnTo>
                  <a:pt x="30" y="8"/>
                </a:lnTo>
                <a:lnTo>
                  <a:pt x="30" y="8"/>
                </a:lnTo>
                <a:lnTo>
                  <a:pt x="30" y="4"/>
                </a:lnTo>
                <a:lnTo>
                  <a:pt x="30" y="4"/>
                </a:lnTo>
                <a:lnTo>
                  <a:pt x="30" y="4"/>
                </a:lnTo>
                <a:lnTo>
                  <a:pt x="34" y="4"/>
                </a:lnTo>
                <a:lnTo>
                  <a:pt x="38" y="0"/>
                </a:lnTo>
                <a:lnTo>
                  <a:pt x="38" y="0"/>
                </a:lnTo>
                <a:lnTo>
                  <a:pt x="38" y="0"/>
                </a:lnTo>
                <a:lnTo>
                  <a:pt x="38" y="0"/>
                </a:lnTo>
                <a:lnTo>
                  <a:pt x="42" y="0"/>
                </a:lnTo>
                <a:lnTo>
                  <a:pt x="42" y="0"/>
                </a:lnTo>
                <a:lnTo>
                  <a:pt x="42" y="0"/>
                </a:lnTo>
                <a:lnTo>
                  <a:pt x="44" y="0"/>
                </a:lnTo>
                <a:lnTo>
                  <a:pt x="48" y="0"/>
                </a:lnTo>
                <a:lnTo>
                  <a:pt x="48" y="0"/>
                </a:lnTo>
                <a:lnTo>
                  <a:pt x="48" y="0"/>
                </a:lnTo>
                <a:lnTo>
                  <a:pt x="48" y="0"/>
                </a:lnTo>
                <a:lnTo>
                  <a:pt x="48" y="4"/>
                </a:lnTo>
                <a:lnTo>
                  <a:pt x="48" y="4"/>
                </a:lnTo>
                <a:lnTo>
                  <a:pt x="52" y="4"/>
                </a:lnTo>
                <a:lnTo>
                  <a:pt x="52" y="4"/>
                </a:lnTo>
                <a:lnTo>
                  <a:pt x="52" y="4"/>
                </a:lnTo>
                <a:lnTo>
                  <a:pt x="52" y="8"/>
                </a:lnTo>
                <a:lnTo>
                  <a:pt x="52" y="12"/>
                </a:lnTo>
                <a:lnTo>
                  <a:pt x="52" y="12"/>
                </a:lnTo>
                <a:lnTo>
                  <a:pt x="52" y="12"/>
                </a:lnTo>
                <a:lnTo>
                  <a:pt x="52" y="12"/>
                </a:lnTo>
                <a:lnTo>
                  <a:pt x="52" y="16"/>
                </a:lnTo>
                <a:lnTo>
                  <a:pt x="52" y="16"/>
                </a:lnTo>
                <a:lnTo>
                  <a:pt x="52" y="16"/>
                </a:lnTo>
                <a:lnTo>
                  <a:pt x="52" y="16"/>
                </a:lnTo>
                <a:lnTo>
                  <a:pt x="52" y="16"/>
                </a:lnTo>
                <a:lnTo>
                  <a:pt x="52" y="18"/>
                </a:lnTo>
                <a:lnTo>
                  <a:pt x="52" y="18"/>
                </a:lnTo>
                <a:lnTo>
                  <a:pt x="48" y="18"/>
                </a:lnTo>
                <a:lnTo>
                  <a:pt x="48" y="18"/>
                </a:lnTo>
                <a:lnTo>
                  <a:pt x="48" y="18"/>
                </a:lnTo>
                <a:lnTo>
                  <a:pt x="48" y="18"/>
                </a:lnTo>
                <a:lnTo>
                  <a:pt x="48" y="18"/>
                </a:lnTo>
                <a:lnTo>
                  <a:pt x="48" y="18"/>
                </a:lnTo>
                <a:lnTo>
                  <a:pt x="48" y="18"/>
                </a:lnTo>
                <a:lnTo>
                  <a:pt x="44" y="18"/>
                </a:lnTo>
                <a:lnTo>
                  <a:pt x="44" y="22"/>
                </a:lnTo>
                <a:lnTo>
                  <a:pt x="48" y="22"/>
                </a:lnTo>
                <a:lnTo>
                  <a:pt x="48" y="22"/>
                </a:lnTo>
                <a:lnTo>
                  <a:pt x="52" y="22"/>
                </a:lnTo>
                <a:lnTo>
                  <a:pt x="52" y="22"/>
                </a:lnTo>
                <a:lnTo>
                  <a:pt x="52" y="22"/>
                </a:lnTo>
                <a:lnTo>
                  <a:pt x="52" y="26"/>
                </a:lnTo>
                <a:lnTo>
                  <a:pt x="52" y="26"/>
                </a:lnTo>
                <a:lnTo>
                  <a:pt x="52" y="26"/>
                </a:lnTo>
                <a:lnTo>
                  <a:pt x="52" y="26"/>
                </a:lnTo>
                <a:lnTo>
                  <a:pt x="52" y="26"/>
                </a:lnTo>
                <a:lnTo>
                  <a:pt x="48" y="26"/>
                </a:lnTo>
                <a:lnTo>
                  <a:pt x="48" y="30"/>
                </a:lnTo>
                <a:lnTo>
                  <a:pt x="48" y="30"/>
                </a:lnTo>
                <a:lnTo>
                  <a:pt x="48" y="30"/>
                </a:lnTo>
                <a:lnTo>
                  <a:pt x="48" y="30"/>
                </a:lnTo>
                <a:lnTo>
                  <a:pt x="48" y="30"/>
                </a:lnTo>
                <a:lnTo>
                  <a:pt x="48" y="30"/>
                </a:lnTo>
                <a:lnTo>
                  <a:pt x="48" y="30"/>
                </a:lnTo>
                <a:lnTo>
                  <a:pt x="48" y="34"/>
                </a:lnTo>
                <a:lnTo>
                  <a:pt x="48" y="34"/>
                </a:lnTo>
                <a:lnTo>
                  <a:pt x="48" y="34"/>
                </a:lnTo>
                <a:lnTo>
                  <a:pt x="48" y="34"/>
                </a:lnTo>
                <a:lnTo>
                  <a:pt x="44" y="34"/>
                </a:lnTo>
                <a:lnTo>
                  <a:pt x="44" y="34"/>
                </a:lnTo>
                <a:lnTo>
                  <a:pt x="44" y="34"/>
                </a:lnTo>
                <a:lnTo>
                  <a:pt x="44" y="34"/>
                </a:lnTo>
                <a:lnTo>
                  <a:pt x="42" y="34"/>
                </a:lnTo>
                <a:lnTo>
                  <a:pt x="38" y="34"/>
                </a:lnTo>
                <a:lnTo>
                  <a:pt x="38" y="34"/>
                </a:lnTo>
                <a:lnTo>
                  <a:pt x="38" y="34"/>
                </a:lnTo>
                <a:lnTo>
                  <a:pt x="38" y="38"/>
                </a:lnTo>
                <a:lnTo>
                  <a:pt x="38" y="38"/>
                </a:lnTo>
                <a:lnTo>
                  <a:pt x="38" y="38"/>
                </a:lnTo>
                <a:lnTo>
                  <a:pt x="38" y="38"/>
                </a:lnTo>
                <a:lnTo>
                  <a:pt x="38" y="42"/>
                </a:lnTo>
                <a:lnTo>
                  <a:pt x="38" y="42"/>
                </a:lnTo>
                <a:lnTo>
                  <a:pt x="38" y="42"/>
                </a:lnTo>
                <a:lnTo>
                  <a:pt x="42" y="42"/>
                </a:lnTo>
                <a:lnTo>
                  <a:pt x="42" y="42"/>
                </a:lnTo>
                <a:lnTo>
                  <a:pt x="42" y="44"/>
                </a:lnTo>
                <a:lnTo>
                  <a:pt x="38" y="44"/>
                </a:lnTo>
                <a:lnTo>
                  <a:pt x="38" y="48"/>
                </a:lnTo>
                <a:lnTo>
                  <a:pt x="38" y="48"/>
                </a:lnTo>
                <a:lnTo>
                  <a:pt x="38" y="48"/>
                </a:lnTo>
                <a:lnTo>
                  <a:pt x="38" y="48"/>
                </a:lnTo>
                <a:lnTo>
                  <a:pt x="38" y="52"/>
                </a:lnTo>
                <a:lnTo>
                  <a:pt x="34" y="52"/>
                </a:lnTo>
                <a:lnTo>
                  <a:pt x="34" y="52"/>
                </a:lnTo>
                <a:lnTo>
                  <a:pt x="34" y="52"/>
                </a:lnTo>
                <a:lnTo>
                  <a:pt x="34" y="52"/>
                </a:lnTo>
                <a:lnTo>
                  <a:pt x="38" y="52"/>
                </a:lnTo>
                <a:lnTo>
                  <a:pt x="38" y="52"/>
                </a:lnTo>
                <a:lnTo>
                  <a:pt x="38" y="56"/>
                </a:lnTo>
                <a:lnTo>
                  <a:pt x="38" y="56"/>
                </a:lnTo>
                <a:lnTo>
                  <a:pt x="38" y="56"/>
                </a:lnTo>
                <a:lnTo>
                  <a:pt x="38" y="56"/>
                </a:lnTo>
                <a:lnTo>
                  <a:pt x="38" y="56"/>
                </a:lnTo>
                <a:lnTo>
                  <a:pt x="38" y="56"/>
                </a:lnTo>
                <a:lnTo>
                  <a:pt x="34" y="56"/>
                </a:lnTo>
                <a:lnTo>
                  <a:pt x="34" y="60"/>
                </a:lnTo>
                <a:lnTo>
                  <a:pt x="34" y="56"/>
                </a:lnTo>
                <a:lnTo>
                  <a:pt x="34" y="56"/>
                </a:lnTo>
                <a:lnTo>
                  <a:pt x="34" y="56"/>
                </a:lnTo>
                <a:lnTo>
                  <a:pt x="34" y="56"/>
                </a:lnTo>
                <a:lnTo>
                  <a:pt x="34" y="56"/>
                </a:lnTo>
                <a:lnTo>
                  <a:pt x="34" y="56"/>
                </a:lnTo>
                <a:lnTo>
                  <a:pt x="34" y="56"/>
                </a:lnTo>
                <a:lnTo>
                  <a:pt x="34" y="56"/>
                </a:lnTo>
                <a:lnTo>
                  <a:pt x="34" y="56"/>
                </a:lnTo>
                <a:lnTo>
                  <a:pt x="30" y="56"/>
                </a:lnTo>
                <a:lnTo>
                  <a:pt x="30" y="56"/>
                </a:lnTo>
                <a:lnTo>
                  <a:pt x="30" y="56"/>
                </a:lnTo>
                <a:lnTo>
                  <a:pt x="34" y="52"/>
                </a:lnTo>
                <a:lnTo>
                  <a:pt x="34" y="52"/>
                </a:lnTo>
                <a:lnTo>
                  <a:pt x="34" y="52"/>
                </a:lnTo>
                <a:lnTo>
                  <a:pt x="34" y="48"/>
                </a:lnTo>
                <a:lnTo>
                  <a:pt x="34" y="48"/>
                </a:lnTo>
                <a:lnTo>
                  <a:pt x="34" y="48"/>
                </a:lnTo>
                <a:lnTo>
                  <a:pt x="30" y="48"/>
                </a:lnTo>
                <a:lnTo>
                  <a:pt x="30" y="48"/>
                </a:lnTo>
                <a:lnTo>
                  <a:pt x="30" y="48"/>
                </a:lnTo>
                <a:lnTo>
                  <a:pt x="30" y="44"/>
                </a:lnTo>
                <a:lnTo>
                  <a:pt x="30" y="48"/>
                </a:lnTo>
                <a:lnTo>
                  <a:pt x="30" y="48"/>
                </a:lnTo>
                <a:lnTo>
                  <a:pt x="26" y="48"/>
                </a:lnTo>
                <a:lnTo>
                  <a:pt x="26" y="48"/>
                </a:lnTo>
                <a:lnTo>
                  <a:pt x="26" y="44"/>
                </a:lnTo>
                <a:lnTo>
                  <a:pt x="26" y="44"/>
                </a:lnTo>
                <a:lnTo>
                  <a:pt x="26" y="44"/>
                </a:lnTo>
                <a:lnTo>
                  <a:pt x="26" y="44"/>
                </a:lnTo>
                <a:lnTo>
                  <a:pt x="22" y="44"/>
                </a:lnTo>
                <a:lnTo>
                  <a:pt x="22" y="44"/>
                </a:lnTo>
                <a:lnTo>
                  <a:pt x="22" y="42"/>
                </a:lnTo>
                <a:lnTo>
                  <a:pt x="22" y="42"/>
                </a:lnTo>
                <a:lnTo>
                  <a:pt x="22" y="42"/>
                </a:lnTo>
                <a:lnTo>
                  <a:pt x="22" y="44"/>
                </a:lnTo>
                <a:lnTo>
                  <a:pt x="22" y="44"/>
                </a:lnTo>
                <a:lnTo>
                  <a:pt x="20" y="44"/>
                </a:lnTo>
                <a:lnTo>
                  <a:pt x="20" y="44"/>
                </a:lnTo>
                <a:lnTo>
                  <a:pt x="20" y="42"/>
                </a:lnTo>
                <a:lnTo>
                  <a:pt x="20" y="42"/>
                </a:lnTo>
                <a:lnTo>
                  <a:pt x="20" y="42"/>
                </a:lnTo>
                <a:lnTo>
                  <a:pt x="20" y="42"/>
                </a:lnTo>
                <a:lnTo>
                  <a:pt x="20" y="42"/>
                </a:lnTo>
                <a:lnTo>
                  <a:pt x="20" y="44"/>
                </a:lnTo>
                <a:lnTo>
                  <a:pt x="20" y="44"/>
                </a:lnTo>
                <a:lnTo>
                  <a:pt x="16" y="44"/>
                </a:lnTo>
                <a:lnTo>
                  <a:pt x="16" y="44"/>
                </a:lnTo>
                <a:lnTo>
                  <a:pt x="16" y="42"/>
                </a:lnTo>
                <a:lnTo>
                  <a:pt x="16" y="42"/>
                </a:lnTo>
                <a:lnTo>
                  <a:pt x="16" y="44"/>
                </a:lnTo>
                <a:lnTo>
                  <a:pt x="16" y="44"/>
                </a:lnTo>
                <a:lnTo>
                  <a:pt x="16" y="44"/>
                </a:lnTo>
                <a:lnTo>
                  <a:pt x="16" y="44"/>
                </a:lnTo>
                <a:lnTo>
                  <a:pt x="16" y="44"/>
                </a:lnTo>
                <a:lnTo>
                  <a:pt x="16" y="44"/>
                </a:lnTo>
                <a:lnTo>
                  <a:pt x="16" y="44"/>
                </a:lnTo>
                <a:lnTo>
                  <a:pt x="12" y="44"/>
                </a:lnTo>
                <a:lnTo>
                  <a:pt x="12" y="44"/>
                </a:lnTo>
                <a:lnTo>
                  <a:pt x="12" y="44"/>
                </a:lnTo>
                <a:lnTo>
                  <a:pt x="8" y="44"/>
                </a:lnTo>
                <a:lnTo>
                  <a:pt x="8" y="44"/>
                </a:lnTo>
                <a:lnTo>
                  <a:pt x="8" y="44"/>
                </a:lnTo>
                <a:lnTo>
                  <a:pt x="8" y="44"/>
                </a:lnTo>
                <a:lnTo>
                  <a:pt x="4" y="44"/>
                </a:lnTo>
                <a:lnTo>
                  <a:pt x="0" y="44"/>
                </a:lnTo>
                <a:lnTo>
                  <a:pt x="0" y="42"/>
                </a:lnTo>
                <a:lnTo>
                  <a:pt x="0" y="42"/>
                </a:lnTo>
                <a:lnTo>
                  <a:pt x="0" y="42"/>
                </a:lnTo>
                <a:lnTo>
                  <a:pt x="0" y="42"/>
                </a:lnTo>
                <a:lnTo>
                  <a:pt x="4" y="42"/>
                </a:lnTo>
                <a:lnTo>
                  <a:pt x="4" y="42"/>
                </a:lnTo>
                <a:lnTo>
                  <a:pt x="8" y="42"/>
                </a:lnTo>
                <a:lnTo>
                  <a:pt x="8" y="42"/>
                </a:lnTo>
                <a:lnTo>
                  <a:pt x="8" y="42"/>
                </a:lnTo>
                <a:lnTo>
                  <a:pt x="8" y="42"/>
                </a:lnTo>
                <a:lnTo>
                  <a:pt x="8" y="42"/>
                </a:lnTo>
                <a:lnTo>
                  <a:pt x="8" y="42"/>
                </a:lnTo>
                <a:lnTo>
                  <a:pt x="8" y="42"/>
                </a:lnTo>
                <a:lnTo>
                  <a:pt x="8" y="42"/>
                </a:lnTo>
                <a:lnTo>
                  <a:pt x="8" y="42"/>
                </a:lnTo>
                <a:lnTo>
                  <a:pt x="8" y="42"/>
                </a:lnTo>
                <a:lnTo>
                  <a:pt x="8" y="42"/>
                </a:lnTo>
                <a:lnTo>
                  <a:pt x="8" y="42"/>
                </a:lnTo>
                <a:lnTo>
                  <a:pt x="8" y="42"/>
                </a:lnTo>
                <a:lnTo>
                  <a:pt x="12" y="44"/>
                </a:lnTo>
                <a:lnTo>
                  <a:pt x="12" y="44"/>
                </a:lnTo>
                <a:lnTo>
                  <a:pt x="12" y="44"/>
                </a:lnTo>
                <a:lnTo>
                  <a:pt x="12" y="44"/>
                </a:lnTo>
                <a:lnTo>
                  <a:pt x="12" y="44"/>
                </a:lnTo>
                <a:lnTo>
                  <a:pt x="12" y="44"/>
                </a:lnTo>
                <a:lnTo>
                  <a:pt x="12" y="42"/>
                </a:lnTo>
                <a:lnTo>
                  <a:pt x="12" y="42"/>
                </a:lnTo>
                <a:lnTo>
                  <a:pt x="12" y="42"/>
                </a:lnTo>
                <a:lnTo>
                  <a:pt x="12" y="42"/>
                </a:lnTo>
                <a:lnTo>
                  <a:pt x="12" y="42"/>
                </a:lnTo>
                <a:lnTo>
                  <a:pt x="8" y="42"/>
                </a:lnTo>
                <a:lnTo>
                  <a:pt x="8" y="42"/>
                </a:lnTo>
                <a:lnTo>
                  <a:pt x="8" y="42"/>
                </a:lnTo>
                <a:lnTo>
                  <a:pt x="8" y="42"/>
                </a:lnTo>
                <a:lnTo>
                  <a:pt x="12" y="42"/>
                </a:lnTo>
                <a:lnTo>
                  <a:pt x="12" y="42"/>
                </a:lnTo>
                <a:lnTo>
                  <a:pt x="12" y="42"/>
                </a:lnTo>
                <a:lnTo>
                  <a:pt x="12" y="42"/>
                </a:lnTo>
                <a:lnTo>
                  <a:pt x="12" y="42"/>
                </a:lnTo>
                <a:lnTo>
                  <a:pt x="12" y="42"/>
                </a:lnTo>
                <a:lnTo>
                  <a:pt x="12" y="42"/>
                </a:lnTo>
                <a:lnTo>
                  <a:pt x="12" y="42"/>
                </a:lnTo>
                <a:lnTo>
                  <a:pt x="12" y="38"/>
                </a:lnTo>
                <a:lnTo>
                  <a:pt x="12" y="38"/>
                </a:lnTo>
                <a:lnTo>
                  <a:pt x="12" y="38"/>
                </a:lnTo>
                <a:lnTo>
                  <a:pt x="12" y="38"/>
                </a:lnTo>
                <a:lnTo>
                  <a:pt x="12" y="38"/>
                </a:lnTo>
                <a:lnTo>
                  <a:pt x="12" y="38"/>
                </a:lnTo>
                <a:lnTo>
                  <a:pt x="12" y="38"/>
                </a:lnTo>
                <a:lnTo>
                  <a:pt x="8" y="38"/>
                </a:lnTo>
                <a:lnTo>
                  <a:pt x="8" y="38"/>
                </a:lnTo>
                <a:lnTo>
                  <a:pt x="8" y="38"/>
                </a:lnTo>
                <a:lnTo>
                  <a:pt x="8" y="38"/>
                </a:lnTo>
                <a:lnTo>
                  <a:pt x="8" y="38"/>
                </a:lnTo>
                <a:lnTo>
                  <a:pt x="8" y="38"/>
                </a:lnTo>
                <a:lnTo>
                  <a:pt x="8" y="34"/>
                </a:lnTo>
                <a:lnTo>
                  <a:pt x="8" y="34"/>
                </a:lnTo>
                <a:lnTo>
                  <a:pt x="8" y="34"/>
                </a:lnTo>
                <a:lnTo>
                  <a:pt x="8" y="34"/>
                </a:lnTo>
                <a:lnTo>
                  <a:pt x="8" y="34"/>
                </a:lnTo>
                <a:lnTo>
                  <a:pt x="12" y="34"/>
                </a:lnTo>
                <a:lnTo>
                  <a:pt x="12" y="34"/>
                </a:lnTo>
                <a:lnTo>
                  <a:pt x="12" y="30"/>
                </a:lnTo>
                <a:lnTo>
                  <a:pt x="16" y="26"/>
                </a:lnTo>
                <a:lnTo>
                  <a:pt x="16" y="26"/>
                </a:lnTo>
                <a:lnTo>
                  <a:pt x="16" y="26"/>
                </a:lnTo>
                <a:lnTo>
                  <a:pt x="16" y="26"/>
                </a:lnTo>
                <a:lnTo>
                  <a:pt x="16" y="26"/>
                </a:lnTo>
                <a:lnTo>
                  <a:pt x="16" y="22"/>
                </a:lnTo>
                <a:lnTo>
                  <a:pt x="16" y="22"/>
                </a:lnTo>
                <a:lnTo>
                  <a:pt x="16" y="22"/>
                </a:lnTo>
                <a:lnTo>
                  <a:pt x="16" y="22"/>
                </a:lnTo>
                <a:lnTo>
                  <a:pt x="20" y="22"/>
                </a:lnTo>
                <a:lnTo>
                  <a:pt x="20" y="22"/>
                </a:lnTo>
                <a:lnTo>
                  <a:pt x="20" y="22"/>
                </a:lnTo>
                <a:lnTo>
                  <a:pt x="22" y="22"/>
                </a:lnTo>
                <a:lnTo>
                  <a:pt x="22" y="22"/>
                </a:lnTo>
                <a:lnTo>
                  <a:pt x="22" y="22"/>
                </a:lnTo>
                <a:lnTo>
                  <a:pt x="22" y="22"/>
                </a:lnTo>
                <a:lnTo>
                  <a:pt x="22" y="26"/>
                </a:lnTo>
                <a:lnTo>
                  <a:pt x="26" y="26"/>
                </a:lnTo>
                <a:lnTo>
                  <a:pt x="26" y="26"/>
                </a:lnTo>
                <a:lnTo>
                  <a:pt x="26" y="26"/>
                </a:lnTo>
                <a:lnTo>
                  <a:pt x="26" y="26"/>
                </a:lnTo>
                <a:lnTo>
                  <a:pt x="26" y="26"/>
                </a:lnTo>
                <a:close/>
                <a:moveTo>
                  <a:pt x="22" y="22"/>
                </a:moveTo>
                <a:lnTo>
                  <a:pt x="22" y="22"/>
                </a:lnTo>
                <a:lnTo>
                  <a:pt x="22" y="18"/>
                </a:lnTo>
                <a:lnTo>
                  <a:pt x="22" y="18"/>
                </a:lnTo>
                <a:lnTo>
                  <a:pt x="22" y="18"/>
                </a:lnTo>
                <a:lnTo>
                  <a:pt x="22" y="18"/>
                </a:lnTo>
                <a:lnTo>
                  <a:pt x="22" y="18"/>
                </a:lnTo>
                <a:lnTo>
                  <a:pt x="22" y="18"/>
                </a:lnTo>
                <a:lnTo>
                  <a:pt x="26" y="18"/>
                </a:lnTo>
                <a:lnTo>
                  <a:pt x="26" y="18"/>
                </a:lnTo>
                <a:lnTo>
                  <a:pt x="26" y="18"/>
                </a:lnTo>
                <a:lnTo>
                  <a:pt x="26" y="18"/>
                </a:lnTo>
                <a:lnTo>
                  <a:pt x="26" y="18"/>
                </a:lnTo>
                <a:lnTo>
                  <a:pt x="26" y="18"/>
                </a:lnTo>
                <a:lnTo>
                  <a:pt x="26" y="18"/>
                </a:lnTo>
                <a:lnTo>
                  <a:pt x="30" y="18"/>
                </a:lnTo>
                <a:lnTo>
                  <a:pt x="30" y="18"/>
                </a:lnTo>
                <a:lnTo>
                  <a:pt x="30" y="18"/>
                </a:lnTo>
                <a:lnTo>
                  <a:pt x="30" y="18"/>
                </a:lnTo>
                <a:lnTo>
                  <a:pt x="30" y="18"/>
                </a:lnTo>
                <a:lnTo>
                  <a:pt x="30" y="22"/>
                </a:lnTo>
                <a:lnTo>
                  <a:pt x="30" y="22"/>
                </a:lnTo>
                <a:lnTo>
                  <a:pt x="26" y="22"/>
                </a:lnTo>
                <a:lnTo>
                  <a:pt x="26" y="22"/>
                </a:lnTo>
                <a:lnTo>
                  <a:pt x="26" y="22"/>
                </a:lnTo>
                <a:lnTo>
                  <a:pt x="26" y="22"/>
                </a:lnTo>
                <a:lnTo>
                  <a:pt x="22" y="22"/>
                </a:lnTo>
                <a:lnTo>
                  <a:pt x="22" y="22"/>
                </a:lnTo>
                <a:lnTo>
                  <a:pt x="22" y="22"/>
                </a:lnTo>
                <a:lnTo>
                  <a:pt x="22" y="22"/>
                </a:lnTo>
                <a:lnTo>
                  <a:pt x="22" y="22"/>
                </a:lnTo>
                <a:lnTo>
                  <a:pt x="22" y="22"/>
                </a:lnTo>
                <a:lnTo>
                  <a:pt x="22" y="22"/>
                </a:lnTo>
                <a:lnTo>
                  <a:pt x="22" y="22"/>
                </a:lnTo>
                <a:lnTo>
                  <a:pt x="22" y="22"/>
                </a:lnTo>
                <a:close/>
                <a:moveTo>
                  <a:pt x="30" y="22"/>
                </a:moveTo>
                <a:lnTo>
                  <a:pt x="30" y="22"/>
                </a:lnTo>
                <a:lnTo>
                  <a:pt x="30" y="26"/>
                </a:lnTo>
                <a:lnTo>
                  <a:pt x="30" y="26"/>
                </a:lnTo>
                <a:lnTo>
                  <a:pt x="30" y="26"/>
                </a:lnTo>
                <a:lnTo>
                  <a:pt x="30" y="26"/>
                </a:lnTo>
                <a:lnTo>
                  <a:pt x="26" y="26"/>
                </a:lnTo>
                <a:lnTo>
                  <a:pt x="26" y="26"/>
                </a:lnTo>
                <a:lnTo>
                  <a:pt x="26" y="26"/>
                </a:lnTo>
                <a:lnTo>
                  <a:pt x="26" y="26"/>
                </a:lnTo>
                <a:lnTo>
                  <a:pt x="26" y="26"/>
                </a:lnTo>
                <a:lnTo>
                  <a:pt x="26" y="26"/>
                </a:lnTo>
                <a:lnTo>
                  <a:pt x="26" y="26"/>
                </a:lnTo>
                <a:lnTo>
                  <a:pt x="26" y="26"/>
                </a:lnTo>
                <a:lnTo>
                  <a:pt x="26" y="26"/>
                </a:lnTo>
                <a:lnTo>
                  <a:pt x="22" y="22"/>
                </a:lnTo>
                <a:lnTo>
                  <a:pt x="26" y="22"/>
                </a:lnTo>
                <a:lnTo>
                  <a:pt x="26" y="22"/>
                </a:lnTo>
                <a:lnTo>
                  <a:pt x="26" y="22"/>
                </a:lnTo>
                <a:lnTo>
                  <a:pt x="26" y="22"/>
                </a:lnTo>
                <a:lnTo>
                  <a:pt x="30" y="22"/>
                </a:lnTo>
                <a:lnTo>
                  <a:pt x="30" y="22"/>
                </a:lnTo>
                <a:lnTo>
                  <a:pt x="30" y="22"/>
                </a:lnTo>
                <a:lnTo>
                  <a:pt x="30" y="18"/>
                </a:lnTo>
                <a:lnTo>
                  <a:pt x="30" y="18"/>
                </a:lnTo>
                <a:lnTo>
                  <a:pt x="30" y="18"/>
                </a:lnTo>
                <a:lnTo>
                  <a:pt x="34" y="18"/>
                </a:lnTo>
                <a:lnTo>
                  <a:pt x="34" y="18"/>
                </a:lnTo>
                <a:lnTo>
                  <a:pt x="34" y="22"/>
                </a:lnTo>
                <a:lnTo>
                  <a:pt x="34" y="22"/>
                </a:lnTo>
                <a:lnTo>
                  <a:pt x="34" y="22"/>
                </a:lnTo>
                <a:lnTo>
                  <a:pt x="34" y="22"/>
                </a:lnTo>
                <a:lnTo>
                  <a:pt x="34" y="22"/>
                </a:lnTo>
                <a:lnTo>
                  <a:pt x="34" y="22"/>
                </a:lnTo>
                <a:lnTo>
                  <a:pt x="30" y="22"/>
                </a:lnTo>
                <a:lnTo>
                  <a:pt x="30" y="22"/>
                </a:lnTo>
                <a:lnTo>
                  <a:pt x="30" y="22"/>
                </a:lnTo>
                <a:lnTo>
                  <a:pt x="30" y="22"/>
                </a:lnTo>
                <a:close/>
                <a:moveTo>
                  <a:pt x="8" y="38"/>
                </a:moveTo>
                <a:lnTo>
                  <a:pt x="8" y="38"/>
                </a:lnTo>
                <a:lnTo>
                  <a:pt x="8" y="38"/>
                </a:lnTo>
                <a:lnTo>
                  <a:pt x="8" y="38"/>
                </a:lnTo>
                <a:lnTo>
                  <a:pt x="8" y="38"/>
                </a:lnTo>
                <a:lnTo>
                  <a:pt x="12" y="38"/>
                </a:lnTo>
                <a:lnTo>
                  <a:pt x="12" y="38"/>
                </a:lnTo>
                <a:lnTo>
                  <a:pt x="12" y="42"/>
                </a:lnTo>
                <a:lnTo>
                  <a:pt x="8" y="42"/>
                </a:lnTo>
                <a:lnTo>
                  <a:pt x="8" y="42"/>
                </a:lnTo>
                <a:lnTo>
                  <a:pt x="8" y="42"/>
                </a:lnTo>
                <a:lnTo>
                  <a:pt x="8" y="42"/>
                </a:lnTo>
                <a:lnTo>
                  <a:pt x="4" y="38"/>
                </a:lnTo>
                <a:lnTo>
                  <a:pt x="4" y="38"/>
                </a:lnTo>
                <a:lnTo>
                  <a:pt x="4" y="38"/>
                </a:lnTo>
                <a:lnTo>
                  <a:pt x="4" y="38"/>
                </a:lnTo>
                <a:lnTo>
                  <a:pt x="4" y="38"/>
                </a:lnTo>
                <a:lnTo>
                  <a:pt x="4" y="38"/>
                </a:lnTo>
                <a:lnTo>
                  <a:pt x="4" y="38"/>
                </a:lnTo>
                <a:lnTo>
                  <a:pt x="8" y="38"/>
                </a:lnTo>
                <a:lnTo>
                  <a:pt x="8" y="38"/>
                </a:lnTo>
                <a:lnTo>
                  <a:pt x="8" y="38"/>
                </a:lnTo>
                <a:close/>
                <a:moveTo>
                  <a:pt x="0" y="44"/>
                </a:moveTo>
                <a:lnTo>
                  <a:pt x="0" y="44"/>
                </a:lnTo>
                <a:lnTo>
                  <a:pt x="0" y="44"/>
                </a:lnTo>
                <a:lnTo>
                  <a:pt x="0" y="44"/>
                </a:lnTo>
                <a:lnTo>
                  <a:pt x="4" y="44"/>
                </a:lnTo>
                <a:lnTo>
                  <a:pt x="4" y="44"/>
                </a:lnTo>
                <a:lnTo>
                  <a:pt x="4" y="44"/>
                </a:lnTo>
                <a:lnTo>
                  <a:pt x="8" y="44"/>
                </a:lnTo>
                <a:lnTo>
                  <a:pt x="8" y="44"/>
                </a:lnTo>
                <a:lnTo>
                  <a:pt x="12" y="44"/>
                </a:lnTo>
                <a:lnTo>
                  <a:pt x="12" y="44"/>
                </a:lnTo>
                <a:lnTo>
                  <a:pt x="12" y="44"/>
                </a:lnTo>
                <a:lnTo>
                  <a:pt x="12" y="44"/>
                </a:lnTo>
                <a:lnTo>
                  <a:pt x="12" y="48"/>
                </a:lnTo>
                <a:lnTo>
                  <a:pt x="8" y="48"/>
                </a:lnTo>
                <a:lnTo>
                  <a:pt x="8" y="48"/>
                </a:lnTo>
                <a:lnTo>
                  <a:pt x="8" y="48"/>
                </a:lnTo>
                <a:lnTo>
                  <a:pt x="4" y="48"/>
                </a:lnTo>
                <a:lnTo>
                  <a:pt x="4" y="48"/>
                </a:lnTo>
                <a:lnTo>
                  <a:pt x="4" y="44"/>
                </a:lnTo>
                <a:lnTo>
                  <a:pt x="4" y="44"/>
                </a:lnTo>
                <a:lnTo>
                  <a:pt x="0" y="48"/>
                </a:lnTo>
                <a:lnTo>
                  <a:pt x="0" y="48"/>
                </a:lnTo>
                <a:lnTo>
                  <a:pt x="0" y="48"/>
                </a:lnTo>
                <a:lnTo>
                  <a:pt x="0" y="48"/>
                </a:lnTo>
                <a:lnTo>
                  <a:pt x="0" y="48"/>
                </a:lnTo>
                <a:lnTo>
                  <a:pt x="0" y="48"/>
                </a:lnTo>
                <a:lnTo>
                  <a:pt x="0" y="44"/>
                </a:lnTo>
                <a:lnTo>
                  <a:pt x="0" y="44"/>
                </a:lnTo>
                <a:lnTo>
                  <a:pt x="0" y="44"/>
                </a:lnTo>
                <a:lnTo>
                  <a:pt x="0" y="44"/>
                </a:lnTo>
                <a:close/>
                <a:moveTo>
                  <a:pt x="26" y="4"/>
                </a:moveTo>
                <a:lnTo>
                  <a:pt x="26" y="4"/>
                </a:lnTo>
                <a:lnTo>
                  <a:pt x="26" y="4"/>
                </a:lnTo>
                <a:lnTo>
                  <a:pt x="26" y="4"/>
                </a:lnTo>
                <a:lnTo>
                  <a:pt x="26" y="4"/>
                </a:lnTo>
                <a:lnTo>
                  <a:pt x="26" y="4"/>
                </a:lnTo>
                <a:lnTo>
                  <a:pt x="26" y="4"/>
                </a:lnTo>
                <a:lnTo>
                  <a:pt x="30" y="0"/>
                </a:lnTo>
                <a:lnTo>
                  <a:pt x="30" y="0"/>
                </a:lnTo>
                <a:lnTo>
                  <a:pt x="30" y="0"/>
                </a:lnTo>
                <a:lnTo>
                  <a:pt x="30" y="0"/>
                </a:lnTo>
                <a:lnTo>
                  <a:pt x="30" y="0"/>
                </a:lnTo>
                <a:lnTo>
                  <a:pt x="26" y="4"/>
                </a:lnTo>
                <a:lnTo>
                  <a:pt x="26" y="4"/>
                </a:lnTo>
                <a:lnTo>
                  <a:pt x="26" y="4"/>
                </a:lnTo>
                <a:lnTo>
                  <a:pt x="26" y="4"/>
                </a:lnTo>
                <a:lnTo>
                  <a:pt x="26" y="4"/>
                </a:lnTo>
                <a:lnTo>
                  <a:pt x="26" y="4"/>
                </a:lnTo>
                <a:close/>
                <a:moveTo>
                  <a:pt x="20" y="12"/>
                </a:moveTo>
                <a:lnTo>
                  <a:pt x="20" y="12"/>
                </a:lnTo>
                <a:lnTo>
                  <a:pt x="20" y="12"/>
                </a:lnTo>
                <a:lnTo>
                  <a:pt x="20" y="12"/>
                </a:lnTo>
                <a:lnTo>
                  <a:pt x="20" y="12"/>
                </a:lnTo>
                <a:lnTo>
                  <a:pt x="20" y="12"/>
                </a:lnTo>
                <a:lnTo>
                  <a:pt x="20" y="8"/>
                </a:lnTo>
                <a:lnTo>
                  <a:pt x="20" y="8"/>
                </a:lnTo>
                <a:lnTo>
                  <a:pt x="20" y="8"/>
                </a:lnTo>
                <a:lnTo>
                  <a:pt x="20" y="8"/>
                </a:lnTo>
                <a:lnTo>
                  <a:pt x="20" y="8"/>
                </a:lnTo>
                <a:lnTo>
                  <a:pt x="22" y="8"/>
                </a:lnTo>
                <a:lnTo>
                  <a:pt x="22" y="8"/>
                </a:lnTo>
                <a:lnTo>
                  <a:pt x="22" y="8"/>
                </a:lnTo>
                <a:lnTo>
                  <a:pt x="22" y="8"/>
                </a:lnTo>
                <a:lnTo>
                  <a:pt x="22" y="8"/>
                </a:lnTo>
                <a:lnTo>
                  <a:pt x="20" y="12"/>
                </a:lnTo>
                <a:lnTo>
                  <a:pt x="20" y="12"/>
                </a:lnTo>
                <a:lnTo>
                  <a:pt x="20" y="12"/>
                </a:lnTo>
                <a:lnTo>
                  <a:pt x="20" y="12"/>
                </a:lnTo>
                <a:lnTo>
                  <a:pt x="20" y="12"/>
                </a:lnTo>
                <a:lnTo>
                  <a:pt x="20" y="12"/>
                </a:lnTo>
                <a:lnTo>
                  <a:pt x="20" y="12"/>
                </a:lnTo>
                <a:close/>
              </a:path>
            </a:pathLst>
          </a:custGeom>
          <a:solidFill>
            <a:srgbClr val="A0DCFF"/>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09" name="Freeform 116"/>
          <p:cNvSpPr>
            <a:spLocks noEditPoints="1"/>
          </p:cNvSpPr>
          <p:nvPr/>
        </p:nvSpPr>
        <p:spPr bwMode="auto">
          <a:xfrm>
            <a:off x="4336256" y="2031206"/>
            <a:ext cx="445294" cy="378619"/>
          </a:xfrm>
          <a:custGeom>
            <a:avLst/>
            <a:gdLst>
              <a:gd name="T0" fmla="*/ 104 w 374"/>
              <a:gd name="T1" fmla="*/ 154 h 318"/>
              <a:gd name="T2" fmla="*/ 120 w 374"/>
              <a:gd name="T3" fmla="*/ 132 h 318"/>
              <a:gd name="T4" fmla="*/ 120 w 374"/>
              <a:gd name="T5" fmla="*/ 116 h 318"/>
              <a:gd name="T6" fmla="*/ 142 w 374"/>
              <a:gd name="T7" fmla="*/ 102 h 318"/>
              <a:gd name="T8" fmla="*/ 150 w 374"/>
              <a:gd name="T9" fmla="*/ 94 h 318"/>
              <a:gd name="T10" fmla="*/ 146 w 374"/>
              <a:gd name="T11" fmla="*/ 82 h 318"/>
              <a:gd name="T12" fmla="*/ 164 w 374"/>
              <a:gd name="T13" fmla="*/ 82 h 318"/>
              <a:gd name="T14" fmla="*/ 184 w 374"/>
              <a:gd name="T15" fmla="*/ 72 h 318"/>
              <a:gd name="T16" fmla="*/ 180 w 374"/>
              <a:gd name="T17" fmla="*/ 56 h 318"/>
              <a:gd name="T18" fmla="*/ 202 w 374"/>
              <a:gd name="T19" fmla="*/ 42 h 318"/>
              <a:gd name="T20" fmla="*/ 232 w 374"/>
              <a:gd name="T21" fmla="*/ 30 h 318"/>
              <a:gd name="T22" fmla="*/ 254 w 374"/>
              <a:gd name="T23" fmla="*/ 22 h 318"/>
              <a:gd name="T24" fmla="*/ 276 w 374"/>
              <a:gd name="T25" fmla="*/ 8 h 318"/>
              <a:gd name="T26" fmla="*/ 296 w 374"/>
              <a:gd name="T27" fmla="*/ 22 h 318"/>
              <a:gd name="T28" fmla="*/ 318 w 374"/>
              <a:gd name="T29" fmla="*/ 8 h 318"/>
              <a:gd name="T30" fmla="*/ 332 w 374"/>
              <a:gd name="T31" fmla="*/ 22 h 318"/>
              <a:gd name="T32" fmla="*/ 374 w 374"/>
              <a:gd name="T33" fmla="*/ 22 h 318"/>
              <a:gd name="T34" fmla="*/ 358 w 374"/>
              <a:gd name="T35" fmla="*/ 34 h 318"/>
              <a:gd name="T36" fmla="*/ 348 w 374"/>
              <a:gd name="T37" fmla="*/ 38 h 318"/>
              <a:gd name="T38" fmla="*/ 296 w 374"/>
              <a:gd name="T39" fmla="*/ 56 h 318"/>
              <a:gd name="T40" fmla="*/ 232 w 374"/>
              <a:gd name="T41" fmla="*/ 52 h 318"/>
              <a:gd name="T42" fmla="*/ 168 w 374"/>
              <a:gd name="T43" fmla="*/ 90 h 318"/>
              <a:gd name="T44" fmla="*/ 128 w 374"/>
              <a:gd name="T45" fmla="*/ 162 h 318"/>
              <a:gd name="T46" fmla="*/ 112 w 374"/>
              <a:gd name="T47" fmla="*/ 236 h 318"/>
              <a:gd name="T48" fmla="*/ 90 w 374"/>
              <a:gd name="T49" fmla="*/ 292 h 318"/>
              <a:gd name="T50" fmla="*/ 72 w 374"/>
              <a:gd name="T51" fmla="*/ 294 h 318"/>
              <a:gd name="T52" fmla="*/ 12 w 374"/>
              <a:gd name="T53" fmla="*/ 292 h 318"/>
              <a:gd name="T54" fmla="*/ 14 w 374"/>
              <a:gd name="T55" fmla="*/ 284 h 318"/>
              <a:gd name="T56" fmla="*/ 30 w 374"/>
              <a:gd name="T57" fmla="*/ 262 h 318"/>
              <a:gd name="T58" fmla="*/ 14 w 374"/>
              <a:gd name="T59" fmla="*/ 258 h 318"/>
              <a:gd name="T60" fmla="*/ 34 w 374"/>
              <a:gd name="T61" fmla="*/ 246 h 318"/>
              <a:gd name="T62" fmla="*/ 8 w 374"/>
              <a:gd name="T63" fmla="*/ 238 h 318"/>
              <a:gd name="T64" fmla="*/ 8 w 374"/>
              <a:gd name="T65" fmla="*/ 228 h 318"/>
              <a:gd name="T66" fmla="*/ 30 w 374"/>
              <a:gd name="T67" fmla="*/ 224 h 318"/>
              <a:gd name="T68" fmla="*/ 44 w 374"/>
              <a:gd name="T69" fmla="*/ 210 h 318"/>
              <a:gd name="T70" fmla="*/ 52 w 374"/>
              <a:gd name="T71" fmla="*/ 206 h 318"/>
              <a:gd name="T72" fmla="*/ 64 w 374"/>
              <a:gd name="T73" fmla="*/ 192 h 318"/>
              <a:gd name="T74" fmla="*/ 86 w 374"/>
              <a:gd name="T75" fmla="*/ 180 h 318"/>
              <a:gd name="T76" fmla="*/ 284 w 374"/>
              <a:gd name="T77" fmla="*/ 4 h 318"/>
              <a:gd name="T78" fmla="*/ 206 w 374"/>
              <a:gd name="T79" fmla="*/ 26 h 318"/>
              <a:gd name="T80" fmla="*/ 354 w 374"/>
              <a:gd name="T81" fmla="*/ 38 h 318"/>
              <a:gd name="T82" fmla="*/ 176 w 374"/>
              <a:gd name="T83" fmla="*/ 60 h 318"/>
              <a:gd name="T84" fmla="*/ 124 w 374"/>
              <a:gd name="T85" fmla="*/ 76 h 318"/>
              <a:gd name="T86" fmla="*/ 130 w 374"/>
              <a:gd name="T87" fmla="*/ 106 h 318"/>
              <a:gd name="T88" fmla="*/ 104 w 374"/>
              <a:gd name="T89" fmla="*/ 154 h 318"/>
              <a:gd name="T90" fmla="*/ 52 w 374"/>
              <a:gd name="T91" fmla="*/ 194 h 318"/>
              <a:gd name="T92" fmla="*/ 42 w 374"/>
              <a:gd name="T93" fmla="*/ 202 h 318"/>
              <a:gd name="T94" fmla="*/ 12 w 374"/>
              <a:gd name="T95" fmla="*/ 222 h 318"/>
              <a:gd name="T96" fmla="*/ 12 w 374"/>
              <a:gd name="T97" fmla="*/ 262 h 318"/>
              <a:gd name="T98" fmla="*/ 248 w 374"/>
              <a:gd name="T99" fmla="*/ 16 h 318"/>
              <a:gd name="T100" fmla="*/ 270 w 374"/>
              <a:gd name="T101" fmla="*/ 16 h 318"/>
              <a:gd name="T102" fmla="*/ 228 w 374"/>
              <a:gd name="T103" fmla="*/ 30 h 318"/>
              <a:gd name="T104" fmla="*/ 194 w 374"/>
              <a:gd name="T105" fmla="*/ 38 h 318"/>
              <a:gd name="T106" fmla="*/ 176 w 374"/>
              <a:gd name="T107" fmla="*/ 42 h 318"/>
              <a:gd name="T108" fmla="*/ 154 w 374"/>
              <a:gd name="T109" fmla="*/ 56 h 318"/>
              <a:gd name="T110" fmla="*/ 146 w 374"/>
              <a:gd name="T111" fmla="*/ 60 h 318"/>
              <a:gd name="T112" fmla="*/ 158 w 374"/>
              <a:gd name="T113" fmla="*/ 56 h 318"/>
              <a:gd name="T114" fmla="*/ 134 w 374"/>
              <a:gd name="T115" fmla="*/ 76 h 318"/>
              <a:gd name="T116" fmla="*/ 108 w 374"/>
              <a:gd name="T117" fmla="*/ 132 h 318"/>
              <a:gd name="T118" fmla="*/ 44 w 374"/>
              <a:gd name="T119" fmla="*/ 194 h 318"/>
              <a:gd name="T120" fmla="*/ 8 w 374"/>
              <a:gd name="T121" fmla="*/ 262 h 318"/>
              <a:gd name="T122" fmla="*/ 8 w 374"/>
              <a:gd name="T123" fmla="*/ 28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74" h="318">
                <a:moveTo>
                  <a:pt x="82" y="168"/>
                </a:moveTo>
                <a:lnTo>
                  <a:pt x="86" y="168"/>
                </a:lnTo>
                <a:lnTo>
                  <a:pt x="82" y="168"/>
                </a:lnTo>
                <a:lnTo>
                  <a:pt x="86" y="164"/>
                </a:lnTo>
                <a:lnTo>
                  <a:pt x="90" y="164"/>
                </a:lnTo>
                <a:lnTo>
                  <a:pt x="94" y="168"/>
                </a:lnTo>
                <a:lnTo>
                  <a:pt x="94" y="164"/>
                </a:lnTo>
                <a:lnTo>
                  <a:pt x="98" y="164"/>
                </a:lnTo>
                <a:lnTo>
                  <a:pt x="102" y="164"/>
                </a:lnTo>
                <a:lnTo>
                  <a:pt x="98" y="164"/>
                </a:lnTo>
                <a:lnTo>
                  <a:pt x="94" y="164"/>
                </a:lnTo>
                <a:lnTo>
                  <a:pt x="94" y="162"/>
                </a:lnTo>
                <a:lnTo>
                  <a:pt x="98" y="162"/>
                </a:lnTo>
                <a:lnTo>
                  <a:pt x="102" y="162"/>
                </a:lnTo>
                <a:lnTo>
                  <a:pt x="102" y="158"/>
                </a:lnTo>
                <a:lnTo>
                  <a:pt x="98" y="158"/>
                </a:lnTo>
                <a:lnTo>
                  <a:pt x="102" y="158"/>
                </a:lnTo>
                <a:lnTo>
                  <a:pt x="104" y="154"/>
                </a:lnTo>
                <a:lnTo>
                  <a:pt x="102" y="154"/>
                </a:lnTo>
                <a:lnTo>
                  <a:pt x="102" y="158"/>
                </a:lnTo>
                <a:lnTo>
                  <a:pt x="94" y="162"/>
                </a:lnTo>
                <a:lnTo>
                  <a:pt x="94" y="158"/>
                </a:lnTo>
                <a:lnTo>
                  <a:pt x="98" y="158"/>
                </a:lnTo>
                <a:lnTo>
                  <a:pt x="94" y="158"/>
                </a:lnTo>
                <a:lnTo>
                  <a:pt x="98" y="154"/>
                </a:lnTo>
                <a:lnTo>
                  <a:pt x="102" y="154"/>
                </a:lnTo>
                <a:lnTo>
                  <a:pt x="104" y="154"/>
                </a:lnTo>
                <a:lnTo>
                  <a:pt x="108" y="154"/>
                </a:lnTo>
                <a:lnTo>
                  <a:pt x="112" y="150"/>
                </a:lnTo>
                <a:lnTo>
                  <a:pt x="116" y="146"/>
                </a:lnTo>
                <a:lnTo>
                  <a:pt x="112" y="150"/>
                </a:lnTo>
                <a:lnTo>
                  <a:pt x="108" y="150"/>
                </a:lnTo>
                <a:lnTo>
                  <a:pt x="112" y="150"/>
                </a:lnTo>
                <a:lnTo>
                  <a:pt x="112" y="146"/>
                </a:lnTo>
                <a:lnTo>
                  <a:pt x="108" y="146"/>
                </a:lnTo>
                <a:lnTo>
                  <a:pt x="108" y="150"/>
                </a:lnTo>
                <a:lnTo>
                  <a:pt x="104" y="150"/>
                </a:lnTo>
                <a:lnTo>
                  <a:pt x="108" y="146"/>
                </a:lnTo>
                <a:lnTo>
                  <a:pt x="112" y="146"/>
                </a:lnTo>
                <a:lnTo>
                  <a:pt x="108" y="142"/>
                </a:lnTo>
                <a:lnTo>
                  <a:pt x="112" y="142"/>
                </a:lnTo>
                <a:lnTo>
                  <a:pt x="108" y="142"/>
                </a:lnTo>
                <a:lnTo>
                  <a:pt x="108" y="138"/>
                </a:lnTo>
                <a:lnTo>
                  <a:pt x="108" y="136"/>
                </a:lnTo>
                <a:lnTo>
                  <a:pt x="112" y="136"/>
                </a:lnTo>
                <a:lnTo>
                  <a:pt x="112" y="138"/>
                </a:lnTo>
                <a:lnTo>
                  <a:pt x="116" y="138"/>
                </a:lnTo>
                <a:lnTo>
                  <a:pt x="112" y="138"/>
                </a:lnTo>
                <a:lnTo>
                  <a:pt x="112" y="136"/>
                </a:lnTo>
                <a:lnTo>
                  <a:pt x="112" y="132"/>
                </a:lnTo>
                <a:lnTo>
                  <a:pt x="116" y="132"/>
                </a:lnTo>
                <a:lnTo>
                  <a:pt x="120" y="132"/>
                </a:lnTo>
                <a:lnTo>
                  <a:pt x="120" y="136"/>
                </a:lnTo>
                <a:lnTo>
                  <a:pt x="120" y="132"/>
                </a:lnTo>
                <a:lnTo>
                  <a:pt x="116" y="132"/>
                </a:lnTo>
                <a:lnTo>
                  <a:pt x="116" y="128"/>
                </a:lnTo>
                <a:lnTo>
                  <a:pt x="112" y="128"/>
                </a:lnTo>
                <a:lnTo>
                  <a:pt x="116" y="128"/>
                </a:lnTo>
                <a:lnTo>
                  <a:pt x="120" y="128"/>
                </a:lnTo>
                <a:lnTo>
                  <a:pt x="120" y="124"/>
                </a:lnTo>
                <a:lnTo>
                  <a:pt x="124" y="124"/>
                </a:lnTo>
                <a:lnTo>
                  <a:pt x="128" y="124"/>
                </a:lnTo>
                <a:lnTo>
                  <a:pt x="124" y="124"/>
                </a:lnTo>
                <a:lnTo>
                  <a:pt x="124" y="128"/>
                </a:lnTo>
                <a:lnTo>
                  <a:pt x="128" y="124"/>
                </a:lnTo>
                <a:lnTo>
                  <a:pt x="130" y="124"/>
                </a:lnTo>
                <a:lnTo>
                  <a:pt x="134" y="124"/>
                </a:lnTo>
                <a:lnTo>
                  <a:pt x="134" y="120"/>
                </a:lnTo>
                <a:lnTo>
                  <a:pt x="130" y="124"/>
                </a:lnTo>
                <a:lnTo>
                  <a:pt x="128" y="124"/>
                </a:lnTo>
                <a:lnTo>
                  <a:pt x="124" y="124"/>
                </a:lnTo>
                <a:lnTo>
                  <a:pt x="120" y="124"/>
                </a:lnTo>
                <a:lnTo>
                  <a:pt x="116" y="124"/>
                </a:lnTo>
                <a:lnTo>
                  <a:pt x="120" y="124"/>
                </a:lnTo>
                <a:lnTo>
                  <a:pt x="124" y="124"/>
                </a:lnTo>
                <a:lnTo>
                  <a:pt x="120" y="124"/>
                </a:lnTo>
                <a:lnTo>
                  <a:pt x="116" y="120"/>
                </a:lnTo>
                <a:lnTo>
                  <a:pt x="120" y="120"/>
                </a:lnTo>
                <a:lnTo>
                  <a:pt x="120" y="116"/>
                </a:lnTo>
                <a:lnTo>
                  <a:pt x="116" y="116"/>
                </a:lnTo>
                <a:lnTo>
                  <a:pt x="120" y="116"/>
                </a:lnTo>
                <a:lnTo>
                  <a:pt x="124" y="116"/>
                </a:lnTo>
                <a:lnTo>
                  <a:pt x="128" y="116"/>
                </a:lnTo>
                <a:lnTo>
                  <a:pt x="124" y="116"/>
                </a:lnTo>
                <a:lnTo>
                  <a:pt x="120" y="116"/>
                </a:lnTo>
                <a:lnTo>
                  <a:pt x="120" y="112"/>
                </a:lnTo>
                <a:lnTo>
                  <a:pt x="124" y="112"/>
                </a:lnTo>
                <a:lnTo>
                  <a:pt x="120" y="112"/>
                </a:lnTo>
                <a:lnTo>
                  <a:pt x="124" y="112"/>
                </a:lnTo>
                <a:lnTo>
                  <a:pt x="128" y="112"/>
                </a:lnTo>
                <a:lnTo>
                  <a:pt x="130" y="112"/>
                </a:lnTo>
                <a:lnTo>
                  <a:pt x="128" y="112"/>
                </a:lnTo>
                <a:lnTo>
                  <a:pt x="124" y="112"/>
                </a:lnTo>
                <a:lnTo>
                  <a:pt x="128" y="112"/>
                </a:lnTo>
                <a:lnTo>
                  <a:pt x="124" y="112"/>
                </a:lnTo>
                <a:lnTo>
                  <a:pt x="124" y="108"/>
                </a:lnTo>
                <a:lnTo>
                  <a:pt x="128" y="108"/>
                </a:lnTo>
                <a:lnTo>
                  <a:pt x="130" y="108"/>
                </a:lnTo>
                <a:lnTo>
                  <a:pt x="128" y="108"/>
                </a:lnTo>
                <a:lnTo>
                  <a:pt x="124" y="108"/>
                </a:lnTo>
                <a:lnTo>
                  <a:pt x="128" y="106"/>
                </a:lnTo>
                <a:lnTo>
                  <a:pt x="130" y="108"/>
                </a:lnTo>
                <a:lnTo>
                  <a:pt x="134" y="106"/>
                </a:lnTo>
                <a:lnTo>
                  <a:pt x="138" y="106"/>
                </a:lnTo>
                <a:lnTo>
                  <a:pt x="134" y="106"/>
                </a:lnTo>
                <a:lnTo>
                  <a:pt x="134" y="102"/>
                </a:lnTo>
                <a:lnTo>
                  <a:pt x="138" y="102"/>
                </a:lnTo>
                <a:lnTo>
                  <a:pt x="142" y="102"/>
                </a:lnTo>
                <a:lnTo>
                  <a:pt x="138" y="102"/>
                </a:lnTo>
                <a:lnTo>
                  <a:pt x="142" y="102"/>
                </a:lnTo>
                <a:lnTo>
                  <a:pt x="146" y="102"/>
                </a:lnTo>
                <a:lnTo>
                  <a:pt x="150" y="102"/>
                </a:lnTo>
                <a:lnTo>
                  <a:pt x="154" y="106"/>
                </a:lnTo>
                <a:lnTo>
                  <a:pt x="154" y="102"/>
                </a:lnTo>
                <a:lnTo>
                  <a:pt x="150" y="102"/>
                </a:lnTo>
                <a:lnTo>
                  <a:pt x="154" y="102"/>
                </a:lnTo>
                <a:lnTo>
                  <a:pt x="158" y="102"/>
                </a:lnTo>
                <a:lnTo>
                  <a:pt x="150" y="102"/>
                </a:lnTo>
                <a:lnTo>
                  <a:pt x="150" y="98"/>
                </a:lnTo>
                <a:lnTo>
                  <a:pt x="150" y="102"/>
                </a:lnTo>
                <a:lnTo>
                  <a:pt x="146" y="98"/>
                </a:lnTo>
                <a:lnTo>
                  <a:pt x="150" y="98"/>
                </a:lnTo>
                <a:lnTo>
                  <a:pt x="146" y="98"/>
                </a:lnTo>
                <a:lnTo>
                  <a:pt x="142" y="98"/>
                </a:lnTo>
                <a:lnTo>
                  <a:pt x="142" y="102"/>
                </a:lnTo>
                <a:lnTo>
                  <a:pt x="138" y="98"/>
                </a:lnTo>
                <a:lnTo>
                  <a:pt x="134" y="98"/>
                </a:lnTo>
                <a:lnTo>
                  <a:pt x="138" y="98"/>
                </a:lnTo>
                <a:lnTo>
                  <a:pt x="138" y="94"/>
                </a:lnTo>
                <a:lnTo>
                  <a:pt x="142" y="94"/>
                </a:lnTo>
                <a:lnTo>
                  <a:pt x="146" y="94"/>
                </a:lnTo>
                <a:lnTo>
                  <a:pt x="142" y="94"/>
                </a:lnTo>
                <a:lnTo>
                  <a:pt x="146" y="90"/>
                </a:lnTo>
                <a:lnTo>
                  <a:pt x="146" y="94"/>
                </a:lnTo>
                <a:lnTo>
                  <a:pt x="150" y="94"/>
                </a:lnTo>
                <a:lnTo>
                  <a:pt x="154" y="94"/>
                </a:lnTo>
                <a:lnTo>
                  <a:pt x="154" y="98"/>
                </a:lnTo>
                <a:lnTo>
                  <a:pt x="158" y="98"/>
                </a:lnTo>
                <a:lnTo>
                  <a:pt x="154" y="98"/>
                </a:lnTo>
                <a:lnTo>
                  <a:pt x="154" y="94"/>
                </a:lnTo>
                <a:lnTo>
                  <a:pt x="158" y="94"/>
                </a:lnTo>
                <a:lnTo>
                  <a:pt x="158" y="90"/>
                </a:lnTo>
                <a:lnTo>
                  <a:pt x="154" y="90"/>
                </a:lnTo>
                <a:lnTo>
                  <a:pt x="154" y="94"/>
                </a:lnTo>
                <a:lnTo>
                  <a:pt x="150" y="94"/>
                </a:lnTo>
                <a:lnTo>
                  <a:pt x="150" y="90"/>
                </a:lnTo>
                <a:lnTo>
                  <a:pt x="150" y="86"/>
                </a:lnTo>
                <a:lnTo>
                  <a:pt x="154" y="90"/>
                </a:lnTo>
                <a:lnTo>
                  <a:pt x="154" y="86"/>
                </a:lnTo>
                <a:lnTo>
                  <a:pt x="150" y="86"/>
                </a:lnTo>
                <a:lnTo>
                  <a:pt x="154" y="86"/>
                </a:lnTo>
                <a:lnTo>
                  <a:pt x="158" y="90"/>
                </a:lnTo>
                <a:lnTo>
                  <a:pt x="158" y="86"/>
                </a:lnTo>
                <a:lnTo>
                  <a:pt x="154" y="86"/>
                </a:lnTo>
                <a:lnTo>
                  <a:pt x="150" y="86"/>
                </a:lnTo>
                <a:lnTo>
                  <a:pt x="146" y="90"/>
                </a:lnTo>
                <a:lnTo>
                  <a:pt x="142" y="90"/>
                </a:lnTo>
                <a:lnTo>
                  <a:pt x="142" y="86"/>
                </a:lnTo>
                <a:lnTo>
                  <a:pt x="146" y="86"/>
                </a:lnTo>
                <a:lnTo>
                  <a:pt x="142" y="86"/>
                </a:lnTo>
                <a:lnTo>
                  <a:pt x="146" y="86"/>
                </a:lnTo>
                <a:lnTo>
                  <a:pt x="146" y="82"/>
                </a:lnTo>
                <a:lnTo>
                  <a:pt x="142" y="86"/>
                </a:lnTo>
                <a:lnTo>
                  <a:pt x="142" y="82"/>
                </a:lnTo>
                <a:lnTo>
                  <a:pt x="146" y="82"/>
                </a:lnTo>
                <a:lnTo>
                  <a:pt x="150" y="82"/>
                </a:lnTo>
                <a:lnTo>
                  <a:pt x="154" y="82"/>
                </a:lnTo>
                <a:lnTo>
                  <a:pt x="158" y="82"/>
                </a:lnTo>
                <a:lnTo>
                  <a:pt x="160" y="78"/>
                </a:lnTo>
                <a:lnTo>
                  <a:pt x="158" y="78"/>
                </a:lnTo>
                <a:lnTo>
                  <a:pt x="154" y="78"/>
                </a:lnTo>
                <a:lnTo>
                  <a:pt x="150" y="82"/>
                </a:lnTo>
                <a:lnTo>
                  <a:pt x="150" y="78"/>
                </a:lnTo>
                <a:lnTo>
                  <a:pt x="154" y="78"/>
                </a:lnTo>
                <a:lnTo>
                  <a:pt x="154" y="76"/>
                </a:lnTo>
                <a:lnTo>
                  <a:pt x="158" y="76"/>
                </a:lnTo>
                <a:lnTo>
                  <a:pt x="158" y="78"/>
                </a:lnTo>
                <a:lnTo>
                  <a:pt x="154" y="78"/>
                </a:lnTo>
                <a:lnTo>
                  <a:pt x="158" y="78"/>
                </a:lnTo>
                <a:lnTo>
                  <a:pt x="158" y="76"/>
                </a:lnTo>
                <a:lnTo>
                  <a:pt x="160" y="76"/>
                </a:lnTo>
                <a:lnTo>
                  <a:pt x="160" y="78"/>
                </a:lnTo>
                <a:lnTo>
                  <a:pt x="160" y="82"/>
                </a:lnTo>
                <a:lnTo>
                  <a:pt x="164" y="82"/>
                </a:lnTo>
                <a:lnTo>
                  <a:pt x="164" y="86"/>
                </a:lnTo>
                <a:lnTo>
                  <a:pt x="168" y="86"/>
                </a:lnTo>
                <a:lnTo>
                  <a:pt x="164" y="82"/>
                </a:lnTo>
                <a:lnTo>
                  <a:pt x="164" y="78"/>
                </a:lnTo>
                <a:lnTo>
                  <a:pt x="164" y="82"/>
                </a:lnTo>
                <a:lnTo>
                  <a:pt x="168" y="82"/>
                </a:lnTo>
                <a:lnTo>
                  <a:pt x="168" y="78"/>
                </a:lnTo>
                <a:lnTo>
                  <a:pt x="164" y="78"/>
                </a:lnTo>
                <a:lnTo>
                  <a:pt x="168" y="78"/>
                </a:lnTo>
                <a:lnTo>
                  <a:pt x="164" y="78"/>
                </a:lnTo>
                <a:lnTo>
                  <a:pt x="164" y="76"/>
                </a:lnTo>
                <a:lnTo>
                  <a:pt x="168" y="76"/>
                </a:lnTo>
                <a:lnTo>
                  <a:pt x="164" y="76"/>
                </a:lnTo>
                <a:lnTo>
                  <a:pt x="160" y="76"/>
                </a:lnTo>
                <a:lnTo>
                  <a:pt x="164" y="76"/>
                </a:lnTo>
                <a:lnTo>
                  <a:pt x="160" y="76"/>
                </a:lnTo>
                <a:lnTo>
                  <a:pt x="160" y="72"/>
                </a:lnTo>
                <a:lnTo>
                  <a:pt x="168" y="76"/>
                </a:lnTo>
                <a:lnTo>
                  <a:pt x="172" y="78"/>
                </a:lnTo>
                <a:lnTo>
                  <a:pt x="172" y="76"/>
                </a:lnTo>
                <a:lnTo>
                  <a:pt x="168" y="76"/>
                </a:lnTo>
                <a:lnTo>
                  <a:pt x="164" y="72"/>
                </a:lnTo>
                <a:lnTo>
                  <a:pt x="168" y="72"/>
                </a:lnTo>
                <a:lnTo>
                  <a:pt x="172" y="72"/>
                </a:lnTo>
                <a:lnTo>
                  <a:pt x="176" y="72"/>
                </a:lnTo>
                <a:lnTo>
                  <a:pt x="180" y="76"/>
                </a:lnTo>
                <a:lnTo>
                  <a:pt x="180" y="72"/>
                </a:lnTo>
                <a:lnTo>
                  <a:pt x="176" y="72"/>
                </a:lnTo>
                <a:lnTo>
                  <a:pt x="180" y="72"/>
                </a:lnTo>
                <a:lnTo>
                  <a:pt x="184" y="72"/>
                </a:lnTo>
                <a:lnTo>
                  <a:pt x="180" y="72"/>
                </a:lnTo>
                <a:lnTo>
                  <a:pt x="184" y="72"/>
                </a:lnTo>
                <a:lnTo>
                  <a:pt x="184" y="68"/>
                </a:lnTo>
                <a:lnTo>
                  <a:pt x="180" y="68"/>
                </a:lnTo>
                <a:lnTo>
                  <a:pt x="176" y="68"/>
                </a:lnTo>
                <a:lnTo>
                  <a:pt x="176" y="72"/>
                </a:lnTo>
                <a:lnTo>
                  <a:pt x="176" y="68"/>
                </a:lnTo>
                <a:lnTo>
                  <a:pt x="172" y="68"/>
                </a:lnTo>
                <a:lnTo>
                  <a:pt x="168" y="72"/>
                </a:lnTo>
                <a:lnTo>
                  <a:pt x="164" y="68"/>
                </a:lnTo>
                <a:lnTo>
                  <a:pt x="168" y="68"/>
                </a:lnTo>
                <a:lnTo>
                  <a:pt x="168" y="64"/>
                </a:lnTo>
                <a:lnTo>
                  <a:pt x="172" y="64"/>
                </a:lnTo>
                <a:lnTo>
                  <a:pt x="176" y="64"/>
                </a:lnTo>
                <a:lnTo>
                  <a:pt x="180" y="64"/>
                </a:lnTo>
                <a:lnTo>
                  <a:pt x="184" y="64"/>
                </a:lnTo>
                <a:lnTo>
                  <a:pt x="180" y="64"/>
                </a:lnTo>
                <a:lnTo>
                  <a:pt x="176" y="60"/>
                </a:lnTo>
                <a:lnTo>
                  <a:pt x="180" y="60"/>
                </a:lnTo>
                <a:lnTo>
                  <a:pt x="184" y="60"/>
                </a:lnTo>
                <a:lnTo>
                  <a:pt x="188" y="60"/>
                </a:lnTo>
                <a:lnTo>
                  <a:pt x="184" y="60"/>
                </a:lnTo>
                <a:lnTo>
                  <a:pt x="180" y="60"/>
                </a:lnTo>
                <a:lnTo>
                  <a:pt x="184" y="60"/>
                </a:lnTo>
                <a:lnTo>
                  <a:pt x="184" y="56"/>
                </a:lnTo>
                <a:lnTo>
                  <a:pt x="184" y="60"/>
                </a:lnTo>
                <a:lnTo>
                  <a:pt x="188" y="60"/>
                </a:lnTo>
                <a:lnTo>
                  <a:pt x="184" y="56"/>
                </a:lnTo>
                <a:lnTo>
                  <a:pt x="180" y="56"/>
                </a:lnTo>
                <a:lnTo>
                  <a:pt x="184" y="52"/>
                </a:lnTo>
                <a:lnTo>
                  <a:pt x="188" y="52"/>
                </a:lnTo>
                <a:lnTo>
                  <a:pt x="190" y="52"/>
                </a:lnTo>
                <a:lnTo>
                  <a:pt x="188" y="50"/>
                </a:lnTo>
                <a:lnTo>
                  <a:pt x="190" y="50"/>
                </a:lnTo>
                <a:lnTo>
                  <a:pt x="190" y="46"/>
                </a:lnTo>
                <a:lnTo>
                  <a:pt x="190" y="42"/>
                </a:lnTo>
                <a:lnTo>
                  <a:pt x="194" y="46"/>
                </a:lnTo>
                <a:lnTo>
                  <a:pt x="194" y="50"/>
                </a:lnTo>
                <a:lnTo>
                  <a:pt x="198" y="50"/>
                </a:lnTo>
                <a:lnTo>
                  <a:pt x="202" y="50"/>
                </a:lnTo>
                <a:lnTo>
                  <a:pt x="198" y="46"/>
                </a:lnTo>
                <a:lnTo>
                  <a:pt x="194" y="46"/>
                </a:lnTo>
                <a:lnTo>
                  <a:pt x="194" y="42"/>
                </a:lnTo>
                <a:lnTo>
                  <a:pt x="198" y="42"/>
                </a:lnTo>
                <a:lnTo>
                  <a:pt x="202" y="42"/>
                </a:lnTo>
                <a:lnTo>
                  <a:pt x="202" y="46"/>
                </a:lnTo>
                <a:lnTo>
                  <a:pt x="206" y="46"/>
                </a:lnTo>
                <a:lnTo>
                  <a:pt x="210" y="50"/>
                </a:lnTo>
                <a:lnTo>
                  <a:pt x="206" y="50"/>
                </a:lnTo>
                <a:lnTo>
                  <a:pt x="210" y="50"/>
                </a:lnTo>
                <a:lnTo>
                  <a:pt x="210" y="46"/>
                </a:lnTo>
                <a:lnTo>
                  <a:pt x="206" y="46"/>
                </a:lnTo>
                <a:lnTo>
                  <a:pt x="202" y="46"/>
                </a:lnTo>
                <a:lnTo>
                  <a:pt x="202" y="42"/>
                </a:lnTo>
                <a:lnTo>
                  <a:pt x="206" y="42"/>
                </a:lnTo>
                <a:lnTo>
                  <a:pt x="202" y="42"/>
                </a:lnTo>
                <a:lnTo>
                  <a:pt x="202" y="38"/>
                </a:lnTo>
                <a:lnTo>
                  <a:pt x="206" y="38"/>
                </a:lnTo>
                <a:lnTo>
                  <a:pt x="206" y="34"/>
                </a:lnTo>
                <a:lnTo>
                  <a:pt x="214" y="34"/>
                </a:lnTo>
                <a:lnTo>
                  <a:pt x="214" y="38"/>
                </a:lnTo>
                <a:lnTo>
                  <a:pt x="214" y="42"/>
                </a:lnTo>
                <a:lnTo>
                  <a:pt x="210" y="42"/>
                </a:lnTo>
                <a:lnTo>
                  <a:pt x="210" y="46"/>
                </a:lnTo>
                <a:lnTo>
                  <a:pt x="214" y="46"/>
                </a:lnTo>
                <a:lnTo>
                  <a:pt x="214" y="42"/>
                </a:lnTo>
                <a:lnTo>
                  <a:pt x="214" y="38"/>
                </a:lnTo>
                <a:lnTo>
                  <a:pt x="218" y="34"/>
                </a:lnTo>
                <a:lnTo>
                  <a:pt x="218" y="30"/>
                </a:lnTo>
                <a:lnTo>
                  <a:pt x="220" y="30"/>
                </a:lnTo>
                <a:lnTo>
                  <a:pt x="220" y="34"/>
                </a:lnTo>
                <a:lnTo>
                  <a:pt x="220" y="38"/>
                </a:lnTo>
                <a:lnTo>
                  <a:pt x="220" y="42"/>
                </a:lnTo>
                <a:lnTo>
                  <a:pt x="220" y="46"/>
                </a:lnTo>
                <a:lnTo>
                  <a:pt x="218" y="46"/>
                </a:lnTo>
                <a:lnTo>
                  <a:pt x="218" y="50"/>
                </a:lnTo>
                <a:lnTo>
                  <a:pt x="220" y="46"/>
                </a:lnTo>
                <a:lnTo>
                  <a:pt x="224" y="42"/>
                </a:lnTo>
                <a:lnTo>
                  <a:pt x="228" y="42"/>
                </a:lnTo>
                <a:lnTo>
                  <a:pt x="224" y="42"/>
                </a:lnTo>
                <a:lnTo>
                  <a:pt x="224" y="38"/>
                </a:lnTo>
                <a:lnTo>
                  <a:pt x="228" y="34"/>
                </a:lnTo>
                <a:lnTo>
                  <a:pt x="232" y="30"/>
                </a:lnTo>
                <a:lnTo>
                  <a:pt x="232" y="34"/>
                </a:lnTo>
                <a:lnTo>
                  <a:pt x="228" y="34"/>
                </a:lnTo>
                <a:lnTo>
                  <a:pt x="232" y="34"/>
                </a:lnTo>
                <a:lnTo>
                  <a:pt x="236" y="30"/>
                </a:lnTo>
                <a:lnTo>
                  <a:pt x="240" y="30"/>
                </a:lnTo>
                <a:lnTo>
                  <a:pt x="240" y="34"/>
                </a:lnTo>
                <a:lnTo>
                  <a:pt x="244" y="34"/>
                </a:lnTo>
                <a:lnTo>
                  <a:pt x="244" y="38"/>
                </a:lnTo>
                <a:lnTo>
                  <a:pt x="248" y="38"/>
                </a:lnTo>
                <a:lnTo>
                  <a:pt x="248" y="34"/>
                </a:lnTo>
                <a:lnTo>
                  <a:pt x="244" y="30"/>
                </a:lnTo>
                <a:lnTo>
                  <a:pt x="248" y="30"/>
                </a:lnTo>
                <a:lnTo>
                  <a:pt x="248" y="26"/>
                </a:lnTo>
                <a:lnTo>
                  <a:pt x="244" y="26"/>
                </a:lnTo>
                <a:lnTo>
                  <a:pt x="244" y="30"/>
                </a:lnTo>
                <a:lnTo>
                  <a:pt x="240" y="30"/>
                </a:lnTo>
                <a:lnTo>
                  <a:pt x="236" y="26"/>
                </a:lnTo>
                <a:lnTo>
                  <a:pt x="236" y="22"/>
                </a:lnTo>
                <a:lnTo>
                  <a:pt x="240" y="22"/>
                </a:lnTo>
                <a:lnTo>
                  <a:pt x="244" y="22"/>
                </a:lnTo>
                <a:lnTo>
                  <a:pt x="248" y="22"/>
                </a:lnTo>
                <a:lnTo>
                  <a:pt x="250" y="22"/>
                </a:lnTo>
                <a:lnTo>
                  <a:pt x="250" y="26"/>
                </a:lnTo>
                <a:lnTo>
                  <a:pt x="254" y="26"/>
                </a:lnTo>
                <a:lnTo>
                  <a:pt x="250" y="26"/>
                </a:lnTo>
                <a:lnTo>
                  <a:pt x="250" y="22"/>
                </a:lnTo>
                <a:lnTo>
                  <a:pt x="254" y="22"/>
                </a:lnTo>
                <a:lnTo>
                  <a:pt x="258" y="26"/>
                </a:lnTo>
                <a:lnTo>
                  <a:pt x="254" y="26"/>
                </a:lnTo>
                <a:lnTo>
                  <a:pt x="250" y="26"/>
                </a:lnTo>
                <a:lnTo>
                  <a:pt x="250" y="30"/>
                </a:lnTo>
                <a:lnTo>
                  <a:pt x="250" y="26"/>
                </a:lnTo>
                <a:lnTo>
                  <a:pt x="254" y="26"/>
                </a:lnTo>
                <a:lnTo>
                  <a:pt x="258" y="26"/>
                </a:lnTo>
                <a:lnTo>
                  <a:pt x="258" y="30"/>
                </a:lnTo>
                <a:lnTo>
                  <a:pt x="262" y="30"/>
                </a:lnTo>
                <a:lnTo>
                  <a:pt x="266" y="30"/>
                </a:lnTo>
                <a:lnTo>
                  <a:pt x="262" y="30"/>
                </a:lnTo>
                <a:lnTo>
                  <a:pt x="262" y="26"/>
                </a:lnTo>
                <a:lnTo>
                  <a:pt x="266" y="26"/>
                </a:lnTo>
                <a:lnTo>
                  <a:pt x="266" y="22"/>
                </a:lnTo>
                <a:lnTo>
                  <a:pt x="270" y="20"/>
                </a:lnTo>
                <a:lnTo>
                  <a:pt x="274" y="20"/>
                </a:lnTo>
                <a:lnTo>
                  <a:pt x="274" y="16"/>
                </a:lnTo>
                <a:lnTo>
                  <a:pt x="276" y="20"/>
                </a:lnTo>
                <a:lnTo>
                  <a:pt x="276" y="16"/>
                </a:lnTo>
                <a:lnTo>
                  <a:pt x="276" y="12"/>
                </a:lnTo>
                <a:lnTo>
                  <a:pt x="280" y="12"/>
                </a:lnTo>
                <a:lnTo>
                  <a:pt x="280" y="16"/>
                </a:lnTo>
                <a:lnTo>
                  <a:pt x="284" y="16"/>
                </a:lnTo>
                <a:lnTo>
                  <a:pt x="284" y="12"/>
                </a:lnTo>
                <a:lnTo>
                  <a:pt x="280" y="12"/>
                </a:lnTo>
                <a:lnTo>
                  <a:pt x="276" y="12"/>
                </a:lnTo>
                <a:lnTo>
                  <a:pt x="276" y="8"/>
                </a:lnTo>
                <a:lnTo>
                  <a:pt x="280" y="8"/>
                </a:lnTo>
                <a:lnTo>
                  <a:pt x="280" y="12"/>
                </a:lnTo>
                <a:lnTo>
                  <a:pt x="284" y="8"/>
                </a:lnTo>
                <a:lnTo>
                  <a:pt x="280" y="8"/>
                </a:lnTo>
                <a:lnTo>
                  <a:pt x="280" y="4"/>
                </a:lnTo>
                <a:lnTo>
                  <a:pt x="284" y="4"/>
                </a:lnTo>
                <a:lnTo>
                  <a:pt x="284" y="8"/>
                </a:lnTo>
                <a:lnTo>
                  <a:pt x="288" y="8"/>
                </a:lnTo>
                <a:lnTo>
                  <a:pt x="288" y="4"/>
                </a:lnTo>
                <a:lnTo>
                  <a:pt x="288" y="8"/>
                </a:lnTo>
                <a:lnTo>
                  <a:pt x="292" y="8"/>
                </a:lnTo>
                <a:lnTo>
                  <a:pt x="292" y="4"/>
                </a:lnTo>
                <a:lnTo>
                  <a:pt x="296" y="4"/>
                </a:lnTo>
                <a:lnTo>
                  <a:pt x="296" y="8"/>
                </a:lnTo>
                <a:lnTo>
                  <a:pt x="300" y="8"/>
                </a:lnTo>
                <a:lnTo>
                  <a:pt x="296" y="12"/>
                </a:lnTo>
                <a:lnTo>
                  <a:pt x="292" y="16"/>
                </a:lnTo>
                <a:lnTo>
                  <a:pt x="288" y="16"/>
                </a:lnTo>
                <a:lnTo>
                  <a:pt x="292" y="16"/>
                </a:lnTo>
                <a:lnTo>
                  <a:pt x="292" y="20"/>
                </a:lnTo>
                <a:lnTo>
                  <a:pt x="288" y="20"/>
                </a:lnTo>
                <a:lnTo>
                  <a:pt x="288" y="22"/>
                </a:lnTo>
                <a:lnTo>
                  <a:pt x="288" y="26"/>
                </a:lnTo>
                <a:lnTo>
                  <a:pt x="288" y="30"/>
                </a:lnTo>
                <a:lnTo>
                  <a:pt x="288" y="26"/>
                </a:lnTo>
                <a:lnTo>
                  <a:pt x="292" y="26"/>
                </a:lnTo>
                <a:lnTo>
                  <a:pt x="296" y="22"/>
                </a:lnTo>
                <a:lnTo>
                  <a:pt x="296" y="20"/>
                </a:lnTo>
                <a:lnTo>
                  <a:pt x="300" y="16"/>
                </a:lnTo>
                <a:lnTo>
                  <a:pt x="304" y="16"/>
                </a:lnTo>
                <a:lnTo>
                  <a:pt x="306" y="12"/>
                </a:lnTo>
                <a:lnTo>
                  <a:pt x="306" y="8"/>
                </a:lnTo>
                <a:lnTo>
                  <a:pt x="310" y="8"/>
                </a:lnTo>
                <a:lnTo>
                  <a:pt x="310" y="4"/>
                </a:lnTo>
                <a:lnTo>
                  <a:pt x="310" y="8"/>
                </a:lnTo>
                <a:lnTo>
                  <a:pt x="310" y="12"/>
                </a:lnTo>
                <a:lnTo>
                  <a:pt x="306" y="12"/>
                </a:lnTo>
                <a:lnTo>
                  <a:pt x="306" y="16"/>
                </a:lnTo>
                <a:lnTo>
                  <a:pt x="306" y="12"/>
                </a:lnTo>
                <a:lnTo>
                  <a:pt x="310" y="12"/>
                </a:lnTo>
                <a:lnTo>
                  <a:pt x="310" y="16"/>
                </a:lnTo>
                <a:lnTo>
                  <a:pt x="310" y="20"/>
                </a:lnTo>
                <a:lnTo>
                  <a:pt x="310" y="22"/>
                </a:lnTo>
                <a:lnTo>
                  <a:pt x="310" y="20"/>
                </a:lnTo>
                <a:lnTo>
                  <a:pt x="314" y="20"/>
                </a:lnTo>
                <a:lnTo>
                  <a:pt x="318" y="20"/>
                </a:lnTo>
                <a:lnTo>
                  <a:pt x="314" y="16"/>
                </a:lnTo>
                <a:lnTo>
                  <a:pt x="318" y="16"/>
                </a:lnTo>
                <a:lnTo>
                  <a:pt x="318" y="12"/>
                </a:lnTo>
                <a:lnTo>
                  <a:pt x="322" y="12"/>
                </a:lnTo>
                <a:lnTo>
                  <a:pt x="322" y="8"/>
                </a:lnTo>
                <a:lnTo>
                  <a:pt x="326" y="8"/>
                </a:lnTo>
                <a:lnTo>
                  <a:pt x="322" y="8"/>
                </a:lnTo>
                <a:lnTo>
                  <a:pt x="318" y="8"/>
                </a:lnTo>
                <a:lnTo>
                  <a:pt x="318" y="4"/>
                </a:lnTo>
                <a:lnTo>
                  <a:pt x="322" y="4"/>
                </a:lnTo>
                <a:lnTo>
                  <a:pt x="326" y="0"/>
                </a:lnTo>
                <a:lnTo>
                  <a:pt x="326" y="4"/>
                </a:lnTo>
                <a:lnTo>
                  <a:pt x="330" y="4"/>
                </a:lnTo>
                <a:lnTo>
                  <a:pt x="332" y="4"/>
                </a:lnTo>
                <a:lnTo>
                  <a:pt x="336" y="4"/>
                </a:lnTo>
                <a:lnTo>
                  <a:pt x="336" y="8"/>
                </a:lnTo>
                <a:lnTo>
                  <a:pt x="332" y="12"/>
                </a:lnTo>
                <a:lnTo>
                  <a:pt x="330" y="12"/>
                </a:lnTo>
                <a:lnTo>
                  <a:pt x="326" y="12"/>
                </a:lnTo>
                <a:lnTo>
                  <a:pt x="330" y="12"/>
                </a:lnTo>
                <a:lnTo>
                  <a:pt x="332" y="12"/>
                </a:lnTo>
                <a:lnTo>
                  <a:pt x="330" y="12"/>
                </a:lnTo>
                <a:lnTo>
                  <a:pt x="326" y="16"/>
                </a:lnTo>
                <a:lnTo>
                  <a:pt x="330" y="16"/>
                </a:lnTo>
                <a:lnTo>
                  <a:pt x="332" y="12"/>
                </a:lnTo>
                <a:lnTo>
                  <a:pt x="332" y="16"/>
                </a:lnTo>
                <a:lnTo>
                  <a:pt x="330" y="16"/>
                </a:lnTo>
                <a:lnTo>
                  <a:pt x="330" y="20"/>
                </a:lnTo>
                <a:lnTo>
                  <a:pt x="332" y="20"/>
                </a:lnTo>
                <a:lnTo>
                  <a:pt x="330" y="20"/>
                </a:lnTo>
                <a:lnTo>
                  <a:pt x="332" y="20"/>
                </a:lnTo>
                <a:lnTo>
                  <a:pt x="332" y="16"/>
                </a:lnTo>
                <a:lnTo>
                  <a:pt x="336" y="20"/>
                </a:lnTo>
                <a:lnTo>
                  <a:pt x="332" y="20"/>
                </a:lnTo>
                <a:lnTo>
                  <a:pt x="332" y="22"/>
                </a:lnTo>
                <a:lnTo>
                  <a:pt x="332" y="26"/>
                </a:lnTo>
                <a:lnTo>
                  <a:pt x="330" y="30"/>
                </a:lnTo>
                <a:lnTo>
                  <a:pt x="332" y="30"/>
                </a:lnTo>
                <a:lnTo>
                  <a:pt x="332" y="26"/>
                </a:lnTo>
                <a:lnTo>
                  <a:pt x="332" y="22"/>
                </a:lnTo>
                <a:lnTo>
                  <a:pt x="332" y="20"/>
                </a:lnTo>
                <a:lnTo>
                  <a:pt x="336" y="20"/>
                </a:lnTo>
                <a:lnTo>
                  <a:pt x="336" y="16"/>
                </a:lnTo>
                <a:lnTo>
                  <a:pt x="336" y="12"/>
                </a:lnTo>
                <a:lnTo>
                  <a:pt x="340" y="8"/>
                </a:lnTo>
                <a:lnTo>
                  <a:pt x="344" y="8"/>
                </a:lnTo>
                <a:lnTo>
                  <a:pt x="348" y="8"/>
                </a:lnTo>
                <a:lnTo>
                  <a:pt x="348" y="12"/>
                </a:lnTo>
                <a:lnTo>
                  <a:pt x="350" y="12"/>
                </a:lnTo>
                <a:lnTo>
                  <a:pt x="354" y="12"/>
                </a:lnTo>
                <a:lnTo>
                  <a:pt x="354" y="16"/>
                </a:lnTo>
                <a:lnTo>
                  <a:pt x="354" y="12"/>
                </a:lnTo>
                <a:lnTo>
                  <a:pt x="358" y="12"/>
                </a:lnTo>
                <a:lnTo>
                  <a:pt x="362" y="12"/>
                </a:lnTo>
                <a:lnTo>
                  <a:pt x="362" y="16"/>
                </a:lnTo>
                <a:lnTo>
                  <a:pt x="358" y="16"/>
                </a:lnTo>
                <a:lnTo>
                  <a:pt x="362" y="16"/>
                </a:lnTo>
                <a:lnTo>
                  <a:pt x="366" y="16"/>
                </a:lnTo>
                <a:lnTo>
                  <a:pt x="366" y="20"/>
                </a:lnTo>
                <a:lnTo>
                  <a:pt x="370" y="20"/>
                </a:lnTo>
                <a:lnTo>
                  <a:pt x="374" y="20"/>
                </a:lnTo>
                <a:lnTo>
                  <a:pt x="374" y="22"/>
                </a:lnTo>
                <a:lnTo>
                  <a:pt x="370" y="22"/>
                </a:lnTo>
                <a:lnTo>
                  <a:pt x="366" y="22"/>
                </a:lnTo>
                <a:lnTo>
                  <a:pt x="362" y="26"/>
                </a:lnTo>
                <a:lnTo>
                  <a:pt x="358" y="26"/>
                </a:lnTo>
                <a:lnTo>
                  <a:pt x="358" y="30"/>
                </a:lnTo>
                <a:lnTo>
                  <a:pt x="354" y="30"/>
                </a:lnTo>
                <a:lnTo>
                  <a:pt x="354" y="26"/>
                </a:lnTo>
                <a:lnTo>
                  <a:pt x="350" y="26"/>
                </a:lnTo>
                <a:lnTo>
                  <a:pt x="348" y="26"/>
                </a:lnTo>
                <a:lnTo>
                  <a:pt x="344" y="26"/>
                </a:lnTo>
                <a:lnTo>
                  <a:pt x="340" y="26"/>
                </a:lnTo>
                <a:lnTo>
                  <a:pt x="344" y="30"/>
                </a:lnTo>
                <a:lnTo>
                  <a:pt x="348" y="30"/>
                </a:lnTo>
                <a:lnTo>
                  <a:pt x="350" y="30"/>
                </a:lnTo>
                <a:lnTo>
                  <a:pt x="354" y="30"/>
                </a:lnTo>
                <a:lnTo>
                  <a:pt x="350" y="30"/>
                </a:lnTo>
                <a:lnTo>
                  <a:pt x="350" y="34"/>
                </a:lnTo>
                <a:lnTo>
                  <a:pt x="348" y="34"/>
                </a:lnTo>
                <a:lnTo>
                  <a:pt x="350" y="34"/>
                </a:lnTo>
                <a:lnTo>
                  <a:pt x="354" y="34"/>
                </a:lnTo>
                <a:lnTo>
                  <a:pt x="350" y="38"/>
                </a:lnTo>
                <a:lnTo>
                  <a:pt x="354" y="38"/>
                </a:lnTo>
                <a:lnTo>
                  <a:pt x="358" y="38"/>
                </a:lnTo>
                <a:lnTo>
                  <a:pt x="362" y="38"/>
                </a:lnTo>
                <a:lnTo>
                  <a:pt x="358" y="38"/>
                </a:lnTo>
                <a:lnTo>
                  <a:pt x="362" y="38"/>
                </a:lnTo>
                <a:lnTo>
                  <a:pt x="358" y="34"/>
                </a:lnTo>
                <a:lnTo>
                  <a:pt x="362" y="34"/>
                </a:lnTo>
                <a:lnTo>
                  <a:pt x="362" y="38"/>
                </a:lnTo>
                <a:lnTo>
                  <a:pt x="366" y="38"/>
                </a:lnTo>
                <a:lnTo>
                  <a:pt x="366" y="34"/>
                </a:lnTo>
                <a:lnTo>
                  <a:pt x="370" y="34"/>
                </a:lnTo>
                <a:lnTo>
                  <a:pt x="370" y="38"/>
                </a:lnTo>
                <a:lnTo>
                  <a:pt x="370" y="42"/>
                </a:lnTo>
                <a:lnTo>
                  <a:pt x="366" y="42"/>
                </a:lnTo>
                <a:lnTo>
                  <a:pt x="362" y="42"/>
                </a:lnTo>
                <a:lnTo>
                  <a:pt x="362" y="38"/>
                </a:lnTo>
                <a:lnTo>
                  <a:pt x="358" y="38"/>
                </a:lnTo>
                <a:lnTo>
                  <a:pt x="362" y="42"/>
                </a:lnTo>
                <a:lnTo>
                  <a:pt x="358" y="42"/>
                </a:lnTo>
                <a:lnTo>
                  <a:pt x="354" y="46"/>
                </a:lnTo>
                <a:lnTo>
                  <a:pt x="350" y="46"/>
                </a:lnTo>
                <a:lnTo>
                  <a:pt x="348" y="50"/>
                </a:lnTo>
                <a:lnTo>
                  <a:pt x="348" y="52"/>
                </a:lnTo>
                <a:lnTo>
                  <a:pt x="344" y="52"/>
                </a:lnTo>
                <a:lnTo>
                  <a:pt x="344" y="56"/>
                </a:lnTo>
                <a:lnTo>
                  <a:pt x="344" y="52"/>
                </a:lnTo>
                <a:lnTo>
                  <a:pt x="340" y="52"/>
                </a:lnTo>
                <a:lnTo>
                  <a:pt x="340" y="50"/>
                </a:lnTo>
                <a:lnTo>
                  <a:pt x="344" y="50"/>
                </a:lnTo>
                <a:lnTo>
                  <a:pt x="344" y="46"/>
                </a:lnTo>
                <a:lnTo>
                  <a:pt x="348" y="46"/>
                </a:lnTo>
                <a:lnTo>
                  <a:pt x="348" y="42"/>
                </a:lnTo>
                <a:lnTo>
                  <a:pt x="348" y="38"/>
                </a:lnTo>
                <a:lnTo>
                  <a:pt x="344" y="38"/>
                </a:lnTo>
                <a:lnTo>
                  <a:pt x="340" y="38"/>
                </a:lnTo>
                <a:lnTo>
                  <a:pt x="336" y="34"/>
                </a:lnTo>
                <a:lnTo>
                  <a:pt x="332" y="34"/>
                </a:lnTo>
                <a:lnTo>
                  <a:pt x="332" y="30"/>
                </a:lnTo>
                <a:lnTo>
                  <a:pt x="330" y="30"/>
                </a:lnTo>
                <a:lnTo>
                  <a:pt x="330" y="26"/>
                </a:lnTo>
                <a:lnTo>
                  <a:pt x="326" y="26"/>
                </a:lnTo>
                <a:lnTo>
                  <a:pt x="322" y="30"/>
                </a:lnTo>
                <a:lnTo>
                  <a:pt x="318" y="30"/>
                </a:lnTo>
                <a:lnTo>
                  <a:pt x="318" y="34"/>
                </a:lnTo>
                <a:lnTo>
                  <a:pt x="314" y="30"/>
                </a:lnTo>
                <a:lnTo>
                  <a:pt x="310" y="30"/>
                </a:lnTo>
                <a:lnTo>
                  <a:pt x="306" y="30"/>
                </a:lnTo>
                <a:lnTo>
                  <a:pt x="306" y="34"/>
                </a:lnTo>
                <a:lnTo>
                  <a:pt x="304" y="38"/>
                </a:lnTo>
                <a:lnTo>
                  <a:pt x="300" y="38"/>
                </a:lnTo>
                <a:lnTo>
                  <a:pt x="304" y="38"/>
                </a:lnTo>
                <a:lnTo>
                  <a:pt x="304" y="42"/>
                </a:lnTo>
                <a:lnTo>
                  <a:pt x="300" y="42"/>
                </a:lnTo>
                <a:lnTo>
                  <a:pt x="300" y="46"/>
                </a:lnTo>
                <a:lnTo>
                  <a:pt x="300" y="50"/>
                </a:lnTo>
                <a:lnTo>
                  <a:pt x="300" y="52"/>
                </a:lnTo>
                <a:lnTo>
                  <a:pt x="300" y="56"/>
                </a:lnTo>
                <a:lnTo>
                  <a:pt x="296" y="56"/>
                </a:lnTo>
                <a:lnTo>
                  <a:pt x="296" y="60"/>
                </a:lnTo>
                <a:lnTo>
                  <a:pt x="296" y="56"/>
                </a:lnTo>
                <a:lnTo>
                  <a:pt x="292" y="56"/>
                </a:lnTo>
                <a:lnTo>
                  <a:pt x="292" y="60"/>
                </a:lnTo>
                <a:lnTo>
                  <a:pt x="288" y="60"/>
                </a:lnTo>
                <a:lnTo>
                  <a:pt x="288" y="64"/>
                </a:lnTo>
                <a:lnTo>
                  <a:pt x="288" y="68"/>
                </a:lnTo>
                <a:lnTo>
                  <a:pt x="284" y="64"/>
                </a:lnTo>
                <a:lnTo>
                  <a:pt x="280" y="64"/>
                </a:lnTo>
                <a:lnTo>
                  <a:pt x="276" y="64"/>
                </a:lnTo>
                <a:lnTo>
                  <a:pt x="276" y="60"/>
                </a:lnTo>
                <a:lnTo>
                  <a:pt x="274" y="60"/>
                </a:lnTo>
                <a:lnTo>
                  <a:pt x="270" y="60"/>
                </a:lnTo>
                <a:lnTo>
                  <a:pt x="270" y="64"/>
                </a:lnTo>
                <a:lnTo>
                  <a:pt x="266" y="64"/>
                </a:lnTo>
                <a:lnTo>
                  <a:pt x="262" y="64"/>
                </a:lnTo>
                <a:lnTo>
                  <a:pt x="258" y="64"/>
                </a:lnTo>
                <a:lnTo>
                  <a:pt x="254" y="60"/>
                </a:lnTo>
                <a:lnTo>
                  <a:pt x="250" y="64"/>
                </a:lnTo>
                <a:lnTo>
                  <a:pt x="250" y="60"/>
                </a:lnTo>
                <a:lnTo>
                  <a:pt x="248" y="56"/>
                </a:lnTo>
                <a:lnTo>
                  <a:pt x="248" y="52"/>
                </a:lnTo>
                <a:lnTo>
                  <a:pt x="244" y="52"/>
                </a:lnTo>
                <a:lnTo>
                  <a:pt x="240" y="50"/>
                </a:lnTo>
                <a:lnTo>
                  <a:pt x="236" y="50"/>
                </a:lnTo>
                <a:lnTo>
                  <a:pt x="232" y="50"/>
                </a:lnTo>
                <a:lnTo>
                  <a:pt x="232" y="52"/>
                </a:lnTo>
                <a:lnTo>
                  <a:pt x="232" y="56"/>
                </a:lnTo>
                <a:lnTo>
                  <a:pt x="232" y="52"/>
                </a:lnTo>
                <a:lnTo>
                  <a:pt x="228" y="52"/>
                </a:lnTo>
                <a:lnTo>
                  <a:pt x="224" y="52"/>
                </a:lnTo>
                <a:lnTo>
                  <a:pt x="218" y="52"/>
                </a:lnTo>
                <a:lnTo>
                  <a:pt x="220" y="56"/>
                </a:lnTo>
                <a:lnTo>
                  <a:pt x="220" y="60"/>
                </a:lnTo>
                <a:lnTo>
                  <a:pt x="220" y="64"/>
                </a:lnTo>
                <a:lnTo>
                  <a:pt x="218" y="68"/>
                </a:lnTo>
                <a:lnTo>
                  <a:pt x="220" y="68"/>
                </a:lnTo>
                <a:lnTo>
                  <a:pt x="218" y="72"/>
                </a:lnTo>
                <a:lnTo>
                  <a:pt x="214" y="72"/>
                </a:lnTo>
                <a:lnTo>
                  <a:pt x="210" y="72"/>
                </a:lnTo>
                <a:lnTo>
                  <a:pt x="202" y="68"/>
                </a:lnTo>
                <a:lnTo>
                  <a:pt x="198" y="68"/>
                </a:lnTo>
                <a:lnTo>
                  <a:pt x="194" y="68"/>
                </a:lnTo>
                <a:lnTo>
                  <a:pt x="190" y="68"/>
                </a:lnTo>
                <a:lnTo>
                  <a:pt x="188" y="72"/>
                </a:lnTo>
                <a:lnTo>
                  <a:pt x="190" y="72"/>
                </a:lnTo>
                <a:lnTo>
                  <a:pt x="190" y="76"/>
                </a:lnTo>
                <a:lnTo>
                  <a:pt x="188" y="78"/>
                </a:lnTo>
                <a:lnTo>
                  <a:pt x="188" y="82"/>
                </a:lnTo>
                <a:lnTo>
                  <a:pt x="184" y="82"/>
                </a:lnTo>
                <a:lnTo>
                  <a:pt x="184" y="78"/>
                </a:lnTo>
                <a:lnTo>
                  <a:pt x="180" y="78"/>
                </a:lnTo>
                <a:lnTo>
                  <a:pt x="176" y="78"/>
                </a:lnTo>
                <a:lnTo>
                  <a:pt x="168" y="82"/>
                </a:lnTo>
                <a:lnTo>
                  <a:pt x="168" y="86"/>
                </a:lnTo>
                <a:lnTo>
                  <a:pt x="168" y="90"/>
                </a:lnTo>
                <a:lnTo>
                  <a:pt x="164" y="94"/>
                </a:lnTo>
                <a:lnTo>
                  <a:pt x="160" y="94"/>
                </a:lnTo>
                <a:lnTo>
                  <a:pt x="160" y="98"/>
                </a:lnTo>
                <a:lnTo>
                  <a:pt x="164" y="98"/>
                </a:lnTo>
                <a:lnTo>
                  <a:pt x="164" y="102"/>
                </a:lnTo>
                <a:lnTo>
                  <a:pt x="164" y="106"/>
                </a:lnTo>
                <a:lnTo>
                  <a:pt x="160" y="108"/>
                </a:lnTo>
                <a:lnTo>
                  <a:pt x="158" y="112"/>
                </a:lnTo>
                <a:lnTo>
                  <a:pt x="154" y="116"/>
                </a:lnTo>
                <a:lnTo>
                  <a:pt x="150" y="116"/>
                </a:lnTo>
                <a:lnTo>
                  <a:pt x="150" y="120"/>
                </a:lnTo>
                <a:lnTo>
                  <a:pt x="154" y="124"/>
                </a:lnTo>
                <a:lnTo>
                  <a:pt x="146" y="128"/>
                </a:lnTo>
                <a:lnTo>
                  <a:pt x="142" y="128"/>
                </a:lnTo>
                <a:lnTo>
                  <a:pt x="138" y="128"/>
                </a:lnTo>
                <a:lnTo>
                  <a:pt x="138" y="132"/>
                </a:lnTo>
                <a:lnTo>
                  <a:pt x="142" y="136"/>
                </a:lnTo>
                <a:lnTo>
                  <a:pt x="138" y="136"/>
                </a:lnTo>
                <a:lnTo>
                  <a:pt x="138" y="138"/>
                </a:lnTo>
                <a:lnTo>
                  <a:pt x="138" y="142"/>
                </a:lnTo>
                <a:lnTo>
                  <a:pt x="138" y="146"/>
                </a:lnTo>
                <a:lnTo>
                  <a:pt x="134" y="150"/>
                </a:lnTo>
                <a:lnTo>
                  <a:pt x="134" y="154"/>
                </a:lnTo>
                <a:lnTo>
                  <a:pt x="130" y="154"/>
                </a:lnTo>
                <a:lnTo>
                  <a:pt x="130" y="158"/>
                </a:lnTo>
                <a:lnTo>
                  <a:pt x="130" y="162"/>
                </a:lnTo>
                <a:lnTo>
                  <a:pt x="128" y="162"/>
                </a:lnTo>
                <a:lnTo>
                  <a:pt x="128" y="164"/>
                </a:lnTo>
                <a:lnTo>
                  <a:pt x="130" y="164"/>
                </a:lnTo>
                <a:lnTo>
                  <a:pt x="134" y="164"/>
                </a:lnTo>
                <a:lnTo>
                  <a:pt x="134" y="168"/>
                </a:lnTo>
                <a:lnTo>
                  <a:pt x="134" y="172"/>
                </a:lnTo>
                <a:lnTo>
                  <a:pt x="130" y="176"/>
                </a:lnTo>
                <a:lnTo>
                  <a:pt x="120" y="176"/>
                </a:lnTo>
                <a:lnTo>
                  <a:pt x="116" y="176"/>
                </a:lnTo>
                <a:lnTo>
                  <a:pt x="112" y="180"/>
                </a:lnTo>
                <a:lnTo>
                  <a:pt x="108" y="184"/>
                </a:lnTo>
                <a:lnTo>
                  <a:pt x="104" y="188"/>
                </a:lnTo>
                <a:lnTo>
                  <a:pt x="104" y="192"/>
                </a:lnTo>
                <a:lnTo>
                  <a:pt x="104" y="194"/>
                </a:lnTo>
                <a:lnTo>
                  <a:pt x="102" y="194"/>
                </a:lnTo>
                <a:lnTo>
                  <a:pt x="104" y="198"/>
                </a:lnTo>
                <a:lnTo>
                  <a:pt x="104" y="202"/>
                </a:lnTo>
                <a:lnTo>
                  <a:pt x="104" y="206"/>
                </a:lnTo>
                <a:lnTo>
                  <a:pt x="104" y="210"/>
                </a:lnTo>
                <a:lnTo>
                  <a:pt x="104" y="214"/>
                </a:lnTo>
                <a:lnTo>
                  <a:pt x="104" y="218"/>
                </a:lnTo>
                <a:lnTo>
                  <a:pt x="108" y="218"/>
                </a:lnTo>
                <a:lnTo>
                  <a:pt x="108" y="222"/>
                </a:lnTo>
                <a:lnTo>
                  <a:pt x="104" y="224"/>
                </a:lnTo>
                <a:lnTo>
                  <a:pt x="104" y="228"/>
                </a:lnTo>
                <a:lnTo>
                  <a:pt x="104" y="232"/>
                </a:lnTo>
                <a:lnTo>
                  <a:pt x="108" y="236"/>
                </a:lnTo>
                <a:lnTo>
                  <a:pt x="112" y="236"/>
                </a:lnTo>
                <a:lnTo>
                  <a:pt x="112" y="238"/>
                </a:lnTo>
                <a:lnTo>
                  <a:pt x="116" y="238"/>
                </a:lnTo>
                <a:lnTo>
                  <a:pt x="116" y="242"/>
                </a:lnTo>
                <a:lnTo>
                  <a:pt x="112" y="242"/>
                </a:lnTo>
                <a:lnTo>
                  <a:pt x="112" y="246"/>
                </a:lnTo>
                <a:lnTo>
                  <a:pt x="108" y="246"/>
                </a:lnTo>
                <a:lnTo>
                  <a:pt x="104" y="246"/>
                </a:lnTo>
                <a:lnTo>
                  <a:pt x="108" y="250"/>
                </a:lnTo>
                <a:lnTo>
                  <a:pt x="108" y="254"/>
                </a:lnTo>
                <a:lnTo>
                  <a:pt x="108" y="258"/>
                </a:lnTo>
                <a:lnTo>
                  <a:pt x="112" y="258"/>
                </a:lnTo>
                <a:lnTo>
                  <a:pt x="112" y="262"/>
                </a:lnTo>
                <a:lnTo>
                  <a:pt x="108" y="264"/>
                </a:lnTo>
                <a:lnTo>
                  <a:pt x="108" y="268"/>
                </a:lnTo>
                <a:lnTo>
                  <a:pt x="108" y="272"/>
                </a:lnTo>
                <a:lnTo>
                  <a:pt x="104" y="272"/>
                </a:lnTo>
                <a:lnTo>
                  <a:pt x="102" y="272"/>
                </a:lnTo>
                <a:lnTo>
                  <a:pt x="102" y="276"/>
                </a:lnTo>
                <a:lnTo>
                  <a:pt x="102" y="280"/>
                </a:lnTo>
                <a:lnTo>
                  <a:pt x="98" y="280"/>
                </a:lnTo>
                <a:lnTo>
                  <a:pt x="102" y="284"/>
                </a:lnTo>
                <a:lnTo>
                  <a:pt x="102" y="288"/>
                </a:lnTo>
                <a:lnTo>
                  <a:pt x="102" y="292"/>
                </a:lnTo>
                <a:lnTo>
                  <a:pt x="98" y="294"/>
                </a:lnTo>
                <a:lnTo>
                  <a:pt x="94" y="294"/>
                </a:lnTo>
                <a:lnTo>
                  <a:pt x="94" y="292"/>
                </a:lnTo>
                <a:lnTo>
                  <a:pt x="90" y="292"/>
                </a:lnTo>
                <a:lnTo>
                  <a:pt x="86" y="292"/>
                </a:lnTo>
                <a:lnTo>
                  <a:pt x="86" y="288"/>
                </a:lnTo>
                <a:lnTo>
                  <a:pt x="82" y="284"/>
                </a:lnTo>
                <a:lnTo>
                  <a:pt x="86" y="284"/>
                </a:lnTo>
                <a:lnTo>
                  <a:pt x="82" y="280"/>
                </a:lnTo>
                <a:lnTo>
                  <a:pt x="82" y="276"/>
                </a:lnTo>
                <a:lnTo>
                  <a:pt x="82" y="272"/>
                </a:lnTo>
                <a:lnTo>
                  <a:pt x="86" y="276"/>
                </a:lnTo>
                <a:lnTo>
                  <a:pt x="86" y="272"/>
                </a:lnTo>
                <a:lnTo>
                  <a:pt x="82" y="272"/>
                </a:lnTo>
                <a:lnTo>
                  <a:pt x="82" y="276"/>
                </a:lnTo>
                <a:lnTo>
                  <a:pt x="82" y="280"/>
                </a:lnTo>
                <a:lnTo>
                  <a:pt x="82" y="276"/>
                </a:lnTo>
                <a:lnTo>
                  <a:pt x="78" y="276"/>
                </a:lnTo>
                <a:lnTo>
                  <a:pt x="78" y="280"/>
                </a:lnTo>
                <a:lnTo>
                  <a:pt x="78" y="284"/>
                </a:lnTo>
                <a:lnTo>
                  <a:pt x="82" y="284"/>
                </a:lnTo>
                <a:lnTo>
                  <a:pt x="82" y="288"/>
                </a:lnTo>
                <a:lnTo>
                  <a:pt x="78" y="288"/>
                </a:lnTo>
                <a:lnTo>
                  <a:pt x="78" y="292"/>
                </a:lnTo>
                <a:lnTo>
                  <a:pt x="74" y="292"/>
                </a:lnTo>
                <a:lnTo>
                  <a:pt x="74" y="294"/>
                </a:lnTo>
                <a:lnTo>
                  <a:pt x="72" y="294"/>
                </a:lnTo>
                <a:lnTo>
                  <a:pt x="72" y="292"/>
                </a:lnTo>
                <a:lnTo>
                  <a:pt x="68" y="292"/>
                </a:lnTo>
                <a:lnTo>
                  <a:pt x="72" y="292"/>
                </a:lnTo>
                <a:lnTo>
                  <a:pt x="72" y="294"/>
                </a:lnTo>
                <a:lnTo>
                  <a:pt x="68" y="294"/>
                </a:lnTo>
                <a:lnTo>
                  <a:pt x="64" y="298"/>
                </a:lnTo>
                <a:lnTo>
                  <a:pt x="64" y="302"/>
                </a:lnTo>
                <a:lnTo>
                  <a:pt x="60" y="302"/>
                </a:lnTo>
                <a:lnTo>
                  <a:pt x="60" y="306"/>
                </a:lnTo>
                <a:lnTo>
                  <a:pt x="56" y="306"/>
                </a:lnTo>
                <a:lnTo>
                  <a:pt x="52" y="310"/>
                </a:lnTo>
                <a:lnTo>
                  <a:pt x="48" y="310"/>
                </a:lnTo>
                <a:lnTo>
                  <a:pt x="48" y="314"/>
                </a:lnTo>
                <a:lnTo>
                  <a:pt x="44" y="314"/>
                </a:lnTo>
                <a:lnTo>
                  <a:pt x="42" y="314"/>
                </a:lnTo>
                <a:lnTo>
                  <a:pt x="38" y="314"/>
                </a:lnTo>
                <a:lnTo>
                  <a:pt x="34" y="314"/>
                </a:lnTo>
                <a:lnTo>
                  <a:pt x="34" y="318"/>
                </a:lnTo>
                <a:lnTo>
                  <a:pt x="30" y="314"/>
                </a:lnTo>
                <a:lnTo>
                  <a:pt x="26" y="314"/>
                </a:lnTo>
                <a:lnTo>
                  <a:pt x="26" y="310"/>
                </a:lnTo>
                <a:lnTo>
                  <a:pt x="30" y="310"/>
                </a:lnTo>
                <a:lnTo>
                  <a:pt x="26" y="310"/>
                </a:lnTo>
                <a:lnTo>
                  <a:pt x="22" y="310"/>
                </a:lnTo>
                <a:lnTo>
                  <a:pt x="18" y="310"/>
                </a:lnTo>
                <a:lnTo>
                  <a:pt x="18" y="306"/>
                </a:lnTo>
                <a:lnTo>
                  <a:pt x="14" y="306"/>
                </a:lnTo>
                <a:lnTo>
                  <a:pt x="12" y="302"/>
                </a:lnTo>
                <a:lnTo>
                  <a:pt x="12" y="298"/>
                </a:lnTo>
                <a:lnTo>
                  <a:pt x="12" y="294"/>
                </a:lnTo>
                <a:lnTo>
                  <a:pt x="12" y="292"/>
                </a:lnTo>
                <a:lnTo>
                  <a:pt x="14" y="294"/>
                </a:lnTo>
                <a:lnTo>
                  <a:pt x="18" y="294"/>
                </a:lnTo>
                <a:lnTo>
                  <a:pt x="18" y="298"/>
                </a:lnTo>
                <a:lnTo>
                  <a:pt x="22" y="294"/>
                </a:lnTo>
                <a:lnTo>
                  <a:pt x="18" y="294"/>
                </a:lnTo>
                <a:lnTo>
                  <a:pt x="22" y="294"/>
                </a:lnTo>
                <a:lnTo>
                  <a:pt x="22" y="292"/>
                </a:lnTo>
                <a:lnTo>
                  <a:pt x="26" y="292"/>
                </a:lnTo>
                <a:lnTo>
                  <a:pt x="22" y="292"/>
                </a:lnTo>
                <a:lnTo>
                  <a:pt x="18" y="294"/>
                </a:lnTo>
                <a:lnTo>
                  <a:pt x="18" y="292"/>
                </a:lnTo>
                <a:lnTo>
                  <a:pt x="14" y="292"/>
                </a:lnTo>
                <a:lnTo>
                  <a:pt x="18" y="292"/>
                </a:lnTo>
                <a:lnTo>
                  <a:pt x="18" y="288"/>
                </a:lnTo>
                <a:lnTo>
                  <a:pt x="22" y="288"/>
                </a:lnTo>
                <a:lnTo>
                  <a:pt x="26" y="288"/>
                </a:lnTo>
                <a:lnTo>
                  <a:pt x="22" y="288"/>
                </a:lnTo>
                <a:lnTo>
                  <a:pt x="18" y="288"/>
                </a:lnTo>
                <a:lnTo>
                  <a:pt x="18" y="284"/>
                </a:lnTo>
                <a:lnTo>
                  <a:pt x="22" y="284"/>
                </a:lnTo>
                <a:lnTo>
                  <a:pt x="22" y="280"/>
                </a:lnTo>
                <a:lnTo>
                  <a:pt x="26" y="280"/>
                </a:lnTo>
                <a:lnTo>
                  <a:pt x="22" y="280"/>
                </a:lnTo>
                <a:lnTo>
                  <a:pt x="18" y="284"/>
                </a:lnTo>
                <a:lnTo>
                  <a:pt x="14" y="284"/>
                </a:lnTo>
                <a:lnTo>
                  <a:pt x="18" y="284"/>
                </a:lnTo>
                <a:lnTo>
                  <a:pt x="14" y="284"/>
                </a:lnTo>
                <a:lnTo>
                  <a:pt x="14" y="288"/>
                </a:lnTo>
                <a:lnTo>
                  <a:pt x="12" y="288"/>
                </a:lnTo>
                <a:lnTo>
                  <a:pt x="12" y="284"/>
                </a:lnTo>
                <a:lnTo>
                  <a:pt x="12" y="288"/>
                </a:lnTo>
                <a:lnTo>
                  <a:pt x="8" y="288"/>
                </a:lnTo>
                <a:lnTo>
                  <a:pt x="8" y="284"/>
                </a:lnTo>
                <a:lnTo>
                  <a:pt x="8" y="280"/>
                </a:lnTo>
                <a:lnTo>
                  <a:pt x="12" y="276"/>
                </a:lnTo>
                <a:lnTo>
                  <a:pt x="12" y="280"/>
                </a:lnTo>
                <a:lnTo>
                  <a:pt x="12" y="276"/>
                </a:lnTo>
                <a:lnTo>
                  <a:pt x="14" y="276"/>
                </a:lnTo>
                <a:lnTo>
                  <a:pt x="18" y="276"/>
                </a:lnTo>
                <a:lnTo>
                  <a:pt x="22" y="272"/>
                </a:lnTo>
                <a:lnTo>
                  <a:pt x="18" y="276"/>
                </a:lnTo>
                <a:lnTo>
                  <a:pt x="14" y="276"/>
                </a:lnTo>
                <a:lnTo>
                  <a:pt x="14" y="272"/>
                </a:lnTo>
                <a:lnTo>
                  <a:pt x="18" y="272"/>
                </a:lnTo>
                <a:lnTo>
                  <a:pt x="18" y="268"/>
                </a:lnTo>
                <a:lnTo>
                  <a:pt x="18" y="264"/>
                </a:lnTo>
                <a:lnTo>
                  <a:pt x="22" y="264"/>
                </a:lnTo>
                <a:lnTo>
                  <a:pt x="22" y="262"/>
                </a:lnTo>
                <a:lnTo>
                  <a:pt x="26" y="262"/>
                </a:lnTo>
                <a:lnTo>
                  <a:pt x="26" y="264"/>
                </a:lnTo>
                <a:lnTo>
                  <a:pt x="26" y="268"/>
                </a:lnTo>
                <a:lnTo>
                  <a:pt x="26" y="264"/>
                </a:lnTo>
                <a:lnTo>
                  <a:pt x="26" y="262"/>
                </a:lnTo>
                <a:lnTo>
                  <a:pt x="30" y="262"/>
                </a:lnTo>
                <a:lnTo>
                  <a:pt x="30" y="258"/>
                </a:lnTo>
                <a:lnTo>
                  <a:pt x="34" y="262"/>
                </a:lnTo>
                <a:lnTo>
                  <a:pt x="34" y="258"/>
                </a:lnTo>
                <a:lnTo>
                  <a:pt x="30" y="258"/>
                </a:lnTo>
                <a:lnTo>
                  <a:pt x="34" y="258"/>
                </a:lnTo>
                <a:lnTo>
                  <a:pt x="30" y="258"/>
                </a:lnTo>
                <a:lnTo>
                  <a:pt x="26" y="262"/>
                </a:lnTo>
                <a:lnTo>
                  <a:pt x="22" y="262"/>
                </a:lnTo>
                <a:lnTo>
                  <a:pt x="18" y="262"/>
                </a:lnTo>
                <a:lnTo>
                  <a:pt x="18" y="264"/>
                </a:lnTo>
                <a:lnTo>
                  <a:pt x="14" y="268"/>
                </a:lnTo>
                <a:lnTo>
                  <a:pt x="14" y="272"/>
                </a:lnTo>
                <a:lnTo>
                  <a:pt x="14" y="268"/>
                </a:lnTo>
                <a:lnTo>
                  <a:pt x="12" y="268"/>
                </a:lnTo>
                <a:lnTo>
                  <a:pt x="12" y="264"/>
                </a:lnTo>
                <a:lnTo>
                  <a:pt x="14" y="262"/>
                </a:lnTo>
                <a:lnTo>
                  <a:pt x="12" y="262"/>
                </a:lnTo>
                <a:lnTo>
                  <a:pt x="12" y="264"/>
                </a:lnTo>
                <a:lnTo>
                  <a:pt x="12" y="268"/>
                </a:lnTo>
                <a:lnTo>
                  <a:pt x="8" y="268"/>
                </a:lnTo>
                <a:lnTo>
                  <a:pt x="8" y="264"/>
                </a:lnTo>
                <a:lnTo>
                  <a:pt x="8" y="262"/>
                </a:lnTo>
                <a:lnTo>
                  <a:pt x="8" y="258"/>
                </a:lnTo>
                <a:lnTo>
                  <a:pt x="8" y="262"/>
                </a:lnTo>
                <a:lnTo>
                  <a:pt x="12" y="262"/>
                </a:lnTo>
                <a:lnTo>
                  <a:pt x="14" y="262"/>
                </a:lnTo>
                <a:lnTo>
                  <a:pt x="14" y="258"/>
                </a:lnTo>
                <a:lnTo>
                  <a:pt x="14" y="254"/>
                </a:lnTo>
                <a:lnTo>
                  <a:pt x="12" y="254"/>
                </a:lnTo>
                <a:lnTo>
                  <a:pt x="12" y="258"/>
                </a:lnTo>
                <a:lnTo>
                  <a:pt x="8" y="258"/>
                </a:lnTo>
                <a:lnTo>
                  <a:pt x="4" y="254"/>
                </a:lnTo>
                <a:lnTo>
                  <a:pt x="8" y="258"/>
                </a:lnTo>
                <a:lnTo>
                  <a:pt x="4" y="254"/>
                </a:lnTo>
                <a:lnTo>
                  <a:pt x="8" y="254"/>
                </a:lnTo>
                <a:lnTo>
                  <a:pt x="8" y="258"/>
                </a:lnTo>
                <a:lnTo>
                  <a:pt x="12" y="258"/>
                </a:lnTo>
                <a:lnTo>
                  <a:pt x="12" y="254"/>
                </a:lnTo>
                <a:lnTo>
                  <a:pt x="8" y="254"/>
                </a:lnTo>
                <a:lnTo>
                  <a:pt x="8" y="250"/>
                </a:lnTo>
                <a:lnTo>
                  <a:pt x="12" y="250"/>
                </a:lnTo>
                <a:lnTo>
                  <a:pt x="8" y="250"/>
                </a:lnTo>
                <a:lnTo>
                  <a:pt x="4" y="250"/>
                </a:lnTo>
                <a:lnTo>
                  <a:pt x="4" y="246"/>
                </a:lnTo>
                <a:lnTo>
                  <a:pt x="8" y="246"/>
                </a:lnTo>
                <a:lnTo>
                  <a:pt x="12" y="246"/>
                </a:lnTo>
                <a:lnTo>
                  <a:pt x="14" y="246"/>
                </a:lnTo>
                <a:lnTo>
                  <a:pt x="18" y="246"/>
                </a:lnTo>
                <a:lnTo>
                  <a:pt x="22" y="246"/>
                </a:lnTo>
                <a:lnTo>
                  <a:pt x="26" y="246"/>
                </a:lnTo>
                <a:lnTo>
                  <a:pt x="26" y="242"/>
                </a:lnTo>
                <a:lnTo>
                  <a:pt x="30" y="242"/>
                </a:lnTo>
                <a:lnTo>
                  <a:pt x="30" y="246"/>
                </a:lnTo>
                <a:lnTo>
                  <a:pt x="34" y="246"/>
                </a:lnTo>
                <a:lnTo>
                  <a:pt x="34" y="250"/>
                </a:lnTo>
                <a:lnTo>
                  <a:pt x="34" y="246"/>
                </a:lnTo>
                <a:lnTo>
                  <a:pt x="38" y="246"/>
                </a:lnTo>
                <a:lnTo>
                  <a:pt x="38" y="242"/>
                </a:lnTo>
                <a:lnTo>
                  <a:pt x="38" y="238"/>
                </a:lnTo>
                <a:lnTo>
                  <a:pt x="42" y="238"/>
                </a:lnTo>
                <a:lnTo>
                  <a:pt x="42" y="236"/>
                </a:lnTo>
                <a:lnTo>
                  <a:pt x="38" y="238"/>
                </a:lnTo>
                <a:lnTo>
                  <a:pt x="38" y="242"/>
                </a:lnTo>
                <a:lnTo>
                  <a:pt x="34" y="242"/>
                </a:lnTo>
                <a:lnTo>
                  <a:pt x="30" y="246"/>
                </a:lnTo>
                <a:lnTo>
                  <a:pt x="30" y="242"/>
                </a:lnTo>
                <a:lnTo>
                  <a:pt x="26" y="242"/>
                </a:lnTo>
                <a:lnTo>
                  <a:pt x="26" y="238"/>
                </a:lnTo>
                <a:lnTo>
                  <a:pt x="26" y="242"/>
                </a:lnTo>
                <a:lnTo>
                  <a:pt x="22" y="246"/>
                </a:lnTo>
                <a:lnTo>
                  <a:pt x="22" y="242"/>
                </a:lnTo>
                <a:lnTo>
                  <a:pt x="18" y="242"/>
                </a:lnTo>
                <a:lnTo>
                  <a:pt x="14" y="242"/>
                </a:lnTo>
                <a:lnTo>
                  <a:pt x="12" y="242"/>
                </a:lnTo>
                <a:lnTo>
                  <a:pt x="12" y="246"/>
                </a:lnTo>
                <a:lnTo>
                  <a:pt x="8" y="246"/>
                </a:lnTo>
                <a:lnTo>
                  <a:pt x="8" y="242"/>
                </a:lnTo>
                <a:lnTo>
                  <a:pt x="4" y="242"/>
                </a:lnTo>
                <a:lnTo>
                  <a:pt x="8" y="242"/>
                </a:lnTo>
                <a:lnTo>
                  <a:pt x="4" y="242"/>
                </a:lnTo>
                <a:lnTo>
                  <a:pt x="8" y="238"/>
                </a:lnTo>
                <a:lnTo>
                  <a:pt x="12" y="238"/>
                </a:lnTo>
                <a:lnTo>
                  <a:pt x="8" y="238"/>
                </a:lnTo>
                <a:lnTo>
                  <a:pt x="4" y="238"/>
                </a:lnTo>
                <a:lnTo>
                  <a:pt x="8" y="236"/>
                </a:lnTo>
                <a:lnTo>
                  <a:pt x="8" y="238"/>
                </a:lnTo>
                <a:lnTo>
                  <a:pt x="12" y="238"/>
                </a:lnTo>
                <a:lnTo>
                  <a:pt x="14" y="238"/>
                </a:lnTo>
                <a:lnTo>
                  <a:pt x="14" y="236"/>
                </a:lnTo>
                <a:lnTo>
                  <a:pt x="12" y="236"/>
                </a:lnTo>
                <a:lnTo>
                  <a:pt x="12" y="238"/>
                </a:lnTo>
                <a:lnTo>
                  <a:pt x="8" y="236"/>
                </a:lnTo>
                <a:lnTo>
                  <a:pt x="4" y="236"/>
                </a:lnTo>
                <a:lnTo>
                  <a:pt x="8" y="232"/>
                </a:lnTo>
                <a:lnTo>
                  <a:pt x="4" y="232"/>
                </a:lnTo>
                <a:lnTo>
                  <a:pt x="8" y="228"/>
                </a:lnTo>
                <a:lnTo>
                  <a:pt x="12" y="228"/>
                </a:lnTo>
                <a:lnTo>
                  <a:pt x="14" y="228"/>
                </a:lnTo>
                <a:lnTo>
                  <a:pt x="18" y="228"/>
                </a:lnTo>
                <a:lnTo>
                  <a:pt x="22" y="228"/>
                </a:lnTo>
                <a:lnTo>
                  <a:pt x="26" y="228"/>
                </a:lnTo>
                <a:lnTo>
                  <a:pt x="30" y="228"/>
                </a:lnTo>
                <a:lnTo>
                  <a:pt x="26" y="228"/>
                </a:lnTo>
                <a:lnTo>
                  <a:pt x="22" y="228"/>
                </a:lnTo>
                <a:lnTo>
                  <a:pt x="18" y="228"/>
                </a:lnTo>
                <a:lnTo>
                  <a:pt x="14" y="228"/>
                </a:lnTo>
                <a:lnTo>
                  <a:pt x="12" y="228"/>
                </a:lnTo>
                <a:lnTo>
                  <a:pt x="8" y="228"/>
                </a:lnTo>
                <a:lnTo>
                  <a:pt x="4" y="228"/>
                </a:lnTo>
                <a:lnTo>
                  <a:pt x="8" y="224"/>
                </a:lnTo>
                <a:lnTo>
                  <a:pt x="8" y="222"/>
                </a:lnTo>
                <a:lnTo>
                  <a:pt x="4" y="222"/>
                </a:lnTo>
                <a:lnTo>
                  <a:pt x="8" y="222"/>
                </a:lnTo>
                <a:lnTo>
                  <a:pt x="12" y="224"/>
                </a:lnTo>
                <a:lnTo>
                  <a:pt x="12" y="222"/>
                </a:lnTo>
                <a:lnTo>
                  <a:pt x="8" y="222"/>
                </a:lnTo>
                <a:lnTo>
                  <a:pt x="12" y="222"/>
                </a:lnTo>
                <a:lnTo>
                  <a:pt x="14" y="222"/>
                </a:lnTo>
                <a:lnTo>
                  <a:pt x="18" y="222"/>
                </a:lnTo>
                <a:lnTo>
                  <a:pt x="22" y="224"/>
                </a:lnTo>
                <a:lnTo>
                  <a:pt x="18" y="224"/>
                </a:lnTo>
                <a:lnTo>
                  <a:pt x="18" y="222"/>
                </a:lnTo>
                <a:lnTo>
                  <a:pt x="14" y="222"/>
                </a:lnTo>
                <a:lnTo>
                  <a:pt x="18" y="222"/>
                </a:lnTo>
                <a:lnTo>
                  <a:pt x="18" y="218"/>
                </a:lnTo>
                <a:lnTo>
                  <a:pt x="22" y="218"/>
                </a:lnTo>
                <a:lnTo>
                  <a:pt x="26" y="222"/>
                </a:lnTo>
                <a:lnTo>
                  <a:pt x="26" y="218"/>
                </a:lnTo>
                <a:lnTo>
                  <a:pt x="22" y="218"/>
                </a:lnTo>
                <a:lnTo>
                  <a:pt x="26" y="214"/>
                </a:lnTo>
                <a:lnTo>
                  <a:pt x="30" y="218"/>
                </a:lnTo>
                <a:lnTo>
                  <a:pt x="34" y="218"/>
                </a:lnTo>
                <a:lnTo>
                  <a:pt x="34" y="222"/>
                </a:lnTo>
                <a:lnTo>
                  <a:pt x="30" y="222"/>
                </a:lnTo>
                <a:lnTo>
                  <a:pt x="30" y="224"/>
                </a:lnTo>
                <a:lnTo>
                  <a:pt x="34" y="224"/>
                </a:lnTo>
                <a:lnTo>
                  <a:pt x="34" y="222"/>
                </a:lnTo>
                <a:lnTo>
                  <a:pt x="30" y="222"/>
                </a:lnTo>
                <a:lnTo>
                  <a:pt x="34" y="222"/>
                </a:lnTo>
                <a:lnTo>
                  <a:pt x="34" y="218"/>
                </a:lnTo>
                <a:lnTo>
                  <a:pt x="38" y="218"/>
                </a:lnTo>
                <a:lnTo>
                  <a:pt x="38" y="222"/>
                </a:lnTo>
                <a:lnTo>
                  <a:pt x="38" y="218"/>
                </a:lnTo>
                <a:lnTo>
                  <a:pt x="34" y="218"/>
                </a:lnTo>
                <a:lnTo>
                  <a:pt x="30" y="218"/>
                </a:lnTo>
                <a:lnTo>
                  <a:pt x="30" y="214"/>
                </a:lnTo>
                <a:lnTo>
                  <a:pt x="26" y="214"/>
                </a:lnTo>
                <a:lnTo>
                  <a:pt x="22" y="214"/>
                </a:lnTo>
                <a:lnTo>
                  <a:pt x="26" y="214"/>
                </a:lnTo>
                <a:lnTo>
                  <a:pt x="22" y="214"/>
                </a:lnTo>
                <a:lnTo>
                  <a:pt x="22" y="210"/>
                </a:lnTo>
                <a:lnTo>
                  <a:pt x="26" y="210"/>
                </a:lnTo>
                <a:lnTo>
                  <a:pt x="30" y="210"/>
                </a:lnTo>
                <a:lnTo>
                  <a:pt x="34" y="210"/>
                </a:lnTo>
                <a:lnTo>
                  <a:pt x="38" y="210"/>
                </a:lnTo>
                <a:lnTo>
                  <a:pt x="42" y="214"/>
                </a:lnTo>
                <a:lnTo>
                  <a:pt x="42" y="210"/>
                </a:lnTo>
                <a:lnTo>
                  <a:pt x="42" y="214"/>
                </a:lnTo>
                <a:lnTo>
                  <a:pt x="38" y="214"/>
                </a:lnTo>
                <a:lnTo>
                  <a:pt x="38" y="210"/>
                </a:lnTo>
                <a:lnTo>
                  <a:pt x="42" y="210"/>
                </a:lnTo>
                <a:lnTo>
                  <a:pt x="44" y="210"/>
                </a:lnTo>
                <a:lnTo>
                  <a:pt x="44" y="206"/>
                </a:lnTo>
                <a:lnTo>
                  <a:pt x="48" y="210"/>
                </a:lnTo>
                <a:lnTo>
                  <a:pt x="48" y="206"/>
                </a:lnTo>
                <a:lnTo>
                  <a:pt x="44" y="206"/>
                </a:lnTo>
                <a:lnTo>
                  <a:pt x="42" y="210"/>
                </a:lnTo>
                <a:lnTo>
                  <a:pt x="38" y="210"/>
                </a:lnTo>
                <a:lnTo>
                  <a:pt x="38" y="206"/>
                </a:lnTo>
                <a:lnTo>
                  <a:pt x="42" y="206"/>
                </a:lnTo>
                <a:lnTo>
                  <a:pt x="38" y="206"/>
                </a:lnTo>
                <a:lnTo>
                  <a:pt x="34" y="206"/>
                </a:lnTo>
                <a:lnTo>
                  <a:pt x="30" y="210"/>
                </a:lnTo>
                <a:lnTo>
                  <a:pt x="30" y="206"/>
                </a:lnTo>
                <a:lnTo>
                  <a:pt x="34" y="206"/>
                </a:lnTo>
                <a:lnTo>
                  <a:pt x="30" y="202"/>
                </a:lnTo>
                <a:lnTo>
                  <a:pt x="34" y="202"/>
                </a:lnTo>
                <a:lnTo>
                  <a:pt x="38" y="202"/>
                </a:lnTo>
                <a:lnTo>
                  <a:pt x="42" y="202"/>
                </a:lnTo>
                <a:lnTo>
                  <a:pt x="44" y="202"/>
                </a:lnTo>
                <a:lnTo>
                  <a:pt x="42" y="202"/>
                </a:lnTo>
                <a:lnTo>
                  <a:pt x="44" y="202"/>
                </a:lnTo>
                <a:lnTo>
                  <a:pt x="48" y="202"/>
                </a:lnTo>
                <a:lnTo>
                  <a:pt x="48" y="206"/>
                </a:lnTo>
                <a:lnTo>
                  <a:pt x="52" y="206"/>
                </a:lnTo>
                <a:lnTo>
                  <a:pt x="52" y="210"/>
                </a:lnTo>
                <a:lnTo>
                  <a:pt x="56" y="210"/>
                </a:lnTo>
                <a:lnTo>
                  <a:pt x="52" y="210"/>
                </a:lnTo>
                <a:lnTo>
                  <a:pt x="52" y="206"/>
                </a:lnTo>
                <a:lnTo>
                  <a:pt x="48" y="206"/>
                </a:lnTo>
                <a:lnTo>
                  <a:pt x="48" y="202"/>
                </a:lnTo>
                <a:lnTo>
                  <a:pt x="44" y="202"/>
                </a:lnTo>
                <a:lnTo>
                  <a:pt x="44" y="198"/>
                </a:lnTo>
                <a:lnTo>
                  <a:pt x="48" y="198"/>
                </a:lnTo>
                <a:lnTo>
                  <a:pt x="48" y="202"/>
                </a:lnTo>
                <a:lnTo>
                  <a:pt x="52" y="202"/>
                </a:lnTo>
                <a:lnTo>
                  <a:pt x="52" y="206"/>
                </a:lnTo>
                <a:lnTo>
                  <a:pt x="52" y="202"/>
                </a:lnTo>
                <a:lnTo>
                  <a:pt x="56" y="202"/>
                </a:lnTo>
                <a:lnTo>
                  <a:pt x="52" y="202"/>
                </a:lnTo>
                <a:lnTo>
                  <a:pt x="48" y="202"/>
                </a:lnTo>
                <a:lnTo>
                  <a:pt x="48" y="198"/>
                </a:lnTo>
                <a:lnTo>
                  <a:pt x="52" y="198"/>
                </a:lnTo>
                <a:lnTo>
                  <a:pt x="56" y="198"/>
                </a:lnTo>
                <a:lnTo>
                  <a:pt x="60" y="198"/>
                </a:lnTo>
                <a:lnTo>
                  <a:pt x="56" y="198"/>
                </a:lnTo>
                <a:lnTo>
                  <a:pt x="52" y="194"/>
                </a:lnTo>
                <a:lnTo>
                  <a:pt x="56" y="194"/>
                </a:lnTo>
                <a:lnTo>
                  <a:pt x="56" y="192"/>
                </a:lnTo>
                <a:lnTo>
                  <a:pt x="60" y="192"/>
                </a:lnTo>
                <a:lnTo>
                  <a:pt x="64" y="192"/>
                </a:lnTo>
                <a:lnTo>
                  <a:pt x="64" y="194"/>
                </a:lnTo>
                <a:lnTo>
                  <a:pt x="68" y="194"/>
                </a:lnTo>
                <a:lnTo>
                  <a:pt x="68" y="192"/>
                </a:lnTo>
                <a:lnTo>
                  <a:pt x="64" y="194"/>
                </a:lnTo>
                <a:lnTo>
                  <a:pt x="64" y="192"/>
                </a:lnTo>
                <a:lnTo>
                  <a:pt x="64" y="188"/>
                </a:lnTo>
                <a:lnTo>
                  <a:pt x="68" y="188"/>
                </a:lnTo>
                <a:lnTo>
                  <a:pt x="72" y="188"/>
                </a:lnTo>
                <a:lnTo>
                  <a:pt x="74" y="192"/>
                </a:lnTo>
                <a:lnTo>
                  <a:pt x="74" y="194"/>
                </a:lnTo>
                <a:lnTo>
                  <a:pt x="78" y="194"/>
                </a:lnTo>
                <a:lnTo>
                  <a:pt x="74" y="194"/>
                </a:lnTo>
                <a:lnTo>
                  <a:pt x="74" y="192"/>
                </a:lnTo>
                <a:lnTo>
                  <a:pt x="78" y="192"/>
                </a:lnTo>
                <a:lnTo>
                  <a:pt x="82" y="192"/>
                </a:lnTo>
                <a:lnTo>
                  <a:pt x="86" y="192"/>
                </a:lnTo>
                <a:lnTo>
                  <a:pt x="86" y="188"/>
                </a:lnTo>
                <a:lnTo>
                  <a:pt x="82" y="188"/>
                </a:lnTo>
                <a:lnTo>
                  <a:pt x="86" y="188"/>
                </a:lnTo>
                <a:lnTo>
                  <a:pt x="86" y="184"/>
                </a:lnTo>
                <a:lnTo>
                  <a:pt x="90" y="184"/>
                </a:lnTo>
                <a:lnTo>
                  <a:pt x="94" y="184"/>
                </a:lnTo>
                <a:lnTo>
                  <a:pt x="94" y="180"/>
                </a:lnTo>
                <a:lnTo>
                  <a:pt x="90" y="180"/>
                </a:lnTo>
                <a:lnTo>
                  <a:pt x="94" y="180"/>
                </a:lnTo>
                <a:lnTo>
                  <a:pt x="98" y="176"/>
                </a:lnTo>
                <a:lnTo>
                  <a:pt x="94" y="176"/>
                </a:lnTo>
                <a:lnTo>
                  <a:pt x="90" y="176"/>
                </a:lnTo>
                <a:lnTo>
                  <a:pt x="90" y="180"/>
                </a:lnTo>
                <a:lnTo>
                  <a:pt x="86" y="180"/>
                </a:lnTo>
                <a:lnTo>
                  <a:pt x="82" y="184"/>
                </a:lnTo>
                <a:lnTo>
                  <a:pt x="86" y="180"/>
                </a:lnTo>
                <a:lnTo>
                  <a:pt x="90" y="180"/>
                </a:lnTo>
                <a:lnTo>
                  <a:pt x="90" y="184"/>
                </a:lnTo>
                <a:lnTo>
                  <a:pt x="86" y="184"/>
                </a:lnTo>
                <a:lnTo>
                  <a:pt x="82" y="188"/>
                </a:lnTo>
                <a:lnTo>
                  <a:pt x="78" y="188"/>
                </a:lnTo>
                <a:lnTo>
                  <a:pt x="74" y="192"/>
                </a:lnTo>
                <a:lnTo>
                  <a:pt x="72" y="188"/>
                </a:lnTo>
                <a:lnTo>
                  <a:pt x="72" y="184"/>
                </a:lnTo>
                <a:lnTo>
                  <a:pt x="74" y="184"/>
                </a:lnTo>
                <a:lnTo>
                  <a:pt x="72" y="184"/>
                </a:lnTo>
                <a:lnTo>
                  <a:pt x="68" y="188"/>
                </a:lnTo>
                <a:lnTo>
                  <a:pt x="68" y="184"/>
                </a:lnTo>
                <a:lnTo>
                  <a:pt x="72" y="184"/>
                </a:lnTo>
                <a:lnTo>
                  <a:pt x="72" y="180"/>
                </a:lnTo>
                <a:lnTo>
                  <a:pt x="74" y="180"/>
                </a:lnTo>
                <a:lnTo>
                  <a:pt x="78" y="180"/>
                </a:lnTo>
                <a:lnTo>
                  <a:pt x="74" y="180"/>
                </a:lnTo>
                <a:lnTo>
                  <a:pt x="74" y="176"/>
                </a:lnTo>
                <a:lnTo>
                  <a:pt x="78" y="172"/>
                </a:lnTo>
                <a:lnTo>
                  <a:pt x="82" y="168"/>
                </a:lnTo>
                <a:lnTo>
                  <a:pt x="82" y="168"/>
                </a:lnTo>
                <a:lnTo>
                  <a:pt x="82" y="168"/>
                </a:lnTo>
                <a:close/>
                <a:moveTo>
                  <a:pt x="284" y="4"/>
                </a:moveTo>
                <a:lnTo>
                  <a:pt x="284" y="0"/>
                </a:lnTo>
                <a:lnTo>
                  <a:pt x="284" y="4"/>
                </a:lnTo>
                <a:lnTo>
                  <a:pt x="284" y="4"/>
                </a:lnTo>
                <a:lnTo>
                  <a:pt x="284" y="4"/>
                </a:lnTo>
                <a:close/>
                <a:moveTo>
                  <a:pt x="270" y="16"/>
                </a:moveTo>
                <a:lnTo>
                  <a:pt x="270" y="12"/>
                </a:lnTo>
                <a:lnTo>
                  <a:pt x="274" y="12"/>
                </a:lnTo>
                <a:lnTo>
                  <a:pt x="276" y="16"/>
                </a:lnTo>
                <a:lnTo>
                  <a:pt x="274" y="16"/>
                </a:lnTo>
                <a:lnTo>
                  <a:pt x="270" y="16"/>
                </a:lnTo>
                <a:lnTo>
                  <a:pt x="270" y="16"/>
                </a:lnTo>
                <a:lnTo>
                  <a:pt x="270" y="16"/>
                </a:lnTo>
                <a:close/>
                <a:moveTo>
                  <a:pt x="258" y="22"/>
                </a:moveTo>
                <a:lnTo>
                  <a:pt x="254" y="22"/>
                </a:lnTo>
                <a:lnTo>
                  <a:pt x="250" y="22"/>
                </a:lnTo>
                <a:lnTo>
                  <a:pt x="250" y="20"/>
                </a:lnTo>
                <a:lnTo>
                  <a:pt x="254" y="20"/>
                </a:lnTo>
                <a:lnTo>
                  <a:pt x="258" y="22"/>
                </a:lnTo>
                <a:lnTo>
                  <a:pt x="258" y="22"/>
                </a:lnTo>
                <a:lnTo>
                  <a:pt x="258" y="22"/>
                </a:lnTo>
                <a:close/>
                <a:moveTo>
                  <a:pt x="244" y="22"/>
                </a:moveTo>
                <a:lnTo>
                  <a:pt x="240" y="22"/>
                </a:lnTo>
                <a:lnTo>
                  <a:pt x="240" y="20"/>
                </a:lnTo>
                <a:lnTo>
                  <a:pt x="244" y="20"/>
                </a:lnTo>
                <a:lnTo>
                  <a:pt x="244" y="22"/>
                </a:lnTo>
                <a:lnTo>
                  <a:pt x="244" y="22"/>
                </a:lnTo>
                <a:lnTo>
                  <a:pt x="244" y="22"/>
                </a:lnTo>
                <a:close/>
                <a:moveTo>
                  <a:pt x="206" y="26"/>
                </a:moveTo>
                <a:lnTo>
                  <a:pt x="202" y="26"/>
                </a:lnTo>
                <a:lnTo>
                  <a:pt x="206" y="22"/>
                </a:lnTo>
                <a:lnTo>
                  <a:pt x="206" y="26"/>
                </a:lnTo>
                <a:lnTo>
                  <a:pt x="206" y="26"/>
                </a:lnTo>
                <a:lnTo>
                  <a:pt x="206" y="26"/>
                </a:lnTo>
                <a:close/>
                <a:moveTo>
                  <a:pt x="198" y="30"/>
                </a:moveTo>
                <a:lnTo>
                  <a:pt x="198" y="26"/>
                </a:lnTo>
                <a:lnTo>
                  <a:pt x="202" y="26"/>
                </a:lnTo>
                <a:lnTo>
                  <a:pt x="202" y="30"/>
                </a:lnTo>
                <a:lnTo>
                  <a:pt x="198" y="30"/>
                </a:lnTo>
                <a:lnTo>
                  <a:pt x="198" y="30"/>
                </a:lnTo>
                <a:lnTo>
                  <a:pt x="198" y="30"/>
                </a:lnTo>
                <a:close/>
                <a:moveTo>
                  <a:pt x="228" y="30"/>
                </a:moveTo>
                <a:lnTo>
                  <a:pt x="232" y="30"/>
                </a:lnTo>
                <a:lnTo>
                  <a:pt x="228" y="30"/>
                </a:lnTo>
                <a:lnTo>
                  <a:pt x="228" y="30"/>
                </a:lnTo>
                <a:lnTo>
                  <a:pt x="228" y="30"/>
                </a:lnTo>
                <a:close/>
                <a:moveTo>
                  <a:pt x="210" y="34"/>
                </a:moveTo>
                <a:lnTo>
                  <a:pt x="214" y="30"/>
                </a:lnTo>
                <a:lnTo>
                  <a:pt x="218" y="30"/>
                </a:lnTo>
                <a:lnTo>
                  <a:pt x="214" y="34"/>
                </a:lnTo>
                <a:lnTo>
                  <a:pt x="210" y="34"/>
                </a:lnTo>
                <a:lnTo>
                  <a:pt x="210" y="34"/>
                </a:lnTo>
                <a:lnTo>
                  <a:pt x="210" y="34"/>
                </a:lnTo>
                <a:close/>
                <a:moveTo>
                  <a:pt x="354" y="38"/>
                </a:moveTo>
                <a:lnTo>
                  <a:pt x="354" y="34"/>
                </a:lnTo>
                <a:lnTo>
                  <a:pt x="358" y="34"/>
                </a:lnTo>
                <a:lnTo>
                  <a:pt x="354" y="38"/>
                </a:lnTo>
                <a:lnTo>
                  <a:pt x="354" y="38"/>
                </a:lnTo>
                <a:lnTo>
                  <a:pt x="354" y="38"/>
                </a:lnTo>
                <a:close/>
                <a:moveTo>
                  <a:pt x="224" y="34"/>
                </a:moveTo>
                <a:lnTo>
                  <a:pt x="228" y="34"/>
                </a:lnTo>
                <a:lnTo>
                  <a:pt x="224" y="34"/>
                </a:lnTo>
                <a:lnTo>
                  <a:pt x="224" y="34"/>
                </a:lnTo>
                <a:lnTo>
                  <a:pt x="224" y="34"/>
                </a:lnTo>
                <a:close/>
                <a:moveTo>
                  <a:pt x="202" y="42"/>
                </a:moveTo>
                <a:lnTo>
                  <a:pt x="202" y="38"/>
                </a:lnTo>
                <a:lnTo>
                  <a:pt x="202" y="42"/>
                </a:lnTo>
                <a:lnTo>
                  <a:pt x="202" y="42"/>
                </a:lnTo>
                <a:lnTo>
                  <a:pt x="202" y="42"/>
                </a:lnTo>
                <a:close/>
                <a:moveTo>
                  <a:pt x="180" y="56"/>
                </a:moveTo>
                <a:lnTo>
                  <a:pt x="180" y="52"/>
                </a:lnTo>
                <a:lnTo>
                  <a:pt x="184" y="52"/>
                </a:lnTo>
                <a:lnTo>
                  <a:pt x="180" y="56"/>
                </a:lnTo>
                <a:lnTo>
                  <a:pt x="180" y="56"/>
                </a:lnTo>
                <a:lnTo>
                  <a:pt x="180" y="56"/>
                </a:lnTo>
                <a:close/>
                <a:moveTo>
                  <a:pt x="168" y="60"/>
                </a:moveTo>
                <a:lnTo>
                  <a:pt x="164" y="56"/>
                </a:lnTo>
                <a:lnTo>
                  <a:pt x="168" y="56"/>
                </a:lnTo>
                <a:lnTo>
                  <a:pt x="168" y="60"/>
                </a:lnTo>
                <a:lnTo>
                  <a:pt x="168" y="60"/>
                </a:lnTo>
                <a:lnTo>
                  <a:pt x="168" y="60"/>
                </a:lnTo>
                <a:close/>
                <a:moveTo>
                  <a:pt x="176" y="60"/>
                </a:moveTo>
                <a:lnTo>
                  <a:pt x="176" y="56"/>
                </a:lnTo>
                <a:lnTo>
                  <a:pt x="180" y="56"/>
                </a:lnTo>
                <a:lnTo>
                  <a:pt x="180" y="60"/>
                </a:lnTo>
                <a:lnTo>
                  <a:pt x="176" y="60"/>
                </a:lnTo>
                <a:lnTo>
                  <a:pt x="176" y="60"/>
                </a:lnTo>
                <a:lnTo>
                  <a:pt x="176" y="60"/>
                </a:lnTo>
                <a:close/>
                <a:moveTo>
                  <a:pt x="172" y="64"/>
                </a:moveTo>
                <a:lnTo>
                  <a:pt x="172" y="60"/>
                </a:lnTo>
                <a:lnTo>
                  <a:pt x="176" y="60"/>
                </a:lnTo>
                <a:lnTo>
                  <a:pt x="172" y="60"/>
                </a:lnTo>
                <a:lnTo>
                  <a:pt x="172" y="64"/>
                </a:lnTo>
                <a:lnTo>
                  <a:pt x="172" y="64"/>
                </a:lnTo>
                <a:lnTo>
                  <a:pt x="172" y="64"/>
                </a:lnTo>
                <a:close/>
                <a:moveTo>
                  <a:pt x="160" y="72"/>
                </a:moveTo>
                <a:lnTo>
                  <a:pt x="160" y="68"/>
                </a:lnTo>
                <a:lnTo>
                  <a:pt x="164" y="68"/>
                </a:lnTo>
                <a:lnTo>
                  <a:pt x="164" y="72"/>
                </a:lnTo>
                <a:lnTo>
                  <a:pt x="160" y="72"/>
                </a:lnTo>
                <a:lnTo>
                  <a:pt x="160" y="72"/>
                </a:lnTo>
                <a:lnTo>
                  <a:pt x="160" y="72"/>
                </a:lnTo>
                <a:close/>
                <a:moveTo>
                  <a:pt x="134" y="76"/>
                </a:moveTo>
                <a:lnTo>
                  <a:pt x="130" y="76"/>
                </a:lnTo>
                <a:lnTo>
                  <a:pt x="130" y="72"/>
                </a:lnTo>
                <a:lnTo>
                  <a:pt x="134" y="72"/>
                </a:lnTo>
                <a:lnTo>
                  <a:pt x="134" y="76"/>
                </a:lnTo>
                <a:lnTo>
                  <a:pt x="134" y="76"/>
                </a:lnTo>
                <a:lnTo>
                  <a:pt x="134" y="76"/>
                </a:lnTo>
                <a:close/>
                <a:moveTo>
                  <a:pt x="120" y="82"/>
                </a:moveTo>
                <a:lnTo>
                  <a:pt x="120" y="78"/>
                </a:lnTo>
                <a:lnTo>
                  <a:pt x="120" y="76"/>
                </a:lnTo>
                <a:lnTo>
                  <a:pt x="124" y="76"/>
                </a:lnTo>
                <a:lnTo>
                  <a:pt x="124" y="78"/>
                </a:lnTo>
                <a:lnTo>
                  <a:pt x="120" y="82"/>
                </a:lnTo>
                <a:lnTo>
                  <a:pt x="120" y="82"/>
                </a:lnTo>
                <a:lnTo>
                  <a:pt x="120" y="82"/>
                </a:lnTo>
                <a:close/>
                <a:moveTo>
                  <a:pt x="116" y="86"/>
                </a:moveTo>
                <a:lnTo>
                  <a:pt x="116" y="82"/>
                </a:lnTo>
                <a:lnTo>
                  <a:pt x="116" y="78"/>
                </a:lnTo>
                <a:lnTo>
                  <a:pt x="120" y="78"/>
                </a:lnTo>
                <a:lnTo>
                  <a:pt x="120" y="82"/>
                </a:lnTo>
                <a:lnTo>
                  <a:pt x="116" y="82"/>
                </a:lnTo>
                <a:lnTo>
                  <a:pt x="116" y="86"/>
                </a:lnTo>
                <a:lnTo>
                  <a:pt x="116" y="86"/>
                </a:lnTo>
                <a:lnTo>
                  <a:pt x="116" y="86"/>
                </a:lnTo>
                <a:close/>
                <a:moveTo>
                  <a:pt x="154" y="82"/>
                </a:moveTo>
                <a:lnTo>
                  <a:pt x="154" y="78"/>
                </a:lnTo>
                <a:lnTo>
                  <a:pt x="158" y="78"/>
                </a:lnTo>
                <a:lnTo>
                  <a:pt x="158" y="82"/>
                </a:lnTo>
                <a:lnTo>
                  <a:pt x="154" y="82"/>
                </a:lnTo>
                <a:lnTo>
                  <a:pt x="154" y="82"/>
                </a:lnTo>
                <a:lnTo>
                  <a:pt x="154" y="82"/>
                </a:lnTo>
                <a:close/>
                <a:moveTo>
                  <a:pt x="146" y="82"/>
                </a:moveTo>
                <a:lnTo>
                  <a:pt x="150" y="82"/>
                </a:lnTo>
                <a:lnTo>
                  <a:pt x="146" y="82"/>
                </a:lnTo>
                <a:lnTo>
                  <a:pt x="146" y="82"/>
                </a:lnTo>
                <a:lnTo>
                  <a:pt x="146" y="82"/>
                </a:lnTo>
                <a:close/>
                <a:moveTo>
                  <a:pt x="134" y="106"/>
                </a:moveTo>
                <a:lnTo>
                  <a:pt x="130" y="106"/>
                </a:lnTo>
                <a:lnTo>
                  <a:pt x="130" y="102"/>
                </a:lnTo>
                <a:lnTo>
                  <a:pt x="134" y="102"/>
                </a:lnTo>
                <a:lnTo>
                  <a:pt x="134" y="106"/>
                </a:lnTo>
                <a:lnTo>
                  <a:pt x="134" y="106"/>
                </a:lnTo>
                <a:lnTo>
                  <a:pt x="134" y="106"/>
                </a:lnTo>
                <a:close/>
                <a:moveTo>
                  <a:pt x="102" y="138"/>
                </a:moveTo>
                <a:lnTo>
                  <a:pt x="104" y="138"/>
                </a:lnTo>
                <a:lnTo>
                  <a:pt x="102" y="138"/>
                </a:lnTo>
                <a:lnTo>
                  <a:pt x="102" y="138"/>
                </a:lnTo>
                <a:lnTo>
                  <a:pt x="102" y="138"/>
                </a:lnTo>
                <a:close/>
                <a:moveTo>
                  <a:pt x="104" y="150"/>
                </a:moveTo>
                <a:lnTo>
                  <a:pt x="104" y="146"/>
                </a:lnTo>
                <a:lnTo>
                  <a:pt x="104" y="142"/>
                </a:lnTo>
                <a:lnTo>
                  <a:pt x="104" y="138"/>
                </a:lnTo>
                <a:lnTo>
                  <a:pt x="108" y="138"/>
                </a:lnTo>
                <a:lnTo>
                  <a:pt x="108" y="142"/>
                </a:lnTo>
                <a:lnTo>
                  <a:pt x="108" y="146"/>
                </a:lnTo>
                <a:lnTo>
                  <a:pt x="104" y="146"/>
                </a:lnTo>
                <a:lnTo>
                  <a:pt x="104" y="150"/>
                </a:lnTo>
                <a:lnTo>
                  <a:pt x="104" y="150"/>
                </a:lnTo>
                <a:lnTo>
                  <a:pt x="104" y="150"/>
                </a:lnTo>
                <a:close/>
                <a:moveTo>
                  <a:pt x="104" y="154"/>
                </a:moveTo>
                <a:lnTo>
                  <a:pt x="102" y="154"/>
                </a:lnTo>
                <a:lnTo>
                  <a:pt x="104" y="150"/>
                </a:lnTo>
                <a:lnTo>
                  <a:pt x="108" y="150"/>
                </a:lnTo>
                <a:lnTo>
                  <a:pt x="108" y="154"/>
                </a:lnTo>
                <a:lnTo>
                  <a:pt x="104" y="154"/>
                </a:lnTo>
                <a:lnTo>
                  <a:pt x="104" y="154"/>
                </a:lnTo>
                <a:lnTo>
                  <a:pt x="104" y="154"/>
                </a:lnTo>
                <a:close/>
                <a:moveTo>
                  <a:pt x="86" y="158"/>
                </a:moveTo>
                <a:lnTo>
                  <a:pt x="90" y="154"/>
                </a:lnTo>
                <a:lnTo>
                  <a:pt x="86" y="158"/>
                </a:lnTo>
                <a:lnTo>
                  <a:pt x="86" y="158"/>
                </a:lnTo>
                <a:lnTo>
                  <a:pt x="86" y="158"/>
                </a:lnTo>
                <a:close/>
                <a:moveTo>
                  <a:pt x="90" y="158"/>
                </a:moveTo>
                <a:lnTo>
                  <a:pt x="86" y="158"/>
                </a:lnTo>
                <a:lnTo>
                  <a:pt x="90" y="154"/>
                </a:lnTo>
                <a:lnTo>
                  <a:pt x="94" y="158"/>
                </a:lnTo>
                <a:lnTo>
                  <a:pt x="90" y="158"/>
                </a:lnTo>
                <a:lnTo>
                  <a:pt x="90" y="158"/>
                </a:lnTo>
                <a:lnTo>
                  <a:pt x="90" y="158"/>
                </a:lnTo>
                <a:close/>
                <a:moveTo>
                  <a:pt x="94" y="164"/>
                </a:moveTo>
                <a:lnTo>
                  <a:pt x="90" y="164"/>
                </a:lnTo>
                <a:lnTo>
                  <a:pt x="90" y="162"/>
                </a:lnTo>
                <a:lnTo>
                  <a:pt x="94" y="164"/>
                </a:lnTo>
                <a:lnTo>
                  <a:pt x="94" y="164"/>
                </a:lnTo>
                <a:lnTo>
                  <a:pt x="94" y="164"/>
                </a:lnTo>
                <a:close/>
                <a:moveTo>
                  <a:pt x="52" y="194"/>
                </a:moveTo>
                <a:lnTo>
                  <a:pt x="52" y="192"/>
                </a:lnTo>
                <a:lnTo>
                  <a:pt x="56" y="192"/>
                </a:lnTo>
                <a:lnTo>
                  <a:pt x="56" y="194"/>
                </a:lnTo>
                <a:lnTo>
                  <a:pt x="52" y="194"/>
                </a:lnTo>
                <a:lnTo>
                  <a:pt x="52" y="194"/>
                </a:lnTo>
                <a:lnTo>
                  <a:pt x="52" y="194"/>
                </a:lnTo>
                <a:close/>
                <a:moveTo>
                  <a:pt x="52" y="198"/>
                </a:moveTo>
                <a:lnTo>
                  <a:pt x="48" y="194"/>
                </a:lnTo>
                <a:lnTo>
                  <a:pt x="52" y="194"/>
                </a:lnTo>
                <a:lnTo>
                  <a:pt x="56" y="198"/>
                </a:lnTo>
                <a:lnTo>
                  <a:pt x="52" y="198"/>
                </a:lnTo>
                <a:lnTo>
                  <a:pt x="52" y="198"/>
                </a:lnTo>
                <a:lnTo>
                  <a:pt x="52" y="198"/>
                </a:lnTo>
                <a:close/>
                <a:moveTo>
                  <a:pt x="44" y="198"/>
                </a:moveTo>
                <a:lnTo>
                  <a:pt x="48" y="194"/>
                </a:lnTo>
                <a:lnTo>
                  <a:pt x="48" y="198"/>
                </a:lnTo>
                <a:lnTo>
                  <a:pt x="44" y="198"/>
                </a:lnTo>
                <a:lnTo>
                  <a:pt x="44" y="198"/>
                </a:lnTo>
                <a:lnTo>
                  <a:pt x="44" y="198"/>
                </a:lnTo>
                <a:close/>
                <a:moveTo>
                  <a:pt x="44" y="202"/>
                </a:moveTo>
                <a:lnTo>
                  <a:pt x="42" y="202"/>
                </a:lnTo>
                <a:lnTo>
                  <a:pt x="42" y="198"/>
                </a:lnTo>
                <a:lnTo>
                  <a:pt x="44" y="198"/>
                </a:lnTo>
                <a:lnTo>
                  <a:pt x="44" y="202"/>
                </a:lnTo>
                <a:lnTo>
                  <a:pt x="44" y="202"/>
                </a:lnTo>
                <a:lnTo>
                  <a:pt x="44" y="202"/>
                </a:lnTo>
                <a:close/>
                <a:moveTo>
                  <a:pt x="42" y="202"/>
                </a:moveTo>
                <a:lnTo>
                  <a:pt x="38" y="202"/>
                </a:lnTo>
                <a:lnTo>
                  <a:pt x="38" y="198"/>
                </a:lnTo>
                <a:lnTo>
                  <a:pt x="42" y="198"/>
                </a:lnTo>
                <a:lnTo>
                  <a:pt x="42" y="202"/>
                </a:lnTo>
                <a:lnTo>
                  <a:pt x="42" y="202"/>
                </a:lnTo>
                <a:lnTo>
                  <a:pt x="42" y="202"/>
                </a:lnTo>
                <a:close/>
                <a:moveTo>
                  <a:pt x="26" y="210"/>
                </a:moveTo>
                <a:lnTo>
                  <a:pt x="30" y="206"/>
                </a:lnTo>
                <a:lnTo>
                  <a:pt x="30" y="210"/>
                </a:lnTo>
                <a:lnTo>
                  <a:pt x="26" y="210"/>
                </a:lnTo>
                <a:lnTo>
                  <a:pt x="26" y="210"/>
                </a:lnTo>
                <a:lnTo>
                  <a:pt x="26" y="210"/>
                </a:lnTo>
                <a:close/>
                <a:moveTo>
                  <a:pt x="22" y="218"/>
                </a:moveTo>
                <a:lnTo>
                  <a:pt x="18" y="218"/>
                </a:lnTo>
                <a:lnTo>
                  <a:pt x="18" y="214"/>
                </a:lnTo>
                <a:lnTo>
                  <a:pt x="22" y="214"/>
                </a:lnTo>
                <a:lnTo>
                  <a:pt x="22" y="218"/>
                </a:lnTo>
                <a:lnTo>
                  <a:pt x="22" y="218"/>
                </a:lnTo>
                <a:lnTo>
                  <a:pt x="22" y="218"/>
                </a:lnTo>
                <a:close/>
                <a:moveTo>
                  <a:pt x="14" y="222"/>
                </a:moveTo>
                <a:lnTo>
                  <a:pt x="14" y="218"/>
                </a:lnTo>
                <a:lnTo>
                  <a:pt x="14" y="214"/>
                </a:lnTo>
                <a:lnTo>
                  <a:pt x="18" y="214"/>
                </a:lnTo>
                <a:lnTo>
                  <a:pt x="18" y="218"/>
                </a:lnTo>
                <a:lnTo>
                  <a:pt x="14" y="218"/>
                </a:lnTo>
                <a:lnTo>
                  <a:pt x="14" y="222"/>
                </a:lnTo>
                <a:lnTo>
                  <a:pt x="14" y="222"/>
                </a:lnTo>
                <a:lnTo>
                  <a:pt x="14" y="222"/>
                </a:lnTo>
                <a:close/>
                <a:moveTo>
                  <a:pt x="12" y="222"/>
                </a:moveTo>
                <a:lnTo>
                  <a:pt x="12" y="218"/>
                </a:lnTo>
                <a:lnTo>
                  <a:pt x="14" y="218"/>
                </a:lnTo>
                <a:lnTo>
                  <a:pt x="14" y="222"/>
                </a:lnTo>
                <a:lnTo>
                  <a:pt x="12" y="222"/>
                </a:lnTo>
                <a:lnTo>
                  <a:pt x="12" y="222"/>
                </a:lnTo>
                <a:lnTo>
                  <a:pt x="12" y="222"/>
                </a:lnTo>
                <a:close/>
                <a:moveTo>
                  <a:pt x="4" y="232"/>
                </a:moveTo>
                <a:lnTo>
                  <a:pt x="4" y="228"/>
                </a:lnTo>
                <a:lnTo>
                  <a:pt x="0" y="228"/>
                </a:lnTo>
                <a:lnTo>
                  <a:pt x="4" y="228"/>
                </a:lnTo>
                <a:lnTo>
                  <a:pt x="8" y="228"/>
                </a:lnTo>
                <a:lnTo>
                  <a:pt x="4" y="228"/>
                </a:lnTo>
                <a:lnTo>
                  <a:pt x="4" y="232"/>
                </a:lnTo>
                <a:lnTo>
                  <a:pt x="4" y="232"/>
                </a:lnTo>
                <a:lnTo>
                  <a:pt x="4" y="232"/>
                </a:lnTo>
                <a:close/>
                <a:moveTo>
                  <a:pt x="0" y="246"/>
                </a:moveTo>
                <a:lnTo>
                  <a:pt x="0" y="242"/>
                </a:lnTo>
                <a:lnTo>
                  <a:pt x="4" y="242"/>
                </a:lnTo>
                <a:lnTo>
                  <a:pt x="4" y="246"/>
                </a:lnTo>
                <a:lnTo>
                  <a:pt x="0" y="246"/>
                </a:lnTo>
                <a:lnTo>
                  <a:pt x="0" y="246"/>
                </a:lnTo>
                <a:lnTo>
                  <a:pt x="0" y="246"/>
                </a:lnTo>
                <a:close/>
                <a:moveTo>
                  <a:pt x="12" y="262"/>
                </a:moveTo>
                <a:lnTo>
                  <a:pt x="8" y="258"/>
                </a:lnTo>
                <a:lnTo>
                  <a:pt x="12" y="258"/>
                </a:lnTo>
                <a:lnTo>
                  <a:pt x="12" y="254"/>
                </a:lnTo>
                <a:lnTo>
                  <a:pt x="14" y="254"/>
                </a:lnTo>
                <a:lnTo>
                  <a:pt x="14" y="262"/>
                </a:lnTo>
                <a:lnTo>
                  <a:pt x="12" y="262"/>
                </a:lnTo>
                <a:lnTo>
                  <a:pt x="12" y="262"/>
                </a:lnTo>
                <a:lnTo>
                  <a:pt x="12" y="262"/>
                </a:lnTo>
                <a:close/>
                <a:moveTo>
                  <a:pt x="296" y="8"/>
                </a:moveTo>
                <a:lnTo>
                  <a:pt x="292" y="4"/>
                </a:lnTo>
                <a:lnTo>
                  <a:pt x="296" y="4"/>
                </a:lnTo>
                <a:lnTo>
                  <a:pt x="292" y="4"/>
                </a:lnTo>
                <a:lnTo>
                  <a:pt x="296" y="0"/>
                </a:lnTo>
                <a:lnTo>
                  <a:pt x="300" y="0"/>
                </a:lnTo>
                <a:lnTo>
                  <a:pt x="304" y="0"/>
                </a:lnTo>
                <a:lnTo>
                  <a:pt x="304" y="4"/>
                </a:lnTo>
                <a:lnTo>
                  <a:pt x="300" y="4"/>
                </a:lnTo>
                <a:lnTo>
                  <a:pt x="304" y="4"/>
                </a:lnTo>
                <a:lnTo>
                  <a:pt x="300" y="4"/>
                </a:lnTo>
                <a:lnTo>
                  <a:pt x="296" y="8"/>
                </a:lnTo>
                <a:lnTo>
                  <a:pt x="296" y="8"/>
                </a:lnTo>
                <a:lnTo>
                  <a:pt x="296" y="8"/>
                </a:lnTo>
                <a:close/>
                <a:moveTo>
                  <a:pt x="274" y="8"/>
                </a:moveTo>
                <a:lnTo>
                  <a:pt x="274" y="4"/>
                </a:lnTo>
                <a:lnTo>
                  <a:pt x="276" y="4"/>
                </a:lnTo>
                <a:lnTo>
                  <a:pt x="276" y="8"/>
                </a:lnTo>
                <a:lnTo>
                  <a:pt x="274" y="8"/>
                </a:lnTo>
                <a:lnTo>
                  <a:pt x="274" y="8"/>
                </a:lnTo>
                <a:lnTo>
                  <a:pt x="274" y="8"/>
                </a:lnTo>
                <a:close/>
                <a:moveTo>
                  <a:pt x="248" y="20"/>
                </a:moveTo>
                <a:lnTo>
                  <a:pt x="248" y="16"/>
                </a:lnTo>
                <a:lnTo>
                  <a:pt x="244" y="16"/>
                </a:lnTo>
                <a:lnTo>
                  <a:pt x="244" y="12"/>
                </a:lnTo>
                <a:lnTo>
                  <a:pt x="248" y="12"/>
                </a:lnTo>
                <a:lnTo>
                  <a:pt x="248" y="16"/>
                </a:lnTo>
                <a:lnTo>
                  <a:pt x="250" y="12"/>
                </a:lnTo>
                <a:lnTo>
                  <a:pt x="254" y="12"/>
                </a:lnTo>
                <a:lnTo>
                  <a:pt x="254" y="16"/>
                </a:lnTo>
                <a:lnTo>
                  <a:pt x="258" y="16"/>
                </a:lnTo>
                <a:lnTo>
                  <a:pt x="258" y="12"/>
                </a:lnTo>
                <a:lnTo>
                  <a:pt x="254" y="12"/>
                </a:lnTo>
                <a:lnTo>
                  <a:pt x="258" y="12"/>
                </a:lnTo>
                <a:lnTo>
                  <a:pt x="262" y="12"/>
                </a:lnTo>
                <a:lnTo>
                  <a:pt x="266" y="12"/>
                </a:lnTo>
                <a:lnTo>
                  <a:pt x="266" y="8"/>
                </a:lnTo>
                <a:lnTo>
                  <a:pt x="262" y="8"/>
                </a:lnTo>
                <a:lnTo>
                  <a:pt x="266" y="8"/>
                </a:lnTo>
                <a:lnTo>
                  <a:pt x="266" y="12"/>
                </a:lnTo>
                <a:lnTo>
                  <a:pt x="262" y="12"/>
                </a:lnTo>
                <a:lnTo>
                  <a:pt x="262" y="16"/>
                </a:lnTo>
                <a:lnTo>
                  <a:pt x="258" y="16"/>
                </a:lnTo>
                <a:lnTo>
                  <a:pt x="254" y="16"/>
                </a:lnTo>
                <a:lnTo>
                  <a:pt x="250" y="20"/>
                </a:lnTo>
                <a:lnTo>
                  <a:pt x="248" y="16"/>
                </a:lnTo>
                <a:lnTo>
                  <a:pt x="248" y="20"/>
                </a:lnTo>
                <a:lnTo>
                  <a:pt x="248" y="20"/>
                </a:lnTo>
                <a:lnTo>
                  <a:pt x="248" y="20"/>
                </a:lnTo>
                <a:close/>
                <a:moveTo>
                  <a:pt x="262" y="22"/>
                </a:moveTo>
                <a:lnTo>
                  <a:pt x="258" y="20"/>
                </a:lnTo>
                <a:lnTo>
                  <a:pt x="262" y="16"/>
                </a:lnTo>
                <a:lnTo>
                  <a:pt x="266" y="16"/>
                </a:lnTo>
                <a:lnTo>
                  <a:pt x="270" y="16"/>
                </a:lnTo>
                <a:lnTo>
                  <a:pt x="270" y="20"/>
                </a:lnTo>
                <a:lnTo>
                  <a:pt x="266" y="20"/>
                </a:lnTo>
                <a:lnTo>
                  <a:pt x="266" y="22"/>
                </a:lnTo>
                <a:lnTo>
                  <a:pt x="262" y="22"/>
                </a:lnTo>
                <a:lnTo>
                  <a:pt x="262" y="22"/>
                </a:lnTo>
                <a:lnTo>
                  <a:pt x="262" y="22"/>
                </a:lnTo>
                <a:close/>
                <a:moveTo>
                  <a:pt x="218" y="30"/>
                </a:moveTo>
                <a:lnTo>
                  <a:pt x="214" y="30"/>
                </a:lnTo>
                <a:lnTo>
                  <a:pt x="214" y="26"/>
                </a:lnTo>
                <a:lnTo>
                  <a:pt x="214" y="22"/>
                </a:lnTo>
                <a:lnTo>
                  <a:pt x="210" y="22"/>
                </a:lnTo>
                <a:lnTo>
                  <a:pt x="214" y="22"/>
                </a:lnTo>
                <a:lnTo>
                  <a:pt x="214" y="26"/>
                </a:lnTo>
                <a:lnTo>
                  <a:pt x="218" y="26"/>
                </a:lnTo>
                <a:lnTo>
                  <a:pt x="218" y="30"/>
                </a:lnTo>
                <a:lnTo>
                  <a:pt x="218" y="30"/>
                </a:lnTo>
                <a:lnTo>
                  <a:pt x="218" y="30"/>
                </a:lnTo>
                <a:close/>
                <a:moveTo>
                  <a:pt x="224" y="30"/>
                </a:moveTo>
                <a:lnTo>
                  <a:pt x="224" y="26"/>
                </a:lnTo>
                <a:lnTo>
                  <a:pt x="224" y="30"/>
                </a:lnTo>
                <a:lnTo>
                  <a:pt x="224" y="26"/>
                </a:lnTo>
                <a:lnTo>
                  <a:pt x="220" y="26"/>
                </a:lnTo>
                <a:lnTo>
                  <a:pt x="224" y="26"/>
                </a:lnTo>
                <a:lnTo>
                  <a:pt x="224" y="22"/>
                </a:lnTo>
                <a:lnTo>
                  <a:pt x="228" y="22"/>
                </a:lnTo>
                <a:lnTo>
                  <a:pt x="228" y="26"/>
                </a:lnTo>
                <a:lnTo>
                  <a:pt x="228" y="30"/>
                </a:lnTo>
                <a:lnTo>
                  <a:pt x="224" y="30"/>
                </a:lnTo>
                <a:lnTo>
                  <a:pt x="224" y="30"/>
                </a:lnTo>
                <a:lnTo>
                  <a:pt x="224" y="30"/>
                </a:lnTo>
                <a:close/>
                <a:moveTo>
                  <a:pt x="210" y="26"/>
                </a:moveTo>
                <a:lnTo>
                  <a:pt x="206" y="26"/>
                </a:lnTo>
                <a:lnTo>
                  <a:pt x="210" y="26"/>
                </a:lnTo>
                <a:lnTo>
                  <a:pt x="210" y="26"/>
                </a:lnTo>
                <a:lnTo>
                  <a:pt x="210" y="26"/>
                </a:lnTo>
                <a:close/>
                <a:moveTo>
                  <a:pt x="206" y="34"/>
                </a:moveTo>
                <a:lnTo>
                  <a:pt x="202" y="34"/>
                </a:lnTo>
                <a:lnTo>
                  <a:pt x="198" y="34"/>
                </a:lnTo>
                <a:lnTo>
                  <a:pt x="198" y="30"/>
                </a:lnTo>
                <a:lnTo>
                  <a:pt x="202" y="30"/>
                </a:lnTo>
                <a:lnTo>
                  <a:pt x="206" y="30"/>
                </a:lnTo>
                <a:lnTo>
                  <a:pt x="206" y="26"/>
                </a:lnTo>
                <a:lnTo>
                  <a:pt x="206" y="30"/>
                </a:lnTo>
                <a:lnTo>
                  <a:pt x="210" y="30"/>
                </a:lnTo>
                <a:lnTo>
                  <a:pt x="214" y="30"/>
                </a:lnTo>
                <a:lnTo>
                  <a:pt x="210" y="34"/>
                </a:lnTo>
                <a:lnTo>
                  <a:pt x="206" y="34"/>
                </a:lnTo>
                <a:lnTo>
                  <a:pt x="206" y="34"/>
                </a:lnTo>
                <a:lnTo>
                  <a:pt x="206" y="34"/>
                </a:lnTo>
                <a:close/>
                <a:moveTo>
                  <a:pt x="194" y="38"/>
                </a:moveTo>
                <a:lnTo>
                  <a:pt x="198" y="38"/>
                </a:lnTo>
                <a:lnTo>
                  <a:pt x="194" y="38"/>
                </a:lnTo>
                <a:lnTo>
                  <a:pt x="194" y="34"/>
                </a:lnTo>
                <a:lnTo>
                  <a:pt x="194" y="38"/>
                </a:lnTo>
                <a:lnTo>
                  <a:pt x="198" y="38"/>
                </a:lnTo>
                <a:lnTo>
                  <a:pt x="198" y="34"/>
                </a:lnTo>
                <a:lnTo>
                  <a:pt x="202" y="34"/>
                </a:lnTo>
                <a:lnTo>
                  <a:pt x="202" y="38"/>
                </a:lnTo>
                <a:lnTo>
                  <a:pt x="198" y="38"/>
                </a:lnTo>
                <a:lnTo>
                  <a:pt x="198" y="42"/>
                </a:lnTo>
                <a:lnTo>
                  <a:pt x="202" y="42"/>
                </a:lnTo>
                <a:lnTo>
                  <a:pt x="198" y="42"/>
                </a:lnTo>
                <a:lnTo>
                  <a:pt x="194" y="42"/>
                </a:lnTo>
                <a:lnTo>
                  <a:pt x="190" y="42"/>
                </a:lnTo>
                <a:lnTo>
                  <a:pt x="188" y="42"/>
                </a:lnTo>
                <a:lnTo>
                  <a:pt x="190" y="38"/>
                </a:lnTo>
                <a:lnTo>
                  <a:pt x="190" y="42"/>
                </a:lnTo>
                <a:lnTo>
                  <a:pt x="190" y="38"/>
                </a:lnTo>
                <a:lnTo>
                  <a:pt x="194" y="38"/>
                </a:lnTo>
                <a:lnTo>
                  <a:pt x="194" y="38"/>
                </a:lnTo>
                <a:lnTo>
                  <a:pt x="194" y="38"/>
                </a:lnTo>
                <a:close/>
                <a:moveTo>
                  <a:pt x="172" y="50"/>
                </a:moveTo>
                <a:lnTo>
                  <a:pt x="176" y="50"/>
                </a:lnTo>
                <a:lnTo>
                  <a:pt x="172" y="50"/>
                </a:lnTo>
                <a:lnTo>
                  <a:pt x="176" y="50"/>
                </a:lnTo>
                <a:lnTo>
                  <a:pt x="176" y="46"/>
                </a:lnTo>
                <a:lnTo>
                  <a:pt x="172" y="46"/>
                </a:lnTo>
                <a:lnTo>
                  <a:pt x="176" y="46"/>
                </a:lnTo>
                <a:lnTo>
                  <a:pt x="180" y="46"/>
                </a:lnTo>
                <a:lnTo>
                  <a:pt x="176" y="46"/>
                </a:lnTo>
                <a:lnTo>
                  <a:pt x="176" y="42"/>
                </a:lnTo>
                <a:lnTo>
                  <a:pt x="180" y="46"/>
                </a:lnTo>
                <a:lnTo>
                  <a:pt x="180" y="42"/>
                </a:lnTo>
                <a:lnTo>
                  <a:pt x="184" y="42"/>
                </a:lnTo>
                <a:lnTo>
                  <a:pt x="184" y="46"/>
                </a:lnTo>
                <a:lnTo>
                  <a:pt x="184" y="42"/>
                </a:lnTo>
                <a:lnTo>
                  <a:pt x="180" y="42"/>
                </a:lnTo>
                <a:lnTo>
                  <a:pt x="184" y="42"/>
                </a:lnTo>
                <a:lnTo>
                  <a:pt x="188" y="42"/>
                </a:lnTo>
                <a:lnTo>
                  <a:pt x="190" y="46"/>
                </a:lnTo>
                <a:lnTo>
                  <a:pt x="188" y="46"/>
                </a:lnTo>
                <a:lnTo>
                  <a:pt x="188" y="50"/>
                </a:lnTo>
                <a:lnTo>
                  <a:pt x="188" y="52"/>
                </a:lnTo>
                <a:lnTo>
                  <a:pt x="184" y="52"/>
                </a:lnTo>
                <a:lnTo>
                  <a:pt x="180" y="50"/>
                </a:lnTo>
                <a:lnTo>
                  <a:pt x="180" y="52"/>
                </a:lnTo>
                <a:lnTo>
                  <a:pt x="176" y="52"/>
                </a:lnTo>
                <a:lnTo>
                  <a:pt x="176" y="56"/>
                </a:lnTo>
                <a:lnTo>
                  <a:pt x="176" y="52"/>
                </a:lnTo>
                <a:lnTo>
                  <a:pt x="172" y="52"/>
                </a:lnTo>
                <a:lnTo>
                  <a:pt x="176" y="52"/>
                </a:lnTo>
                <a:lnTo>
                  <a:pt x="176" y="50"/>
                </a:lnTo>
                <a:lnTo>
                  <a:pt x="176" y="52"/>
                </a:lnTo>
                <a:lnTo>
                  <a:pt x="172" y="50"/>
                </a:lnTo>
                <a:lnTo>
                  <a:pt x="172" y="50"/>
                </a:lnTo>
                <a:lnTo>
                  <a:pt x="172" y="50"/>
                </a:lnTo>
                <a:close/>
                <a:moveTo>
                  <a:pt x="154" y="60"/>
                </a:moveTo>
                <a:lnTo>
                  <a:pt x="154" y="56"/>
                </a:lnTo>
                <a:lnTo>
                  <a:pt x="154" y="52"/>
                </a:lnTo>
                <a:lnTo>
                  <a:pt x="158" y="52"/>
                </a:lnTo>
                <a:lnTo>
                  <a:pt x="158" y="50"/>
                </a:lnTo>
                <a:lnTo>
                  <a:pt x="160" y="50"/>
                </a:lnTo>
                <a:lnTo>
                  <a:pt x="160" y="52"/>
                </a:lnTo>
                <a:lnTo>
                  <a:pt x="158" y="52"/>
                </a:lnTo>
                <a:lnTo>
                  <a:pt x="158" y="56"/>
                </a:lnTo>
                <a:lnTo>
                  <a:pt x="154" y="56"/>
                </a:lnTo>
                <a:lnTo>
                  <a:pt x="154" y="60"/>
                </a:lnTo>
                <a:lnTo>
                  <a:pt x="154" y="60"/>
                </a:lnTo>
                <a:lnTo>
                  <a:pt x="154" y="60"/>
                </a:lnTo>
                <a:close/>
                <a:moveTo>
                  <a:pt x="138" y="64"/>
                </a:moveTo>
                <a:lnTo>
                  <a:pt x="138" y="60"/>
                </a:lnTo>
                <a:lnTo>
                  <a:pt x="142" y="60"/>
                </a:lnTo>
                <a:lnTo>
                  <a:pt x="146" y="60"/>
                </a:lnTo>
                <a:lnTo>
                  <a:pt x="150" y="60"/>
                </a:lnTo>
                <a:lnTo>
                  <a:pt x="146" y="60"/>
                </a:lnTo>
                <a:lnTo>
                  <a:pt x="146" y="56"/>
                </a:lnTo>
                <a:lnTo>
                  <a:pt x="150" y="56"/>
                </a:lnTo>
                <a:lnTo>
                  <a:pt x="150" y="60"/>
                </a:lnTo>
                <a:lnTo>
                  <a:pt x="150" y="64"/>
                </a:lnTo>
                <a:lnTo>
                  <a:pt x="146" y="68"/>
                </a:lnTo>
                <a:lnTo>
                  <a:pt x="142" y="68"/>
                </a:lnTo>
                <a:lnTo>
                  <a:pt x="142" y="64"/>
                </a:lnTo>
                <a:lnTo>
                  <a:pt x="146" y="64"/>
                </a:lnTo>
                <a:lnTo>
                  <a:pt x="150" y="64"/>
                </a:lnTo>
                <a:lnTo>
                  <a:pt x="146" y="60"/>
                </a:lnTo>
                <a:lnTo>
                  <a:pt x="146" y="64"/>
                </a:lnTo>
                <a:lnTo>
                  <a:pt x="142" y="64"/>
                </a:lnTo>
                <a:lnTo>
                  <a:pt x="138" y="64"/>
                </a:lnTo>
                <a:lnTo>
                  <a:pt x="138" y="64"/>
                </a:lnTo>
                <a:lnTo>
                  <a:pt x="138" y="64"/>
                </a:lnTo>
                <a:close/>
                <a:moveTo>
                  <a:pt x="168" y="68"/>
                </a:moveTo>
                <a:lnTo>
                  <a:pt x="164" y="68"/>
                </a:lnTo>
                <a:lnTo>
                  <a:pt x="160" y="68"/>
                </a:lnTo>
                <a:lnTo>
                  <a:pt x="160" y="72"/>
                </a:lnTo>
                <a:lnTo>
                  <a:pt x="158" y="72"/>
                </a:lnTo>
                <a:lnTo>
                  <a:pt x="154" y="72"/>
                </a:lnTo>
                <a:lnTo>
                  <a:pt x="150" y="72"/>
                </a:lnTo>
                <a:lnTo>
                  <a:pt x="154" y="72"/>
                </a:lnTo>
                <a:lnTo>
                  <a:pt x="154" y="68"/>
                </a:lnTo>
                <a:lnTo>
                  <a:pt x="154" y="72"/>
                </a:lnTo>
                <a:lnTo>
                  <a:pt x="150" y="72"/>
                </a:lnTo>
                <a:lnTo>
                  <a:pt x="146" y="76"/>
                </a:lnTo>
                <a:lnTo>
                  <a:pt x="146" y="72"/>
                </a:lnTo>
                <a:lnTo>
                  <a:pt x="150" y="68"/>
                </a:lnTo>
                <a:lnTo>
                  <a:pt x="154" y="64"/>
                </a:lnTo>
                <a:lnTo>
                  <a:pt x="158" y="64"/>
                </a:lnTo>
                <a:lnTo>
                  <a:pt x="154" y="64"/>
                </a:lnTo>
                <a:lnTo>
                  <a:pt x="154" y="60"/>
                </a:lnTo>
                <a:lnTo>
                  <a:pt x="154" y="64"/>
                </a:lnTo>
                <a:lnTo>
                  <a:pt x="154" y="60"/>
                </a:lnTo>
                <a:lnTo>
                  <a:pt x="154" y="56"/>
                </a:lnTo>
                <a:lnTo>
                  <a:pt x="158" y="56"/>
                </a:lnTo>
                <a:lnTo>
                  <a:pt x="158" y="60"/>
                </a:lnTo>
                <a:lnTo>
                  <a:pt x="160" y="60"/>
                </a:lnTo>
                <a:lnTo>
                  <a:pt x="160" y="64"/>
                </a:lnTo>
                <a:lnTo>
                  <a:pt x="158" y="64"/>
                </a:lnTo>
                <a:lnTo>
                  <a:pt x="158" y="68"/>
                </a:lnTo>
                <a:lnTo>
                  <a:pt x="158" y="64"/>
                </a:lnTo>
                <a:lnTo>
                  <a:pt x="160" y="64"/>
                </a:lnTo>
                <a:lnTo>
                  <a:pt x="160" y="60"/>
                </a:lnTo>
                <a:lnTo>
                  <a:pt x="164" y="60"/>
                </a:lnTo>
                <a:lnTo>
                  <a:pt x="168" y="60"/>
                </a:lnTo>
                <a:lnTo>
                  <a:pt x="168" y="64"/>
                </a:lnTo>
                <a:lnTo>
                  <a:pt x="168" y="68"/>
                </a:lnTo>
                <a:lnTo>
                  <a:pt x="168" y="68"/>
                </a:lnTo>
                <a:lnTo>
                  <a:pt x="168" y="68"/>
                </a:lnTo>
                <a:close/>
                <a:moveTo>
                  <a:pt x="134" y="76"/>
                </a:moveTo>
                <a:lnTo>
                  <a:pt x="134" y="72"/>
                </a:lnTo>
                <a:lnTo>
                  <a:pt x="138" y="72"/>
                </a:lnTo>
                <a:lnTo>
                  <a:pt x="142" y="72"/>
                </a:lnTo>
                <a:lnTo>
                  <a:pt x="146" y="72"/>
                </a:lnTo>
                <a:lnTo>
                  <a:pt x="146" y="68"/>
                </a:lnTo>
                <a:lnTo>
                  <a:pt x="150" y="68"/>
                </a:lnTo>
                <a:lnTo>
                  <a:pt x="146" y="72"/>
                </a:lnTo>
                <a:lnTo>
                  <a:pt x="142" y="76"/>
                </a:lnTo>
                <a:lnTo>
                  <a:pt x="138" y="76"/>
                </a:lnTo>
                <a:lnTo>
                  <a:pt x="134" y="76"/>
                </a:lnTo>
                <a:lnTo>
                  <a:pt x="134" y="76"/>
                </a:lnTo>
                <a:lnTo>
                  <a:pt x="134" y="76"/>
                </a:lnTo>
                <a:close/>
                <a:moveTo>
                  <a:pt x="124" y="78"/>
                </a:moveTo>
                <a:lnTo>
                  <a:pt x="124" y="76"/>
                </a:lnTo>
                <a:lnTo>
                  <a:pt x="128" y="76"/>
                </a:lnTo>
                <a:lnTo>
                  <a:pt x="130" y="76"/>
                </a:lnTo>
                <a:lnTo>
                  <a:pt x="134" y="76"/>
                </a:lnTo>
                <a:lnTo>
                  <a:pt x="130" y="76"/>
                </a:lnTo>
                <a:lnTo>
                  <a:pt x="130" y="78"/>
                </a:lnTo>
                <a:lnTo>
                  <a:pt x="128" y="78"/>
                </a:lnTo>
                <a:lnTo>
                  <a:pt x="124" y="78"/>
                </a:lnTo>
                <a:lnTo>
                  <a:pt x="124" y="78"/>
                </a:lnTo>
                <a:lnTo>
                  <a:pt x="124" y="78"/>
                </a:lnTo>
                <a:close/>
                <a:moveTo>
                  <a:pt x="108" y="132"/>
                </a:moveTo>
                <a:lnTo>
                  <a:pt x="108" y="128"/>
                </a:lnTo>
                <a:lnTo>
                  <a:pt x="108" y="124"/>
                </a:lnTo>
                <a:lnTo>
                  <a:pt x="112" y="124"/>
                </a:lnTo>
                <a:lnTo>
                  <a:pt x="112" y="128"/>
                </a:lnTo>
                <a:lnTo>
                  <a:pt x="108" y="128"/>
                </a:lnTo>
                <a:lnTo>
                  <a:pt x="108" y="132"/>
                </a:lnTo>
                <a:lnTo>
                  <a:pt x="108" y="132"/>
                </a:lnTo>
                <a:lnTo>
                  <a:pt x="108" y="132"/>
                </a:lnTo>
                <a:close/>
                <a:moveTo>
                  <a:pt x="108" y="132"/>
                </a:moveTo>
                <a:lnTo>
                  <a:pt x="112" y="132"/>
                </a:lnTo>
                <a:lnTo>
                  <a:pt x="112" y="128"/>
                </a:lnTo>
                <a:lnTo>
                  <a:pt x="116" y="128"/>
                </a:lnTo>
                <a:lnTo>
                  <a:pt x="116" y="132"/>
                </a:lnTo>
                <a:lnTo>
                  <a:pt x="112" y="132"/>
                </a:lnTo>
                <a:lnTo>
                  <a:pt x="108" y="132"/>
                </a:lnTo>
                <a:lnTo>
                  <a:pt x="108" y="132"/>
                </a:lnTo>
                <a:lnTo>
                  <a:pt x="108" y="132"/>
                </a:lnTo>
                <a:close/>
                <a:moveTo>
                  <a:pt x="52" y="188"/>
                </a:moveTo>
                <a:lnTo>
                  <a:pt x="48" y="188"/>
                </a:lnTo>
                <a:lnTo>
                  <a:pt x="48" y="184"/>
                </a:lnTo>
                <a:lnTo>
                  <a:pt x="52" y="184"/>
                </a:lnTo>
                <a:lnTo>
                  <a:pt x="56" y="184"/>
                </a:lnTo>
                <a:lnTo>
                  <a:pt x="60" y="184"/>
                </a:lnTo>
                <a:lnTo>
                  <a:pt x="56" y="184"/>
                </a:lnTo>
                <a:lnTo>
                  <a:pt x="56" y="188"/>
                </a:lnTo>
                <a:lnTo>
                  <a:pt x="52" y="188"/>
                </a:lnTo>
                <a:lnTo>
                  <a:pt x="52" y="188"/>
                </a:lnTo>
                <a:lnTo>
                  <a:pt x="52" y="188"/>
                </a:lnTo>
                <a:close/>
                <a:moveTo>
                  <a:pt x="52" y="192"/>
                </a:moveTo>
                <a:lnTo>
                  <a:pt x="48" y="192"/>
                </a:lnTo>
                <a:lnTo>
                  <a:pt x="52" y="192"/>
                </a:lnTo>
                <a:lnTo>
                  <a:pt x="52" y="188"/>
                </a:lnTo>
                <a:lnTo>
                  <a:pt x="56" y="188"/>
                </a:lnTo>
                <a:lnTo>
                  <a:pt x="60" y="188"/>
                </a:lnTo>
                <a:lnTo>
                  <a:pt x="64" y="188"/>
                </a:lnTo>
                <a:lnTo>
                  <a:pt x="60" y="188"/>
                </a:lnTo>
                <a:lnTo>
                  <a:pt x="60" y="192"/>
                </a:lnTo>
                <a:lnTo>
                  <a:pt x="56" y="192"/>
                </a:lnTo>
                <a:lnTo>
                  <a:pt x="52" y="192"/>
                </a:lnTo>
                <a:lnTo>
                  <a:pt x="52" y="192"/>
                </a:lnTo>
                <a:lnTo>
                  <a:pt x="52" y="192"/>
                </a:lnTo>
                <a:close/>
                <a:moveTo>
                  <a:pt x="44" y="194"/>
                </a:moveTo>
                <a:lnTo>
                  <a:pt x="44" y="192"/>
                </a:lnTo>
                <a:lnTo>
                  <a:pt x="48" y="192"/>
                </a:lnTo>
                <a:lnTo>
                  <a:pt x="48" y="194"/>
                </a:lnTo>
                <a:lnTo>
                  <a:pt x="44" y="194"/>
                </a:lnTo>
                <a:lnTo>
                  <a:pt x="44" y="194"/>
                </a:lnTo>
                <a:lnTo>
                  <a:pt x="44" y="194"/>
                </a:lnTo>
                <a:close/>
                <a:moveTo>
                  <a:pt x="8" y="258"/>
                </a:moveTo>
                <a:lnTo>
                  <a:pt x="4" y="258"/>
                </a:lnTo>
                <a:lnTo>
                  <a:pt x="4" y="254"/>
                </a:lnTo>
                <a:lnTo>
                  <a:pt x="0" y="254"/>
                </a:lnTo>
                <a:lnTo>
                  <a:pt x="4" y="254"/>
                </a:lnTo>
                <a:lnTo>
                  <a:pt x="4" y="258"/>
                </a:lnTo>
                <a:lnTo>
                  <a:pt x="8" y="258"/>
                </a:lnTo>
                <a:lnTo>
                  <a:pt x="8" y="258"/>
                </a:lnTo>
                <a:lnTo>
                  <a:pt x="8" y="258"/>
                </a:lnTo>
                <a:close/>
                <a:moveTo>
                  <a:pt x="8" y="258"/>
                </a:moveTo>
                <a:lnTo>
                  <a:pt x="4" y="258"/>
                </a:lnTo>
                <a:lnTo>
                  <a:pt x="8" y="258"/>
                </a:lnTo>
                <a:lnTo>
                  <a:pt x="8" y="258"/>
                </a:lnTo>
                <a:lnTo>
                  <a:pt x="8" y="258"/>
                </a:lnTo>
                <a:close/>
                <a:moveTo>
                  <a:pt x="8" y="262"/>
                </a:moveTo>
                <a:lnTo>
                  <a:pt x="4" y="262"/>
                </a:lnTo>
                <a:lnTo>
                  <a:pt x="4" y="258"/>
                </a:lnTo>
                <a:lnTo>
                  <a:pt x="8" y="258"/>
                </a:lnTo>
                <a:lnTo>
                  <a:pt x="8" y="262"/>
                </a:lnTo>
                <a:lnTo>
                  <a:pt x="8" y="262"/>
                </a:lnTo>
                <a:lnTo>
                  <a:pt x="8" y="262"/>
                </a:lnTo>
                <a:close/>
                <a:moveTo>
                  <a:pt x="4" y="264"/>
                </a:moveTo>
                <a:lnTo>
                  <a:pt x="4" y="262"/>
                </a:lnTo>
                <a:lnTo>
                  <a:pt x="4" y="264"/>
                </a:lnTo>
                <a:lnTo>
                  <a:pt x="4" y="264"/>
                </a:lnTo>
                <a:lnTo>
                  <a:pt x="4" y="264"/>
                </a:lnTo>
                <a:close/>
                <a:moveTo>
                  <a:pt x="12" y="272"/>
                </a:moveTo>
                <a:lnTo>
                  <a:pt x="8" y="272"/>
                </a:lnTo>
                <a:lnTo>
                  <a:pt x="12" y="268"/>
                </a:lnTo>
                <a:lnTo>
                  <a:pt x="12" y="272"/>
                </a:lnTo>
                <a:lnTo>
                  <a:pt x="12" y="272"/>
                </a:lnTo>
                <a:lnTo>
                  <a:pt x="12" y="272"/>
                </a:lnTo>
                <a:close/>
                <a:moveTo>
                  <a:pt x="8" y="276"/>
                </a:moveTo>
                <a:lnTo>
                  <a:pt x="8" y="272"/>
                </a:lnTo>
                <a:lnTo>
                  <a:pt x="12" y="272"/>
                </a:lnTo>
                <a:lnTo>
                  <a:pt x="12" y="276"/>
                </a:lnTo>
                <a:lnTo>
                  <a:pt x="8" y="276"/>
                </a:lnTo>
                <a:lnTo>
                  <a:pt x="8" y="276"/>
                </a:lnTo>
                <a:lnTo>
                  <a:pt x="8" y="276"/>
                </a:lnTo>
                <a:close/>
                <a:moveTo>
                  <a:pt x="8" y="280"/>
                </a:moveTo>
                <a:lnTo>
                  <a:pt x="4" y="280"/>
                </a:lnTo>
                <a:lnTo>
                  <a:pt x="4" y="276"/>
                </a:lnTo>
                <a:lnTo>
                  <a:pt x="4" y="272"/>
                </a:lnTo>
                <a:lnTo>
                  <a:pt x="8" y="272"/>
                </a:lnTo>
                <a:lnTo>
                  <a:pt x="8" y="276"/>
                </a:lnTo>
                <a:lnTo>
                  <a:pt x="8" y="280"/>
                </a:lnTo>
                <a:lnTo>
                  <a:pt x="8" y="280"/>
                </a:lnTo>
                <a:lnTo>
                  <a:pt x="8" y="280"/>
                </a:lnTo>
                <a:close/>
                <a:moveTo>
                  <a:pt x="8" y="292"/>
                </a:moveTo>
                <a:lnTo>
                  <a:pt x="4" y="288"/>
                </a:lnTo>
                <a:lnTo>
                  <a:pt x="8" y="288"/>
                </a:lnTo>
                <a:lnTo>
                  <a:pt x="8" y="284"/>
                </a:lnTo>
                <a:lnTo>
                  <a:pt x="8" y="288"/>
                </a:lnTo>
                <a:lnTo>
                  <a:pt x="8" y="292"/>
                </a:lnTo>
                <a:lnTo>
                  <a:pt x="8" y="292"/>
                </a:lnTo>
                <a:lnTo>
                  <a:pt x="8" y="292"/>
                </a:lnTo>
                <a:close/>
              </a:path>
            </a:pathLst>
          </a:custGeom>
          <a:solidFill>
            <a:srgbClr val="A0DCFF"/>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10" name="Freeform 117"/>
          <p:cNvSpPr>
            <a:spLocks/>
          </p:cNvSpPr>
          <p:nvPr/>
        </p:nvSpPr>
        <p:spPr bwMode="auto">
          <a:xfrm>
            <a:off x="4498181" y="2488405"/>
            <a:ext cx="169069" cy="147638"/>
          </a:xfrm>
          <a:custGeom>
            <a:avLst/>
            <a:gdLst>
              <a:gd name="T0" fmla="*/ 118 w 142"/>
              <a:gd name="T1" fmla="*/ 120 h 124"/>
              <a:gd name="T2" fmla="*/ 116 w 142"/>
              <a:gd name="T3" fmla="*/ 124 h 124"/>
              <a:gd name="T4" fmla="*/ 104 w 142"/>
              <a:gd name="T5" fmla="*/ 116 h 124"/>
              <a:gd name="T6" fmla="*/ 96 w 142"/>
              <a:gd name="T7" fmla="*/ 120 h 124"/>
              <a:gd name="T8" fmla="*/ 90 w 142"/>
              <a:gd name="T9" fmla="*/ 116 h 124"/>
              <a:gd name="T10" fmla="*/ 78 w 142"/>
              <a:gd name="T11" fmla="*/ 120 h 124"/>
              <a:gd name="T12" fmla="*/ 74 w 142"/>
              <a:gd name="T13" fmla="*/ 112 h 124"/>
              <a:gd name="T14" fmla="*/ 66 w 142"/>
              <a:gd name="T15" fmla="*/ 116 h 124"/>
              <a:gd name="T16" fmla="*/ 62 w 142"/>
              <a:gd name="T17" fmla="*/ 108 h 124"/>
              <a:gd name="T18" fmla="*/ 56 w 142"/>
              <a:gd name="T19" fmla="*/ 104 h 124"/>
              <a:gd name="T20" fmla="*/ 48 w 142"/>
              <a:gd name="T21" fmla="*/ 102 h 124"/>
              <a:gd name="T22" fmla="*/ 40 w 142"/>
              <a:gd name="T23" fmla="*/ 98 h 124"/>
              <a:gd name="T24" fmla="*/ 36 w 142"/>
              <a:gd name="T25" fmla="*/ 98 h 124"/>
              <a:gd name="T26" fmla="*/ 36 w 142"/>
              <a:gd name="T27" fmla="*/ 102 h 124"/>
              <a:gd name="T28" fmla="*/ 30 w 142"/>
              <a:gd name="T29" fmla="*/ 98 h 124"/>
              <a:gd name="T30" fmla="*/ 26 w 142"/>
              <a:gd name="T31" fmla="*/ 90 h 124"/>
              <a:gd name="T32" fmla="*/ 14 w 142"/>
              <a:gd name="T33" fmla="*/ 86 h 124"/>
              <a:gd name="T34" fmla="*/ 10 w 142"/>
              <a:gd name="T35" fmla="*/ 86 h 124"/>
              <a:gd name="T36" fmla="*/ 10 w 142"/>
              <a:gd name="T37" fmla="*/ 78 h 124"/>
              <a:gd name="T38" fmla="*/ 6 w 142"/>
              <a:gd name="T39" fmla="*/ 72 h 124"/>
              <a:gd name="T40" fmla="*/ 6 w 142"/>
              <a:gd name="T41" fmla="*/ 64 h 124"/>
              <a:gd name="T42" fmla="*/ 4 w 142"/>
              <a:gd name="T43" fmla="*/ 56 h 124"/>
              <a:gd name="T44" fmla="*/ 6 w 142"/>
              <a:gd name="T45" fmla="*/ 48 h 124"/>
              <a:gd name="T46" fmla="*/ 0 w 142"/>
              <a:gd name="T47" fmla="*/ 46 h 124"/>
              <a:gd name="T48" fmla="*/ 4 w 142"/>
              <a:gd name="T49" fmla="*/ 34 h 124"/>
              <a:gd name="T50" fmla="*/ 4 w 142"/>
              <a:gd name="T51" fmla="*/ 26 h 124"/>
              <a:gd name="T52" fmla="*/ 0 w 142"/>
              <a:gd name="T53" fmla="*/ 20 h 124"/>
              <a:gd name="T54" fmla="*/ 4 w 142"/>
              <a:gd name="T55" fmla="*/ 20 h 124"/>
              <a:gd name="T56" fmla="*/ 14 w 142"/>
              <a:gd name="T57" fmla="*/ 16 h 124"/>
              <a:gd name="T58" fmla="*/ 26 w 142"/>
              <a:gd name="T59" fmla="*/ 16 h 124"/>
              <a:gd name="T60" fmla="*/ 32 w 142"/>
              <a:gd name="T61" fmla="*/ 8 h 124"/>
              <a:gd name="T62" fmla="*/ 44 w 142"/>
              <a:gd name="T63" fmla="*/ 4 h 124"/>
              <a:gd name="T64" fmla="*/ 52 w 142"/>
              <a:gd name="T65" fmla="*/ 0 h 124"/>
              <a:gd name="T66" fmla="*/ 62 w 142"/>
              <a:gd name="T67" fmla="*/ 4 h 124"/>
              <a:gd name="T68" fmla="*/ 60 w 142"/>
              <a:gd name="T69" fmla="*/ 4 h 124"/>
              <a:gd name="T70" fmla="*/ 66 w 142"/>
              <a:gd name="T71" fmla="*/ 12 h 124"/>
              <a:gd name="T72" fmla="*/ 74 w 142"/>
              <a:gd name="T73" fmla="*/ 8 h 124"/>
              <a:gd name="T74" fmla="*/ 74 w 142"/>
              <a:gd name="T75" fmla="*/ 12 h 124"/>
              <a:gd name="T76" fmla="*/ 78 w 142"/>
              <a:gd name="T77" fmla="*/ 12 h 124"/>
              <a:gd name="T78" fmla="*/ 90 w 142"/>
              <a:gd name="T79" fmla="*/ 12 h 124"/>
              <a:gd name="T80" fmla="*/ 100 w 142"/>
              <a:gd name="T81" fmla="*/ 12 h 124"/>
              <a:gd name="T82" fmla="*/ 112 w 142"/>
              <a:gd name="T83" fmla="*/ 12 h 124"/>
              <a:gd name="T84" fmla="*/ 122 w 142"/>
              <a:gd name="T85" fmla="*/ 12 h 124"/>
              <a:gd name="T86" fmla="*/ 130 w 142"/>
              <a:gd name="T87" fmla="*/ 20 h 124"/>
              <a:gd name="T88" fmla="*/ 134 w 142"/>
              <a:gd name="T89" fmla="*/ 26 h 124"/>
              <a:gd name="T90" fmla="*/ 138 w 142"/>
              <a:gd name="T91" fmla="*/ 38 h 124"/>
              <a:gd name="T92" fmla="*/ 138 w 142"/>
              <a:gd name="T93" fmla="*/ 48 h 124"/>
              <a:gd name="T94" fmla="*/ 130 w 142"/>
              <a:gd name="T95" fmla="*/ 52 h 124"/>
              <a:gd name="T96" fmla="*/ 130 w 142"/>
              <a:gd name="T97" fmla="*/ 56 h 124"/>
              <a:gd name="T98" fmla="*/ 130 w 142"/>
              <a:gd name="T99" fmla="*/ 68 h 124"/>
              <a:gd name="T100" fmla="*/ 134 w 142"/>
              <a:gd name="T101" fmla="*/ 74 h 124"/>
              <a:gd name="T102" fmla="*/ 138 w 142"/>
              <a:gd name="T103" fmla="*/ 86 h 124"/>
              <a:gd name="T104" fmla="*/ 138 w 142"/>
              <a:gd name="T105" fmla="*/ 90 h 124"/>
              <a:gd name="T106" fmla="*/ 134 w 142"/>
              <a:gd name="T107" fmla="*/ 94 h 124"/>
              <a:gd name="T108" fmla="*/ 130 w 142"/>
              <a:gd name="T109" fmla="*/ 102 h 124"/>
              <a:gd name="T110" fmla="*/ 118 w 142"/>
              <a:gd name="T111" fmla="*/ 11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2" h="124">
                <a:moveTo>
                  <a:pt x="118" y="112"/>
                </a:moveTo>
                <a:lnTo>
                  <a:pt x="118" y="116"/>
                </a:lnTo>
                <a:lnTo>
                  <a:pt x="118" y="120"/>
                </a:lnTo>
                <a:lnTo>
                  <a:pt x="122" y="124"/>
                </a:lnTo>
                <a:lnTo>
                  <a:pt x="118" y="124"/>
                </a:lnTo>
                <a:lnTo>
                  <a:pt x="116" y="124"/>
                </a:lnTo>
                <a:lnTo>
                  <a:pt x="112" y="120"/>
                </a:lnTo>
                <a:lnTo>
                  <a:pt x="108" y="116"/>
                </a:lnTo>
                <a:lnTo>
                  <a:pt x="104" y="116"/>
                </a:lnTo>
                <a:lnTo>
                  <a:pt x="100" y="116"/>
                </a:lnTo>
                <a:lnTo>
                  <a:pt x="96" y="116"/>
                </a:lnTo>
                <a:lnTo>
                  <a:pt x="96" y="120"/>
                </a:lnTo>
                <a:lnTo>
                  <a:pt x="92" y="120"/>
                </a:lnTo>
                <a:lnTo>
                  <a:pt x="92" y="116"/>
                </a:lnTo>
                <a:lnTo>
                  <a:pt x="90" y="116"/>
                </a:lnTo>
                <a:lnTo>
                  <a:pt x="86" y="116"/>
                </a:lnTo>
                <a:lnTo>
                  <a:pt x="82" y="120"/>
                </a:lnTo>
                <a:lnTo>
                  <a:pt x="78" y="120"/>
                </a:lnTo>
                <a:lnTo>
                  <a:pt x="78" y="116"/>
                </a:lnTo>
                <a:lnTo>
                  <a:pt x="74" y="116"/>
                </a:lnTo>
                <a:lnTo>
                  <a:pt x="74" y="112"/>
                </a:lnTo>
                <a:lnTo>
                  <a:pt x="70" y="112"/>
                </a:lnTo>
                <a:lnTo>
                  <a:pt x="70" y="116"/>
                </a:lnTo>
                <a:lnTo>
                  <a:pt x="66" y="116"/>
                </a:lnTo>
                <a:lnTo>
                  <a:pt x="66" y="112"/>
                </a:lnTo>
                <a:lnTo>
                  <a:pt x="62" y="112"/>
                </a:lnTo>
                <a:lnTo>
                  <a:pt x="62" y="108"/>
                </a:lnTo>
                <a:lnTo>
                  <a:pt x="62" y="104"/>
                </a:lnTo>
                <a:lnTo>
                  <a:pt x="60" y="104"/>
                </a:lnTo>
                <a:lnTo>
                  <a:pt x="56" y="104"/>
                </a:lnTo>
                <a:lnTo>
                  <a:pt x="56" y="102"/>
                </a:lnTo>
                <a:lnTo>
                  <a:pt x="52" y="104"/>
                </a:lnTo>
                <a:lnTo>
                  <a:pt x="48" y="102"/>
                </a:lnTo>
                <a:lnTo>
                  <a:pt x="48" y="98"/>
                </a:lnTo>
                <a:lnTo>
                  <a:pt x="44" y="98"/>
                </a:lnTo>
                <a:lnTo>
                  <a:pt x="40" y="98"/>
                </a:lnTo>
                <a:lnTo>
                  <a:pt x="40" y="94"/>
                </a:lnTo>
                <a:lnTo>
                  <a:pt x="36" y="94"/>
                </a:lnTo>
                <a:lnTo>
                  <a:pt x="36" y="98"/>
                </a:lnTo>
                <a:lnTo>
                  <a:pt x="40" y="102"/>
                </a:lnTo>
                <a:lnTo>
                  <a:pt x="36" y="98"/>
                </a:lnTo>
                <a:lnTo>
                  <a:pt x="36" y="102"/>
                </a:lnTo>
                <a:lnTo>
                  <a:pt x="32" y="102"/>
                </a:lnTo>
                <a:lnTo>
                  <a:pt x="32" y="98"/>
                </a:lnTo>
                <a:lnTo>
                  <a:pt x="30" y="98"/>
                </a:lnTo>
                <a:lnTo>
                  <a:pt x="30" y="94"/>
                </a:lnTo>
                <a:lnTo>
                  <a:pt x="30" y="90"/>
                </a:lnTo>
                <a:lnTo>
                  <a:pt x="26" y="90"/>
                </a:lnTo>
                <a:lnTo>
                  <a:pt x="22" y="90"/>
                </a:lnTo>
                <a:lnTo>
                  <a:pt x="18" y="86"/>
                </a:lnTo>
                <a:lnTo>
                  <a:pt x="14" y="86"/>
                </a:lnTo>
                <a:lnTo>
                  <a:pt x="14" y="82"/>
                </a:lnTo>
                <a:lnTo>
                  <a:pt x="10" y="82"/>
                </a:lnTo>
                <a:lnTo>
                  <a:pt x="10" y="86"/>
                </a:lnTo>
                <a:lnTo>
                  <a:pt x="6" y="86"/>
                </a:lnTo>
                <a:lnTo>
                  <a:pt x="10" y="82"/>
                </a:lnTo>
                <a:lnTo>
                  <a:pt x="10" y="78"/>
                </a:lnTo>
                <a:lnTo>
                  <a:pt x="10" y="74"/>
                </a:lnTo>
                <a:lnTo>
                  <a:pt x="10" y="72"/>
                </a:lnTo>
                <a:lnTo>
                  <a:pt x="6" y="72"/>
                </a:lnTo>
                <a:lnTo>
                  <a:pt x="6" y="68"/>
                </a:lnTo>
                <a:lnTo>
                  <a:pt x="4" y="64"/>
                </a:lnTo>
                <a:lnTo>
                  <a:pt x="6" y="64"/>
                </a:lnTo>
                <a:lnTo>
                  <a:pt x="6" y="60"/>
                </a:lnTo>
                <a:lnTo>
                  <a:pt x="6" y="56"/>
                </a:lnTo>
                <a:lnTo>
                  <a:pt x="4" y="56"/>
                </a:lnTo>
                <a:lnTo>
                  <a:pt x="4" y="52"/>
                </a:lnTo>
                <a:lnTo>
                  <a:pt x="6" y="52"/>
                </a:lnTo>
                <a:lnTo>
                  <a:pt x="6" y="48"/>
                </a:lnTo>
                <a:lnTo>
                  <a:pt x="4" y="48"/>
                </a:lnTo>
                <a:lnTo>
                  <a:pt x="4" y="46"/>
                </a:lnTo>
                <a:lnTo>
                  <a:pt x="0" y="46"/>
                </a:lnTo>
                <a:lnTo>
                  <a:pt x="0" y="42"/>
                </a:lnTo>
                <a:lnTo>
                  <a:pt x="4" y="38"/>
                </a:lnTo>
                <a:lnTo>
                  <a:pt x="4" y="34"/>
                </a:lnTo>
                <a:lnTo>
                  <a:pt x="0" y="30"/>
                </a:lnTo>
                <a:lnTo>
                  <a:pt x="0" y="26"/>
                </a:lnTo>
                <a:lnTo>
                  <a:pt x="4" y="26"/>
                </a:lnTo>
                <a:lnTo>
                  <a:pt x="4" y="22"/>
                </a:lnTo>
                <a:lnTo>
                  <a:pt x="0" y="22"/>
                </a:lnTo>
                <a:lnTo>
                  <a:pt x="0" y="20"/>
                </a:lnTo>
                <a:lnTo>
                  <a:pt x="0" y="22"/>
                </a:lnTo>
                <a:lnTo>
                  <a:pt x="4" y="22"/>
                </a:lnTo>
                <a:lnTo>
                  <a:pt x="4" y="20"/>
                </a:lnTo>
                <a:lnTo>
                  <a:pt x="6" y="20"/>
                </a:lnTo>
                <a:lnTo>
                  <a:pt x="10" y="20"/>
                </a:lnTo>
                <a:lnTo>
                  <a:pt x="14" y="16"/>
                </a:lnTo>
                <a:lnTo>
                  <a:pt x="18" y="16"/>
                </a:lnTo>
                <a:lnTo>
                  <a:pt x="22" y="16"/>
                </a:lnTo>
                <a:lnTo>
                  <a:pt x="26" y="16"/>
                </a:lnTo>
                <a:lnTo>
                  <a:pt x="30" y="12"/>
                </a:lnTo>
                <a:lnTo>
                  <a:pt x="30" y="8"/>
                </a:lnTo>
                <a:lnTo>
                  <a:pt x="32" y="8"/>
                </a:lnTo>
                <a:lnTo>
                  <a:pt x="36" y="8"/>
                </a:lnTo>
                <a:lnTo>
                  <a:pt x="40" y="4"/>
                </a:lnTo>
                <a:lnTo>
                  <a:pt x="44" y="4"/>
                </a:lnTo>
                <a:lnTo>
                  <a:pt x="48" y="4"/>
                </a:lnTo>
                <a:lnTo>
                  <a:pt x="48" y="0"/>
                </a:lnTo>
                <a:lnTo>
                  <a:pt x="52" y="0"/>
                </a:lnTo>
                <a:lnTo>
                  <a:pt x="60" y="0"/>
                </a:lnTo>
                <a:lnTo>
                  <a:pt x="60" y="4"/>
                </a:lnTo>
                <a:lnTo>
                  <a:pt x="62" y="4"/>
                </a:lnTo>
                <a:lnTo>
                  <a:pt x="62" y="8"/>
                </a:lnTo>
                <a:lnTo>
                  <a:pt x="62" y="4"/>
                </a:lnTo>
                <a:lnTo>
                  <a:pt x="60" y="4"/>
                </a:lnTo>
                <a:lnTo>
                  <a:pt x="60" y="8"/>
                </a:lnTo>
                <a:lnTo>
                  <a:pt x="62" y="12"/>
                </a:lnTo>
                <a:lnTo>
                  <a:pt x="66" y="12"/>
                </a:lnTo>
                <a:lnTo>
                  <a:pt x="70" y="12"/>
                </a:lnTo>
                <a:lnTo>
                  <a:pt x="74" y="12"/>
                </a:lnTo>
                <a:lnTo>
                  <a:pt x="74" y="8"/>
                </a:lnTo>
                <a:lnTo>
                  <a:pt x="78" y="8"/>
                </a:lnTo>
                <a:lnTo>
                  <a:pt x="74" y="8"/>
                </a:lnTo>
                <a:lnTo>
                  <a:pt x="74" y="12"/>
                </a:lnTo>
                <a:lnTo>
                  <a:pt x="70" y="12"/>
                </a:lnTo>
                <a:lnTo>
                  <a:pt x="74" y="12"/>
                </a:lnTo>
                <a:lnTo>
                  <a:pt x="78" y="12"/>
                </a:lnTo>
                <a:lnTo>
                  <a:pt x="82" y="12"/>
                </a:lnTo>
                <a:lnTo>
                  <a:pt x="86" y="12"/>
                </a:lnTo>
                <a:lnTo>
                  <a:pt x="90" y="12"/>
                </a:lnTo>
                <a:lnTo>
                  <a:pt x="92" y="12"/>
                </a:lnTo>
                <a:lnTo>
                  <a:pt x="96" y="12"/>
                </a:lnTo>
                <a:lnTo>
                  <a:pt x="100" y="12"/>
                </a:lnTo>
                <a:lnTo>
                  <a:pt x="104" y="12"/>
                </a:lnTo>
                <a:lnTo>
                  <a:pt x="108" y="12"/>
                </a:lnTo>
                <a:lnTo>
                  <a:pt x="112" y="12"/>
                </a:lnTo>
                <a:lnTo>
                  <a:pt x="116" y="12"/>
                </a:lnTo>
                <a:lnTo>
                  <a:pt x="118" y="12"/>
                </a:lnTo>
                <a:lnTo>
                  <a:pt x="122" y="12"/>
                </a:lnTo>
                <a:lnTo>
                  <a:pt x="126" y="12"/>
                </a:lnTo>
                <a:lnTo>
                  <a:pt x="130" y="16"/>
                </a:lnTo>
                <a:lnTo>
                  <a:pt x="130" y="20"/>
                </a:lnTo>
                <a:lnTo>
                  <a:pt x="130" y="22"/>
                </a:lnTo>
                <a:lnTo>
                  <a:pt x="130" y="26"/>
                </a:lnTo>
                <a:lnTo>
                  <a:pt x="134" y="26"/>
                </a:lnTo>
                <a:lnTo>
                  <a:pt x="134" y="30"/>
                </a:lnTo>
                <a:lnTo>
                  <a:pt x="134" y="34"/>
                </a:lnTo>
                <a:lnTo>
                  <a:pt x="138" y="38"/>
                </a:lnTo>
                <a:lnTo>
                  <a:pt x="138" y="42"/>
                </a:lnTo>
                <a:lnTo>
                  <a:pt x="138" y="46"/>
                </a:lnTo>
                <a:lnTo>
                  <a:pt x="138" y="48"/>
                </a:lnTo>
                <a:lnTo>
                  <a:pt x="134" y="48"/>
                </a:lnTo>
                <a:lnTo>
                  <a:pt x="130" y="48"/>
                </a:lnTo>
                <a:lnTo>
                  <a:pt x="130" y="52"/>
                </a:lnTo>
                <a:lnTo>
                  <a:pt x="126" y="52"/>
                </a:lnTo>
                <a:lnTo>
                  <a:pt x="126" y="56"/>
                </a:lnTo>
                <a:lnTo>
                  <a:pt x="130" y="56"/>
                </a:lnTo>
                <a:lnTo>
                  <a:pt x="134" y="60"/>
                </a:lnTo>
                <a:lnTo>
                  <a:pt x="134" y="64"/>
                </a:lnTo>
                <a:lnTo>
                  <a:pt x="130" y="68"/>
                </a:lnTo>
                <a:lnTo>
                  <a:pt x="130" y="72"/>
                </a:lnTo>
                <a:lnTo>
                  <a:pt x="134" y="72"/>
                </a:lnTo>
                <a:lnTo>
                  <a:pt x="134" y="74"/>
                </a:lnTo>
                <a:lnTo>
                  <a:pt x="134" y="78"/>
                </a:lnTo>
                <a:lnTo>
                  <a:pt x="138" y="82"/>
                </a:lnTo>
                <a:lnTo>
                  <a:pt x="138" y="86"/>
                </a:lnTo>
                <a:lnTo>
                  <a:pt x="142" y="86"/>
                </a:lnTo>
                <a:lnTo>
                  <a:pt x="138" y="86"/>
                </a:lnTo>
                <a:lnTo>
                  <a:pt x="138" y="90"/>
                </a:lnTo>
                <a:lnTo>
                  <a:pt x="142" y="94"/>
                </a:lnTo>
                <a:lnTo>
                  <a:pt x="138" y="94"/>
                </a:lnTo>
                <a:lnTo>
                  <a:pt x="134" y="94"/>
                </a:lnTo>
                <a:lnTo>
                  <a:pt x="134" y="98"/>
                </a:lnTo>
                <a:lnTo>
                  <a:pt x="130" y="98"/>
                </a:lnTo>
                <a:lnTo>
                  <a:pt x="130" y="102"/>
                </a:lnTo>
                <a:lnTo>
                  <a:pt x="126" y="102"/>
                </a:lnTo>
                <a:lnTo>
                  <a:pt x="126" y="104"/>
                </a:lnTo>
                <a:lnTo>
                  <a:pt x="118" y="112"/>
                </a:lnTo>
                <a:lnTo>
                  <a:pt x="118" y="112"/>
                </a:lnTo>
                <a:lnTo>
                  <a:pt x="118" y="112"/>
                </a:lnTo>
                <a:close/>
              </a:path>
            </a:pathLst>
          </a:custGeom>
          <a:solidFill>
            <a:srgbClr val="A0DCFF"/>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11" name="Freeform 118"/>
          <p:cNvSpPr>
            <a:spLocks/>
          </p:cNvSpPr>
          <p:nvPr/>
        </p:nvSpPr>
        <p:spPr bwMode="auto">
          <a:xfrm>
            <a:off x="4598194" y="2652712"/>
            <a:ext cx="159544" cy="111919"/>
          </a:xfrm>
          <a:custGeom>
            <a:avLst/>
            <a:gdLst>
              <a:gd name="T0" fmla="*/ 56 w 134"/>
              <a:gd name="T1" fmla="*/ 94 h 94"/>
              <a:gd name="T2" fmla="*/ 46 w 134"/>
              <a:gd name="T3" fmla="*/ 90 h 94"/>
              <a:gd name="T4" fmla="*/ 42 w 134"/>
              <a:gd name="T5" fmla="*/ 90 h 94"/>
              <a:gd name="T6" fmla="*/ 38 w 134"/>
              <a:gd name="T7" fmla="*/ 86 h 94"/>
              <a:gd name="T8" fmla="*/ 38 w 134"/>
              <a:gd name="T9" fmla="*/ 86 h 94"/>
              <a:gd name="T10" fmla="*/ 34 w 134"/>
              <a:gd name="T11" fmla="*/ 82 h 94"/>
              <a:gd name="T12" fmla="*/ 34 w 134"/>
              <a:gd name="T13" fmla="*/ 78 h 94"/>
              <a:gd name="T14" fmla="*/ 34 w 134"/>
              <a:gd name="T15" fmla="*/ 76 h 94"/>
              <a:gd name="T16" fmla="*/ 26 w 134"/>
              <a:gd name="T17" fmla="*/ 76 h 94"/>
              <a:gd name="T18" fmla="*/ 24 w 134"/>
              <a:gd name="T19" fmla="*/ 76 h 94"/>
              <a:gd name="T20" fmla="*/ 20 w 134"/>
              <a:gd name="T21" fmla="*/ 72 h 94"/>
              <a:gd name="T22" fmla="*/ 20 w 134"/>
              <a:gd name="T23" fmla="*/ 72 h 94"/>
              <a:gd name="T24" fmla="*/ 16 w 134"/>
              <a:gd name="T25" fmla="*/ 68 h 94"/>
              <a:gd name="T26" fmla="*/ 16 w 134"/>
              <a:gd name="T27" fmla="*/ 64 h 94"/>
              <a:gd name="T28" fmla="*/ 8 w 134"/>
              <a:gd name="T29" fmla="*/ 52 h 94"/>
              <a:gd name="T30" fmla="*/ 4 w 134"/>
              <a:gd name="T31" fmla="*/ 50 h 94"/>
              <a:gd name="T32" fmla="*/ 4 w 134"/>
              <a:gd name="T33" fmla="*/ 46 h 94"/>
              <a:gd name="T34" fmla="*/ 8 w 134"/>
              <a:gd name="T35" fmla="*/ 42 h 94"/>
              <a:gd name="T36" fmla="*/ 12 w 134"/>
              <a:gd name="T37" fmla="*/ 42 h 94"/>
              <a:gd name="T38" fmla="*/ 16 w 134"/>
              <a:gd name="T39" fmla="*/ 34 h 94"/>
              <a:gd name="T40" fmla="*/ 20 w 134"/>
              <a:gd name="T41" fmla="*/ 30 h 94"/>
              <a:gd name="T42" fmla="*/ 24 w 134"/>
              <a:gd name="T43" fmla="*/ 24 h 94"/>
              <a:gd name="T44" fmla="*/ 26 w 134"/>
              <a:gd name="T45" fmla="*/ 20 h 94"/>
              <a:gd name="T46" fmla="*/ 26 w 134"/>
              <a:gd name="T47" fmla="*/ 16 h 94"/>
              <a:gd name="T48" fmla="*/ 34 w 134"/>
              <a:gd name="T49" fmla="*/ 12 h 94"/>
              <a:gd name="T50" fmla="*/ 42 w 134"/>
              <a:gd name="T51" fmla="*/ 8 h 94"/>
              <a:gd name="T52" fmla="*/ 42 w 134"/>
              <a:gd name="T53" fmla="*/ 8 h 94"/>
              <a:gd name="T54" fmla="*/ 52 w 134"/>
              <a:gd name="T55" fmla="*/ 8 h 94"/>
              <a:gd name="T56" fmla="*/ 60 w 134"/>
              <a:gd name="T57" fmla="*/ 8 h 94"/>
              <a:gd name="T58" fmla="*/ 64 w 134"/>
              <a:gd name="T59" fmla="*/ 12 h 94"/>
              <a:gd name="T60" fmla="*/ 68 w 134"/>
              <a:gd name="T61" fmla="*/ 12 h 94"/>
              <a:gd name="T62" fmla="*/ 72 w 134"/>
              <a:gd name="T63" fmla="*/ 8 h 94"/>
              <a:gd name="T64" fmla="*/ 80 w 134"/>
              <a:gd name="T65" fmla="*/ 8 h 94"/>
              <a:gd name="T66" fmla="*/ 86 w 134"/>
              <a:gd name="T67" fmla="*/ 4 h 94"/>
              <a:gd name="T68" fmla="*/ 94 w 134"/>
              <a:gd name="T69" fmla="*/ 4 h 94"/>
              <a:gd name="T70" fmla="*/ 102 w 134"/>
              <a:gd name="T71" fmla="*/ 16 h 94"/>
              <a:gd name="T72" fmla="*/ 106 w 134"/>
              <a:gd name="T73" fmla="*/ 24 h 94"/>
              <a:gd name="T74" fmla="*/ 112 w 134"/>
              <a:gd name="T75" fmla="*/ 30 h 94"/>
              <a:gd name="T76" fmla="*/ 112 w 134"/>
              <a:gd name="T77" fmla="*/ 38 h 94"/>
              <a:gd name="T78" fmla="*/ 112 w 134"/>
              <a:gd name="T79" fmla="*/ 52 h 94"/>
              <a:gd name="T80" fmla="*/ 112 w 134"/>
              <a:gd name="T81" fmla="*/ 60 h 94"/>
              <a:gd name="T82" fmla="*/ 120 w 134"/>
              <a:gd name="T83" fmla="*/ 64 h 94"/>
              <a:gd name="T84" fmla="*/ 130 w 134"/>
              <a:gd name="T85" fmla="*/ 60 h 94"/>
              <a:gd name="T86" fmla="*/ 130 w 134"/>
              <a:gd name="T87" fmla="*/ 64 h 94"/>
              <a:gd name="T88" fmla="*/ 126 w 134"/>
              <a:gd name="T89" fmla="*/ 72 h 94"/>
              <a:gd name="T90" fmla="*/ 122 w 134"/>
              <a:gd name="T91" fmla="*/ 68 h 94"/>
              <a:gd name="T92" fmla="*/ 122 w 134"/>
              <a:gd name="T93" fmla="*/ 72 h 94"/>
              <a:gd name="T94" fmla="*/ 122 w 134"/>
              <a:gd name="T95" fmla="*/ 76 h 94"/>
              <a:gd name="T96" fmla="*/ 122 w 134"/>
              <a:gd name="T97" fmla="*/ 76 h 94"/>
              <a:gd name="T98" fmla="*/ 122 w 134"/>
              <a:gd name="T99" fmla="*/ 78 h 94"/>
              <a:gd name="T100" fmla="*/ 120 w 134"/>
              <a:gd name="T101" fmla="*/ 86 h 94"/>
              <a:gd name="T102" fmla="*/ 116 w 134"/>
              <a:gd name="T103" fmla="*/ 94 h 94"/>
              <a:gd name="T104" fmla="*/ 108 w 134"/>
              <a:gd name="T105" fmla="*/ 90 h 94"/>
              <a:gd name="T106" fmla="*/ 106 w 134"/>
              <a:gd name="T107" fmla="*/ 86 h 94"/>
              <a:gd name="T108" fmla="*/ 98 w 134"/>
              <a:gd name="T109" fmla="*/ 86 h 94"/>
              <a:gd name="T110" fmla="*/ 94 w 134"/>
              <a:gd name="T111" fmla="*/ 86 h 94"/>
              <a:gd name="T112" fmla="*/ 86 w 134"/>
              <a:gd name="T113" fmla="*/ 86 h 94"/>
              <a:gd name="T114" fmla="*/ 80 w 134"/>
              <a:gd name="T115" fmla="*/ 94 h 94"/>
              <a:gd name="T116" fmla="*/ 72 w 134"/>
              <a:gd name="T117" fmla="*/ 94 h 94"/>
              <a:gd name="T118" fmla="*/ 60 w 134"/>
              <a:gd name="T119" fmla="*/ 94 h 94"/>
              <a:gd name="T120" fmla="*/ 56 w 134"/>
              <a:gd name="T121"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4" h="94">
                <a:moveTo>
                  <a:pt x="56" y="94"/>
                </a:moveTo>
                <a:lnTo>
                  <a:pt x="56" y="94"/>
                </a:lnTo>
                <a:lnTo>
                  <a:pt x="56" y="94"/>
                </a:lnTo>
                <a:lnTo>
                  <a:pt x="56" y="94"/>
                </a:lnTo>
                <a:lnTo>
                  <a:pt x="56" y="94"/>
                </a:lnTo>
                <a:lnTo>
                  <a:pt x="56" y="94"/>
                </a:lnTo>
                <a:lnTo>
                  <a:pt x="56" y="94"/>
                </a:lnTo>
                <a:lnTo>
                  <a:pt x="56" y="94"/>
                </a:lnTo>
                <a:lnTo>
                  <a:pt x="52" y="94"/>
                </a:lnTo>
                <a:lnTo>
                  <a:pt x="52" y="94"/>
                </a:lnTo>
                <a:lnTo>
                  <a:pt x="50" y="94"/>
                </a:lnTo>
                <a:lnTo>
                  <a:pt x="50" y="94"/>
                </a:lnTo>
                <a:lnTo>
                  <a:pt x="50" y="90"/>
                </a:lnTo>
                <a:lnTo>
                  <a:pt x="46" y="90"/>
                </a:lnTo>
                <a:lnTo>
                  <a:pt x="46" y="90"/>
                </a:lnTo>
                <a:lnTo>
                  <a:pt x="46" y="90"/>
                </a:lnTo>
                <a:lnTo>
                  <a:pt x="46" y="90"/>
                </a:lnTo>
                <a:lnTo>
                  <a:pt x="46" y="90"/>
                </a:lnTo>
                <a:lnTo>
                  <a:pt x="42" y="90"/>
                </a:lnTo>
                <a:lnTo>
                  <a:pt x="42" y="90"/>
                </a:lnTo>
                <a:lnTo>
                  <a:pt x="42" y="90"/>
                </a:lnTo>
                <a:lnTo>
                  <a:pt x="42" y="90"/>
                </a:lnTo>
                <a:lnTo>
                  <a:pt x="42" y="90"/>
                </a:lnTo>
                <a:lnTo>
                  <a:pt x="42" y="90"/>
                </a:lnTo>
                <a:lnTo>
                  <a:pt x="42" y="90"/>
                </a:lnTo>
                <a:lnTo>
                  <a:pt x="38" y="90"/>
                </a:lnTo>
                <a:lnTo>
                  <a:pt x="38" y="90"/>
                </a:lnTo>
                <a:lnTo>
                  <a:pt x="38" y="90"/>
                </a:lnTo>
                <a:lnTo>
                  <a:pt x="38" y="90"/>
                </a:lnTo>
                <a:lnTo>
                  <a:pt x="38" y="90"/>
                </a:lnTo>
                <a:lnTo>
                  <a:pt x="38" y="86"/>
                </a:lnTo>
                <a:lnTo>
                  <a:pt x="38" y="86"/>
                </a:lnTo>
                <a:lnTo>
                  <a:pt x="38" y="86"/>
                </a:lnTo>
                <a:lnTo>
                  <a:pt x="38" y="86"/>
                </a:lnTo>
                <a:lnTo>
                  <a:pt x="38" y="86"/>
                </a:lnTo>
                <a:lnTo>
                  <a:pt x="38" y="86"/>
                </a:lnTo>
                <a:lnTo>
                  <a:pt x="38" y="86"/>
                </a:lnTo>
                <a:lnTo>
                  <a:pt x="38" y="86"/>
                </a:lnTo>
                <a:lnTo>
                  <a:pt x="38" y="86"/>
                </a:lnTo>
                <a:lnTo>
                  <a:pt x="38" y="86"/>
                </a:lnTo>
                <a:lnTo>
                  <a:pt x="34" y="82"/>
                </a:lnTo>
                <a:lnTo>
                  <a:pt x="34" y="82"/>
                </a:lnTo>
                <a:lnTo>
                  <a:pt x="34" y="82"/>
                </a:lnTo>
                <a:lnTo>
                  <a:pt x="34" y="82"/>
                </a:lnTo>
                <a:lnTo>
                  <a:pt x="34" y="82"/>
                </a:lnTo>
                <a:lnTo>
                  <a:pt x="34" y="82"/>
                </a:lnTo>
                <a:lnTo>
                  <a:pt x="34" y="82"/>
                </a:lnTo>
                <a:lnTo>
                  <a:pt x="34" y="82"/>
                </a:lnTo>
                <a:lnTo>
                  <a:pt x="34" y="82"/>
                </a:lnTo>
                <a:lnTo>
                  <a:pt x="30" y="78"/>
                </a:lnTo>
                <a:lnTo>
                  <a:pt x="30" y="78"/>
                </a:lnTo>
                <a:lnTo>
                  <a:pt x="34" y="76"/>
                </a:lnTo>
                <a:lnTo>
                  <a:pt x="34" y="76"/>
                </a:lnTo>
                <a:lnTo>
                  <a:pt x="34" y="78"/>
                </a:lnTo>
                <a:lnTo>
                  <a:pt x="34" y="78"/>
                </a:lnTo>
                <a:lnTo>
                  <a:pt x="34" y="78"/>
                </a:lnTo>
                <a:lnTo>
                  <a:pt x="34" y="78"/>
                </a:lnTo>
                <a:lnTo>
                  <a:pt x="34" y="76"/>
                </a:lnTo>
                <a:lnTo>
                  <a:pt x="34" y="76"/>
                </a:lnTo>
                <a:lnTo>
                  <a:pt x="34" y="76"/>
                </a:lnTo>
                <a:lnTo>
                  <a:pt x="34" y="76"/>
                </a:lnTo>
                <a:lnTo>
                  <a:pt x="34" y="76"/>
                </a:lnTo>
                <a:lnTo>
                  <a:pt x="34" y="76"/>
                </a:lnTo>
                <a:lnTo>
                  <a:pt x="34" y="76"/>
                </a:lnTo>
                <a:lnTo>
                  <a:pt x="30" y="76"/>
                </a:lnTo>
                <a:lnTo>
                  <a:pt x="30" y="76"/>
                </a:lnTo>
                <a:lnTo>
                  <a:pt x="30" y="76"/>
                </a:lnTo>
                <a:lnTo>
                  <a:pt x="30" y="76"/>
                </a:lnTo>
                <a:lnTo>
                  <a:pt x="30" y="76"/>
                </a:lnTo>
                <a:lnTo>
                  <a:pt x="30" y="76"/>
                </a:lnTo>
                <a:lnTo>
                  <a:pt x="30" y="76"/>
                </a:lnTo>
                <a:lnTo>
                  <a:pt x="26" y="76"/>
                </a:lnTo>
                <a:lnTo>
                  <a:pt x="26" y="78"/>
                </a:lnTo>
                <a:lnTo>
                  <a:pt x="26" y="78"/>
                </a:lnTo>
                <a:lnTo>
                  <a:pt x="26" y="78"/>
                </a:lnTo>
                <a:lnTo>
                  <a:pt x="26" y="76"/>
                </a:lnTo>
                <a:lnTo>
                  <a:pt x="26" y="76"/>
                </a:lnTo>
                <a:lnTo>
                  <a:pt x="26" y="76"/>
                </a:lnTo>
                <a:lnTo>
                  <a:pt x="24" y="76"/>
                </a:lnTo>
                <a:lnTo>
                  <a:pt x="24" y="76"/>
                </a:lnTo>
                <a:lnTo>
                  <a:pt x="24" y="76"/>
                </a:lnTo>
                <a:lnTo>
                  <a:pt x="20" y="76"/>
                </a:lnTo>
                <a:lnTo>
                  <a:pt x="20" y="76"/>
                </a:lnTo>
                <a:lnTo>
                  <a:pt x="20" y="76"/>
                </a:lnTo>
                <a:lnTo>
                  <a:pt x="20" y="76"/>
                </a:lnTo>
                <a:lnTo>
                  <a:pt x="20" y="72"/>
                </a:lnTo>
                <a:lnTo>
                  <a:pt x="20" y="72"/>
                </a:lnTo>
                <a:lnTo>
                  <a:pt x="20" y="72"/>
                </a:lnTo>
                <a:lnTo>
                  <a:pt x="16" y="72"/>
                </a:lnTo>
                <a:lnTo>
                  <a:pt x="16" y="72"/>
                </a:lnTo>
                <a:lnTo>
                  <a:pt x="16" y="72"/>
                </a:lnTo>
                <a:lnTo>
                  <a:pt x="16" y="72"/>
                </a:lnTo>
                <a:lnTo>
                  <a:pt x="16" y="72"/>
                </a:lnTo>
                <a:lnTo>
                  <a:pt x="16" y="72"/>
                </a:lnTo>
                <a:lnTo>
                  <a:pt x="16" y="72"/>
                </a:lnTo>
                <a:lnTo>
                  <a:pt x="20" y="72"/>
                </a:lnTo>
                <a:lnTo>
                  <a:pt x="20" y="72"/>
                </a:lnTo>
                <a:lnTo>
                  <a:pt x="20" y="72"/>
                </a:lnTo>
                <a:lnTo>
                  <a:pt x="20" y="72"/>
                </a:lnTo>
                <a:lnTo>
                  <a:pt x="20" y="68"/>
                </a:lnTo>
                <a:lnTo>
                  <a:pt x="16" y="68"/>
                </a:lnTo>
                <a:lnTo>
                  <a:pt x="16" y="68"/>
                </a:lnTo>
                <a:lnTo>
                  <a:pt x="16" y="68"/>
                </a:lnTo>
                <a:lnTo>
                  <a:pt x="16" y="68"/>
                </a:lnTo>
                <a:lnTo>
                  <a:pt x="16" y="68"/>
                </a:lnTo>
                <a:lnTo>
                  <a:pt x="16" y="68"/>
                </a:lnTo>
                <a:lnTo>
                  <a:pt x="20" y="64"/>
                </a:lnTo>
                <a:lnTo>
                  <a:pt x="20" y="64"/>
                </a:lnTo>
                <a:lnTo>
                  <a:pt x="16" y="64"/>
                </a:lnTo>
                <a:lnTo>
                  <a:pt x="16" y="64"/>
                </a:lnTo>
                <a:lnTo>
                  <a:pt x="16" y="64"/>
                </a:lnTo>
                <a:lnTo>
                  <a:pt x="16" y="64"/>
                </a:lnTo>
                <a:lnTo>
                  <a:pt x="12" y="60"/>
                </a:lnTo>
                <a:lnTo>
                  <a:pt x="12" y="60"/>
                </a:lnTo>
                <a:lnTo>
                  <a:pt x="8" y="56"/>
                </a:lnTo>
                <a:lnTo>
                  <a:pt x="8" y="56"/>
                </a:lnTo>
                <a:lnTo>
                  <a:pt x="8" y="56"/>
                </a:lnTo>
                <a:lnTo>
                  <a:pt x="8" y="56"/>
                </a:lnTo>
                <a:lnTo>
                  <a:pt x="8" y="56"/>
                </a:lnTo>
                <a:lnTo>
                  <a:pt x="8" y="52"/>
                </a:lnTo>
                <a:lnTo>
                  <a:pt x="8" y="52"/>
                </a:lnTo>
                <a:lnTo>
                  <a:pt x="8" y="52"/>
                </a:lnTo>
                <a:lnTo>
                  <a:pt x="8" y="52"/>
                </a:lnTo>
                <a:lnTo>
                  <a:pt x="4" y="52"/>
                </a:lnTo>
                <a:lnTo>
                  <a:pt x="4" y="52"/>
                </a:lnTo>
                <a:lnTo>
                  <a:pt x="4" y="50"/>
                </a:lnTo>
                <a:lnTo>
                  <a:pt x="4" y="50"/>
                </a:lnTo>
                <a:lnTo>
                  <a:pt x="4" y="50"/>
                </a:lnTo>
                <a:lnTo>
                  <a:pt x="0" y="50"/>
                </a:lnTo>
                <a:lnTo>
                  <a:pt x="0" y="50"/>
                </a:lnTo>
                <a:lnTo>
                  <a:pt x="0" y="46"/>
                </a:lnTo>
                <a:lnTo>
                  <a:pt x="0" y="46"/>
                </a:lnTo>
                <a:lnTo>
                  <a:pt x="0" y="46"/>
                </a:lnTo>
                <a:lnTo>
                  <a:pt x="0" y="46"/>
                </a:lnTo>
                <a:lnTo>
                  <a:pt x="4" y="46"/>
                </a:lnTo>
                <a:lnTo>
                  <a:pt x="4" y="46"/>
                </a:lnTo>
                <a:lnTo>
                  <a:pt x="4" y="46"/>
                </a:lnTo>
                <a:lnTo>
                  <a:pt x="4" y="46"/>
                </a:lnTo>
                <a:lnTo>
                  <a:pt x="4" y="46"/>
                </a:lnTo>
                <a:lnTo>
                  <a:pt x="8" y="46"/>
                </a:lnTo>
                <a:lnTo>
                  <a:pt x="8" y="46"/>
                </a:lnTo>
                <a:lnTo>
                  <a:pt x="8" y="46"/>
                </a:lnTo>
                <a:lnTo>
                  <a:pt x="8" y="46"/>
                </a:lnTo>
                <a:lnTo>
                  <a:pt x="8" y="42"/>
                </a:lnTo>
                <a:lnTo>
                  <a:pt x="8" y="42"/>
                </a:lnTo>
                <a:lnTo>
                  <a:pt x="8" y="42"/>
                </a:lnTo>
                <a:lnTo>
                  <a:pt x="8" y="42"/>
                </a:lnTo>
                <a:lnTo>
                  <a:pt x="8" y="42"/>
                </a:lnTo>
                <a:lnTo>
                  <a:pt x="8" y="42"/>
                </a:lnTo>
                <a:lnTo>
                  <a:pt x="12" y="42"/>
                </a:lnTo>
                <a:lnTo>
                  <a:pt x="12" y="42"/>
                </a:lnTo>
                <a:lnTo>
                  <a:pt x="12" y="42"/>
                </a:lnTo>
                <a:lnTo>
                  <a:pt x="12" y="42"/>
                </a:lnTo>
                <a:lnTo>
                  <a:pt x="12" y="42"/>
                </a:lnTo>
                <a:lnTo>
                  <a:pt x="12" y="42"/>
                </a:lnTo>
                <a:lnTo>
                  <a:pt x="12" y="42"/>
                </a:lnTo>
                <a:lnTo>
                  <a:pt x="16" y="38"/>
                </a:lnTo>
                <a:lnTo>
                  <a:pt x="16" y="38"/>
                </a:lnTo>
                <a:lnTo>
                  <a:pt x="16" y="38"/>
                </a:lnTo>
                <a:lnTo>
                  <a:pt x="16" y="34"/>
                </a:lnTo>
                <a:lnTo>
                  <a:pt x="16" y="34"/>
                </a:lnTo>
                <a:lnTo>
                  <a:pt x="16" y="34"/>
                </a:lnTo>
                <a:lnTo>
                  <a:pt x="20" y="34"/>
                </a:lnTo>
                <a:lnTo>
                  <a:pt x="20" y="34"/>
                </a:lnTo>
                <a:lnTo>
                  <a:pt x="20" y="34"/>
                </a:lnTo>
                <a:lnTo>
                  <a:pt x="20" y="34"/>
                </a:lnTo>
                <a:lnTo>
                  <a:pt x="20" y="30"/>
                </a:lnTo>
                <a:lnTo>
                  <a:pt x="20" y="30"/>
                </a:lnTo>
                <a:lnTo>
                  <a:pt x="20" y="26"/>
                </a:lnTo>
                <a:lnTo>
                  <a:pt x="20" y="26"/>
                </a:lnTo>
                <a:lnTo>
                  <a:pt x="20" y="26"/>
                </a:lnTo>
                <a:lnTo>
                  <a:pt x="20" y="26"/>
                </a:lnTo>
                <a:lnTo>
                  <a:pt x="20" y="26"/>
                </a:lnTo>
                <a:lnTo>
                  <a:pt x="24" y="26"/>
                </a:lnTo>
                <a:lnTo>
                  <a:pt x="24" y="26"/>
                </a:lnTo>
                <a:lnTo>
                  <a:pt x="24" y="24"/>
                </a:lnTo>
                <a:lnTo>
                  <a:pt x="24" y="24"/>
                </a:lnTo>
                <a:lnTo>
                  <a:pt x="24" y="24"/>
                </a:lnTo>
                <a:lnTo>
                  <a:pt x="24" y="20"/>
                </a:lnTo>
                <a:lnTo>
                  <a:pt x="24" y="20"/>
                </a:lnTo>
                <a:lnTo>
                  <a:pt x="24" y="20"/>
                </a:lnTo>
                <a:lnTo>
                  <a:pt x="26" y="20"/>
                </a:lnTo>
                <a:lnTo>
                  <a:pt x="26" y="20"/>
                </a:lnTo>
                <a:lnTo>
                  <a:pt x="26" y="20"/>
                </a:lnTo>
                <a:lnTo>
                  <a:pt x="26" y="20"/>
                </a:lnTo>
                <a:lnTo>
                  <a:pt x="26" y="16"/>
                </a:lnTo>
                <a:lnTo>
                  <a:pt x="26" y="16"/>
                </a:lnTo>
                <a:lnTo>
                  <a:pt x="26" y="16"/>
                </a:lnTo>
                <a:lnTo>
                  <a:pt x="26" y="16"/>
                </a:lnTo>
                <a:lnTo>
                  <a:pt x="26" y="16"/>
                </a:lnTo>
                <a:lnTo>
                  <a:pt x="26" y="16"/>
                </a:lnTo>
                <a:lnTo>
                  <a:pt x="26" y="16"/>
                </a:lnTo>
                <a:lnTo>
                  <a:pt x="26" y="16"/>
                </a:lnTo>
                <a:lnTo>
                  <a:pt x="30" y="12"/>
                </a:lnTo>
                <a:lnTo>
                  <a:pt x="30" y="12"/>
                </a:lnTo>
                <a:lnTo>
                  <a:pt x="30" y="12"/>
                </a:lnTo>
                <a:lnTo>
                  <a:pt x="30" y="12"/>
                </a:lnTo>
                <a:lnTo>
                  <a:pt x="30" y="12"/>
                </a:lnTo>
                <a:lnTo>
                  <a:pt x="34" y="12"/>
                </a:lnTo>
                <a:lnTo>
                  <a:pt x="34" y="12"/>
                </a:lnTo>
                <a:lnTo>
                  <a:pt x="34" y="12"/>
                </a:lnTo>
                <a:lnTo>
                  <a:pt x="34" y="12"/>
                </a:lnTo>
                <a:lnTo>
                  <a:pt x="34" y="12"/>
                </a:lnTo>
                <a:lnTo>
                  <a:pt x="38" y="8"/>
                </a:lnTo>
                <a:lnTo>
                  <a:pt x="38" y="8"/>
                </a:lnTo>
                <a:lnTo>
                  <a:pt x="38" y="8"/>
                </a:lnTo>
                <a:lnTo>
                  <a:pt x="38" y="8"/>
                </a:lnTo>
                <a:lnTo>
                  <a:pt x="42" y="8"/>
                </a:lnTo>
                <a:lnTo>
                  <a:pt x="42" y="8"/>
                </a:lnTo>
                <a:lnTo>
                  <a:pt x="42" y="4"/>
                </a:lnTo>
                <a:lnTo>
                  <a:pt x="42" y="4"/>
                </a:lnTo>
                <a:lnTo>
                  <a:pt x="42" y="4"/>
                </a:lnTo>
                <a:lnTo>
                  <a:pt x="42" y="4"/>
                </a:lnTo>
                <a:lnTo>
                  <a:pt x="42" y="4"/>
                </a:lnTo>
                <a:lnTo>
                  <a:pt x="42" y="4"/>
                </a:lnTo>
                <a:lnTo>
                  <a:pt x="42" y="8"/>
                </a:lnTo>
                <a:lnTo>
                  <a:pt x="46" y="8"/>
                </a:lnTo>
                <a:lnTo>
                  <a:pt x="46" y="8"/>
                </a:lnTo>
                <a:lnTo>
                  <a:pt x="46" y="8"/>
                </a:lnTo>
                <a:lnTo>
                  <a:pt x="46" y="8"/>
                </a:lnTo>
                <a:lnTo>
                  <a:pt x="46" y="8"/>
                </a:lnTo>
                <a:lnTo>
                  <a:pt x="50" y="8"/>
                </a:lnTo>
                <a:lnTo>
                  <a:pt x="52" y="8"/>
                </a:lnTo>
                <a:lnTo>
                  <a:pt x="52" y="8"/>
                </a:lnTo>
                <a:lnTo>
                  <a:pt x="52" y="8"/>
                </a:lnTo>
                <a:lnTo>
                  <a:pt x="56" y="8"/>
                </a:lnTo>
                <a:lnTo>
                  <a:pt x="56" y="8"/>
                </a:lnTo>
                <a:lnTo>
                  <a:pt x="56" y="8"/>
                </a:lnTo>
                <a:lnTo>
                  <a:pt x="60" y="8"/>
                </a:lnTo>
                <a:lnTo>
                  <a:pt x="60" y="8"/>
                </a:lnTo>
                <a:lnTo>
                  <a:pt x="60" y="8"/>
                </a:lnTo>
                <a:lnTo>
                  <a:pt x="60" y="8"/>
                </a:lnTo>
                <a:lnTo>
                  <a:pt x="60" y="8"/>
                </a:lnTo>
                <a:lnTo>
                  <a:pt x="60" y="8"/>
                </a:lnTo>
                <a:lnTo>
                  <a:pt x="64" y="8"/>
                </a:lnTo>
                <a:lnTo>
                  <a:pt x="64" y="12"/>
                </a:lnTo>
                <a:lnTo>
                  <a:pt x="64" y="12"/>
                </a:lnTo>
                <a:lnTo>
                  <a:pt x="64" y="12"/>
                </a:lnTo>
                <a:lnTo>
                  <a:pt x="64" y="12"/>
                </a:lnTo>
                <a:lnTo>
                  <a:pt x="64" y="12"/>
                </a:lnTo>
                <a:lnTo>
                  <a:pt x="64" y="12"/>
                </a:lnTo>
                <a:lnTo>
                  <a:pt x="64" y="12"/>
                </a:lnTo>
                <a:lnTo>
                  <a:pt x="64" y="12"/>
                </a:lnTo>
                <a:lnTo>
                  <a:pt x="68" y="12"/>
                </a:lnTo>
                <a:lnTo>
                  <a:pt x="68" y="12"/>
                </a:lnTo>
                <a:lnTo>
                  <a:pt x="68" y="12"/>
                </a:lnTo>
                <a:lnTo>
                  <a:pt x="68" y="12"/>
                </a:lnTo>
                <a:lnTo>
                  <a:pt x="68" y="12"/>
                </a:lnTo>
                <a:lnTo>
                  <a:pt x="68" y="12"/>
                </a:lnTo>
                <a:lnTo>
                  <a:pt x="68" y="12"/>
                </a:lnTo>
                <a:lnTo>
                  <a:pt x="68" y="12"/>
                </a:lnTo>
                <a:lnTo>
                  <a:pt x="68" y="12"/>
                </a:lnTo>
                <a:lnTo>
                  <a:pt x="72" y="12"/>
                </a:lnTo>
                <a:lnTo>
                  <a:pt x="72" y="8"/>
                </a:lnTo>
                <a:lnTo>
                  <a:pt x="72" y="8"/>
                </a:lnTo>
                <a:lnTo>
                  <a:pt x="72" y="8"/>
                </a:lnTo>
                <a:lnTo>
                  <a:pt x="76" y="8"/>
                </a:lnTo>
                <a:lnTo>
                  <a:pt x="76" y="8"/>
                </a:lnTo>
                <a:lnTo>
                  <a:pt x="76" y="8"/>
                </a:lnTo>
                <a:lnTo>
                  <a:pt x="76" y="8"/>
                </a:lnTo>
                <a:lnTo>
                  <a:pt x="76" y="8"/>
                </a:lnTo>
                <a:lnTo>
                  <a:pt x="80" y="8"/>
                </a:lnTo>
                <a:lnTo>
                  <a:pt x="80" y="8"/>
                </a:lnTo>
                <a:lnTo>
                  <a:pt x="80" y="8"/>
                </a:lnTo>
                <a:lnTo>
                  <a:pt x="80" y="8"/>
                </a:lnTo>
                <a:lnTo>
                  <a:pt x="82" y="8"/>
                </a:lnTo>
                <a:lnTo>
                  <a:pt x="82" y="8"/>
                </a:lnTo>
                <a:lnTo>
                  <a:pt x="82" y="8"/>
                </a:lnTo>
                <a:lnTo>
                  <a:pt x="82" y="8"/>
                </a:lnTo>
                <a:lnTo>
                  <a:pt x="82" y="8"/>
                </a:lnTo>
                <a:lnTo>
                  <a:pt x="86" y="4"/>
                </a:lnTo>
                <a:lnTo>
                  <a:pt x="86" y="4"/>
                </a:lnTo>
                <a:lnTo>
                  <a:pt x="86" y="4"/>
                </a:lnTo>
                <a:lnTo>
                  <a:pt x="90" y="4"/>
                </a:lnTo>
                <a:lnTo>
                  <a:pt x="90" y="4"/>
                </a:lnTo>
                <a:lnTo>
                  <a:pt x="90" y="4"/>
                </a:lnTo>
                <a:lnTo>
                  <a:pt x="90" y="0"/>
                </a:lnTo>
                <a:lnTo>
                  <a:pt x="90" y="0"/>
                </a:lnTo>
                <a:lnTo>
                  <a:pt x="94" y="0"/>
                </a:lnTo>
                <a:lnTo>
                  <a:pt x="94" y="4"/>
                </a:lnTo>
                <a:lnTo>
                  <a:pt x="94" y="4"/>
                </a:lnTo>
                <a:lnTo>
                  <a:pt x="98" y="8"/>
                </a:lnTo>
                <a:lnTo>
                  <a:pt x="98" y="8"/>
                </a:lnTo>
                <a:lnTo>
                  <a:pt x="98" y="12"/>
                </a:lnTo>
                <a:lnTo>
                  <a:pt x="98" y="12"/>
                </a:lnTo>
                <a:lnTo>
                  <a:pt x="102" y="12"/>
                </a:lnTo>
                <a:lnTo>
                  <a:pt x="102" y="16"/>
                </a:lnTo>
                <a:lnTo>
                  <a:pt x="102" y="16"/>
                </a:lnTo>
                <a:lnTo>
                  <a:pt x="102" y="16"/>
                </a:lnTo>
                <a:lnTo>
                  <a:pt x="102" y="16"/>
                </a:lnTo>
                <a:lnTo>
                  <a:pt x="102" y="20"/>
                </a:lnTo>
                <a:lnTo>
                  <a:pt x="106" y="20"/>
                </a:lnTo>
                <a:lnTo>
                  <a:pt x="106" y="24"/>
                </a:lnTo>
                <a:lnTo>
                  <a:pt x="106" y="24"/>
                </a:lnTo>
                <a:lnTo>
                  <a:pt x="106" y="24"/>
                </a:lnTo>
                <a:lnTo>
                  <a:pt x="106" y="24"/>
                </a:lnTo>
                <a:lnTo>
                  <a:pt x="106" y="24"/>
                </a:lnTo>
                <a:lnTo>
                  <a:pt x="106" y="24"/>
                </a:lnTo>
                <a:lnTo>
                  <a:pt x="108" y="26"/>
                </a:lnTo>
                <a:lnTo>
                  <a:pt x="108" y="26"/>
                </a:lnTo>
                <a:lnTo>
                  <a:pt x="108" y="26"/>
                </a:lnTo>
                <a:lnTo>
                  <a:pt x="108" y="26"/>
                </a:lnTo>
                <a:lnTo>
                  <a:pt x="112" y="26"/>
                </a:lnTo>
                <a:lnTo>
                  <a:pt x="112" y="30"/>
                </a:lnTo>
                <a:lnTo>
                  <a:pt x="112" y="30"/>
                </a:lnTo>
                <a:lnTo>
                  <a:pt x="112" y="30"/>
                </a:lnTo>
                <a:lnTo>
                  <a:pt x="112" y="30"/>
                </a:lnTo>
                <a:lnTo>
                  <a:pt x="112" y="34"/>
                </a:lnTo>
                <a:lnTo>
                  <a:pt x="112" y="34"/>
                </a:lnTo>
                <a:lnTo>
                  <a:pt x="112" y="34"/>
                </a:lnTo>
                <a:lnTo>
                  <a:pt x="112" y="34"/>
                </a:lnTo>
                <a:lnTo>
                  <a:pt x="112" y="38"/>
                </a:lnTo>
                <a:lnTo>
                  <a:pt x="112" y="42"/>
                </a:lnTo>
                <a:lnTo>
                  <a:pt x="112" y="46"/>
                </a:lnTo>
                <a:lnTo>
                  <a:pt x="112" y="46"/>
                </a:lnTo>
                <a:lnTo>
                  <a:pt x="112" y="46"/>
                </a:lnTo>
                <a:lnTo>
                  <a:pt x="112" y="50"/>
                </a:lnTo>
                <a:lnTo>
                  <a:pt x="112" y="50"/>
                </a:lnTo>
                <a:lnTo>
                  <a:pt x="112" y="50"/>
                </a:lnTo>
                <a:lnTo>
                  <a:pt x="112" y="52"/>
                </a:lnTo>
                <a:lnTo>
                  <a:pt x="112" y="52"/>
                </a:lnTo>
                <a:lnTo>
                  <a:pt x="112" y="56"/>
                </a:lnTo>
                <a:lnTo>
                  <a:pt x="112" y="56"/>
                </a:lnTo>
                <a:lnTo>
                  <a:pt x="112" y="56"/>
                </a:lnTo>
                <a:lnTo>
                  <a:pt x="112" y="60"/>
                </a:lnTo>
                <a:lnTo>
                  <a:pt x="112" y="60"/>
                </a:lnTo>
                <a:lnTo>
                  <a:pt x="112" y="60"/>
                </a:lnTo>
                <a:lnTo>
                  <a:pt x="112" y="60"/>
                </a:lnTo>
                <a:lnTo>
                  <a:pt x="112" y="60"/>
                </a:lnTo>
                <a:lnTo>
                  <a:pt x="112" y="60"/>
                </a:lnTo>
                <a:lnTo>
                  <a:pt x="112" y="60"/>
                </a:lnTo>
                <a:lnTo>
                  <a:pt x="112" y="60"/>
                </a:lnTo>
                <a:lnTo>
                  <a:pt x="116" y="60"/>
                </a:lnTo>
                <a:lnTo>
                  <a:pt x="116" y="60"/>
                </a:lnTo>
                <a:lnTo>
                  <a:pt x="116" y="64"/>
                </a:lnTo>
                <a:lnTo>
                  <a:pt x="120" y="64"/>
                </a:lnTo>
                <a:lnTo>
                  <a:pt x="120" y="64"/>
                </a:lnTo>
                <a:lnTo>
                  <a:pt x="120" y="60"/>
                </a:lnTo>
                <a:lnTo>
                  <a:pt x="122" y="60"/>
                </a:lnTo>
                <a:lnTo>
                  <a:pt x="126" y="60"/>
                </a:lnTo>
                <a:lnTo>
                  <a:pt x="126" y="60"/>
                </a:lnTo>
                <a:lnTo>
                  <a:pt x="130" y="60"/>
                </a:lnTo>
                <a:lnTo>
                  <a:pt x="130" y="60"/>
                </a:lnTo>
                <a:lnTo>
                  <a:pt x="130" y="60"/>
                </a:lnTo>
                <a:lnTo>
                  <a:pt x="130" y="60"/>
                </a:lnTo>
                <a:lnTo>
                  <a:pt x="130" y="60"/>
                </a:lnTo>
                <a:lnTo>
                  <a:pt x="134" y="60"/>
                </a:lnTo>
                <a:lnTo>
                  <a:pt x="134" y="60"/>
                </a:lnTo>
                <a:lnTo>
                  <a:pt x="134" y="64"/>
                </a:lnTo>
                <a:lnTo>
                  <a:pt x="134" y="64"/>
                </a:lnTo>
                <a:lnTo>
                  <a:pt x="130" y="64"/>
                </a:lnTo>
                <a:lnTo>
                  <a:pt x="130" y="64"/>
                </a:lnTo>
                <a:lnTo>
                  <a:pt x="134" y="64"/>
                </a:lnTo>
                <a:lnTo>
                  <a:pt x="130" y="68"/>
                </a:lnTo>
                <a:lnTo>
                  <a:pt x="130" y="72"/>
                </a:lnTo>
                <a:lnTo>
                  <a:pt x="130" y="72"/>
                </a:lnTo>
                <a:lnTo>
                  <a:pt x="130" y="72"/>
                </a:lnTo>
                <a:lnTo>
                  <a:pt x="130" y="72"/>
                </a:lnTo>
                <a:lnTo>
                  <a:pt x="126" y="72"/>
                </a:lnTo>
                <a:lnTo>
                  <a:pt x="126" y="72"/>
                </a:lnTo>
                <a:lnTo>
                  <a:pt x="126" y="72"/>
                </a:lnTo>
                <a:lnTo>
                  <a:pt x="122" y="72"/>
                </a:lnTo>
                <a:lnTo>
                  <a:pt x="122" y="72"/>
                </a:lnTo>
                <a:lnTo>
                  <a:pt x="122" y="68"/>
                </a:lnTo>
                <a:lnTo>
                  <a:pt x="122" y="68"/>
                </a:lnTo>
                <a:lnTo>
                  <a:pt x="122" y="68"/>
                </a:lnTo>
                <a:lnTo>
                  <a:pt x="122" y="68"/>
                </a:lnTo>
                <a:lnTo>
                  <a:pt x="122" y="68"/>
                </a:lnTo>
                <a:lnTo>
                  <a:pt x="122" y="68"/>
                </a:lnTo>
                <a:lnTo>
                  <a:pt x="122" y="68"/>
                </a:lnTo>
                <a:lnTo>
                  <a:pt x="122" y="72"/>
                </a:lnTo>
                <a:lnTo>
                  <a:pt x="122" y="72"/>
                </a:lnTo>
                <a:lnTo>
                  <a:pt x="122" y="72"/>
                </a:lnTo>
                <a:lnTo>
                  <a:pt x="122" y="72"/>
                </a:lnTo>
                <a:lnTo>
                  <a:pt x="122" y="72"/>
                </a:lnTo>
                <a:lnTo>
                  <a:pt x="122" y="72"/>
                </a:lnTo>
                <a:lnTo>
                  <a:pt x="120" y="76"/>
                </a:lnTo>
                <a:lnTo>
                  <a:pt x="120" y="76"/>
                </a:lnTo>
                <a:lnTo>
                  <a:pt x="120" y="76"/>
                </a:lnTo>
                <a:lnTo>
                  <a:pt x="120" y="76"/>
                </a:lnTo>
                <a:lnTo>
                  <a:pt x="120" y="76"/>
                </a:lnTo>
                <a:lnTo>
                  <a:pt x="120" y="76"/>
                </a:lnTo>
                <a:lnTo>
                  <a:pt x="122" y="76"/>
                </a:lnTo>
                <a:lnTo>
                  <a:pt x="122" y="76"/>
                </a:lnTo>
                <a:lnTo>
                  <a:pt x="122" y="76"/>
                </a:lnTo>
                <a:lnTo>
                  <a:pt x="122" y="76"/>
                </a:lnTo>
                <a:lnTo>
                  <a:pt x="122" y="76"/>
                </a:lnTo>
                <a:lnTo>
                  <a:pt x="122" y="76"/>
                </a:lnTo>
                <a:lnTo>
                  <a:pt x="122" y="76"/>
                </a:lnTo>
                <a:lnTo>
                  <a:pt x="122" y="76"/>
                </a:lnTo>
                <a:lnTo>
                  <a:pt x="122" y="76"/>
                </a:lnTo>
                <a:lnTo>
                  <a:pt x="122" y="76"/>
                </a:lnTo>
                <a:lnTo>
                  <a:pt x="120" y="76"/>
                </a:lnTo>
                <a:lnTo>
                  <a:pt x="120" y="76"/>
                </a:lnTo>
                <a:lnTo>
                  <a:pt x="120" y="76"/>
                </a:lnTo>
                <a:lnTo>
                  <a:pt x="120" y="78"/>
                </a:lnTo>
                <a:lnTo>
                  <a:pt x="120" y="78"/>
                </a:lnTo>
                <a:lnTo>
                  <a:pt x="122" y="76"/>
                </a:lnTo>
                <a:lnTo>
                  <a:pt x="122" y="76"/>
                </a:lnTo>
                <a:lnTo>
                  <a:pt x="122" y="78"/>
                </a:lnTo>
                <a:lnTo>
                  <a:pt x="120" y="78"/>
                </a:lnTo>
                <a:lnTo>
                  <a:pt x="120" y="78"/>
                </a:lnTo>
                <a:lnTo>
                  <a:pt x="120" y="78"/>
                </a:lnTo>
                <a:lnTo>
                  <a:pt x="120" y="78"/>
                </a:lnTo>
                <a:lnTo>
                  <a:pt x="120" y="82"/>
                </a:lnTo>
                <a:lnTo>
                  <a:pt x="120" y="82"/>
                </a:lnTo>
                <a:lnTo>
                  <a:pt x="120" y="82"/>
                </a:lnTo>
                <a:lnTo>
                  <a:pt x="120" y="86"/>
                </a:lnTo>
                <a:lnTo>
                  <a:pt x="120" y="90"/>
                </a:lnTo>
                <a:lnTo>
                  <a:pt x="120" y="90"/>
                </a:lnTo>
                <a:lnTo>
                  <a:pt x="120" y="90"/>
                </a:lnTo>
                <a:lnTo>
                  <a:pt x="120" y="90"/>
                </a:lnTo>
                <a:lnTo>
                  <a:pt x="116" y="90"/>
                </a:lnTo>
                <a:lnTo>
                  <a:pt x="116" y="94"/>
                </a:lnTo>
                <a:lnTo>
                  <a:pt x="116" y="94"/>
                </a:lnTo>
                <a:lnTo>
                  <a:pt x="116" y="94"/>
                </a:lnTo>
                <a:lnTo>
                  <a:pt x="116" y="94"/>
                </a:lnTo>
                <a:lnTo>
                  <a:pt x="112" y="94"/>
                </a:lnTo>
                <a:lnTo>
                  <a:pt x="112" y="94"/>
                </a:lnTo>
                <a:lnTo>
                  <a:pt x="112" y="94"/>
                </a:lnTo>
                <a:lnTo>
                  <a:pt x="112" y="90"/>
                </a:lnTo>
                <a:lnTo>
                  <a:pt x="108" y="90"/>
                </a:lnTo>
                <a:lnTo>
                  <a:pt x="108" y="90"/>
                </a:lnTo>
                <a:lnTo>
                  <a:pt x="108" y="90"/>
                </a:lnTo>
                <a:lnTo>
                  <a:pt x="108" y="90"/>
                </a:lnTo>
                <a:lnTo>
                  <a:pt x="108" y="86"/>
                </a:lnTo>
                <a:lnTo>
                  <a:pt x="108" y="90"/>
                </a:lnTo>
                <a:lnTo>
                  <a:pt x="108" y="90"/>
                </a:lnTo>
                <a:lnTo>
                  <a:pt x="108" y="90"/>
                </a:lnTo>
                <a:lnTo>
                  <a:pt x="106" y="90"/>
                </a:lnTo>
                <a:lnTo>
                  <a:pt x="106" y="90"/>
                </a:lnTo>
                <a:lnTo>
                  <a:pt x="106" y="86"/>
                </a:lnTo>
                <a:lnTo>
                  <a:pt x="106" y="86"/>
                </a:lnTo>
                <a:lnTo>
                  <a:pt x="106" y="86"/>
                </a:lnTo>
                <a:lnTo>
                  <a:pt x="106" y="86"/>
                </a:lnTo>
                <a:lnTo>
                  <a:pt x="102" y="86"/>
                </a:lnTo>
                <a:lnTo>
                  <a:pt x="102" y="86"/>
                </a:lnTo>
                <a:lnTo>
                  <a:pt x="102" y="86"/>
                </a:lnTo>
                <a:lnTo>
                  <a:pt x="102" y="86"/>
                </a:lnTo>
                <a:lnTo>
                  <a:pt x="98" y="86"/>
                </a:lnTo>
                <a:lnTo>
                  <a:pt x="98" y="86"/>
                </a:lnTo>
                <a:lnTo>
                  <a:pt x="98" y="86"/>
                </a:lnTo>
                <a:lnTo>
                  <a:pt x="98" y="86"/>
                </a:lnTo>
                <a:lnTo>
                  <a:pt x="98" y="86"/>
                </a:lnTo>
                <a:lnTo>
                  <a:pt x="98" y="86"/>
                </a:lnTo>
                <a:lnTo>
                  <a:pt x="98" y="86"/>
                </a:lnTo>
                <a:lnTo>
                  <a:pt x="94" y="86"/>
                </a:lnTo>
                <a:lnTo>
                  <a:pt x="94" y="86"/>
                </a:lnTo>
                <a:lnTo>
                  <a:pt x="94" y="86"/>
                </a:lnTo>
                <a:lnTo>
                  <a:pt x="94" y="86"/>
                </a:lnTo>
                <a:lnTo>
                  <a:pt x="90" y="86"/>
                </a:lnTo>
                <a:lnTo>
                  <a:pt x="86" y="86"/>
                </a:lnTo>
                <a:lnTo>
                  <a:pt x="86" y="86"/>
                </a:lnTo>
                <a:lnTo>
                  <a:pt x="86" y="86"/>
                </a:lnTo>
                <a:lnTo>
                  <a:pt x="86" y="86"/>
                </a:lnTo>
                <a:lnTo>
                  <a:pt x="86" y="86"/>
                </a:lnTo>
                <a:lnTo>
                  <a:pt x="82" y="90"/>
                </a:lnTo>
                <a:lnTo>
                  <a:pt x="82" y="90"/>
                </a:lnTo>
                <a:lnTo>
                  <a:pt x="82" y="90"/>
                </a:lnTo>
                <a:lnTo>
                  <a:pt x="80" y="90"/>
                </a:lnTo>
                <a:lnTo>
                  <a:pt x="80" y="94"/>
                </a:lnTo>
                <a:lnTo>
                  <a:pt x="80" y="94"/>
                </a:lnTo>
                <a:lnTo>
                  <a:pt x="80" y="94"/>
                </a:lnTo>
                <a:lnTo>
                  <a:pt x="80" y="94"/>
                </a:lnTo>
                <a:lnTo>
                  <a:pt x="76" y="94"/>
                </a:lnTo>
                <a:lnTo>
                  <a:pt x="76" y="94"/>
                </a:lnTo>
                <a:lnTo>
                  <a:pt x="76" y="94"/>
                </a:lnTo>
                <a:lnTo>
                  <a:pt x="76" y="94"/>
                </a:lnTo>
                <a:lnTo>
                  <a:pt x="76" y="94"/>
                </a:lnTo>
                <a:lnTo>
                  <a:pt x="72" y="94"/>
                </a:lnTo>
                <a:lnTo>
                  <a:pt x="72" y="94"/>
                </a:lnTo>
                <a:lnTo>
                  <a:pt x="72" y="94"/>
                </a:lnTo>
                <a:lnTo>
                  <a:pt x="72" y="94"/>
                </a:lnTo>
                <a:lnTo>
                  <a:pt x="72" y="94"/>
                </a:lnTo>
                <a:lnTo>
                  <a:pt x="68" y="94"/>
                </a:lnTo>
                <a:lnTo>
                  <a:pt x="64" y="94"/>
                </a:lnTo>
                <a:lnTo>
                  <a:pt x="64" y="94"/>
                </a:lnTo>
                <a:lnTo>
                  <a:pt x="64" y="94"/>
                </a:lnTo>
                <a:lnTo>
                  <a:pt x="64" y="94"/>
                </a:lnTo>
                <a:lnTo>
                  <a:pt x="60" y="94"/>
                </a:lnTo>
                <a:lnTo>
                  <a:pt x="60" y="94"/>
                </a:lnTo>
                <a:lnTo>
                  <a:pt x="60" y="94"/>
                </a:lnTo>
                <a:lnTo>
                  <a:pt x="60" y="94"/>
                </a:lnTo>
                <a:lnTo>
                  <a:pt x="60" y="94"/>
                </a:lnTo>
                <a:lnTo>
                  <a:pt x="60" y="94"/>
                </a:lnTo>
                <a:lnTo>
                  <a:pt x="60" y="94"/>
                </a:lnTo>
                <a:lnTo>
                  <a:pt x="56" y="94"/>
                </a:lnTo>
                <a:lnTo>
                  <a:pt x="56" y="94"/>
                </a:lnTo>
                <a:lnTo>
                  <a:pt x="56" y="94"/>
                </a:lnTo>
                <a:lnTo>
                  <a:pt x="56" y="94"/>
                </a:lnTo>
                <a:close/>
              </a:path>
            </a:pathLst>
          </a:custGeom>
          <a:solidFill>
            <a:srgbClr val="A0DCFF"/>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12" name="Freeform 119"/>
          <p:cNvSpPr>
            <a:spLocks/>
          </p:cNvSpPr>
          <p:nvPr/>
        </p:nvSpPr>
        <p:spPr bwMode="auto">
          <a:xfrm>
            <a:off x="4567237" y="2705100"/>
            <a:ext cx="76200" cy="102394"/>
          </a:xfrm>
          <a:custGeom>
            <a:avLst/>
            <a:gdLst>
              <a:gd name="T0" fmla="*/ 0 w 64"/>
              <a:gd name="T1" fmla="*/ 68 h 86"/>
              <a:gd name="T2" fmla="*/ 0 w 64"/>
              <a:gd name="T3" fmla="*/ 64 h 86"/>
              <a:gd name="T4" fmla="*/ 4 w 64"/>
              <a:gd name="T5" fmla="*/ 60 h 86"/>
              <a:gd name="T6" fmla="*/ 8 w 64"/>
              <a:gd name="T7" fmla="*/ 58 h 86"/>
              <a:gd name="T8" fmla="*/ 8 w 64"/>
              <a:gd name="T9" fmla="*/ 54 h 86"/>
              <a:gd name="T10" fmla="*/ 12 w 64"/>
              <a:gd name="T11" fmla="*/ 54 h 86"/>
              <a:gd name="T12" fmla="*/ 16 w 64"/>
              <a:gd name="T13" fmla="*/ 50 h 86"/>
              <a:gd name="T14" fmla="*/ 12 w 64"/>
              <a:gd name="T15" fmla="*/ 46 h 86"/>
              <a:gd name="T16" fmla="*/ 16 w 64"/>
              <a:gd name="T17" fmla="*/ 46 h 86"/>
              <a:gd name="T18" fmla="*/ 12 w 64"/>
              <a:gd name="T19" fmla="*/ 38 h 86"/>
              <a:gd name="T20" fmla="*/ 12 w 64"/>
              <a:gd name="T21" fmla="*/ 30 h 86"/>
              <a:gd name="T22" fmla="*/ 12 w 64"/>
              <a:gd name="T23" fmla="*/ 28 h 86"/>
              <a:gd name="T24" fmla="*/ 8 w 64"/>
              <a:gd name="T25" fmla="*/ 24 h 86"/>
              <a:gd name="T26" fmla="*/ 12 w 64"/>
              <a:gd name="T27" fmla="*/ 20 h 86"/>
              <a:gd name="T28" fmla="*/ 12 w 64"/>
              <a:gd name="T29" fmla="*/ 20 h 86"/>
              <a:gd name="T30" fmla="*/ 12 w 64"/>
              <a:gd name="T31" fmla="*/ 16 h 86"/>
              <a:gd name="T32" fmla="*/ 8 w 64"/>
              <a:gd name="T33" fmla="*/ 12 h 86"/>
              <a:gd name="T34" fmla="*/ 8 w 64"/>
              <a:gd name="T35" fmla="*/ 12 h 86"/>
              <a:gd name="T36" fmla="*/ 4 w 64"/>
              <a:gd name="T37" fmla="*/ 4 h 86"/>
              <a:gd name="T38" fmla="*/ 12 w 64"/>
              <a:gd name="T39" fmla="*/ 4 h 86"/>
              <a:gd name="T40" fmla="*/ 16 w 64"/>
              <a:gd name="T41" fmla="*/ 0 h 86"/>
              <a:gd name="T42" fmla="*/ 24 w 64"/>
              <a:gd name="T43" fmla="*/ 0 h 86"/>
              <a:gd name="T44" fmla="*/ 26 w 64"/>
              <a:gd name="T45" fmla="*/ 4 h 86"/>
              <a:gd name="T46" fmla="*/ 34 w 64"/>
              <a:gd name="T47" fmla="*/ 8 h 86"/>
              <a:gd name="T48" fmla="*/ 34 w 64"/>
              <a:gd name="T49" fmla="*/ 12 h 86"/>
              <a:gd name="T50" fmla="*/ 42 w 64"/>
              <a:gd name="T51" fmla="*/ 20 h 86"/>
              <a:gd name="T52" fmla="*/ 42 w 64"/>
              <a:gd name="T53" fmla="*/ 24 h 86"/>
              <a:gd name="T54" fmla="*/ 46 w 64"/>
              <a:gd name="T55" fmla="*/ 28 h 86"/>
              <a:gd name="T56" fmla="*/ 42 w 64"/>
              <a:gd name="T57" fmla="*/ 28 h 86"/>
              <a:gd name="T58" fmla="*/ 46 w 64"/>
              <a:gd name="T59" fmla="*/ 28 h 86"/>
              <a:gd name="T60" fmla="*/ 50 w 64"/>
              <a:gd name="T61" fmla="*/ 30 h 86"/>
              <a:gd name="T62" fmla="*/ 52 w 64"/>
              <a:gd name="T63" fmla="*/ 34 h 86"/>
              <a:gd name="T64" fmla="*/ 56 w 64"/>
              <a:gd name="T65" fmla="*/ 30 h 86"/>
              <a:gd name="T66" fmla="*/ 60 w 64"/>
              <a:gd name="T67" fmla="*/ 30 h 86"/>
              <a:gd name="T68" fmla="*/ 60 w 64"/>
              <a:gd name="T69" fmla="*/ 34 h 86"/>
              <a:gd name="T70" fmla="*/ 56 w 64"/>
              <a:gd name="T71" fmla="*/ 34 h 86"/>
              <a:gd name="T72" fmla="*/ 60 w 64"/>
              <a:gd name="T73" fmla="*/ 38 h 86"/>
              <a:gd name="T74" fmla="*/ 60 w 64"/>
              <a:gd name="T75" fmla="*/ 42 h 86"/>
              <a:gd name="T76" fmla="*/ 60 w 64"/>
              <a:gd name="T77" fmla="*/ 54 h 86"/>
              <a:gd name="T78" fmla="*/ 64 w 64"/>
              <a:gd name="T79" fmla="*/ 58 h 86"/>
              <a:gd name="T80" fmla="*/ 60 w 64"/>
              <a:gd name="T81" fmla="*/ 64 h 86"/>
              <a:gd name="T82" fmla="*/ 56 w 64"/>
              <a:gd name="T83" fmla="*/ 72 h 86"/>
              <a:gd name="T84" fmla="*/ 56 w 64"/>
              <a:gd name="T85" fmla="*/ 76 h 86"/>
              <a:gd name="T86" fmla="*/ 52 w 64"/>
              <a:gd name="T87" fmla="*/ 76 h 86"/>
              <a:gd name="T88" fmla="*/ 46 w 64"/>
              <a:gd name="T89" fmla="*/ 78 h 86"/>
              <a:gd name="T90" fmla="*/ 42 w 64"/>
              <a:gd name="T91" fmla="*/ 78 h 86"/>
              <a:gd name="T92" fmla="*/ 34 w 64"/>
              <a:gd name="T93" fmla="*/ 82 h 86"/>
              <a:gd name="T94" fmla="*/ 30 w 64"/>
              <a:gd name="T95" fmla="*/ 86 h 86"/>
              <a:gd name="T96" fmla="*/ 30 w 64"/>
              <a:gd name="T97" fmla="*/ 78 h 86"/>
              <a:gd name="T98" fmla="*/ 26 w 64"/>
              <a:gd name="T99" fmla="*/ 76 h 86"/>
              <a:gd name="T100" fmla="*/ 20 w 64"/>
              <a:gd name="T101" fmla="*/ 76 h 86"/>
              <a:gd name="T102" fmla="*/ 20 w 64"/>
              <a:gd name="T103" fmla="*/ 72 h 86"/>
              <a:gd name="T104" fmla="*/ 12 w 64"/>
              <a:gd name="T105" fmla="*/ 78 h 86"/>
              <a:gd name="T106" fmla="*/ 12 w 64"/>
              <a:gd name="T107" fmla="*/ 82 h 86"/>
              <a:gd name="T108" fmla="*/ 12 w 64"/>
              <a:gd name="T109" fmla="*/ 82 h 86"/>
              <a:gd name="T110" fmla="*/ 8 w 64"/>
              <a:gd name="T111" fmla="*/ 78 h 86"/>
              <a:gd name="T112" fmla="*/ 4 w 64"/>
              <a:gd name="T113" fmla="*/ 76 h 86"/>
              <a:gd name="T114" fmla="*/ 4 w 64"/>
              <a:gd name="T115" fmla="*/ 76 h 86"/>
              <a:gd name="T116" fmla="*/ 0 w 64"/>
              <a:gd name="T117" fmla="*/ 7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4" h="86">
                <a:moveTo>
                  <a:pt x="0" y="72"/>
                </a:moveTo>
                <a:lnTo>
                  <a:pt x="0" y="72"/>
                </a:lnTo>
                <a:lnTo>
                  <a:pt x="0" y="72"/>
                </a:lnTo>
                <a:lnTo>
                  <a:pt x="0" y="72"/>
                </a:lnTo>
                <a:lnTo>
                  <a:pt x="0" y="72"/>
                </a:lnTo>
                <a:lnTo>
                  <a:pt x="0" y="68"/>
                </a:lnTo>
                <a:lnTo>
                  <a:pt x="0" y="68"/>
                </a:lnTo>
                <a:lnTo>
                  <a:pt x="0" y="68"/>
                </a:lnTo>
                <a:lnTo>
                  <a:pt x="0" y="68"/>
                </a:lnTo>
                <a:lnTo>
                  <a:pt x="0" y="64"/>
                </a:lnTo>
                <a:lnTo>
                  <a:pt x="0" y="64"/>
                </a:lnTo>
                <a:lnTo>
                  <a:pt x="0" y="64"/>
                </a:lnTo>
                <a:lnTo>
                  <a:pt x="0" y="64"/>
                </a:lnTo>
                <a:lnTo>
                  <a:pt x="4" y="64"/>
                </a:lnTo>
                <a:lnTo>
                  <a:pt x="4" y="60"/>
                </a:lnTo>
                <a:lnTo>
                  <a:pt x="4" y="60"/>
                </a:lnTo>
                <a:lnTo>
                  <a:pt x="4" y="60"/>
                </a:lnTo>
                <a:lnTo>
                  <a:pt x="4" y="60"/>
                </a:lnTo>
                <a:lnTo>
                  <a:pt x="4" y="58"/>
                </a:lnTo>
                <a:lnTo>
                  <a:pt x="4" y="58"/>
                </a:lnTo>
                <a:lnTo>
                  <a:pt x="8" y="58"/>
                </a:lnTo>
                <a:lnTo>
                  <a:pt x="8" y="58"/>
                </a:lnTo>
                <a:lnTo>
                  <a:pt x="8" y="58"/>
                </a:lnTo>
                <a:lnTo>
                  <a:pt x="8" y="58"/>
                </a:lnTo>
                <a:lnTo>
                  <a:pt x="8" y="58"/>
                </a:lnTo>
                <a:lnTo>
                  <a:pt x="8" y="58"/>
                </a:lnTo>
                <a:lnTo>
                  <a:pt x="8" y="58"/>
                </a:lnTo>
                <a:lnTo>
                  <a:pt x="8" y="58"/>
                </a:lnTo>
                <a:lnTo>
                  <a:pt x="8" y="54"/>
                </a:lnTo>
                <a:lnTo>
                  <a:pt x="8" y="54"/>
                </a:lnTo>
                <a:lnTo>
                  <a:pt x="8" y="54"/>
                </a:lnTo>
                <a:lnTo>
                  <a:pt x="8" y="54"/>
                </a:lnTo>
                <a:lnTo>
                  <a:pt x="8" y="54"/>
                </a:lnTo>
                <a:lnTo>
                  <a:pt x="8" y="54"/>
                </a:lnTo>
                <a:lnTo>
                  <a:pt x="12" y="54"/>
                </a:lnTo>
                <a:lnTo>
                  <a:pt x="12" y="54"/>
                </a:lnTo>
                <a:lnTo>
                  <a:pt x="12" y="54"/>
                </a:lnTo>
                <a:lnTo>
                  <a:pt x="16" y="54"/>
                </a:lnTo>
                <a:lnTo>
                  <a:pt x="16" y="54"/>
                </a:lnTo>
                <a:lnTo>
                  <a:pt x="16" y="54"/>
                </a:lnTo>
                <a:lnTo>
                  <a:pt x="16" y="50"/>
                </a:lnTo>
                <a:lnTo>
                  <a:pt x="16" y="50"/>
                </a:lnTo>
                <a:lnTo>
                  <a:pt x="16" y="50"/>
                </a:lnTo>
                <a:lnTo>
                  <a:pt x="16" y="50"/>
                </a:lnTo>
                <a:lnTo>
                  <a:pt x="16" y="50"/>
                </a:lnTo>
                <a:lnTo>
                  <a:pt x="16" y="46"/>
                </a:lnTo>
                <a:lnTo>
                  <a:pt x="12" y="46"/>
                </a:lnTo>
                <a:lnTo>
                  <a:pt x="12" y="46"/>
                </a:lnTo>
                <a:lnTo>
                  <a:pt x="12" y="42"/>
                </a:lnTo>
                <a:lnTo>
                  <a:pt x="12" y="42"/>
                </a:lnTo>
                <a:lnTo>
                  <a:pt x="12" y="46"/>
                </a:lnTo>
                <a:lnTo>
                  <a:pt x="16" y="46"/>
                </a:lnTo>
                <a:lnTo>
                  <a:pt x="16" y="46"/>
                </a:lnTo>
                <a:lnTo>
                  <a:pt x="16" y="46"/>
                </a:lnTo>
                <a:lnTo>
                  <a:pt x="16" y="42"/>
                </a:lnTo>
                <a:lnTo>
                  <a:pt x="16" y="42"/>
                </a:lnTo>
                <a:lnTo>
                  <a:pt x="16" y="42"/>
                </a:lnTo>
                <a:lnTo>
                  <a:pt x="16" y="42"/>
                </a:lnTo>
                <a:lnTo>
                  <a:pt x="12" y="38"/>
                </a:lnTo>
                <a:lnTo>
                  <a:pt x="12" y="38"/>
                </a:lnTo>
                <a:lnTo>
                  <a:pt x="12" y="38"/>
                </a:lnTo>
                <a:lnTo>
                  <a:pt x="12" y="38"/>
                </a:lnTo>
                <a:lnTo>
                  <a:pt x="12" y="38"/>
                </a:lnTo>
                <a:lnTo>
                  <a:pt x="12" y="34"/>
                </a:lnTo>
                <a:lnTo>
                  <a:pt x="12" y="34"/>
                </a:lnTo>
                <a:lnTo>
                  <a:pt x="12" y="30"/>
                </a:lnTo>
                <a:lnTo>
                  <a:pt x="12" y="30"/>
                </a:lnTo>
                <a:lnTo>
                  <a:pt x="12" y="28"/>
                </a:lnTo>
                <a:lnTo>
                  <a:pt x="12" y="28"/>
                </a:lnTo>
                <a:lnTo>
                  <a:pt x="16" y="28"/>
                </a:lnTo>
                <a:lnTo>
                  <a:pt x="16" y="28"/>
                </a:lnTo>
                <a:lnTo>
                  <a:pt x="12" y="28"/>
                </a:lnTo>
                <a:lnTo>
                  <a:pt x="12" y="24"/>
                </a:lnTo>
                <a:lnTo>
                  <a:pt x="12" y="28"/>
                </a:lnTo>
                <a:lnTo>
                  <a:pt x="8" y="28"/>
                </a:lnTo>
                <a:lnTo>
                  <a:pt x="8" y="28"/>
                </a:lnTo>
                <a:lnTo>
                  <a:pt x="8" y="28"/>
                </a:lnTo>
                <a:lnTo>
                  <a:pt x="8" y="24"/>
                </a:lnTo>
                <a:lnTo>
                  <a:pt x="12" y="24"/>
                </a:lnTo>
                <a:lnTo>
                  <a:pt x="12" y="24"/>
                </a:lnTo>
                <a:lnTo>
                  <a:pt x="12" y="20"/>
                </a:lnTo>
                <a:lnTo>
                  <a:pt x="12" y="20"/>
                </a:lnTo>
                <a:lnTo>
                  <a:pt x="12" y="20"/>
                </a:lnTo>
                <a:lnTo>
                  <a:pt x="12" y="20"/>
                </a:lnTo>
                <a:lnTo>
                  <a:pt x="12" y="20"/>
                </a:lnTo>
                <a:lnTo>
                  <a:pt x="16" y="20"/>
                </a:lnTo>
                <a:lnTo>
                  <a:pt x="16" y="20"/>
                </a:lnTo>
                <a:lnTo>
                  <a:pt x="16" y="20"/>
                </a:lnTo>
                <a:lnTo>
                  <a:pt x="16" y="20"/>
                </a:lnTo>
                <a:lnTo>
                  <a:pt x="12" y="20"/>
                </a:lnTo>
                <a:lnTo>
                  <a:pt x="12" y="20"/>
                </a:lnTo>
                <a:lnTo>
                  <a:pt x="12" y="20"/>
                </a:lnTo>
                <a:lnTo>
                  <a:pt x="12" y="20"/>
                </a:lnTo>
                <a:lnTo>
                  <a:pt x="12" y="20"/>
                </a:lnTo>
                <a:lnTo>
                  <a:pt x="12" y="20"/>
                </a:lnTo>
                <a:lnTo>
                  <a:pt x="12" y="16"/>
                </a:lnTo>
                <a:lnTo>
                  <a:pt x="8" y="16"/>
                </a:lnTo>
                <a:lnTo>
                  <a:pt x="8" y="12"/>
                </a:lnTo>
                <a:lnTo>
                  <a:pt x="8" y="12"/>
                </a:lnTo>
                <a:lnTo>
                  <a:pt x="8" y="12"/>
                </a:lnTo>
                <a:lnTo>
                  <a:pt x="8" y="12"/>
                </a:lnTo>
                <a:lnTo>
                  <a:pt x="8" y="12"/>
                </a:lnTo>
                <a:lnTo>
                  <a:pt x="8" y="12"/>
                </a:lnTo>
                <a:lnTo>
                  <a:pt x="8" y="12"/>
                </a:lnTo>
                <a:lnTo>
                  <a:pt x="8" y="12"/>
                </a:lnTo>
                <a:lnTo>
                  <a:pt x="8" y="12"/>
                </a:lnTo>
                <a:lnTo>
                  <a:pt x="8" y="12"/>
                </a:lnTo>
                <a:lnTo>
                  <a:pt x="8" y="12"/>
                </a:lnTo>
                <a:lnTo>
                  <a:pt x="8" y="12"/>
                </a:lnTo>
                <a:lnTo>
                  <a:pt x="8" y="8"/>
                </a:lnTo>
                <a:lnTo>
                  <a:pt x="8" y="8"/>
                </a:lnTo>
                <a:lnTo>
                  <a:pt x="8" y="8"/>
                </a:lnTo>
                <a:lnTo>
                  <a:pt x="8" y="8"/>
                </a:lnTo>
                <a:lnTo>
                  <a:pt x="4" y="4"/>
                </a:lnTo>
                <a:lnTo>
                  <a:pt x="4" y="4"/>
                </a:lnTo>
                <a:lnTo>
                  <a:pt x="4" y="4"/>
                </a:lnTo>
                <a:lnTo>
                  <a:pt x="8" y="4"/>
                </a:lnTo>
                <a:lnTo>
                  <a:pt x="8" y="4"/>
                </a:lnTo>
                <a:lnTo>
                  <a:pt x="8" y="4"/>
                </a:lnTo>
                <a:lnTo>
                  <a:pt x="12" y="4"/>
                </a:lnTo>
                <a:lnTo>
                  <a:pt x="12" y="4"/>
                </a:lnTo>
                <a:lnTo>
                  <a:pt x="12" y="4"/>
                </a:lnTo>
                <a:lnTo>
                  <a:pt x="16" y="0"/>
                </a:lnTo>
                <a:lnTo>
                  <a:pt x="16" y="0"/>
                </a:lnTo>
                <a:lnTo>
                  <a:pt x="16" y="0"/>
                </a:lnTo>
                <a:lnTo>
                  <a:pt x="16" y="0"/>
                </a:lnTo>
                <a:lnTo>
                  <a:pt x="20" y="0"/>
                </a:lnTo>
                <a:lnTo>
                  <a:pt x="20" y="0"/>
                </a:lnTo>
                <a:lnTo>
                  <a:pt x="20" y="0"/>
                </a:lnTo>
                <a:lnTo>
                  <a:pt x="20" y="0"/>
                </a:lnTo>
                <a:lnTo>
                  <a:pt x="24" y="0"/>
                </a:lnTo>
                <a:lnTo>
                  <a:pt x="24" y="0"/>
                </a:lnTo>
                <a:lnTo>
                  <a:pt x="26" y="0"/>
                </a:lnTo>
                <a:lnTo>
                  <a:pt x="26" y="0"/>
                </a:lnTo>
                <a:lnTo>
                  <a:pt x="26" y="0"/>
                </a:lnTo>
                <a:lnTo>
                  <a:pt x="26" y="0"/>
                </a:lnTo>
                <a:lnTo>
                  <a:pt x="26" y="4"/>
                </a:lnTo>
                <a:lnTo>
                  <a:pt x="26" y="4"/>
                </a:lnTo>
                <a:lnTo>
                  <a:pt x="30" y="4"/>
                </a:lnTo>
                <a:lnTo>
                  <a:pt x="30" y="4"/>
                </a:lnTo>
                <a:lnTo>
                  <a:pt x="30" y="4"/>
                </a:lnTo>
                <a:lnTo>
                  <a:pt x="30" y="8"/>
                </a:lnTo>
                <a:lnTo>
                  <a:pt x="30" y="8"/>
                </a:lnTo>
                <a:lnTo>
                  <a:pt x="34" y="8"/>
                </a:lnTo>
                <a:lnTo>
                  <a:pt x="34" y="8"/>
                </a:lnTo>
                <a:lnTo>
                  <a:pt x="34" y="8"/>
                </a:lnTo>
                <a:lnTo>
                  <a:pt x="34" y="8"/>
                </a:lnTo>
                <a:lnTo>
                  <a:pt x="34" y="12"/>
                </a:lnTo>
                <a:lnTo>
                  <a:pt x="34" y="12"/>
                </a:lnTo>
                <a:lnTo>
                  <a:pt x="34" y="12"/>
                </a:lnTo>
                <a:lnTo>
                  <a:pt x="34" y="12"/>
                </a:lnTo>
                <a:lnTo>
                  <a:pt x="34" y="12"/>
                </a:lnTo>
                <a:lnTo>
                  <a:pt x="38" y="16"/>
                </a:lnTo>
                <a:lnTo>
                  <a:pt x="38" y="16"/>
                </a:lnTo>
                <a:lnTo>
                  <a:pt x="42" y="20"/>
                </a:lnTo>
                <a:lnTo>
                  <a:pt x="42" y="20"/>
                </a:lnTo>
                <a:lnTo>
                  <a:pt x="42" y="20"/>
                </a:lnTo>
                <a:lnTo>
                  <a:pt x="42" y="20"/>
                </a:lnTo>
                <a:lnTo>
                  <a:pt x="46" y="20"/>
                </a:lnTo>
                <a:lnTo>
                  <a:pt x="46" y="20"/>
                </a:lnTo>
                <a:lnTo>
                  <a:pt x="42" y="24"/>
                </a:lnTo>
                <a:lnTo>
                  <a:pt x="42" y="24"/>
                </a:lnTo>
                <a:lnTo>
                  <a:pt x="42" y="24"/>
                </a:lnTo>
                <a:lnTo>
                  <a:pt x="42" y="24"/>
                </a:lnTo>
                <a:lnTo>
                  <a:pt x="42" y="24"/>
                </a:lnTo>
                <a:lnTo>
                  <a:pt x="42" y="24"/>
                </a:lnTo>
                <a:lnTo>
                  <a:pt x="46" y="24"/>
                </a:lnTo>
                <a:lnTo>
                  <a:pt x="46" y="28"/>
                </a:lnTo>
                <a:lnTo>
                  <a:pt x="46" y="28"/>
                </a:lnTo>
                <a:lnTo>
                  <a:pt x="46" y="28"/>
                </a:lnTo>
                <a:lnTo>
                  <a:pt x="46" y="28"/>
                </a:lnTo>
                <a:lnTo>
                  <a:pt x="42" y="28"/>
                </a:lnTo>
                <a:lnTo>
                  <a:pt x="42" y="28"/>
                </a:lnTo>
                <a:lnTo>
                  <a:pt x="42" y="28"/>
                </a:lnTo>
                <a:lnTo>
                  <a:pt x="42" y="28"/>
                </a:lnTo>
                <a:lnTo>
                  <a:pt x="42" y="28"/>
                </a:lnTo>
                <a:lnTo>
                  <a:pt x="42" y="28"/>
                </a:lnTo>
                <a:lnTo>
                  <a:pt x="42" y="28"/>
                </a:lnTo>
                <a:lnTo>
                  <a:pt x="46" y="28"/>
                </a:lnTo>
                <a:lnTo>
                  <a:pt x="46" y="28"/>
                </a:lnTo>
                <a:lnTo>
                  <a:pt x="46" y="28"/>
                </a:lnTo>
                <a:lnTo>
                  <a:pt x="46" y="30"/>
                </a:lnTo>
                <a:lnTo>
                  <a:pt x="46" y="30"/>
                </a:lnTo>
                <a:lnTo>
                  <a:pt x="46" y="30"/>
                </a:lnTo>
                <a:lnTo>
                  <a:pt x="46" y="30"/>
                </a:lnTo>
                <a:lnTo>
                  <a:pt x="50" y="30"/>
                </a:lnTo>
                <a:lnTo>
                  <a:pt x="50" y="30"/>
                </a:lnTo>
                <a:lnTo>
                  <a:pt x="50" y="30"/>
                </a:lnTo>
                <a:lnTo>
                  <a:pt x="52" y="30"/>
                </a:lnTo>
                <a:lnTo>
                  <a:pt x="52" y="30"/>
                </a:lnTo>
                <a:lnTo>
                  <a:pt x="52" y="30"/>
                </a:lnTo>
                <a:lnTo>
                  <a:pt x="52" y="34"/>
                </a:lnTo>
                <a:lnTo>
                  <a:pt x="52" y="34"/>
                </a:lnTo>
                <a:lnTo>
                  <a:pt x="52" y="34"/>
                </a:lnTo>
                <a:lnTo>
                  <a:pt x="52" y="30"/>
                </a:lnTo>
                <a:lnTo>
                  <a:pt x="56" y="30"/>
                </a:lnTo>
                <a:lnTo>
                  <a:pt x="56" y="30"/>
                </a:lnTo>
                <a:lnTo>
                  <a:pt x="56" y="30"/>
                </a:lnTo>
                <a:lnTo>
                  <a:pt x="56" y="30"/>
                </a:lnTo>
                <a:lnTo>
                  <a:pt x="56" y="30"/>
                </a:lnTo>
                <a:lnTo>
                  <a:pt x="56" y="30"/>
                </a:lnTo>
                <a:lnTo>
                  <a:pt x="56" y="30"/>
                </a:lnTo>
                <a:lnTo>
                  <a:pt x="60" y="30"/>
                </a:lnTo>
                <a:lnTo>
                  <a:pt x="60" y="30"/>
                </a:lnTo>
                <a:lnTo>
                  <a:pt x="60" y="30"/>
                </a:lnTo>
                <a:lnTo>
                  <a:pt x="60" y="30"/>
                </a:lnTo>
                <a:lnTo>
                  <a:pt x="60" y="30"/>
                </a:lnTo>
                <a:lnTo>
                  <a:pt x="60" y="30"/>
                </a:lnTo>
                <a:lnTo>
                  <a:pt x="60" y="30"/>
                </a:lnTo>
                <a:lnTo>
                  <a:pt x="60" y="34"/>
                </a:lnTo>
                <a:lnTo>
                  <a:pt x="60" y="34"/>
                </a:lnTo>
                <a:lnTo>
                  <a:pt x="60" y="34"/>
                </a:lnTo>
                <a:lnTo>
                  <a:pt x="60" y="34"/>
                </a:lnTo>
                <a:lnTo>
                  <a:pt x="60" y="30"/>
                </a:lnTo>
                <a:lnTo>
                  <a:pt x="60" y="30"/>
                </a:lnTo>
                <a:lnTo>
                  <a:pt x="56" y="34"/>
                </a:lnTo>
                <a:lnTo>
                  <a:pt x="56" y="34"/>
                </a:lnTo>
                <a:lnTo>
                  <a:pt x="60" y="38"/>
                </a:lnTo>
                <a:lnTo>
                  <a:pt x="60" y="38"/>
                </a:lnTo>
                <a:lnTo>
                  <a:pt x="60" y="38"/>
                </a:lnTo>
                <a:lnTo>
                  <a:pt x="60" y="38"/>
                </a:lnTo>
                <a:lnTo>
                  <a:pt x="60" y="38"/>
                </a:lnTo>
                <a:lnTo>
                  <a:pt x="60" y="38"/>
                </a:lnTo>
                <a:lnTo>
                  <a:pt x="60" y="38"/>
                </a:lnTo>
                <a:lnTo>
                  <a:pt x="60" y="38"/>
                </a:lnTo>
                <a:lnTo>
                  <a:pt x="60" y="38"/>
                </a:lnTo>
                <a:lnTo>
                  <a:pt x="60" y="38"/>
                </a:lnTo>
                <a:lnTo>
                  <a:pt x="60" y="42"/>
                </a:lnTo>
                <a:lnTo>
                  <a:pt x="60" y="42"/>
                </a:lnTo>
                <a:lnTo>
                  <a:pt x="60" y="42"/>
                </a:lnTo>
                <a:lnTo>
                  <a:pt x="56" y="42"/>
                </a:lnTo>
                <a:lnTo>
                  <a:pt x="56" y="46"/>
                </a:lnTo>
                <a:lnTo>
                  <a:pt x="56" y="50"/>
                </a:lnTo>
                <a:lnTo>
                  <a:pt x="60" y="54"/>
                </a:lnTo>
                <a:lnTo>
                  <a:pt x="60" y="54"/>
                </a:lnTo>
                <a:lnTo>
                  <a:pt x="60" y="58"/>
                </a:lnTo>
                <a:lnTo>
                  <a:pt x="60" y="58"/>
                </a:lnTo>
                <a:lnTo>
                  <a:pt x="60" y="58"/>
                </a:lnTo>
                <a:lnTo>
                  <a:pt x="64" y="58"/>
                </a:lnTo>
                <a:lnTo>
                  <a:pt x="64" y="58"/>
                </a:lnTo>
                <a:lnTo>
                  <a:pt x="64" y="60"/>
                </a:lnTo>
                <a:lnTo>
                  <a:pt x="64" y="60"/>
                </a:lnTo>
                <a:lnTo>
                  <a:pt x="64" y="60"/>
                </a:lnTo>
                <a:lnTo>
                  <a:pt x="64" y="60"/>
                </a:lnTo>
                <a:lnTo>
                  <a:pt x="64" y="60"/>
                </a:lnTo>
                <a:lnTo>
                  <a:pt x="60" y="64"/>
                </a:lnTo>
                <a:lnTo>
                  <a:pt x="60" y="64"/>
                </a:lnTo>
                <a:lnTo>
                  <a:pt x="60" y="64"/>
                </a:lnTo>
                <a:lnTo>
                  <a:pt x="60" y="64"/>
                </a:lnTo>
                <a:lnTo>
                  <a:pt x="56" y="64"/>
                </a:lnTo>
                <a:lnTo>
                  <a:pt x="56" y="68"/>
                </a:lnTo>
                <a:lnTo>
                  <a:pt x="56" y="72"/>
                </a:lnTo>
                <a:lnTo>
                  <a:pt x="56" y="72"/>
                </a:lnTo>
                <a:lnTo>
                  <a:pt x="56" y="72"/>
                </a:lnTo>
                <a:lnTo>
                  <a:pt x="60" y="72"/>
                </a:lnTo>
                <a:lnTo>
                  <a:pt x="60" y="72"/>
                </a:lnTo>
                <a:lnTo>
                  <a:pt x="60" y="76"/>
                </a:lnTo>
                <a:lnTo>
                  <a:pt x="56" y="76"/>
                </a:lnTo>
                <a:lnTo>
                  <a:pt x="56" y="76"/>
                </a:lnTo>
                <a:lnTo>
                  <a:pt x="56" y="76"/>
                </a:lnTo>
                <a:lnTo>
                  <a:pt x="56" y="76"/>
                </a:lnTo>
                <a:lnTo>
                  <a:pt x="56" y="76"/>
                </a:lnTo>
                <a:lnTo>
                  <a:pt x="52" y="76"/>
                </a:lnTo>
                <a:lnTo>
                  <a:pt x="52" y="76"/>
                </a:lnTo>
                <a:lnTo>
                  <a:pt x="52" y="76"/>
                </a:lnTo>
                <a:lnTo>
                  <a:pt x="52" y="76"/>
                </a:lnTo>
                <a:lnTo>
                  <a:pt x="50" y="76"/>
                </a:lnTo>
                <a:lnTo>
                  <a:pt x="50" y="76"/>
                </a:lnTo>
                <a:lnTo>
                  <a:pt x="50" y="78"/>
                </a:lnTo>
                <a:lnTo>
                  <a:pt x="46" y="78"/>
                </a:lnTo>
                <a:lnTo>
                  <a:pt x="46" y="78"/>
                </a:lnTo>
                <a:lnTo>
                  <a:pt x="46" y="78"/>
                </a:lnTo>
                <a:lnTo>
                  <a:pt x="46" y="78"/>
                </a:lnTo>
                <a:lnTo>
                  <a:pt x="42" y="78"/>
                </a:lnTo>
                <a:lnTo>
                  <a:pt x="42" y="78"/>
                </a:lnTo>
                <a:lnTo>
                  <a:pt x="42" y="78"/>
                </a:lnTo>
                <a:lnTo>
                  <a:pt x="42" y="78"/>
                </a:lnTo>
                <a:lnTo>
                  <a:pt x="38" y="78"/>
                </a:lnTo>
                <a:lnTo>
                  <a:pt x="38" y="78"/>
                </a:lnTo>
                <a:lnTo>
                  <a:pt x="34" y="78"/>
                </a:lnTo>
                <a:lnTo>
                  <a:pt x="34" y="82"/>
                </a:lnTo>
                <a:lnTo>
                  <a:pt x="34" y="82"/>
                </a:lnTo>
                <a:lnTo>
                  <a:pt x="34" y="82"/>
                </a:lnTo>
                <a:lnTo>
                  <a:pt x="34" y="82"/>
                </a:lnTo>
                <a:lnTo>
                  <a:pt x="34" y="86"/>
                </a:lnTo>
                <a:lnTo>
                  <a:pt x="34" y="86"/>
                </a:lnTo>
                <a:lnTo>
                  <a:pt x="30" y="86"/>
                </a:lnTo>
                <a:lnTo>
                  <a:pt x="30" y="86"/>
                </a:lnTo>
                <a:lnTo>
                  <a:pt x="30" y="82"/>
                </a:lnTo>
                <a:lnTo>
                  <a:pt x="30" y="82"/>
                </a:lnTo>
                <a:lnTo>
                  <a:pt x="30" y="82"/>
                </a:lnTo>
                <a:lnTo>
                  <a:pt x="30" y="82"/>
                </a:lnTo>
                <a:lnTo>
                  <a:pt x="30" y="78"/>
                </a:lnTo>
                <a:lnTo>
                  <a:pt x="30" y="78"/>
                </a:lnTo>
                <a:lnTo>
                  <a:pt x="30" y="78"/>
                </a:lnTo>
                <a:lnTo>
                  <a:pt x="26" y="76"/>
                </a:lnTo>
                <a:lnTo>
                  <a:pt x="26" y="76"/>
                </a:lnTo>
                <a:lnTo>
                  <a:pt x="26" y="76"/>
                </a:lnTo>
                <a:lnTo>
                  <a:pt x="26" y="76"/>
                </a:lnTo>
                <a:lnTo>
                  <a:pt x="26" y="76"/>
                </a:lnTo>
                <a:lnTo>
                  <a:pt x="26" y="72"/>
                </a:lnTo>
                <a:lnTo>
                  <a:pt x="24" y="72"/>
                </a:lnTo>
                <a:lnTo>
                  <a:pt x="24" y="72"/>
                </a:lnTo>
                <a:lnTo>
                  <a:pt x="24" y="72"/>
                </a:lnTo>
                <a:lnTo>
                  <a:pt x="24" y="72"/>
                </a:lnTo>
                <a:lnTo>
                  <a:pt x="20" y="76"/>
                </a:lnTo>
                <a:lnTo>
                  <a:pt x="20" y="72"/>
                </a:lnTo>
                <a:lnTo>
                  <a:pt x="20" y="72"/>
                </a:lnTo>
                <a:lnTo>
                  <a:pt x="20" y="72"/>
                </a:lnTo>
                <a:lnTo>
                  <a:pt x="20" y="72"/>
                </a:lnTo>
                <a:lnTo>
                  <a:pt x="20" y="72"/>
                </a:lnTo>
                <a:lnTo>
                  <a:pt x="20" y="72"/>
                </a:lnTo>
                <a:lnTo>
                  <a:pt x="20" y="72"/>
                </a:lnTo>
                <a:lnTo>
                  <a:pt x="20" y="72"/>
                </a:lnTo>
                <a:lnTo>
                  <a:pt x="16" y="72"/>
                </a:lnTo>
                <a:lnTo>
                  <a:pt x="16" y="72"/>
                </a:lnTo>
                <a:lnTo>
                  <a:pt x="16" y="76"/>
                </a:lnTo>
                <a:lnTo>
                  <a:pt x="12" y="78"/>
                </a:lnTo>
                <a:lnTo>
                  <a:pt x="12" y="78"/>
                </a:lnTo>
                <a:lnTo>
                  <a:pt x="16" y="78"/>
                </a:lnTo>
                <a:lnTo>
                  <a:pt x="16" y="78"/>
                </a:lnTo>
                <a:lnTo>
                  <a:pt x="16" y="82"/>
                </a:lnTo>
                <a:lnTo>
                  <a:pt x="12" y="82"/>
                </a:lnTo>
                <a:lnTo>
                  <a:pt x="12" y="82"/>
                </a:lnTo>
                <a:lnTo>
                  <a:pt x="16" y="86"/>
                </a:lnTo>
                <a:lnTo>
                  <a:pt x="12" y="86"/>
                </a:lnTo>
                <a:lnTo>
                  <a:pt x="12" y="86"/>
                </a:lnTo>
                <a:lnTo>
                  <a:pt x="12" y="82"/>
                </a:lnTo>
                <a:lnTo>
                  <a:pt x="12" y="82"/>
                </a:lnTo>
                <a:lnTo>
                  <a:pt x="12" y="82"/>
                </a:lnTo>
                <a:lnTo>
                  <a:pt x="12" y="82"/>
                </a:lnTo>
                <a:lnTo>
                  <a:pt x="12" y="82"/>
                </a:lnTo>
                <a:lnTo>
                  <a:pt x="12" y="82"/>
                </a:lnTo>
                <a:lnTo>
                  <a:pt x="8" y="78"/>
                </a:lnTo>
                <a:lnTo>
                  <a:pt x="8" y="78"/>
                </a:lnTo>
                <a:lnTo>
                  <a:pt x="8" y="78"/>
                </a:lnTo>
                <a:lnTo>
                  <a:pt x="8" y="78"/>
                </a:lnTo>
                <a:lnTo>
                  <a:pt x="8" y="78"/>
                </a:lnTo>
                <a:lnTo>
                  <a:pt x="8" y="76"/>
                </a:lnTo>
                <a:lnTo>
                  <a:pt x="4" y="78"/>
                </a:lnTo>
                <a:lnTo>
                  <a:pt x="4" y="76"/>
                </a:lnTo>
                <a:lnTo>
                  <a:pt x="4" y="76"/>
                </a:lnTo>
                <a:lnTo>
                  <a:pt x="4" y="76"/>
                </a:lnTo>
                <a:lnTo>
                  <a:pt x="0" y="76"/>
                </a:lnTo>
                <a:lnTo>
                  <a:pt x="4" y="76"/>
                </a:lnTo>
                <a:lnTo>
                  <a:pt x="4" y="76"/>
                </a:lnTo>
                <a:lnTo>
                  <a:pt x="4" y="76"/>
                </a:lnTo>
                <a:lnTo>
                  <a:pt x="4" y="76"/>
                </a:lnTo>
                <a:lnTo>
                  <a:pt x="4" y="76"/>
                </a:lnTo>
                <a:lnTo>
                  <a:pt x="0" y="76"/>
                </a:lnTo>
                <a:lnTo>
                  <a:pt x="0" y="76"/>
                </a:lnTo>
                <a:lnTo>
                  <a:pt x="0" y="76"/>
                </a:lnTo>
                <a:lnTo>
                  <a:pt x="0" y="76"/>
                </a:lnTo>
                <a:lnTo>
                  <a:pt x="0" y="72"/>
                </a:lnTo>
                <a:lnTo>
                  <a:pt x="0" y="72"/>
                </a:lnTo>
                <a:lnTo>
                  <a:pt x="0" y="72"/>
                </a:lnTo>
                <a:lnTo>
                  <a:pt x="0" y="72"/>
                </a:lnTo>
                <a:lnTo>
                  <a:pt x="0" y="72"/>
                </a:lnTo>
                <a:close/>
              </a:path>
            </a:pathLst>
          </a:custGeom>
          <a:solidFill>
            <a:srgbClr val="A0DCFF"/>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13" name="Freeform 120"/>
          <p:cNvSpPr>
            <a:spLocks/>
          </p:cNvSpPr>
          <p:nvPr/>
        </p:nvSpPr>
        <p:spPr bwMode="auto">
          <a:xfrm>
            <a:off x="4541044" y="2621756"/>
            <a:ext cx="97631" cy="45244"/>
          </a:xfrm>
          <a:custGeom>
            <a:avLst/>
            <a:gdLst>
              <a:gd name="T0" fmla="*/ 30 w 82"/>
              <a:gd name="T1" fmla="*/ 30 h 38"/>
              <a:gd name="T2" fmla="*/ 26 w 82"/>
              <a:gd name="T3" fmla="*/ 34 h 38"/>
              <a:gd name="T4" fmla="*/ 30 w 82"/>
              <a:gd name="T5" fmla="*/ 38 h 38"/>
              <a:gd name="T6" fmla="*/ 26 w 82"/>
              <a:gd name="T7" fmla="*/ 38 h 38"/>
              <a:gd name="T8" fmla="*/ 22 w 82"/>
              <a:gd name="T9" fmla="*/ 38 h 38"/>
              <a:gd name="T10" fmla="*/ 22 w 82"/>
              <a:gd name="T11" fmla="*/ 38 h 38"/>
              <a:gd name="T12" fmla="*/ 20 w 82"/>
              <a:gd name="T13" fmla="*/ 38 h 38"/>
              <a:gd name="T14" fmla="*/ 16 w 82"/>
              <a:gd name="T15" fmla="*/ 38 h 38"/>
              <a:gd name="T16" fmla="*/ 8 w 82"/>
              <a:gd name="T17" fmla="*/ 34 h 38"/>
              <a:gd name="T18" fmla="*/ 8 w 82"/>
              <a:gd name="T19" fmla="*/ 34 h 38"/>
              <a:gd name="T20" fmla="*/ 4 w 82"/>
              <a:gd name="T21" fmla="*/ 34 h 38"/>
              <a:gd name="T22" fmla="*/ 4 w 82"/>
              <a:gd name="T23" fmla="*/ 30 h 38"/>
              <a:gd name="T24" fmla="*/ 0 w 82"/>
              <a:gd name="T25" fmla="*/ 26 h 38"/>
              <a:gd name="T26" fmla="*/ 0 w 82"/>
              <a:gd name="T27" fmla="*/ 22 h 38"/>
              <a:gd name="T28" fmla="*/ 0 w 82"/>
              <a:gd name="T29" fmla="*/ 18 h 38"/>
              <a:gd name="T30" fmla="*/ 4 w 82"/>
              <a:gd name="T31" fmla="*/ 14 h 38"/>
              <a:gd name="T32" fmla="*/ 8 w 82"/>
              <a:gd name="T33" fmla="*/ 14 h 38"/>
              <a:gd name="T34" fmla="*/ 12 w 82"/>
              <a:gd name="T35" fmla="*/ 14 h 38"/>
              <a:gd name="T36" fmla="*/ 16 w 82"/>
              <a:gd name="T37" fmla="*/ 12 h 38"/>
              <a:gd name="T38" fmla="*/ 20 w 82"/>
              <a:gd name="T39" fmla="*/ 8 h 38"/>
              <a:gd name="T40" fmla="*/ 20 w 82"/>
              <a:gd name="T41" fmla="*/ 8 h 38"/>
              <a:gd name="T42" fmla="*/ 22 w 82"/>
              <a:gd name="T43" fmla="*/ 4 h 38"/>
              <a:gd name="T44" fmla="*/ 30 w 82"/>
              <a:gd name="T45" fmla="*/ 0 h 38"/>
              <a:gd name="T46" fmla="*/ 30 w 82"/>
              <a:gd name="T47" fmla="*/ 4 h 38"/>
              <a:gd name="T48" fmla="*/ 34 w 82"/>
              <a:gd name="T49" fmla="*/ 0 h 38"/>
              <a:gd name="T50" fmla="*/ 38 w 82"/>
              <a:gd name="T51" fmla="*/ 0 h 38"/>
              <a:gd name="T52" fmla="*/ 42 w 82"/>
              <a:gd name="T53" fmla="*/ 4 h 38"/>
              <a:gd name="T54" fmla="*/ 42 w 82"/>
              <a:gd name="T55" fmla="*/ 8 h 38"/>
              <a:gd name="T56" fmla="*/ 42 w 82"/>
              <a:gd name="T57" fmla="*/ 8 h 38"/>
              <a:gd name="T58" fmla="*/ 46 w 82"/>
              <a:gd name="T59" fmla="*/ 8 h 38"/>
              <a:gd name="T60" fmla="*/ 46 w 82"/>
              <a:gd name="T61" fmla="*/ 8 h 38"/>
              <a:gd name="T62" fmla="*/ 48 w 82"/>
              <a:gd name="T63" fmla="*/ 4 h 38"/>
              <a:gd name="T64" fmla="*/ 56 w 82"/>
              <a:gd name="T65" fmla="*/ 4 h 38"/>
              <a:gd name="T66" fmla="*/ 60 w 82"/>
              <a:gd name="T67" fmla="*/ 8 h 38"/>
              <a:gd name="T68" fmla="*/ 64 w 82"/>
              <a:gd name="T69" fmla="*/ 4 h 38"/>
              <a:gd name="T70" fmla="*/ 68 w 82"/>
              <a:gd name="T71" fmla="*/ 4 h 38"/>
              <a:gd name="T72" fmla="*/ 72 w 82"/>
              <a:gd name="T73" fmla="*/ 4 h 38"/>
              <a:gd name="T74" fmla="*/ 74 w 82"/>
              <a:gd name="T75" fmla="*/ 8 h 38"/>
              <a:gd name="T76" fmla="*/ 82 w 82"/>
              <a:gd name="T77" fmla="*/ 12 h 38"/>
              <a:gd name="T78" fmla="*/ 78 w 82"/>
              <a:gd name="T79" fmla="*/ 14 h 38"/>
              <a:gd name="T80" fmla="*/ 74 w 82"/>
              <a:gd name="T81" fmla="*/ 22 h 38"/>
              <a:gd name="T82" fmla="*/ 74 w 82"/>
              <a:gd name="T83" fmla="*/ 26 h 38"/>
              <a:gd name="T84" fmla="*/ 72 w 82"/>
              <a:gd name="T85" fmla="*/ 26 h 38"/>
              <a:gd name="T86" fmla="*/ 68 w 82"/>
              <a:gd name="T87" fmla="*/ 26 h 38"/>
              <a:gd name="T88" fmla="*/ 64 w 82"/>
              <a:gd name="T89" fmla="*/ 22 h 38"/>
              <a:gd name="T90" fmla="*/ 60 w 82"/>
              <a:gd name="T91" fmla="*/ 22 h 38"/>
              <a:gd name="T92" fmla="*/ 56 w 82"/>
              <a:gd name="T93" fmla="*/ 22 h 38"/>
              <a:gd name="T94" fmla="*/ 52 w 82"/>
              <a:gd name="T95" fmla="*/ 22 h 38"/>
              <a:gd name="T96" fmla="*/ 48 w 82"/>
              <a:gd name="T97" fmla="*/ 26 h 38"/>
              <a:gd name="T98" fmla="*/ 48 w 82"/>
              <a:gd name="T99" fmla="*/ 26 h 38"/>
              <a:gd name="T100" fmla="*/ 46 w 82"/>
              <a:gd name="T101" fmla="*/ 30 h 38"/>
              <a:gd name="T102" fmla="*/ 46 w 82"/>
              <a:gd name="T103" fmla="*/ 30 h 38"/>
              <a:gd name="T104" fmla="*/ 42 w 82"/>
              <a:gd name="T105" fmla="*/ 30 h 38"/>
              <a:gd name="T106" fmla="*/ 38 w 82"/>
              <a:gd name="T107" fmla="*/ 30 h 38"/>
              <a:gd name="T108" fmla="*/ 30 w 82"/>
              <a:gd name="T109" fmla="*/ 3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2" h="38">
                <a:moveTo>
                  <a:pt x="30" y="30"/>
                </a:moveTo>
                <a:lnTo>
                  <a:pt x="30" y="30"/>
                </a:lnTo>
                <a:lnTo>
                  <a:pt x="30" y="30"/>
                </a:lnTo>
                <a:lnTo>
                  <a:pt x="30" y="30"/>
                </a:lnTo>
                <a:lnTo>
                  <a:pt x="30" y="34"/>
                </a:lnTo>
                <a:lnTo>
                  <a:pt x="26" y="34"/>
                </a:lnTo>
                <a:lnTo>
                  <a:pt x="26" y="34"/>
                </a:lnTo>
                <a:lnTo>
                  <a:pt x="26" y="34"/>
                </a:lnTo>
                <a:lnTo>
                  <a:pt x="26" y="34"/>
                </a:lnTo>
                <a:lnTo>
                  <a:pt x="26" y="38"/>
                </a:lnTo>
                <a:lnTo>
                  <a:pt x="30" y="38"/>
                </a:lnTo>
                <a:lnTo>
                  <a:pt x="30" y="38"/>
                </a:lnTo>
                <a:lnTo>
                  <a:pt x="26" y="38"/>
                </a:lnTo>
                <a:lnTo>
                  <a:pt x="26" y="38"/>
                </a:lnTo>
                <a:lnTo>
                  <a:pt x="26" y="38"/>
                </a:lnTo>
                <a:lnTo>
                  <a:pt x="26" y="38"/>
                </a:lnTo>
                <a:lnTo>
                  <a:pt x="26" y="38"/>
                </a:lnTo>
                <a:lnTo>
                  <a:pt x="26" y="38"/>
                </a:lnTo>
                <a:lnTo>
                  <a:pt x="26" y="38"/>
                </a:lnTo>
                <a:lnTo>
                  <a:pt x="22" y="38"/>
                </a:lnTo>
                <a:lnTo>
                  <a:pt x="22" y="38"/>
                </a:lnTo>
                <a:lnTo>
                  <a:pt x="22" y="38"/>
                </a:lnTo>
                <a:lnTo>
                  <a:pt x="22" y="38"/>
                </a:lnTo>
                <a:lnTo>
                  <a:pt x="22" y="38"/>
                </a:lnTo>
                <a:lnTo>
                  <a:pt x="20" y="38"/>
                </a:lnTo>
                <a:lnTo>
                  <a:pt x="20" y="38"/>
                </a:lnTo>
                <a:lnTo>
                  <a:pt x="20" y="38"/>
                </a:lnTo>
                <a:lnTo>
                  <a:pt x="20" y="38"/>
                </a:lnTo>
                <a:lnTo>
                  <a:pt x="16" y="38"/>
                </a:lnTo>
                <a:lnTo>
                  <a:pt x="16" y="38"/>
                </a:lnTo>
                <a:lnTo>
                  <a:pt x="16" y="38"/>
                </a:lnTo>
                <a:lnTo>
                  <a:pt x="16" y="38"/>
                </a:lnTo>
                <a:lnTo>
                  <a:pt x="12" y="38"/>
                </a:lnTo>
                <a:lnTo>
                  <a:pt x="8" y="34"/>
                </a:lnTo>
                <a:lnTo>
                  <a:pt x="8" y="34"/>
                </a:lnTo>
                <a:lnTo>
                  <a:pt x="8" y="34"/>
                </a:lnTo>
                <a:lnTo>
                  <a:pt x="8" y="34"/>
                </a:lnTo>
                <a:lnTo>
                  <a:pt x="8" y="34"/>
                </a:lnTo>
                <a:lnTo>
                  <a:pt x="8" y="34"/>
                </a:lnTo>
                <a:lnTo>
                  <a:pt x="8" y="34"/>
                </a:lnTo>
                <a:lnTo>
                  <a:pt x="4" y="34"/>
                </a:lnTo>
                <a:lnTo>
                  <a:pt x="4" y="34"/>
                </a:lnTo>
                <a:lnTo>
                  <a:pt x="4" y="34"/>
                </a:lnTo>
                <a:lnTo>
                  <a:pt x="4" y="34"/>
                </a:lnTo>
                <a:lnTo>
                  <a:pt x="4" y="34"/>
                </a:lnTo>
                <a:lnTo>
                  <a:pt x="4" y="30"/>
                </a:lnTo>
                <a:lnTo>
                  <a:pt x="4" y="30"/>
                </a:lnTo>
                <a:lnTo>
                  <a:pt x="4" y="30"/>
                </a:lnTo>
                <a:lnTo>
                  <a:pt x="4" y="30"/>
                </a:lnTo>
                <a:lnTo>
                  <a:pt x="0" y="30"/>
                </a:lnTo>
                <a:lnTo>
                  <a:pt x="0" y="26"/>
                </a:lnTo>
                <a:lnTo>
                  <a:pt x="0" y="26"/>
                </a:lnTo>
                <a:lnTo>
                  <a:pt x="0" y="26"/>
                </a:lnTo>
                <a:lnTo>
                  <a:pt x="0" y="26"/>
                </a:lnTo>
                <a:lnTo>
                  <a:pt x="0" y="22"/>
                </a:lnTo>
                <a:lnTo>
                  <a:pt x="0" y="22"/>
                </a:lnTo>
                <a:lnTo>
                  <a:pt x="0" y="22"/>
                </a:lnTo>
                <a:lnTo>
                  <a:pt x="0" y="22"/>
                </a:lnTo>
                <a:lnTo>
                  <a:pt x="0" y="22"/>
                </a:lnTo>
                <a:lnTo>
                  <a:pt x="0" y="18"/>
                </a:lnTo>
                <a:lnTo>
                  <a:pt x="0" y="18"/>
                </a:lnTo>
                <a:lnTo>
                  <a:pt x="4" y="18"/>
                </a:lnTo>
                <a:lnTo>
                  <a:pt x="4" y="18"/>
                </a:lnTo>
                <a:lnTo>
                  <a:pt x="4" y="14"/>
                </a:lnTo>
                <a:lnTo>
                  <a:pt x="4" y="14"/>
                </a:lnTo>
                <a:lnTo>
                  <a:pt x="4" y="14"/>
                </a:lnTo>
                <a:lnTo>
                  <a:pt x="8" y="14"/>
                </a:lnTo>
                <a:lnTo>
                  <a:pt x="8" y="14"/>
                </a:lnTo>
                <a:lnTo>
                  <a:pt x="8" y="14"/>
                </a:lnTo>
                <a:lnTo>
                  <a:pt x="8" y="14"/>
                </a:lnTo>
                <a:lnTo>
                  <a:pt x="12" y="14"/>
                </a:lnTo>
                <a:lnTo>
                  <a:pt x="12" y="14"/>
                </a:lnTo>
                <a:lnTo>
                  <a:pt x="12" y="14"/>
                </a:lnTo>
                <a:lnTo>
                  <a:pt x="12" y="14"/>
                </a:lnTo>
                <a:lnTo>
                  <a:pt x="16" y="14"/>
                </a:lnTo>
                <a:lnTo>
                  <a:pt x="16" y="12"/>
                </a:lnTo>
                <a:lnTo>
                  <a:pt x="20" y="12"/>
                </a:lnTo>
                <a:lnTo>
                  <a:pt x="20" y="12"/>
                </a:lnTo>
                <a:lnTo>
                  <a:pt x="20" y="12"/>
                </a:lnTo>
                <a:lnTo>
                  <a:pt x="20" y="8"/>
                </a:lnTo>
                <a:lnTo>
                  <a:pt x="20" y="8"/>
                </a:lnTo>
                <a:lnTo>
                  <a:pt x="20" y="8"/>
                </a:lnTo>
                <a:lnTo>
                  <a:pt x="20" y="8"/>
                </a:lnTo>
                <a:lnTo>
                  <a:pt x="20" y="8"/>
                </a:lnTo>
                <a:lnTo>
                  <a:pt x="20" y="8"/>
                </a:lnTo>
                <a:lnTo>
                  <a:pt x="20" y="8"/>
                </a:lnTo>
                <a:lnTo>
                  <a:pt x="22" y="4"/>
                </a:lnTo>
                <a:lnTo>
                  <a:pt x="22" y="4"/>
                </a:lnTo>
                <a:lnTo>
                  <a:pt x="22" y="4"/>
                </a:lnTo>
                <a:lnTo>
                  <a:pt x="26" y="0"/>
                </a:lnTo>
                <a:lnTo>
                  <a:pt x="26" y="0"/>
                </a:lnTo>
                <a:lnTo>
                  <a:pt x="30" y="0"/>
                </a:lnTo>
                <a:lnTo>
                  <a:pt x="30" y="4"/>
                </a:lnTo>
                <a:lnTo>
                  <a:pt x="30" y="4"/>
                </a:lnTo>
                <a:lnTo>
                  <a:pt x="30" y="4"/>
                </a:lnTo>
                <a:lnTo>
                  <a:pt x="30" y="4"/>
                </a:lnTo>
                <a:lnTo>
                  <a:pt x="34" y="4"/>
                </a:lnTo>
                <a:lnTo>
                  <a:pt x="34" y="4"/>
                </a:lnTo>
                <a:lnTo>
                  <a:pt x="34" y="4"/>
                </a:lnTo>
                <a:lnTo>
                  <a:pt x="34" y="0"/>
                </a:lnTo>
                <a:lnTo>
                  <a:pt x="34" y="0"/>
                </a:lnTo>
                <a:lnTo>
                  <a:pt x="38" y="0"/>
                </a:lnTo>
                <a:lnTo>
                  <a:pt x="38" y="0"/>
                </a:lnTo>
                <a:lnTo>
                  <a:pt x="38" y="0"/>
                </a:lnTo>
                <a:lnTo>
                  <a:pt x="38" y="0"/>
                </a:lnTo>
                <a:lnTo>
                  <a:pt x="38" y="4"/>
                </a:lnTo>
                <a:lnTo>
                  <a:pt x="42" y="4"/>
                </a:lnTo>
                <a:lnTo>
                  <a:pt x="42" y="4"/>
                </a:lnTo>
                <a:lnTo>
                  <a:pt x="42" y="4"/>
                </a:lnTo>
                <a:lnTo>
                  <a:pt x="42" y="4"/>
                </a:lnTo>
                <a:lnTo>
                  <a:pt x="42" y="8"/>
                </a:lnTo>
                <a:lnTo>
                  <a:pt x="42" y="8"/>
                </a:lnTo>
                <a:lnTo>
                  <a:pt x="42" y="8"/>
                </a:lnTo>
                <a:lnTo>
                  <a:pt x="42" y="8"/>
                </a:lnTo>
                <a:lnTo>
                  <a:pt x="42" y="8"/>
                </a:lnTo>
                <a:lnTo>
                  <a:pt x="42" y="8"/>
                </a:lnTo>
                <a:lnTo>
                  <a:pt x="42" y="8"/>
                </a:lnTo>
                <a:lnTo>
                  <a:pt x="46" y="8"/>
                </a:lnTo>
                <a:lnTo>
                  <a:pt x="46" y="8"/>
                </a:lnTo>
                <a:lnTo>
                  <a:pt x="46" y="8"/>
                </a:lnTo>
                <a:lnTo>
                  <a:pt x="46" y="8"/>
                </a:lnTo>
                <a:lnTo>
                  <a:pt x="46" y="8"/>
                </a:lnTo>
                <a:lnTo>
                  <a:pt x="46" y="8"/>
                </a:lnTo>
                <a:lnTo>
                  <a:pt x="46" y="8"/>
                </a:lnTo>
                <a:lnTo>
                  <a:pt x="46" y="8"/>
                </a:lnTo>
                <a:lnTo>
                  <a:pt x="46" y="8"/>
                </a:lnTo>
                <a:lnTo>
                  <a:pt x="46" y="8"/>
                </a:lnTo>
                <a:lnTo>
                  <a:pt x="48" y="4"/>
                </a:lnTo>
                <a:lnTo>
                  <a:pt x="48" y="4"/>
                </a:lnTo>
                <a:lnTo>
                  <a:pt x="48" y="4"/>
                </a:lnTo>
                <a:lnTo>
                  <a:pt x="52" y="4"/>
                </a:lnTo>
                <a:lnTo>
                  <a:pt x="56" y="4"/>
                </a:lnTo>
                <a:lnTo>
                  <a:pt x="56" y="4"/>
                </a:lnTo>
                <a:lnTo>
                  <a:pt x="56" y="8"/>
                </a:lnTo>
                <a:lnTo>
                  <a:pt x="60" y="8"/>
                </a:lnTo>
                <a:lnTo>
                  <a:pt x="60" y="8"/>
                </a:lnTo>
                <a:lnTo>
                  <a:pt x="60" y="4"/>
                </a:lnTo>
                <a:lnTo>
                  <a:pt x="60" y="4"/>
                </a:lnTo>
                <a:lnTo>
                  <a:pt x="60" y="4"/>
                </a:lnTo>
                <a:lnTo>
                  <a:pt x="64" y="4"/>
                </a:lnTo>
                <a:lnTo>
                  <a:pt x="64" y="4"/>
                </a:lnTo>
                <a:lnTo>
                  <a:pt x="64" y="4"/>
                </a:lnTo>
                <a:lnTo>
                  <a:pt x="64" y="4"/>
                </a:lnTo>
                <a:lnTo>
                  <a:pt x="68" y="4"/>
                </a:lnTo>
                <a:lnTo>
                  <a:pt x="68" y="4"/>
                </a:lnTo>
                <a:lnTo>
                  <a:pt x="68" y="4"/>
                </a:lnTo>
                <a:lnTo>
                  <a:pt x="72" y="4"/>
                </a:lnTo>
                <a:lnTo>
                  <a:pt x="72" y="4"/>
                </a:lnTo>
                <a:lnTo>
                  <a:pt x="74" y="8"/>
                </a:lnTo>
                <a:lnTo>
                  <a:pt x="74" y="8"/>
                </a:lnTo>
                <a:lnTo>
                  <a:pt x="74" y="8"/>
                </a:lnTo>
                <a:lnTo>
                  <a:pt x="74" y="8"/>
                </a:lnTo>
                <a:lnTo>
                  <a:pt x="78" y="12"/>
                </a:lnTo>
                <a:lnTo>
                  <a:pt x="78" y="12"/>
                </a:lnTo>
                <a:lnTo>
                  <a:pt x="82" y="12"/>
                </a:lnTo>
                <a:lnTo>
                  <a:pt x="82" y="12"/>
                </a:lnTo>
                <a:lnTo>
                  <a:pt x="82" y="12"/>
                </a:lnTo>
                <a:lnTo>
                  <a:pt x="82" y="12"/>
                </a:lnTo>
                <a:lnTo>
                  <a:pt x="78" y="14"/>
                </a:lnTo>
                <a:lnTo>
                  <a:pt x="78" y="14"/>
                </a:lnTo>
                <a:lnTo>
                  <a:pt x="78" y="14"/>
                </a:lnTo>
                <a:lnTo>
                  <a:pt x="78" y="18"/>
                </a:lnTo>
                <a:lnTo>
                  <a:pt x="74" y="18"/>
                </a:lnTo>
                <a:lnTo>
                  <a:pt x="74" y="22"/>
                </a:lnTo>
                <a:lnTo>
                  <a:pt x="74" y="22"/>
                </a:lnTo>
                <a:lnTo>
                  <a:pt x="74" y="26"/>
                </a:lnTo>
                <a:lnTo>
                  <a:pt x="74" y="26"/>
                </a:lnTo>
                <a:lnTo>
                  <a:pt x="74" y="26"/>
                </a:lnTo>
                <a:lnTo>
                  <a:pt x="74" y="26"/>
                </a:lnTo>
                <a:lnTo>
                  <a:pt x="74" y="26"/>
                </a:lnTo>
                <a:lnTo>
                  <a:pt x="72" y="26"/>
                </a:lnTo>
                <a:lnTo>
                  <a:pt x="72" y="26"/>
                </a:lnTo>
                <a:lnTo>
                  <a:pt x="72" y="26"/>
                </a:lnTo>
                <a:lnTo>
                  <a:pt x="72" y="26"/>
                </a:lnTo>
                <a:lnTo>
                  <a:pt x="72" y="26"/>
                </a:lnTo>
                <a:lnTo>
                  <a:pt x="68" y="26"/>
                </a:lnTo>
                <a:lnTo>
                  <a:pt x="68" y="22"/>
                </a:lnTo>
                <a:lnTo>
                  <a:pt x="68" y="22"/>
                </a:lnTo>
                <a:lnTo>
                  <a:pt x="68" y="22"/>
                </a:lnTo>
                <a:lnTo>
                  <a:pt x="64" y="22"/>
                </a:lnTo>
                <a:lnTo>
                  <a:pt x="64" y="22"/>
                </a:lnTo>
                <a:lnTo>
                  <a:pt x="64" y="22"/>
                </a:lnTo>
                <a:lnTo>
                  <a:pt x="60" y="22"/>
                </a:lnTo>
                <a:lnTo>
                  <a:pt x="60" y="22"/>
                </a:lnTo>
                <a:lnTo>
                  <a:pt x="56" y="22"/>
                </a:lnTo>
                <a:lnTo>
                  <a:pt x="56" y="22"/>
                </a:lnTo>
                <a:lnTo>
                  <a:pt x="56" y="22"/>
                </a:lnTo>
                <a:lnTo>
                  <a:pt x="56" y="22"/>
                </a:lnTo>
                <a:lnTo>
                  <a:pt x="56" y="22"/>
                </a:lnTo>
                <a:lnTo>
                  <a:pt x="52" y="22"/>
                </a:lnTo>
                <a:lnTo>
                  <a:pt x="52" y="22"/>
                </a:lnTo>
                <a:lnTo>
                  <a:pt x="52" y="22"/>
                </a:lnTo>
                <a:lnTo>
                  <a:pt x="52" y="22"/>
                </a:lnTo>
                <a:lnTo>
                  <a:pt x="52" y="22"/>
                </a:lnTo>
                <a:lnTo>
                  <a:pt x="52" y="22"/>
                </a:lnTo>
                <a:lnTo>
                  <a:pt x="48" y="26"/>
                </a:lnTo>
                <a:lnTo>
                  <a:pt x="48" y="26"/>
                </a:lnTo>
                <a:lnTo>
                  <a:pt x="48" y="26"/>
                </a:lnTo>
                <a:lnTo>
                  <a:pt x="48" y="26"/>
                </a:lnTo>
                <a:lnTo>
                  <a:pt x="48" y="26"/>
                </a:lnTo>
                <a:lnTo>
                  <a:pt x="48" y="26"/>
                </a:lnTo>
                <a:lnTo>
                  <a:pt x="48" y="26"/>
                </a:lnTo>
                <a:lnTo>
                  <a:pt x="46" y="30"/>
                </a:lnTo>
                <a:lnTo>
                  <a:pt x="46" y="30"/>
                </a:lnTo>
                <a:lnTo>
                  <a:pt x="46" y="30"/>
                </a:lnTo>
                <a:lnTo>
                  <a:pt x="46" y="30"/>
                </a:lnTo>
                <a:lnTo>
                  <a:pt x="46" y="30"/>
                </a:lnTo>
                <a:lnTo>
                  <a:pt x="46" y="30"/>
                </a:lnTo>
                <a:lnTo>
                  <a:pt x="46" y="30"/>
                </a:lnTo>
                <a:lnTo>
                  <a:pt x="42" y="30"/>
                </a:lnTo>
                <a:lnTo>
                  <a:pt x="42" y="30"/>
                </a:lnTo>
                <a:lnTo>
                  <a:pt x="42" y="30"/>
                </a:lnTo>
                <a:lnTo>
                  <a:pt x="38" y="30"/>
                </a:lnTo>
                <a:lnTo>
                  <a:pt x="38" y="30"/>
                </a:lnTo>
                <a:lnTo>
                  <a:pt x="38" y="30"/>
                </a:lnTo>
                <a:lnTo>
                  <a:pt x="38" y="30"/>
                </a:lnTo>
                <a:lnTo>
                  <a:pt x="38" y="30"/>
                </a:lnTo>
                <a:lnTo>
                  <a:pt x="34" y="30"/>
                </a:lnTo>
                <a:lnTo>
                  <a:pt x="34" y="30"/>
                </a:lnTo>
                <a:lnTo>
                  <a:pt x="30" y="30"/>
                </a:lnTo>
                <a:lnTo>
                  <a:pt x="30" y="30"/>
                </a:lnTo>
                <a:lnTo>
                  <a:pt x="30" y="30"/>
                </a:lnTo>
                <a:lnTo>
                  <a:pt x="30" y="30"/>
                </a:lnTo>
                <a:close/>
              </a:path>
            </a:pathLst>
          </a:custGeom>
          <a:solidFill>
            <a:srgbClr val="A0DCFF"/>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14" name="Freeform 121"/>
          <p:cNvSpPr>
            <a:spLocks/>
          </p:cNvSpPr>
          <p:nvPr/>
        </p:nvSpPr>
        <p:spPr bwMode="auto">
          <a:xfrm>
            <a:off x="4483893" y="2688431"/>
            <a:ext cx="52388" cy="35719"/>
          </a:xfrm>
          <a:custGeom>
            <a:avLst/>
            <a:gdLst>
              <a:gd name="T0" fmla="*/ 26 w 44"/>
              <a:gd name="T1" fmla="*/ 26 h 30"/>
              <a:gd name="T2" fmla="*/ 26 w 44"/>
              <a:gd name="T3" fmla="*/ 30 h 30"/>
              <a:gd name="T4" fmla="*/ 22 w 44"/>
              <a:gd name="T5" fmla="*/ 26 h 30"/>
              <a:gd name="T6" fmla="*/ 18 w 44"/>
              <a:gd name="T7" fmla="*/ 26 h 30"/>
              <a:gd name="T8" fmla="*/ 14 w 44"/>
              <a:gd name="T9" fmla="*/ 22 h 30"/>
              <a:gd name="T10" fmla="*/ 14 w 44"/>
              <a:gd name="T11" fmla="*/ 26 h 30"/>
              <a:gd name="T12" fmla="*/ 12 w 44"/>
              <a:gd name="T13" fmla="*/ 30 h 30"/>
              <a:gd name="T14" fmla="*/ 8 w 44"/>
              <a:gd name="T15" fmla="*/ 30 h 30"/>
              <a:gd name="T16" fmla="*/ 4 w 44"/>
              <a:gd name="T17" fmla="*/ 30 h 30"/>
              <a:gd name="T18" fmla="*/ 4 w 44"/>
              <a:gd name="T19" fmla="*/ 26 h 30"/>
              <a:gd name="T20" fmla="*/ 4 w 44"/>
              <a:gd name="T21" fmla="*/ 26 h 30"/>
              <a:gd name="T22" fmla="*/ 8 w 44"/>
              <a:gd name="T23" fmla="*/ 26 h 30"/>
              <a:gd name="T24" fmla="*/ 4 w 44"/>
              <a:gd name="T25" fmla="*/ 22 h 30"/>
              <a:gd name="T26" fmla="*/ 4 w 44"/>
              <a:gd name="T27" fmla="*/ 20 h 30"/>
              <a:gd name="T28" fmla="*/ 4 w 44"/>
              <a:gd name="T29" fmla="*/ 20 h 30"/>
              <a:gd name="T30" fmla="*/ 0 w 44"/>
              <a:gd name="T31" fmla="*/ 20 h 30"/>
              <a:gd name="T32" fmla="*/ 0 w 44"/>
              <a:gd name="T33" fmla="*/ 20 h 30"/>
              <a:gd name="T34" fmla="*/ 0 w 44"/>
              <a:gd name="T35" fmla="*/ 16 h 30"/>
              <a:gd name="T36" fmla="*/ 4 w 44"/>
              <a:gd name="T37" fmla="*/ 16 h 30"/>
              <a:gd name="T38" fmla="*/ 0 w 44"/>
              <a:gd name="T39" fmla="*/ 12 h 30"/>
              <a:gd name="T40" fmla="*/ 0 w 44"/>
              <a:gd name="T41" fmla="*/ 12 h 30"/>
              <a:gd name="T42" fmla="*/ 4 w 44"/>
              <a:gd name="T43" fmla="*/ 8 h 30"/>
              <a:gd name="T44" fmla="*/ 4 w 44"/>
              <a:gd name="T45" fmla="*/ 8 h 30"/>
              <a:gd name="T46" fmla="*/ 8 w 44"/>
              <a:gd name="T47" fmla="*/ 8 h 30"/>
              <a:gd name="T48" fmla="*/ 12 w 44"/>
              <a:gd name="T49" fmla="*/ 8 h 30"/>
              <a:gd name="T50" fmla="*/ 14 w 44"/>
              <a:gd name="T51" fmla="*/ 8 h 30"/>
              <a:gd name="T52" fmla="*/ 18 w 44"/>
              <a:gd name="T53" fmla="*/ 8 h 30"/>
              <a:gd name="T54" fmla="*/ 22 w 44"/>
              <a:gd name="T55" fmla="*/ 4 h 30"/>
              <a:gd name="T56" fmla="*/ 26 w 44"/>
              <a:gd name="T57" fmla="*/ 4 h 30"/>
              <a:gd name="T58" fmla="*/ 34 w 44"/>
              <a:gd name="T59" fmla="*/ 4 h 30"/>
              <a:gd name="T60" fmla="*/ 38 w 44"/>
              <a:gd name="T61" fmla="*/ 0 h 30"/>
              <a:gd name="T62" fmla="*/ 38 w 44"/>
              <a:gd name="T63" fmla="*/ 0 h 30"/>
              <a:gd name="T64" fmla="*/ 42 w 44"/>
              <a:gd name="T65" fmla="*/ 0 h 30"/>
              <a:gd name="T66" fmla="*/ 42 w 44"/>
              <a:gd name="T67" fmla="*/ 0 h 30"/>
              <a:gd name="T68" fmla="*/ 42 w 44"/>
              <a:gd name="T69" fmla="*/ 4 h 30"/>
              <a:gd name="T70" fmla="*/ 42 w 44"/>
              <a:gd name="T71" fmla="*/ 4 h 30"/>
              <a:gd name="T72" fmla="*/ 44 w 44"/>
              <a:gd name="T73" fmla="*/ 8 h 30"/>
              <a:gd name="T74" fmla="*/ 44 w 44"/>
              <a:gd name="T75" fmla="*/ 8 h 30"/>
              <a:gd name="T76" fmla="*/ 42 w 44"/>
              <a:gd name="T77" fmla="*/ 8 h 30"/>
              <a:gd name="T78" fmla="*/ 42 w 44"/>
              <a:gd name="T79" fmla="*/ 8 h 30"/>
              <a:gd name="T80" fmla="*/ 38 w 44"/>
              <a:gd name="T81" fmla="*/ 12 h 30"/>
              <a:gd name="T82" fmla="*/ 38 w 44"/>
              <a:gd name="T83" fmla="*/ 12 h 30"/>
              <a:gd name="T84" fmla="*/ 30 w 44"/>
              <a:gd name="T85" fmla="*/ 12 h 30"/>
              <a:gd name="T86" fmla="*/ 30 w 44"/>
              <a:gd name="T87" fmla="*/ 16 h 30"/>
              <a:gd name="T88" fmla="*/ 34 w 44"/>
              <a:gd name="T89" fmla="*/ 16 h 30"/>
              <a:gd name="T90" fmla="*/ 30 w 44"/>
              <a:gd name="T91" fmla="*/ 22 h 30"/>
              <a:gd name="T92" fmla="*/ 30 w 44"/>
              <a:gd name="T93" fmla="*/ 22 h 30"/>
              <a:gd name="T94" fmla="*/ 26 w 44"/>
              <a:gd name="T95" fmla="*/ 22 h 30"/>
              <a:gd name="T96" fmla="*/ 26 w 44"/>
              <a:gd name="T97" fmla="*/ 26 h 30"/>
              <a:gd name="T98" fmla="*/ 26 w 44"/>
              <a:gd name="T99" fmla="*/ 2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 h="30">
                <a:moveTo>
                  <a:pt x="26" y="26"/>
                </a:moveTo>
                <a:lnTo>
                  <a:pt x="26" y="26"/>
                </a:lnTo>
                <a:lnTo>
                  <a:pt x="26" y="26"/>
                </a:lnTo>
                <a:lnTo>
                  <a:pt x="26" y="30"/>
                </a:lnTo>
                <a:lnTo>
                  <a:pt x="26" y="30"/>
                </a:lnTo>
                <a:lnTo>
                  <a:pt x="26" y="30"/>
                </a:lnTo>
                <a:lnTo>
                  <a:pt x="22" y="30"/>
                </a:lnTo>
                <a:lnTo>
                  <a:pt x="22" y="26"/>
                </a:lnTo>
                <a:lnTo>
                  <a:pt x="22" y="26"/>
                </a:lnTo>
                <a:lnTo>
                  <a:pt x="18" y="30"/>
                </a:lnTo>
                <a:lnTo>
                  <a:pt x="18" y="30"/>
                </a:lnTo>
                <a:lnTo>
                  <a:pt x="18" y="26"/>
                </a:lnTo>
                <a:lnTo>
                  <a:pt x="14" y="26"/>
                </a:lnTo>
                <a:lnTo>
                  <a:pt x="14" y="26"/>
                </a:lnTo>
                <a:lnTo>
                  <a:pt x="14" y="22"/>
                </a:lnTo>
                <a:lnTo>
                  <a:pt x="14" y="22"/>
                </a:lnTo>
                <a:lnTo>
                  <a:pt x="14" y="26"/>
                </a:lnTo>
                <a:lnTo>
                  <a:pt x="14" y="26"/>
                </a:lnTo>
                <a:lnTo>
                  <a:pt x="14" y="26"/>
                </a:lnTo>
                <a:lnTo>
                  <a:pt x="14" y="26"/>
                </a:lnTo>
                <a:lnTo>
                  <a:pt x="12" y="30"/>
                </a:lnTo>
                <a:lnTo>
                  <a:pt x="8" y="30"/>
                </a:lnTo>
                <a:lnTo>
                  <a:pt x="8" y="30"/>
                </a:lnTo>
                <a:lnTo>
                  <a:pt x="8" y="30"/>
                </a:lnTo>
                <a:lnTo>
                  <a:pt x="4" y="30"/>
                </a:lnTo>
                <a:lnTo>
                  <a:pt x="4" y="30"/>
                </a:lnTo>
                <a:lnTo>
                  <a:pt x="4" y="30"/>
                </a:lnTo>
                <a:lnTo>
                  <a:pt x="4" y="30"/>
                </a:lnTo>
                <a:lnTo>
                  <a:pt x="4" y="26"/>
                </a:lnTo>
                <a:lnTo>
                  <a:pt x="4" y="26"/>
                </a:lnTo>
                <a:lnTo>
                  <a:pt x="4" y="26"/>
                </a:lnTo>
                <a:lnTo>
                  <a:pt x="4" y="26"/>
                </a:lnTo>
                <a:lnTo>
                  <a:pt x="4" y="26"/>
                </a:lnTo>
                <a:lnTo>
                  <a:pt x="4" y="26"/>
                </a:lnTo>
                <a:lnTo>
                  <a:pt x="4" y="26"/>
                </a:lnTo>
                <a:lnTo>
                  <a:pt x="8" y="26"/>
                </a:lnTo>
                <a:lnTo>
                  <a:pt x="8" y="26"/>
                </a:lnTo>
                <a:lnTo>
                  <a:pt x="8" y="22"/>
                </a:lnTo>
                <a:lnTo>
                  <a:pt x="4" y="22"/>
                </a:lnTo>
                <a:lnTo>
                  <a:pt x="4" y="22"/>
                </a:lnTo>
                <a:lnTo>
                  <a:pt x="4" y="22"/>
                </a:lnTo>
                <a:lnTo>
                  <a:pt x="4" y="20"/>
                </a:lnTo>
                <a:lnTo>
                  <a:pt x="4" y="20"/>
                </a:lnTo>
                <a:lnTo>
                  <a:pt x="4" y="20"/>
                </a:lnTo>
                <a:lnTo>
                  <a:pt x="4" y="20"/>
                </a:lnTo>
                <a:lnTo>
                  <a:pt x="4" y="20"/>
                </a:lnTo>
                <a:lnTo>
                  <a:pt x="4" y="20"/>
                </a:lnTo>
                <a:lnTo>
                  <a:pt x="0" y="20"/>
                </a:lnTo>
                <a:lnTo>
                  <a:pt x="0" y="20"/>
                </a:lnTo>
                <a:lnTo>
                  <a:pt x="0" y="20"/>
                </a:lnTo>
                <a:lnTo>
                  <a:pt x="0" y="20"/>
                </a:lnTo>
                <a:lnTo>
                  <a:pt x="0" y="16"/>
                </a:lnTo>
                <a:lnTo>
                  <a:pt x="0" y="16"/>
                </a:lnTo>
                <a:lnTo>
                  <a:pt x="0" y="16"/>
                </a:lnTo>
                <a:lnTo>
                  <a:pt x="4" y="16"/>
                </a:lnTo>
                <a:lnTo>
                  <a:pt x="4" y="16"/>
                </a:lnTo>
                <a:lnTo>
                  <a:pt x="4" y="16"/>
                </a:lnTo>
                <a:lnTo>
                  <a:pt x="0" y="16"/>
                </a:lnTo>
                <a:lnTo>
                  <a:pt x="0" y="12"/>
                </a:lnTo>
                <a:lnTo>
                  <a:pt x="0" y="12"/>
                </a:lnTo>
                <a:lnTo>
                  <a:pt x="0" y="16"/>
                </a:lnTo>
                <a:lnTo>
                  <a:pt x="0" y="12"/>
                </a:lnTo>
                <a:lnTo>
                  <a:pt x="0" y="12"/>
                </a:lnTo>
                <a:lnTo>
                  <a:pt x="0" y="12"/>
                </a:lnTo>
                <a:lnTo>
                  <a:pt x="4" y="8"/>
                </a:lnTo>
                <a:lnTo>
                  <a:pt x="4" y="8"/>
                </a:lnTo>
                <a:lnTo>
                  <a:pt x="4" y="8"/>
                </a:lnTo>
                <a:lnTo>
                  <a:pt x="4" y="8"/>
                </a:lnTo>
                <a:lnTo>
                  <a:pt x="4" y="8"/>
                </a:lnTo>
                <a:lnTo>
                  <a:pt x="4" y="8"/>
                </a:lnTo>
                <a:lnTo>
                  <a:pt x="8" y="8"/>
                </a:lnTo>
                <a:lnTo>
                  <a:pt x="8" y="8"/>
                </a:lnTo>
                <a:lnTo>
                  <a:pt x="8" y="8"/>
                </a:lnTo>
                <a:lnTo>
                  <a:pt x="12" y="8"/>
                </a:lnTo>
                <a:lnTo>
                  <a:pt x="12" y="8"/>
                </a:lnTo>
                <a:lnTo>
                  <a:pt x="12" y="8"/>
                </a:lnTo>
                <a:lnTo>
                  <a:pt x="14" y="8"/>
                </a:lnTo>
                <a:lnTo>
                  <a:pt x="14" y="8"/>
                </a:lnTo>
                <a:lnTo>
                  <a:pt x="18" y="8"/>
                </a:lnTo>
                <a:lnTo>
                  <a:pt x="18" y="8"/>
                </a:lnTo>
                <a:lnTo>
                  <a:pt x="18" y="8"/>
                </a:lnTo>
                <a:lnTo>
                  <a:pt x="18" y="4"/>
                </a:lnTo>
                <a:lnTo>
                  <a:pt x="22" y="4"/>
                </a:lnTo>
                <a:lnTo>
                  <a:pt x="22" y="4"/>
                </a:lnTo>
                <a:lnTo>
                  <a:pt x="22" y="4"/>
                </a:lnTo>
                <a:lnTo>
                  <a:pt x="22" y="4"/>
                </a:lnTo>
                <a:lnTo>
                  <a:pt x="26" y="4"/>
                </a:lnTo>
                <a:lnTo>
                  <a:pt x="30" y="4"/>
                </a:lnTo>
                <a:lnTo>
                  <a:pt x="34" y="4"/>
                </a:lnTo>
                <a:lnTo>
                  <a:pt x="34" y="4"/>
                </a:lnTo>
                <a:lnTo>
                  <a:pt x="34" y="4"/>
                </a:lnTo>
                <a:lnTo>
                  <a:pt x="38" y="4"/>
                </a:lnTo>
                <a:lnTo>
                  <a:pt x="38" y="0"/>
                </a:lnTo>
                <a:lnTo>
                  <a:pt x="38" y="0"/>
                </a:lnTo>
                <a:lnTo>
                  <a:pt x="38" y="0"/>
                </a:lnTo>
                <a:lnTo>
                  <a:pt x="38" y="0"/>
                </a:lnTo>
                <a:lnTo>
                  <a:pt x="38" y="0"/>
                </a:lnTo>
                <a:lnTo>
                  <a:pt x="42" y="0"/>
                </a:lnTo>
                <a:lnTo>
                  <a:pt x="42" y="0"/>
                </a:lnTo>
                <a:lnTo>
                  <a:pt x="42" y="0"/>
                </a:lnTo>
                <a:lnTo>
                  <a:pt x="42" y="0"/>
                </a:lnTo>
                <a:lnTo>
                  <a:pt x="42" y="0"/>
                </a:lnTo>
                <a:lnTo>
                  <a:pt x="42" y="0"/>
                </a:lnTo>
                <a:lnTo>
                  <a:pt x="42" y="4"/>
                </a:lnTo>
                <a:lnTo>
                  <a:pt x="42" y="4"/>
                </a:lnTo>
                <a:lnTo>
                  <a:pt x="42" y="4"/>
                </a:lnTo>
                <a:lnTo>
                  <a:pt x="42" y="4"/>
                </a:lnTo>
                <a:lnTo>
                  <a:pt x="42" y="4"/>
                </a:lnTo>
                <a:lnTo>
                  <a:pt x="44" y="8"/>
                </a:lnTo>
                <a:lnTo>
                  <a:pt x="44" y="8"/>
                </a:lnTo>
                <a:lnTo>
                  <a:pt x="44" y="8"/>
                </a:lnTo>
                <a:lnTo>
                  <a:pt x="44" y="8"/>
                </a:lnTo>
                <a:lnTo>
                  <a:pt x="44" y="8"/>
                </a:lnTo>
                <a:lnTo>
                  <a:pt x="44" y="8"/>
                </a:lnTo>
                <a:lnTo>
                  <a:pt x="42" y="8"/>
                </a:lnTo>
                <a:lnTo>
                  <a:pt x="42" y="8"/>
                </a:lnTo>
                <a:lnTo>
                  <a:pt x="42" y="8"/>
                </a:lnTo>
                <a:lnTo>
                  <a:pt x="42" y="8"/>
                </a:lnTo>
                <a:lnTo>
                  <a:pt x="42" y="8"/>
                </a:lnTo>
                <a:lnTo>
                  <a:pt x="42" y="8"/>
                </a:lnTo>
                <a:lnTo>
                  <a:pt x="42" y="8"/>
                </a:lnTo>
                <a:lnTo>
                  <a:pt x="38" y="8"/>
                </a:lnTo>
                <a:lnTo>
                  <a:pt x="38" y="12"/>
                </a:lnTo>
                <a:lnTo>
                  <a:pt x="38" y="12"/>
                </a:lnTo>
                <a:lnTo>
                  <a:pt x="38" y="12"/>
                </a:lnTo>
                <a:lnTo>
                  <a:pt x="38" y="12"/>
                </a:lnTo>
                <a:lnTo>
                  <a:pt x="34" y="12"/>
                </a:lnTo>
                <a:lnTo>
                  <a:pt x="34" y="12"/>
                </a:lnTo>
                <a:lnTo>
                  <a:pt x="30" y="12"/>
                </a:lnTo>
                <a:lnTo>
                  <a:pt x="30" y="16"/>
                </a:lnTo>
                <a:lnTo>
                  <a:pt x="30" y="16"/>
                </a:lnTo>
                <a:lnTo>
                  <a:pt x="30" y="16"/>
                </a:lnTo>
                <a:lnTo>
                  <a:pt x="30" y="16"/>
                </a:lnTo>
                <a:lnTo>
                  <a:pt x="30" y="16"/>
                </a:lnTo>
                <a:lnTo>
                  <a:pt x="34" y="16"/>
                </a:lnTo>
                <a:lnTo>
                  <a:pt x="34" y="20"/>
                </a:lnTo>
                <a:lnTo>
                  <a:pt x="34" y="22"/>
                </a:lnTo>
                <a:lnTo>
                  <a:pt x="30" y="22"/>
                </a:lnTo>
                <a:lnTo>
                  <a:pt x="30" y="22"/>
                </a:lnTo>
                <a:lnTo>
                  <a:pt x="30" y="22"/>
                </a:lnTo>
                <a:lnTo>
                  <a:pt x="30" y="22"/>
                </a:lnTo>
                <a:lnTo>
                  <a:pt x="26" y="22"/>
                </a:lnTo>
                <a:lnTo>
                  <a:pt x="26" y="22"/>
                </a:lnTo>
                <a:lnTo>
                  <a:pt x="26" y="22"/>
                </a:lnTo>
                <a:lnTo>
                  <a:pt x="26" y="22"/>
                </a:lnTo>
                <a:lnTo>
                  <a:pt x="26" y="22"/>
                </a:lnTo>
                <a:lnTo>
                  <a:pt x="26" y="26"/>
                </a:lnTo>
                <a:lnTo>
                  <a:pt x="26" y="26"/>
                </a:lnTo>
                <a:lnTo>
                  <a:pt x="26" y="26"/>
                </a:lnTo>
                <a:lnTo>
                  <a:pt x="26" y="26"/>
                </a:lnTo>
                <a:close/>
              </a:path>
            </a:pathLst>
          </a:custGeom>
          <a:solidFill>
            <a:srgbClr val="A0DCFF"/>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15" name="Freeform 122"/>
          <p:cNvSpPr>
            <a:spLocks noEditPoints="1"/>
          </p:cNvSpPr>
          <p:nvPr/>
        </p:nvSpPr>
        <p:spPr bwMode="auto">
          <a:xfrm>
            <a:off x="4433887" y="1716881"/>
            <a:ext cx="390525" cy="211931"/>
          </a:xfrm>
          <a:custGeom>
            <a:avLst/>
            <a:gdLst>
              <a:gd name="T0" fmla="*/ 154 w 328"/>
              <a:gd name="T1" fmla="*/ 4 h 178"/>
              <a:gd name="T2" fmla="*/ 198 w 328"/>
              <a:gd name="T3" fmla="*/ 10 h 178"/>
              <a:gd name="T4" fmla="*/ 112 w 328"/>
              <a:gd name="T5" fmla="*/ 14 h 178"/>
              <a:gd name="T6" fmla="*/ 328 w 328"/>
              <a:gd name="T7" fmla="*/ 14 h 178"/>
              <a:gd name="T8" fmla="*/ 250 w 328"/>
              <a:gd name="T9" fmla="*/ 18 h 178"/>
              <a:gd name="T10" fmla="*/ 8 w 328"/>
              <a:gd name="T11" fmla="*/ 30 h 178"/>
              <a:gd name="T12" fmla="*/ 136 w 328"/>
              <a:gd name="T13" fmla="*/ 40 h 178"/>
              <a:gd name="T14" fmla="*/ 142 w 328"/>
              <a:gd name="T15" fmla="*/ 52 h 178"/>
              <a:gd name="T16" fmla="*/ 268 w 328"/>
              <a:gd name="T17" fmla="*/ 56 h 178"/>
              <a:gd name="T18" fmla="*/ 228 w 328"/>
              <a:gd name="T19" fmla="*/ 64 h 178"/>
              <a:gd name="T20" fmla="*/ 228 w 328"/>
              <a:gd name="T21" fmla="*/ 64 h 178"/>
              <a:gd name="T22" fmla="*/ 120 w 328"/>
              <a:gd name="T23" fmla="*/ 174 h 178"/>
              <a:gd name="T24" fmla="*/ 222 w 328"/>
              <a:gd name="T25" fmla="*/ 34 h 178"/>
              <a:gd name="T26" fmla="*/ 196 w 328"/>
              <a:gd name="T27" fmla="*/ 44 h 178"/>
              <a:gd name="T28" fmla="*/ 162 w 328"/>
              <a:gd name="T29" fmla="*/ 40 h 178"/>
              <a:gd name="T30" fmla="*/ 138 w 328"/>
              <a:gd name="T31" fmla="*/ 34 h 178"/>
              <a:gd name="T32" fmla="*/ 166 w 328"/>
              <a:gd name="T33" fmla="*/ 30 h 178"/>
              <a:gd name="T34" fmla="*/ 128 w 328"/>
              <a:gd name="T35" fmla="*/ 30 h 178"/>
              <a:gd name="T36" fmla="*/ 108 w 328"/>
              <a:gd name="T37" fmla="*/ 18 h 178"/>
              <a:gd name="T38" fmla="*/ 124 w 328"/>
              <a:gd name="T39" fmla="*/ 10 h 178"/>
              <a:gd name="T40" fmla="*/ 142 w 328"/>
              <a:gd name="T41" fmla="*/ 10 h 178"/>
              <a:gd name="T42" fmla="*/ 168 w 328"/>
              <a:gd name="T43" fmla="*/ 22 h 178"/>
              <a:gd name="T44" fmla="*/ 184 w 328"/>
              <a:gd name="T45" fmla="*/ 10 h 178"/>
              <a:gd name="T46" fmla="*/ 196 w 328"/>
              <a:gd name="T47" fmla="*/ 14 h 178"/>
              <a:gd name="T48" fmla="*/ 218 w 328"/>
              <a:gd name="T49" fmla="*/ 18 h 178"/>
              <a:gd name="T50" fmla="*/ 50 w 328"/>
              <a:gd name="T51" fmla="*/ 96 h 178"/>
              <a:gd name="T52" fmla="*/ 82 w 328"/>
              <a:gd name="T53" fmla="*/ 92 h 178"/>
              <a:gd name="T54" fmla="*/ 82 w 328"/>
              <a:gd name="T55" fmla="*/ 86 h 178"/>
              <a:gd name="T56" fmla="*/ 68 w 328"/>
              <a:gd name="T57" fmla="*/ 82 h 178"/>
              <a:gd name="T58" fmla="*/ 52 w 328"/>
              <a:gd name="T59" fmla="*/ 78 h 178"/>
              <a:gd name="T60" fmla="*/ 76 w 328"/>
              <a:gd name="T61" fmla="*/ 70 h 178"/>
              <a:gd name="T62" fmla="*/ 82 w 328"/>
              <a:gd name="T63" fmla="*/ 66 h 178"/>
              <a:gd name="T64" fmla="*/ 68 w 328"/>
              <a:gd name="T65" fmla="*/ 66 h 178"/>
              <a:gd name="T66" fmla="*/ 56 w 328"/>
              <a:gd name="T67" fmla="*/ 66 h 178"/>
              <a:gd name="T68" fmla="*/ 38 w 328"/>
              <a:gd name="T69" fmla="*/ 74 h 178"/>
              <a:gd name="T70" fmla="*/ 26 w 328"/>
              <a:gd name="T71" fmla="*/ 64 h 178"/>
              <a:gd name="T72" fmla="*/ 26 w 328"/>
              <a:gd name="T73" fmla="*/ 52 h 178"/>
              <a:gd name="T74" fmla="*/ 12 w 328"/>
              <a:gd name="T75" fmla="*/ 48 h 178"/>
              <a:gd name="T76" fmla="*/ 12 w 328"/>
              <a:gd name="T77" fmla="*/ 30 h 178"/>
              <a:gd name="T78" fmla="*/ 22 w 328"/>
              <a:gd name="T79" fmla="*/ 26 h 178"/>
              <a:gd name="T80" fmla="*/ 38 w 328"/>
              <a:gd name="T81" fmla="*/ 30 h 178"/>
              <a:gd name="T82" fmla="*/ 42 w 328"/>
              <a:gd name="T83" fmla="*/ 36 h 178"/>
              <a:gd name="T84" fmla="*/ 64 w 328"/>
              <a:gd name="T85" fmla="*/ 34 h 178"/>
              <a:gd name="T86" fmla="*/ 82 w 328"/>
              <a:gd name="T87" fmla="*/ 52 h 178"/>
              <a:gd name="T88" fmla="*/ 80 w 328"/>
              <a:gd name="T89" fmla="*/ 26 h 178"/>
              <a:gd name="T90" fmla="*/ 108 w 328"/>
              <a:gd name="T91" fmla="*/ 30 h 178"/>
              <a:gd name="T92" fmla="*/ 120 w 328"/>
              <a:gd name="T93" fmla="*/ 40 h 178"/>
              <a:gd name="T94" fmla="*/ 154 w 328"/>
              <a:gd name="T95" fmla="*/ 56 h 178"/>
              <a:gd name="T96" fmla="*/ 128 w 328"/>
              <a:gd name="T97" fmla="*/ 64 h 178"/>
              <a:gd name="T98" fmla="*/ 112 w 328"/>
              <a:gd name="T99" fmla="*/ 86 h 178"/>
              <a:gd name="T100" fmla="*/ 90 w 328"/>
              <a:gd name="T101" fmla="*/ 110 h 178"/>
              <a:gd name="T102" fmla="*/ 76 w 328"/>
              <a:gd name="T103" fmla="*/ 110 h 178"/>
              <a:gd name="T104" fmla="*/ 64 w 328"/>
              <a:gd name="T105" fmla="*/ 104 h 178"/>
              <a:gd name="T106" fmla="*/ 8 w 328"/>
              <a:gd name="T107" fmla="*/ 64 h 178"/>
              <a:gd name="T108" fmla="*/ 22 w 328"/>
              <a:gd name="T109" fmla="*/ 70 h 178"/>
              <a:gd name="T110" fmla="*/ 166 w 328"/>
              <a:gd name="T111" fmla="*/ 64 h 178"/>
              <a:gd name="T112" fmla="*/ 146 w 328"/>
              <a:gd name="T113" fmla="*/ 74 h 178"/>
              <a:gd name="T114" fmla="*/ 168 w 328"/>
              <a:gd name="T115" fmla="*/ 92 h 178"/>
              <a:gd name="T116" fmla="*/ 154 w 328"/>
              <a:gd name="T117" fmla="*/ 86 h 178"/>
              <a:gd name="T118" fmla="*/ 176 w 328"/>
              <a:gd name="T119" fmla="*/ 74 h 178"/>
              <a:gd name="T120" fmla="*/ 192 w 328"/>
              <a:gd name="T121" fmla="*/ 82 h 178"/>
              <a:gd name="T122" fmla="*/ 180 w 328"/>
              <a:gd name="T123" fmla="*/ 96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8" h="178">
                <a:moveTo>
                  <a:pt x="146" y="4"/>
                </a:moveTo>
                <a:lnTo>
                  <a:pt x="146" y="0"/>
                </a:lnTo>
                <a:lnTo>
                  <a:pt x="142" y="0"/>
                </a:lnTo>
                <a:lnTo>
                  <a:pt x="146" y="0"/>
                </a:lnTo>
                <a:lnTo>
                  <a:pt x="150" y="0"/>
                </a:lnTo>
                <a:lnTo>
                  <a:pt x="150" y="4"/>
                </a:lnTo>
                <a:lnTo>
                  <a:pt x="146" y="4"/>
                </a:lnTo>
                <a:lnTo>
                  <a:pt x="146" y="4"/>
                </a:lnTo>
                <a:lnTo>
                  <a:pt x="146" y="4"/>
                </a:lnTo>
                <a:close/>
                <a:moveTo>
                  <a:pt x="150" y="4"/>
                </a:moveTo>
                <a:lnTo>
                  <a:pt x="154" y="0"/>
                </a:lnTo>
                <a:lnTo>
                  <a:pt x="154" y="4"/>
                </a:lnTo>
                <a:lnTo>
                  <a:pt x="150" y="4"/>
                </a:lnTo>
                <a:lnTo>
                  <a:pt x="150" y="4"/>
                </a:lnTo>
                <a:lnTo>
                  <a:pt x="150" y="4"/>
                </a:lnTo>
                <a:close/>
                <a:moveTo>
                  <a:pt x="136" y="6"/>
                </a:moveTo>
                <a:lnTo>
                  <a:pt x="132" y="6"/>
                </a:lnTo>
                <a:lnTo>
                  <a:pt x="136" y="6"/>
                </a:lnTo>
                <a:lnTo>
                  <a:pt x="136" y="6"/>
                </a:lnTo>
                <a:lnTo>
                  <a:pt x="136" y="6"/>
                </a:lnTo>
                <a:close/>
                <a:moveTo>
                  <a:pt x="196" y="10"/>
                </a:moveTo>
                <a:lnTo>
                  <a:pt x="196" y="6"/>
                </a:lnTo>
                <a:lnTo>
                  <a:pt x="196" y="10"/>
                </a:lnTo>
                <a:lnTo>
                  <a:pt x="198" y="10"/>
                </a:lnTo>
                <a:lnTo>
                  <a:pt x="196" y="10"/>
                </a:lnTo>
                <a:lnTo>
                  <a:pt x="196" y="10"/>
                </a:lnTo>
                <a:lnTo>
                  <a:pt x="196" y="10"/>
                </a:lnTo>
                <a:close/>
                <a:moveTo>
                  <a:pt x="112" y="14"/>
                </a:moveTo>
                <a:lnTo>
                  <a:pt x="108" y="14"/>
                </a:lnTo>
                <a:lnTo>
                  <a:pt x="108" y="10"/>
                </a:lnTo>
                <a:lnTo>
                  <a:pt x="112" y="10"/>
                </a:lnTo>
                <a:lnTo>
                  <a:pt x="116" y="10"/>
                </a:lnTo>
                <a:lnTo>
                  <a:pt x="116" y="14"/>
                </a:lnTo>
                <a:lnTo>
                  <a:pt x="112" y="14"/>
                </a:lnTo>
                <a:lnTo>
                  <a:pt x="112" y="14"/>
                </a:lnTo>
                <a:lnTo>
                  <a:pt x="112" y="14"/>
                </a:lnTo>
                <a:close/>
                <a:moveTo>
                  <a:pt x="298" y="18"/>
                </a:moveTo>
                <a:lnTo>
                  <a:pt x="296" y="18"/>
                </a:lnTo>
                <a:lnTo>
                  <a:pt x="298" y="18"/>
                </a:lnTo>
                <a:lnTo>
                  <a:pt x="302" y="18"/>
                </a:lnTo>
                <a:lnTo>
                  <a:pt x="306" y="18"/>
                </a:lnTo>
                <a:lnTo>
                  <a:pt x="310" y="18"/>
                </a:lnTo>
                <a:lnTo>
                  <a:pt x="314" y="18"/>
                </a:lnTo>
                <a:lnTo>
                  <a:pt x="318" y="18"/>
                </a:lnTo>
                <a:lnTo>
                  <a:pt x="318" y="14"/>
                </a:lnTo>
                <a:lnTo>
                  <a:pt x="322" y="14"/>
                </a:lnTo>
                <a:lnTo>
                  <a:pt x="326" y="14"/>
                </a:lnTo>
                <a:lnTo>
                  <a:pt x="328" y="14"/>
                </a:lnTo>
                <a:lnTo>
                  <a:pt x="326" y="14"/>
                </a:lnTo>
                <a:lnTo>
                  <a:pt x="326" y="18"/>
                </a:lnTo>
                <a:lnTo>
                  <a:pt x="322" y="18"/>
                </a:lnTo>
                <a:lnTo>
                  <a:pt x="318" y="18"/>
                </a:lnTo>
                <a:lnTo>
                  <a:pt x="314" y="18"/>
                </a:lnTo>
                <a:lnTo>
                  <a:pt x="310" y="18"/>
                </a:lnTo>
                <a:lnTo>
                  <a:pt x="306" y="18"/>
                </a:lnTo>
                <a:lnTo>
                  <a:pt x="298" y="18"/>
                </a:lnTo>
                <a:lnTo>
                  <a:pt x="298" y="18"/>
                </a:lnTo>
                <a:lnTo>
                  <a:pt x="298" y="18"/>
                </a:lnTo>
                <a:close/>
                <a:moveTo>
                  <a:pt x="248" y="18"/>
                </a:moveTo>
                <a:lnTo>
                  <a:pt x="250" y="18"/>
                </a:lnTo>
                <a:lnTo>
                  <a:pt x="248" y="18"/>
                </a:lnTo>
                <a:lnTo>
                  <a:pt x="244" y="18"/>
                </a:lnTo>
                <a:lnTo>
                  <a:pt x="248" y="18"/>
                </a:lnTo>
                <a:lnTo>
                  <a:pt x="248" y="18"/>
                </a:lnTo>
                <a:lnTo>
                  <a:pt x="248" y="18"/>
                </a:lnTo>
                <a:close/>
                <a:moveTo>
                  <a:pt x="8" y="30"/>
                </a:moveTo>
                <a:lnTo>
                  <a:pt x="4" y="30"/>
                </a:lnTo>
                <a:lnTo>
                  <a:pt x="0" y="30"/>
                </a:lnTo>
                <a:lnTo>
                  <a:pt x="4" y="30"/>
                </a:lnTo>
                <a:lnTo>
                  <a:pt x="8" y="30"/>
                </a:lnTo>
                <a:lnTo>
                  <a:pt x="8" y="30"/>
                </a:lnTo>
                <a:lnTo>
                  <a:pt x="8" y="30"/>
                </a:lnTo>
                <a:close/>
                <a:moveTo>
                  <a:pt x="4" y="34"/>
                </a:moveTo>
                <a:lnTo>
                  <a:pt x="4" y="30"/>
                </a:lnTo>
                <a:lnTo>
                  <a:pt x="8" y="30"/>
                </a:lnTo>
                <a:lnTo>
                  <a:pt x="8" y="34"/>
                </a:lnTo>
                <a:lnTo>
                  <a:pt x="4" y="34"/>
                </a:lnTo>
                <a:lnTo>
                  <a:pt x="4" y="34"/>
                </a:lnTo>
                <a:lnTo>
                  <a:pt x="4" y="34"/>
                </a:lnTo>
                <a:close/>
                <a:moveTo>
                  <a:pt x="136" y="40"/>
                </a:moveTo>
                <a:lnTo>
                  <a:pt x="132" y="40"/>
                </a:lnTo>
                <a:lnTo>
                  <a:pt x="128" y="40"/>
                </a:lnTo>
                <a:lnTo>
                  <a:pt x="132" y="40"/>
                </a:lnTo>
                <a:lnTo>
                  <a:pt x="136" y="40"/>
                </a:lnTo>
                <a:lnTo>
                  <a:pt x="138" y="40"/>
                </a:lnTo>
                <a:lnTo>
                  <a:pt x="136" y="40"/>
                </a:lnTo>
                <a:lnTo>
                  <a:pt x="136" y="40"/>
                </a:lnTo>
                <a:lnTo>
                  <a:pt x="136" y="40"/>
                </a:lnTo>
                <a:close/>
                <a:moveTo>
                  <a:pt x="138" y="52"/>
                </a:moveTo>
                <a:lnTo>
                  <a:pt x="136" y="52"/>
                </a:lnTo>
                <a:lnTo>
                  <a:pt x="136" y="48"/>
                </a:lnTo>
                <a:lnTo>
                  <a:pt x="138" y="48"/>
                </a:lnTo>
                <a:lnTo>
                  <a:pt x="142" y="48"/>
                </a:lnTo>
                <a:lnTo>
                  <a:pt x="146" y="48"/>
                </a:lnTo>
                <a:lnTo>
                  <a:pt x="146" y="52"/>
                </a:lnTo>
                <a:lnTo>
                  <a:pt x="142" y="52"/>
                </a:lnTo>
                <a:lnTo>
                  <a:pt x="138" y="52"/>
                </a:lnTo>
                <a:lnTo>
                  <a:pt x="138" y="52"/>
                </a:lnTo>
                <a:lnTo>
                  <a:pt x="138" y="52"/>
                </a:lnTo>
                <a:close/>
                <a:moveTo>
                  <a:pt x="250" y="56"/>
                </a:moveTo>
                <a:lnTo>
                  <a:pt x="248" y="56"/>
                </a:lnTo>
                <a:lnTo>
                  <a:pt x="250" y="52"/>
                </a:lnTo>
                <a:lnTo>
                  <a:pt x="254" y="52"/>
                </a:lnTo>
                <a:lnTo>
                  <a:pt x="258" y="52"/>
                </a:lnTo>
                <a:lnTo>
                  <a:pt x="262" y="52"/>
                </a:lnTo>
                <a:lnTo>
                  <a:pt x="262" y="56"/>
                </a:lnTo>
                <a:lnTo>
                  <a:pt x="266" y="56"/>
                </a:lnTo>
                <a:lnTo>
                  <a:pt x="268" y="56"/>
                </a:lnTo>
                <a:lnTo>
                  <a:pt x="268" y="52"/>
                </a:lnTo>
                <a:lnTo>
                  <a:pt x="272" y="52"/>
                </a:lnTo>
                <a:lnTo>
                  <a:pt x="272" y="56"/>
                </a:lnTo>
                <a:lnTo>
                  <a:pt x="268" y="56"/>
                </a:lnTo>
                <a:lnTo>
                  <a:pt x="266" y="56"/>
                </a:lnTo>
                <a:lnTo>
                  <a:pt x="262" y="56"/>
                </a:lnTo>
                <a:lnTo>
                  <a:pt x="258" y="56"/>
                </a:lnTo>
                <a:lnTo>
                  <a:pt x="254" y="56"/>
                </a:lnTo>
                <a:lnTo>
                  <a:pt x="250" y="56"/>
                </a:lnTo>
                <a:lnTo>
                  <a:pt x="250" y="56"/>
                </a:lnTo>
                <a:lnTo>
                  <a:pt x="250" y="56"/>
                </a:lnTo>
                <a:close/>
                <a:moveTo>
                  <a:pt x="228" y="64"/>
                </a:moveTo>
                <a:lnTo>
                  <a:pt x="228" y="60"/>
                </a:lnTo>
                <a:lnTo>
                  <a:pt x="224" y="60"/>
                </a:lnTo>
                <a:lnTo>
                  <a:pt x="224" y="56"/>
                </a:lnTo>
                <a:lnTo>
                  <a:pt x="228" y="56"/>
                </a:lnTo>
                <a:lnTo>
                  <a:pt x="228" y="60"/>
                </a:lnTo>
                <a:lnTo>
                  <a:pt x="232" y="60"/>
                </a:lnTo>
                <a:lnTo>
                  <a:pt x="236" y="60"/>
                </a:lnTo>
                <a:lnTo>
                  <a:pt x="232" y="60"/>
                </a:lnTo>
                <a:lnTo>
                  <a:pt x="232" y="64"/>
                </a:lnTo>
                <a:lnTo>
                  <a:pt x="228" y="64"/>
                </a:lnTo>
                <a:lnTo>
                  <a:pt x="228" y="64"/>
                </a:lnTo>
                <a:lnTo>
                  <a:pt x="228" y="64"/>
                </a:lnTo>
                <a:close/>
                <a:moveTo>
                  <a:pt x="206" y="122"/>
                </a:moveTo>
                <a:lnTo>
                  <a:pt x="206" y="118"/>
                </a:lnTo>
                <a:lnTo>
                  <a:pt x="210" y="118"/>
                </a:lnTo>
                <a:lnTo>
                  <a:pt x="210" y="114"/>
                </a:lnTo>
                <a:lnTo>
                  <a:pt x="214" y="114"/>
                </a:lnTo>
                <a:lnTo>
                  <a:pt x="210" y="118"/>
                </a:lnTo>
                <a:lnTo>
                  <a:pt x="206" y="122"/>
                </a:lnTo>
                <a:lnTo>
                  <a:pt x="206" y="122"/>
                </a:lnTo>
                <a:lnTo>
                  <a:pt x="206" y="122"/>
                </a:lnTo>
                <a:close/>
                <a:moveTo>
                  <a:pt x="120" y="178"/>
                </a:moveTo>
                <a:lnTo>
                  <a:pt x="116" y="174"/>
                </a:lnTo>
                <a:lnTo>
                  <a:pt x="120" y="174"/>
                </a:lnTo>
                <a:lnTo>
                  <a:pt x="124" y="174"/>
                </a:lnTo>
                <a:lnTo>
                  <a:pt x="124" y="178"/>
                </a:lnTo>
                <a:lnTo>
                  <a:pt x="120" y="178"/>
                </a:lnTo>
                <a:lnTo>
                  <a:pt x="120" y="178"/>
                </a:lnTo>
                <a:lnTo>
                  <a:pt x="120" y="178"/>
                </a:lnTo>
                <a:close/>
                <a:moveTo>
                  <a:pt x="236" y="22"/>
                </a:moveTo>
                <a:lnTo>
                  <a:pt x="236" y="26"/>
                </a:lnTo>
                <a:lnTo>
                  <a:pt x="232" y="26"/>
                </a:lnTo>
                <a:lnTo>
                  <a:pt x="232" y="30"/>
                </a:lnTo>
                <a:lnTo>
                  <a:pt x="228" y="30"/>
                </a:lnTo>
                <a:lnTo>
                  <a:pt x="224" y="30"/>
                </a:lnTo>
                <a:lnTo>
                  <a:pt x="222" y="34"/>
                </a:lnTo>
                <a:lnTo>
                  <a:pt x="218" y="34"/>
                </a:lnTo>
                <a:lnTo>
                  <a:pt x="218" y="36"/>
                </a:lnTo>
                <a:lnTo>
                  <a:pt x="222" y="36"/>
                </a:lnTo>
                <a:lnTo>
                  <a:pt x="218" y="36"/>
                </a:lnTo>
                <a:lnTo>
                  <a:pt x="218" y="40"/>
                </a:lnTo>
                <a:lnTo>
                  <a:pt x="214" y="40"/>
                </a:lnTo>
                <a:lnTo>
                  <a:pt x="210" y="40"/>
                </a:lnTo>
                <a:lnTo>
                  <a:pt x="206" y="40"/>
                </a:lnTo>
                <a:lnTo>
                  <a:pt x="202" y="40"/>
                </a:lnTo>
                <a:lnTo>
                  <a:pt x="198" y="40"/>
                </a:lnTo>
                <a:lnTo>
                  <a:pt x="196" y="40"/>
                </a:lnTo>
                <a:lnTo>
                  <a:pt x="196" y="44"/>
                </a:lnTo>
                <a:lnTo>
                  <a:pt x="192" y="44"/>
                </a:lnTo>
                <a:lnTo>
                  <a:pt x="188" y="44"/>
                </a:lnTo>
                <a:lnTo>
                  <a:pt x="184" y="44"/>
                </a:lnTo>
                <a:lnTo>
                  <a:pt x="180" y="44"/>
                </a:lnTo>
                <a:lnTo>
                  <a:pt x="176" y="44"/>
                </a:lnTo>
                <a:lnTo>
                  <a:pt x="172" y="44"/>
                </a:lnTo>
                <a:lnTo>
                  <a:pt x="172" y="40"/>
                </a:lnTo>
                <a:lnTo>
                  <a:pt x="176" y="40"/>
                </a:lnTo>
                <a:lnTo>
                  <a:pt x="172" y="40"/>
                </a:lnTo>
                <a:lnTo>
                  <a:pt x="168" y="40"/>
                </a:lnTo>
                <a:lnTo>
                  <a:pt x="166" y="40"/>
                </a:lnTo>
                <a:lnTo>
                  <a:pt x="162" y="40"/>
                </a:lnTo>
                <a:lnTo>
                  <a:pt x="158" y="40"/>
                </a:lnTo>
                <a:lnTo>
                  <a:pt x="154" y="40"/>
                </a:lnTo>
                <a:lnTo>
                  <a:pt x="150" y="40"/>
                </a:lnTo>
                <a:lnTo>
                  <a:pt x="146" y="40"/>
                </a:lnTo>
                <a:lnTo>
                  <a:pt x="146" y="36"/>
                </a:lnTo>
                <a:lnTo>
                  <a:pt x="142" y="36"/>
                </a:lnTo>
                <a:lnTo>
                  <a:pt x="138" y="36"/>
                </a:lnTo>
                <a:lnTo>
                  <a:pt x="136" y="36"/>
                </a:lnTo>
                <a:lnTo>
                  <a:pt x="132" y="36"/>
                </a:lnTo>
                <a:lnTo>
                  <a:pt x="132" y="34"/>
                </a:lnTo>
                <a:lnTo>
                  <a:pt x="136" y="34"/>
                </a:lnTo>
                <a:lnTo>
                  <a:pt x="138" y="34"/>
                </a:lnTo>
                <a:lnTo>
                  <a:pt x="142" y="34"/>
                </a:lnTo>
                <a:lnTo>
                  <a:pt x="146" y="34"/>
                </a:lnTo>
                <a:lnTo>
                  <a:pt x="150" y="34"/>
                </a:lnTo>
                <a:lnTo>
                  <a:pt x="146" y="34"/>
                </a:lnTo>
                <a:lnTo>
                  <a:pt x="142" y="34"/>
                </a:lnTo>
                <a:lnTo>
                  <a:pt x="150" y="30"/>
                </a:lnTo>
                <a:lnTo>
                  <a:pt x="154" y="30"/>
                </a:lnTo>
                <a:lnTo>
                  <a:pt x="158" y="30"/>
                </a:lnTo>
                <a:lnTo>
                  <a:pt x="162" y="30"/>
                </a:lnTo>
                <a:lnTo>
                  <a:pt x="166" y="30"/>
                </a:lnTo>
                <a:lnTo>
                  <a:pt x="168" y="30"/>
                </a:lnTo>
                <a:lnTo>
                  <a:pt x="166" y="30"/>
                </a:lnTo>
                <a:lnTo>
                  <a:pt x="162" y="30"/>
                </a:lnTo>
                <a:lnTo>
                  <a:pt x="158" y="30"/>
                </a:lnTo>
                <a:lnTo>
                  <a:pt x="162" y="30"/>
                </a:lnTo>
                <a:lnTo>
                  <a:pt x="162" y="26"/>
                </a:lnTo>
                <a:lnTo>
                  <a:pt x="158" y="26"/>
                </a:lnTo>
                <a:lnTo>
                  <a:pt x="154" y="26"/>
                </a:lnTo>
                <a:lnTo>
                  <a:pt x="150" y="26"/>
                </a:lnTo>
                <a:lnTo>
                  <a:pt x="146" y="30"/>
                </a:lnTo>
                <a:lnTo>
                  <a:pt x="142" y="30"/>
                </a:lnTo>
                <a:lnTo>
                  <a:pt x="138" y="30"/>
                </a:lnTo>
                <a:lnTo>
                  <a:pt x="136" y="30"/>
                </a:lnTo>
                <a:lnTo>
                  <a:pt x="128" y="30"/>
                </a:lnTo>
                <a:lnTo>
                  <a:pt x="120" y="30"/>
                </a:lnTo>
                <a:lnTo>
                  <a:pt x="116" y="30"/>
                </a:lnTo>
                <a:lnTo>
                  <a:pt x="112" y="30"/>
                </a:lnTo>
                <a:lnTo>
                  <a:pt x="108" y="26"/>
                </a:lnTo>
                <a:lnTo>
                  <a:pt x="112" y="22"/>
                </a:lnTo>
                <a:lnTo>
                  <a:pt x="116" y="22"/>
                </a:lnTo>
                <a:lnTo>
                  <a:pt x="112" y="22"/>
                </a:lnTo>
                <a:lnTo>
                  <a:pt x="108" y="22"/>
                </a:lnTo>
                <a:lnTo>
                  <a:pt x="108" y="18"/>
                </a:lnTo>
                <a:lnTo>
                  <a:pt x="108" y="22"/>
                </a:lnTo>
                <a:lnTo>
                  <a:pt x="112" y="18"/>
                </a:lnTo>
                <a:lnTo>
                  <a:pt x="108" y="18"/>
                </a:lnTo>
                <a:lnTo>
                  <a:pt x="106" y="18"/>
                </a:lnTo>
                <a:lnTo>
                  <a:pt x="108" y="18"/>
                </a:lnTo>
                <a:lnTo>
                  <a:pt x="112" y="18"/>
                </a:lnTo>
                <a:lnTo>
                  <a:pt x="116" y="18"/>
                </a:lnTo>
                <a:lnTo>
                  <a:pt x="120" y="18"/>
                </a:lnTo>
                <a:lnTo>
                  <a:pt x="124" y="18"/>
                </a:lnTo>
                <a:lnTo>
                  <a:pt x="128" y="18"/>
                </a:lnTo>
                <a:lnTo>
                  <a:pt x="124" y="18"/>
                </a:lnTo>
                <a:lnTo>
                  <a:pt x="124" y="14"/>
                </a:lnTo>
                <a:lnTo>
                  <a:pt x="120" y="14"/>
                </a:lnTo>
                <a:lnTo>
                  <a:pt x="120" y="10"/>
                </a:lnTo>
                <a:lnTo>
                  <a:pt x="124" y="10"/>
                </a:lnTo>
                <a:lnTo>
                  <a:pt x="128" y="14"/>
                </a:lnTo>
                <a:lnTo>
                  <a:pt x="132" y="14"/>
                </a:lnTo>
                <a:lnTo>
                  <a:pt x="132" y="10"/>
                </a:lnTo>
                <a:lnTo>
                  <a:pt x="136" y="10"/>
                </a:lnTo>
                <a:lnTo>
                  <a:pt x="132" y="10"/>
                </a:lnTo>
                <a:lnTo>
                  <a:pt x="128" y="10"/>
                </a:lnTo>
                <a:lnTo>
                  <a:pt x="128" y="6"/>
                </a:lnTo>
                <a:lnTo>
                  <a:pt x="132" y="6"/>
                </a:lnTo>
                <a:lnTo>
                  <a:pt x="136" y="6"/>
                </a:lnTo>
                <a:lnTo>
                  <a:pt x="136" y="10"/>
                </a:lnTo>
                <a:lnTo>
                  <a:pt x="138" y="10"/>
                </a:lnTo>
                <a:lnTo>
                  <a:pt x="142" y="10"/>
                </a:lnTo>
                <a:lnTo>
                  <a:pt x="142" y="14"/>
                </a:lnTo>
                <a:lnTo>
                  <a:pt x="146" y="14"/>
                </a:lnTo>
                <a:lnTo>
                  <a:pt x="150" y="14"/>
                </a:lnTo>
                <a:lnTo>
                  <a:pt x="154" y="14"/>
                </a:lnTo>
                <a:lnTo>
                  <a:pt x="158" y="14"/>
                </a:lnTo>
                <a:lnTo>
                  <a:pt x="162" y="14"/>
                </a:lnTo>
                <a:lnTo>
                  <a:pt x="162" y="18"/>
                </a:lnTo>
                <a:lnTo>
                  <a:pt x="158" y="18"/>
                </a:lnTo>
                <a:lnTo>
                  <a:pt x="162" y="18"/>
                </a:lnTo>
                <a:lnTo>
                  <a:pt x="166" y="18"/>
                </a:lnTo>
                <a:lnTo>
                  <a:pt x="166" y="22"/>
                </a:lnTo>
                <a:lnTo>
                  <a:pt x="168" y="22"/>
                </a:lnTo>
                <a:lnTo>
                  <a:pt x="168" y="18"/>
                </a:lnTo>
                <a:lnTo>
                  <a:pt x="168" y="14"/>
                </a:lnTo>
                <a:lnTo>
                  <a:pt x="172" y="14"/>
                </a:lnTo>
                <a:lnTo>
                  <a:pt x="168" y="14"/>
                </a:lnTo>
                <a:lnTo>
                  <a:pt x="168" y="10"/>
                </a:lnTo>
                <a:lnTo>
                  <a:pt x="172" y="10"/>
                </a:lnTo>
                <a:lnTo>
                  <a:pt x="172" y="14"/>
                </a:lnTo>
                <a:lnTo>
                  <a:pt x="176" y="10"/>
                </a:lnTo>
                <a:lnTo>
                  <a:pt x="176" y="6"/>
                </a:lnTo>
                <a:lnTo>
                  <a:pt x="180" y="6"/>
                </a:lnTo>
                <a:lnTo>
                  <a:pt x="180" y="10"/>
                </a:lnTo>
                <a:lnTo>
                  <a:pt x="184" y="10"/>
                </a:lnTo>
                <a:lnTo>
                  <a:pt x="180" y="10"/>
                </a:lnTo>
                <a:lnTo>
                  <a:pt x="184" y="10"/>
                </a:lnTo>
                <a:lnTo>
                  <a:pt x="180" y="14"/>
                </a:lnTo>
                <a:lnTo>
                  <a:pt x="176" y="14"/>
                </a:lnTo>
                <a:lnTo>
                  <a:pt x="176" y="18"/>
                </a:lnTo>
                <a:lnTo>
                  <a:pt x="180" y="18"/>
                </a:lnTo>
                <a:lnTo>
                  <a:pt x="184" y="14"/>
                </a:lnTo>
                <a:lnTo>
                  <a:pt x="184" y="18"/>
                </a:lnTo>
                <a:lnTo>
                  <a:pt x="188" y="18"/>
                </a:lnTo>
                <a:lnTo>
                  <a:pt x="188" y="14"/>
                </a:lnTo>
                <a:lnTo>
                  <a:pt x="192" y="14"/>
                </a:lnTo>
                <a:lnTo>
                  <a:pt x="196" y="14"/>
                </a:lnTo>
                <a:lnTo>
                  <a:pt x="198" y="14"/>
                </a:lnTo>
                <a:lnTo>
                  <a:pt x="196" y="10"/>
                </a:lnTo>
                <a:lnTo>
                  <a:pt x="198" y="10"/>
                </a:lnTo>
                <a:lnTo>
                  <a:pt x="198" y="14"/>
                </a:lnTo>
                <a:lnTo>
                  <a:pt x="202" y="14"/>
                </a:lnTo>
                <a:lnTo>
                  <a:pt x="202" y="10"/>
                </a:lnTo>
                <a:lnTo>
                  <a:pt x="202" y="14"/>
                </a:lnTo>
                <a:lnTo>
                  <a:pt x="206" y="14"/>
                </a:lnTo>
                <a:lnTo>
                  <a:pt x="210" y="14"/>
                </a:lnTo>
                <a:lnTo>
                  <a:pt x="214" y="14"/>
                </a:lnTo>
                <a:lnTo>
                  <a:pt x="218" y="14"/>
                </a:lnTo>
                <a:lnTo>
                  <a:pt x="218" y="18"/>
                </a:lnTo>
                <a:lnTo>
                  <a:pt x="222" y="18"/>
                </a:lnTo>
                <a:lnTo>
                  <a:pt x="224" y="18"/>
                </a:lnTo>
                <a:lnTo>
                  <a:pt x="228" y="18"/>
                </a:lnTo>
                <a:lnTo>
                  <a:pt x="232" y="18"/>
                </a:lnTo>
                <a:lnTo>
                  <a:pt x="236" y="18"/>
                </a:lnTo>
                <a:lnTo>
                  <a:pt x="236" y="22"/>
                </a:lnTo>
                <a:lnTo>
                  <a:pt x="236" y="22"/>
                </a:lnTo>
                <a:lnTo>
                  <a:pt x="236" y="22"/>
                </a:lnTo>
                <a:close/>
                <a:moveTo>
                  <a:pt x="56" y="104"/>
                </a:moveTo>
                <a:lnTo>
                  <a:pt x="52" y="100"/>
                </a:lnTo>
                <a:lnTo>
                  <a:pt x="52" y="96"/>
                </a:lnTo>
                <a:lnTo>
                  <a:pt x="50" y="96"/>
                </a:lnTo>
                <a:lnTo>
                  <a:pt x="50" y="92"/>
                </a:lnTo>
                <a:lnTo>
                  <a:pt x="52" y="92"/>
                </a:lnTo>
                <a:lnTo>
                  <a:pt x="56" y="92"/>
                </a:lnTo>
                <a:lnTo>
                  <a:pt x="60" y="92"/>
                </a:lnTo>
                <a:lnTo>
                  <a:pt x="64" y="92"/>
                </a:lnTo>
                <a:lnTo>
                  <a:pt x="68" y="92"/>
                </a:lnTo>
                <a:lnTo>
                  <a:pt x="72" y="92"/>
                </a:lnTo>
                <a:lnTo>
                  <a:pt x="76" y="92"/>
                </a:lnTo>
                <a:lnTo>
                  <a:pt x="80" y="92"/>
                </a:lnTo>
                <a:lnTo>
                  <a:pt x="80" y="96"/>
                </a:lnTo>
                <a:lnTo>
                  <a:pt x="82" y="96"/>
                </a:lnTo>
                <a:lnTo>
                  <a:pt x="82" y="92"/>
                </a:lnTo>
                <a:lnTo>
                  <a:pt x="80" y="92"/>
                </a:lnTo>
                <a:lnTo>
                  <a:pt x="76" y="92"/>
                </a:lnTo>
                <a:lnTo>
                  <a:pt x="72" y="92"/>
                </a:lnTo>
                <a:lnTo>
                  <a:pt x="68" y="88"/>
                </a:lnTo>
                <a:lnTo>
                  <a:pt x="64" y="88"/>
                </a:lnTo>
                <a:lnTo>
                  <a:pt x="60" y="88"/>
                </a:lnTo>
                <a:lnTo>
                  <a:pt x="64" y="88"/>
                </a:lnTo>
                <a:lnTo>
                  <a:pt x="68" y="88"/>
                </a:lnTo>
                <a:lnTo>
                  <a:pt x="72" y="86"/>
                </a:lnTo>
                <a:lnTo>
                  <a:pt x="76" y="86"/>
                </a:lnTo>
                <a:lnTo>
                  <a:pt x="80" y="86"/>
                </a:lnTo>
                <a:lnTo>
                  <a:pt x="82" y="86"/>
                </a:lnTo>
                <a:lnTo>
                  <a:pt x="86" y="86"/>
                </a:lnTo>
                <a:lnTo>
                  <a:pt x="90" y="86"/>
                </a:lnTo>
                <a:lnTo>
                  <a:pt x="90" y="82"/>
                </a:lnTo>
                <a:lnTo>
                  <a:pt x="94" y="82"/>
                </a:lnTo>
                <a:lnTo>
                  <a:pt x="90" y="82"/>
                </a:lnTo>
                <a:lnTo>
                  <a:pt x="86" y="82"/>
                </a:lnTo>
                <a:lnTo>
                  <a:pt x="86" y="86"/>
                </a:lnTo>
                <a:lnTo>
                  <a:pt x="82" y="86"/>
                </a:lnTo>
                <a:lnTo>
                  <a:pt x="80" y="86"/>
                </a:lnTo>
                <a:lnTo>
                  <a:pt x="76" y="86"/>
                </a:lnTo>
                <a:lnTo>
                  <a:pt x="72" y="82"/>
                </a:lnTo>
                <a:lnTo>
                  <a:pt x="68" y="82"/>
                </a:lnTo>
                <a:lnTo>
                  <a:pt x="68" y="86"/>
                </a:lnTo>
                <a:lnTo>
                  <a:pt x="64" y="86"/>
                </a:lnTo>
                <a:lnTo>
                  <a:pt x="60" y="86"/>
                </a:lnTo>
                <a:lnTo>
                  <a:pt x="56" y="86"/>
                </a:lnTo>
                <a:lnTo>
                  <a:pt x="52" y="86"/>
                </a:lnTo>
                <a:lnTo>
                  <a:pt x="50" y="86"/>
                </a:lnTo>
                <a:lnTo>
                  <a:pt x="50" y="88"/>
                </a:lnTo>
                <a:lnTo>
                  <a:pt x="46" y="86"/>
                </a:lnTo>
                <a:lnTo>
                  <a:pt x="46" y="82"/>
                </a:lnTo>
                <a:lnTo>
                  <a:pt x="46" y="78"/>
                </a:lnTo>
                <a:lnTo>
                  <a:pt x="50" y="78"/>
                </a:lnTo>
                <a:lnTo>
                  <a:pt x="52" y="78"/>
                </a:lnTo>
                <a:lnTo>
                  <a:pt x="52" y="82"/>
                </a:lnTo>
                <a:lnTo>
                  <a:pt x="56" y="82"/>
                </a:lnTo>
                <a:lnTo>
                  <a:pt x="52" y="78"/>
                </a:lnTo>
                <a:lnTo>
                  <a:pt x="56" y="78"/>
                </a:lnTo>
                <a:lnTo>
                  <a:pt x="60" y="78"/>
                </a:lnTo>
                <a:lnTo>
                  <a:pt x="64" y="78"/>
                </a:lnTo>
                <a:lnTo>
                  <a:pt x="64" y="74"/>
                </a:lnTo>
                <a:lnTo>
                  <a:pt x="68" y="74"/>
                </a:lnTo>
                <a:lnTo>
                  <a:pt x="72" y="74"/>
                </a:lnTo>
                <a:lnTo>
                  <a:pt x="76" y="74"/>
                </a:lnTo>
                <a:lnTo>
                  <a:pt x="72" y="70"/>
                </a:lnTo>
                <a:lnTo>
                  <a:pt x="76" y="70"/>
                </a:lnTo>
                <a:lnTo>
                  <a:pt x="80" y="70"/>
                </a:lnTo>
                <a:lnTo>
                  <a:pt x="82" y="70"/>
                </a:lnTo>
                <a:lnTo>
                  <a:pt x="86" y="70"/>
                </a:lnTo>
                <a:lnTo>
                  <a:pt x="90" y="70"/>
                </a:lnTo>
                <a:lnTo>
                  <a:pt x="94" y="70"/>
                </a:lnTo>
                <a:lnTo>
                  <a:pt x="98" y="66"/>
                </a:lnTo>
                <a:lnTo>
                  <a:pt x="94" y="66"/>
                </a:lnTo>
                <a:lnTo>
                  <a:pt x="90" y="66"/>
                </a:lnTo>
                <a:lnTo>
                  <a:pt x="90" y="70"/>
                </a:lnTo>
                <a:lnTo>
                  <a:pt x="90" y="66"/>
                </a:lnTo>
                <a:lnTo>
                  <a:pt x="86" y="66"/>
                </a:lnTo>
                <a:lnTo>
                  <a:pt x="82" y="66"/>
                </a:lnTo>
                <a:lnTo>
                  <a:pt x="82" y="64"/>
                </a:lnTo>
                <a:lnTo>
                  <a:pt x="86" y="64"/>
                </a:lnTo>
                <a:lnTo>
                  <a:pt x="90" y="64"/>
                </a:lnTo>
                <a:lnTo>
                  <a:pt x="90" y="60"/>
                </a:lnTo>
                <a:lnTo>
                  <a:pt x="86" y="60"/>
                </a:lnTo>
                <a:lnTo>
                  <a:pt x="82" y="60"/>
                </a:lnTo>
                <a:lnTo>
                  <a:pt x="82" y="64"/>
                </a:lnTo>
                <a:lnTo>
                  <a:pt x="80" y="64"/>
                </a:lnTo>
                <a:lnTo>
                  <a:pt x="80" y="66"/>
                </a:lnTo>
                <a:lnTo>
                  <a:pt x="76" y="66"/>
                </a:lnTo>
                <a:lnTo>
                  <a:pt x="72" y="66"/>
                </a:lnTo>
                <a:lnTo>
                  <a:pt x="68" y="66"/>
                </a:lnTo>
                <a:lnTo>
                  <a:pt x="68" y="64"/>
                </a:lnTo>
                <a:lnTo>
                  <a:pt x="72" y="64"/>
                </a:lnTo>
                <a:lnTo>
                  <a:pt x="72" y="60"/>
                </a:lnTo>
                <a:lnTo>
                  <a:pt x="72" y="56"/>
                </a:lnTo>
                <a:lnTo>
                  <a:pt x="68" y="56"/>
                </a:lnTo>
                <a:lnTo>
                  <a:pt x="68" y="60"/>
                </a:lnTo>
                <a:lnTo>
                  <a:pt x="64" y="64"/>
                </a:lnTo>
                <a:lnTo>
                  <a:pt x="60" y="64"/>
                </a:lnTo>
                <a:lnTo>
                  <a:pt x="60" y="60"/>
                </a:lnTo>
                <a:lnTo>
                  <a:pt x="56" y="60"/>
                </a:lnTo>
                <a:lnTo>
                  <a:pt x="56" y="64"/>
                </a:lnTo>
                <a:lnTo>
                  <a:pt x="56" y="66"/>
                </a:lnTo>
                <a:lnTo>
                  <a:pt x="60" y="66"/>
                </a:lnTo>
                <a:lnTo>
                  <a:pt x="60" y="70"/>
                </a:lnTo>
                <a:lnTo>
                  <a:pt x="56" y="70"/>
                </a:lnTo>
                <a:lnTo>
                  <a:pt x="56" y="66"/>
                </a:lnTo>
                <a:lnTo>
                  <a:pt x="52" y="70"/>
                </a:lnTo>
                <a:lnTo>
                  <a:pt x="50" y="70"/>
                </a:lnTo>
                <a:lnTo>
                  <a:pt x="46" y="70"/>
                </a:lnTo>
                <a:lnTo>
                  <a:pt x="46" y="74"/>
                </a:lnTo>
                <a:lnTo>
                  <a:pt x="50" y="74"/>
                </a:lnTo>
                <a:lnTo>
                  <a:pt x="46" y="74"/>
                </a:lnTo>
                <a:lnTo>
                  <a:pt x="42" y="74"/>
                </a:lnTo>
                <a:lnTo>
                  <a:pt x="38" y="74"/>
                </a:lnTo>
                <a:lnTo>
                  <a:pt x="34" y="74"/>
                </a:lnTo>
                <a:lnTo>
                  <a:pt x="34" y="70"/>
                </a:lnTo>
                <a:lnTo>
                  <a:pt x="30" y="70"/>
                </a:lnTo>
                <a:lnTo>
                  <a:pt x="30" y="66"/>
                </a:lnTo>
                <a:lnTo>
                  <a:pt x="26" y="66"/>
                </a:lnTo>
                <a:lnTo>
                  <a:pt x="30" y="66"/>
                </a:lnTo>
                <a:lnTo>
                  <a:pt x="34" y="66"/>
                </a:lnTo>
                <a:lnTo>
                  <a:pt x="38" y="66"/>
                </a:lnTo>
                <a:lnTo>
                  <a:pt x="38" y="64"/>
                </a:lnTo>
                <a:lnTo>
                  <a:pt x="34" y="64"/>
                </a:lnTo>
                <a:lnTo>
                  <a:pt x="30" y="64"/>
                </a:lnTo>
                <a:lnTo>
                  <a:pt x="26" y="64"/>
                </a:lnTo>
                <a:lnTo>
                  <a:pt x="22" y="64"/>
                </a:lnTo>
                <a:lnTo>
                  <a:pt x="20" y="64"/>
                </a:lnTo>
                <a:lnTo>
                  <a:pt x="16" y="60"/>
                </a:lnTo>
                <a:lnTo>
                  <a:pt x="16" y="56"/>
                </a:lnTo>
                <a:lnTo>
                  <a:pt x="20" y="56"/>
                </a:lnTo>
                <a:lnTo>
                  <a:pt x="16" y="56"/>
                </a:lnTo>
                <a:lnTo>
                  <a:pt x="12" y="52"/>
                </a:lnTo>
                <a:lnTo>
                  <a:pt x="16" y="52"/>
                </a:lnTo>
                <a:lnTo>
                  <a:pt x="20" y="52"/>
                </a:lnTo>
                <a:lnTo>
                  <a:pt x="22" y="56"/>
                </a:lnTo>
                <a:lnTo>
                  <a:pt x="26" y="56"/>
                </a:lnTo>
                <a:lnTo>
                  <a:pt x="26" y="52"/>
                </a:lnTo>
                <a:lnTo>
                  <a:pt x="22" y="52"/>
                </a:lnTo>
                <a:lnTo>
                  <a:pt x="20" y="52"/>
                </a:lnTo>
                <a:lnTo>
                  <a:pt x="20" y="48"/>
                </a:lnTo>
                <a:lnTo>
                  <a:pt x="20" y="44"/>
                </a:lnTo>
                <a:lnTo>
                  <a:pt x="22" y="44"/>
                </a:lnTo>
                <a:lnTo>
                  <a:pt x="22" y="40"/>
                </a:lnTo>
                <a:lnTo>
                  <a:pt x="20" y="44"/>
                </a:lnTo>
                <a:lnTo>
                  <a:pt x="16" y="44"/>
                </a:lnTo>
                <a:lnTo>
                  <a:pt x="16" y="40"/>
                </a:lnTo>
                <a:lnTo>
                  <a:pt x="16" y="44"/>
                </a:lnTo>
                <a:lnTo>
                  <a:pt x="16" y="48"/>
                </a:lnTo>
                <a:lnTo>
                  <a:pt x="12" y="48"/>
                </a:lnTo>
                <a:lnTo>
                  <a:pt x="8" y="48"/>
                </a:lnTo>
                <a:lnTo>
                  <a:pt x="8" y="44"/>
                </a:lnTo>
                <a:lnTo>
                  <a:pt x="4" y="40"/>
                </a:lnTo>
                <a:lnTo>
                  <a:pt x="4" y="36"/>
                </a:lnTo>
                <a:lnTo>
                  <a:pt x="4" y="34"/>
                </a:lnTo>
                <a:lnTo>
                  <a:pt x="8" y="34"/>
                </a:lnTo>
                <a:lnTo>
                  <a:pt x="8" y="36"/>
                </a:lnTo>
                <a:lnTo>
                  <a:pt x="8" y="34"/>
                </a:lnTo>
                <a:lnTo>
                  <a:pt x="4" y="34"/>
                </a:lnTo>
                <a:lnTo>
                  <a:pt x="8" y="34"/>
                </a:lnTo>
                <a:lnTo>
                  <a:pt x="12" y="34"/>
                </a:lnTo>
                <a:lnTo>
                  <a:pt x="12" y="30"/>
                </a:lnTo>
                <a:lnTo>
                  <a:pt x="8" y="30"/>
                </a:lnTo>
                <a:lnTo>
                  <a:pt x="12" y="30"/>
                </a:lnTo>
                <a:lnTo>
                  <a:pt x="16" y="30"/>
                </a:lnTo>
                <a:lnTo>
                  <a:pt x="16" y="26"/>
                </a:lnTo>
                <a:lnTo>
                  <a:pt x="20" y="26"/>
                </a:lnTo>
                <a:lnTo>
                  <a:pt x="20" y="30"/>
                </a:lnTo>
                <a:lnTo>
                  <a:pt x="22" y="30"/>
                </a:lnTo>
                <a:lnTo>
                  <a:pt x="22" y="34"/>
                </a:lnTo>
                <a:lnTo>
                  <a:pt x="26" y="34"/>
                </a:lnTo>
                <a:lnTo>
                  <a:pt x="26" y="30"/>
                </a:lnTo>
                <a:lnTo>
                  <a:pt x="22" y="30"/>
                </a:lnTo>
                <a:lnTo>
                  <a:pt x="22" y="26"/>
                </a:lnTo>
                <a:lnTo>
                  <a:pt x="26" y="26"/>
                </a:lnTo>
                <a:lnTo>
                  <a:pt x="26" y="30"/>
                </a:lnTo>
                <a:lnTo>
                  <a:pt x="30" y="30"/>
                </a:lnTo>
                <a:lnTo>
                  <a:pt x="34" y="30"/>
                </a:lnTo>
                <a:lnTo>
                  <a:pt x="34" y="26"/>
                </a:lnTo>
                <a:lnTo>
                  <a:pt x="42" y="26"/>
                </a:lnTo>
                <a:lnTo>
                  <a:pt x="46" y="26"/>
                </a:lnTo>
                <a:lnTo>
                  <a:pt x="50" y="26"/>
                </a:lnTo>
                <a:lnTo>
                  <a:pt x="50" y="30"/>
                </a:lnTo>
                <a:lnTo>
                  <a:pt x="46" y="30"/>
                </a:lnTo>
                <a:lnTo>
                  <a:pt x="42" y="30"/>
                </a:lnTo>
                <a:lnTo>
                  <a:pt x="38" y="30"/>
                </a:lnTo>
                <a:lnTo>
                  <a:pt x="34" y="30"/>
                </a:lnTo>
                <a:lnTo>
                  <a:pt x="34" y="34"/>
                </a:lnTo>
                <a:lnTo>
                  <a:pt x="30" y="34"/>
                </a:lnTo>
                <a:lnTo>
                  <a:pt x="26" y="34"/>
                </a:lnTo>
                <a:lnTo>
                  <a:pt x="26" y="36"/>
                </a:lnTo>
                <a:lnTo>
                  <a:pt x="30" y="36"/>
                </a:lnTo>
                <a:lnTo>
                  <a:pt x="34" y="34"/>
                </a:lnTo>
                <a:lnTo>
                  <a:pt x="38" y="34"/>
                </a:lnTo>
                <a:lnTo>
                  <a:pt x="42" y="34"/>
                </a:lnTo>
                <a:lnTo>
                  <a:pt x="42" y="36"/>
                </a:lnTo>
                <a:lnTo>
                  <a:pt x="38" y="36"/>
                </a:lnTo>
                <a:lnTo>
                  <a:pt x="42" y="36"/>
                </a:lnTo>
                <a:lnTo>
                  <a:pt x="46" y="36"/>
                </a:lnTo>
                <a:lnTo>
                  <a:pt x="50" y="40"/>
                </a:lnTo>
                <a:lnTo>
                  <a:pt x="50" y="44"/>
                </a:lnTo>
                <a:lnTo>
                  <a:pt x="52" y="44"/>
                </a:lnTo>
                <a:lnTo>
                  <a:pt x="52" y="40"/>
                </a:lnTo>
                <a:lnTo>
                  <a:pt x="50" y="36"/>
                </a:lnTo>
                <a:lnTo>
                  <a:pt x="50" y="34"/>
                </a:lnTo>
                <a:lnTo>
                  <a:pt x="52" y="34"/>
                </a:lnTo>
                <a:lnTo>
                  <a:pt x="56" y="30"/>
                </a:lnTo>
                <a:lnTo>
                  <a:pt x="60" y="30"/>
                </a:lnTo>
                <a:lnTo>
                  <a:pt x="64" y="30"/>
                </a:lnTo>
                <a:lnTo>
                  <a:pt x="64" y="34"/>
                </a:lnTo>
                <a:lnTo>
                  <a:pt x="68" y="34"/>
                </a:lnTo>
                <a:lnTo>
                  <a:pt x="68" y="36"/>
                </a:lnTo>
                <a:lnTo>
                  <a:pt x="72" y="40"/>
                </a:lnTo>
                <a:lnTo>
                  <a:pt x="72" y="44"/>
                </a:lnTo>
                <a:lnTo>
                  <a:pt x="76" y="44"/>
                </a:lnTo>
                <a:lnTo>
                  <a:pt x="76" y="48"/>
                </a:lnTo>
                <a:lnTo>
                  <a:pt x="80" y="48"/>
                </a:lnTo>
                <a:lnTo>
                  <a:pt x="80" y="52"/>
                </a:lnTo>
                <a:lnTo>
                  <a:pt x="82" y="52"/>
                </a:lnTo>
                <a:lnTo>
                  <a:pt x="82" y="56"/>
                </a:lnTo>
                <a:lnTo>
                  <a:pt x="86" y="52"/>
                </a:lnTo>
                <a:lnTo>
                  <a:pt x="82" y="52"/>
                </a:lnTo>
                <a:lnTo>
                  <a:pt x="82" y="48"/>
                </a:lnTo>
                <a:lnTo>
                  <a:pt x="80" y="48"/>
                </a:lnTo>
                <a:lnTo>
                  <a:pt x="80" y="44"/>
                </a:lnTo>
                <a:lnTo>
                  <a:pt x="80" y="40"/>
                </a:lnTo>
                <a:lnTo>
                  <a:pt x="76" y="40"/>
                </a:lnTo>
                <a:lnTo>
                  <a:pt x="76" y="36"/>
                </a:lnTo>
                <a:lnTo>
                  <a:pt x="76" y="34"/>
                </a:lnTo>
                <a:lnTo>
                  <a:pt x="76" y="30"/>
                </a:lnTo>
                <a:lnTo>
                  <a:pt x="72" y="30"/>
                </a:lnTo>
                <a:lnTo>
                  <a:pt x="72" y="26"/>
                </a:lnTo>
                <a:lnTo>
                  <a:pt x="76" y="26"/>
                </a:lnTo>
                <a:lnTo>
                  <a:pt x="80" y="26"/>
                </a:lnTo>
                <a:lnTo>
                  <a:pt x="80" y="22"/>
                </a:lnTo>
                <a:lnTo>
                  <a:pt x="82" y="22"/>
                </a:lnTo>
                <a:lnTo>
                  <a:pt x="86" y="22"/>
                </a:lnTo>
                <a:lnTo>
                  <a:pt x="86" y="26"/>
                </a:lnTo>
                <a:lnTo>
                  <a:pt x="90" y="26"/>
                </a:lnTo>
                <a:lnTo>
                  <a:pt x="90" y="22"/>
                </a:lnTo>
                <a:lnTo>
                  <a:pt x="94" y="22"/>
                </a:lnTo>
                <a:lnTo>
                  <a:pt x="94" y="26"/>
                </a:lnTo>
                <a:lnTo>
                  <a:pt x="98" y="26"/>
                </a:lnTo>
                <a:lnTo>
                  <a:pt x="102" y="26"/>
                </a:lnTo>
                <a:lnTo>
                  <a:pt x="106" y="30"/>
                </a:lnTo>
                <a:lnTo>
                  <a:pt x="108" y="30"/>
                </a:lnTo>
                <a:lnTo>
                  <a:pt x="106" y="30"/>
                </a:lnTo>
                <a:lnTo>
                  <a:pt x="106" y="34"/>
                </a:lnTo>
                <a:lnTo>
                  <a:pt x="102" y="36"/>
                </a:lnTo>
                <a:lnTo>
                  <a:pt x="102" y="40"/>
                </a:lnTo>
                <a:lnTo>
                  <a:pt x="106" y="40"/>
                </a:lnTo>
                <a:lnTo>
                  <a:pt x="106" y="36"/>
                </a:lnTo>
                <a:lnTo>
                  <a:pt x="108" y="34"/>
                </a:lnTo>
                <a:lnTo>
                  <a:pt x="112" y="34"/>
                </a:lnTo>
                <a:lnTo>
                  <a:pt x="116" y="34"/>
                </a:lnTo>
                <a:lnTo>
                  <a:pt x="116" y="36"/>
                </a:lnTo>
                <a:lnTo>
                  <a:pt x="120" y="36"/>
                </a:lnTo>
                <a:lnTo>
                  <a:pt x="120" y="40"/>
                </a:lnTo>
                <a:lnTo>
                  <a:pt x="120" y="44"/>
                </a:lnTo>
                <a:lnTo>
                  <a:pt x="120" y="48"/>
                </a:lnTo>
                <a:lnTo>
                  <a:pt x="124" y="48"/>
                </a:lnTo>
                <a:lnTo>
                  <a:pt x="124" y="44"/>
                </a:lnTo>
                <a:lnTo>
                  <a:pt x="132" y="48"/>
                </a:lnTo>
                <a:lnTo>
                  <a:pt x="136" y="52"/>
                </a:lnTo>
                <a:lnTo>
                  <a:pt x="138" y="52"/>
                </a:lnTo>
                <a:lnTo>
                  <a:pt x="142" y="52"/>
                </a:lnTo>
                <a:lnTo>
                  <a:pt x="146" y="52"/>
                </a:lnTo>
                <a:lnTo>
                  <a:pt x="150" y="52"/>
                </a:lnTo>
                <a:lnTo>
                  <a:pt x="150" y="56"/>
                </a:lnTo>
                <a:lnTo>
                  <a:pt x="154" y="56"/>
                </a:lnTo>
                <a:lnTo>
                  <a:pt x="158" y="56"/>
                </a:lnTo>
                <a:lnTo>
                  <a:pt x="158" y="60"/>
                </a:lnTo>
                <a:lnTo>
                  <a:pt x="154" y="60"/>
                </a:lnTo>
                <a:lnTo>
                  <a:pt x="150" y="60"/>
                </a:lnTo>
                <a:lnTo>
                  <a:pt x="150" y="64"/>
                </a:lnTo>
                <a:lnTo>
                  <a:pt x="146" y="60"/>
                </a:lnTo>
                <a:lnTo>
                  <a:pt x="142" y="60"/>
                </a:lnTo>
                <a:lnTo>
                  <a:pt x="142" y="64"/>
                </a:lnTo>
                <a:lnTo>
                  <a:pt x="138" y="64"/>
                </a:lnTo>
                <a:lnTo>
                  <a:pt x="136" y="64"/>
                </a:lnTo>
                <a:lnTo>
                  <a:pt x="132" y="64"/>
                </a:lnTo>
                <a:lnTo>
                  <a:pt x="128" y="64"/>
                </a:lnTo>
                <a:lnTo>
                  <a:pt x="132" y="64"/>
                </a:lnTo>
                <a:lnTo>
                  <a:pt x="132" y="66"/>
                </a:lnTo>
                <a:lnTo>
                  <a:pt x="128" y="66"/>
                </a:lnTo>
                <a:lnTo>
                  <a:pt x="124" y="66"/>
                </a:lnTo>
                <a:lnTo>
                  <a:pt x="120" y="66"/>
                </a:lnTo>
                <a:lnTo>
                  <a:pt x="120" y="70"/>
                </a:lnTo>
                <a:lnTo>
                  <a:pt x="120" y="74"/>
                </a:lnTo>
                <a:lnTo>
                  <a:pt x="120" y="78"/>
                </a:lnTo>
                <a:lnTo>
                  <a:pt x="116" y="78"/>
                </a:lnTo>
                <a:lnTo>
                  <a:pt x="112" y="78"/>
                </a:lnTo>
                <a:lnTo>
                  <a:pt x="112" y="82"/>
                </a:lnTo>
                <a:lnTo>
                  <a:pt x="112" y="86"/>
                </a:lnTo>
                <a:lnTo>
                  <a:pt x="112" y="88"/>
                </a:lnTo>
                <a:lnTo>
                  <a:pt x="108" y="92"/>
                </a:lnTo>
                <a:lnTo>
                  <a:pt x="106" y="92"/>
                </a:lnTo>
                <a:lnTo>
                  <a:pt x="102" y="92"/>
                </a:lnTo>
                <a:lnTo>
                  <a:pt x="102" y="96"/>
                </a:lnTo>
                <a:lnTo>
                  <a:pt x="98" y="100"/>
                </a:lnTo>
                <a:lnTo>
                  <a:pt x="98" y="104"/>
                </a:lnTo>
                <a:lnTo>
                  <a:pt x="98" y="108"/>
                </a:lnTo>
                <a:lnTo>
                  <a:pt x="94" y="108"/>
                </a:lnTo>
                <a:lnTo>
                  <a:pt x="98" y="108"/>
                </a:lnTo>
                <a:lnTo>
                  <a:pt x="94" y="110"/>
                </a:lnTo>
                <a:lnTo>
                  <a:pt x="90" y="110"/>
                </a:lnTo>
                <a:lnTo>
                  <a:pt x="90" y="114"/>
                </a:lnTo>
                <a:lnTo>
                  <a:pt x="94" y="114"/>
                </a:lnTo>
                <a:lnTo>
                  <a:pt x="94" y="118"/>
                </a:lnTo>
                <a:lnTo>
                  <a:pt x="90" y="118"/>
                </a:lnTo>
                <a:lnTo>
                  <a:pt x="86" y="118"/>
                </a:lnTo>
                <a:lnTo>
                  <a:pt x="82" y="118"/>
                </a:lnTo>
                <a:lnTo>
                  <a:pt x="82" y="114"/>
                </a:lnTo>
                <a:lnTo>
                  <a:pt x="80" y="114"/>
                </a:lnTo>
                <a:lnTo>
                  <a:pt x="76" y="114"/>
                </a:lnTo>
                <a:lnTo>
                  <a:pt x="76" y="110"/>
                </a:lnTo>
                <a:lnTo>
                  <a:pt x="72" y="110"/>
                </a:lnTo>
                <a:lnTo>
                  <a:pt x="76" y="110"/>
                </a:lnTo>
                <a:lnTo>
                  <a:pt x="76" y="108"/>
                </a:lnTo>
                <a:lnTo>
                  <a:pt x="80" y="108"/>
                </a:lnTo>
                <a:lnTo>
                  <a:pt x="82" y="108"/>
                </a:lnTo>
                <a:lnTo>
                  <a:pt x="86" y="108"/>
                </a:lnTo>
                <a:lnTo>
                  <a:pt x="82" y="108"/>
                </a:lnTo>
                <a:lnTo>
                  <a:pt x="80" y="108"/>
                </a:lnTo>
                <a:lnTo>
                  <a:pt x="80" y="104"/>
                </a:lnTo>
                <a:lnTo>
                  <a:pt x="76" y="108"/>
                </a:lnTo>
                <a:lnTo>
                  <a:pt x="72" y="108"/>
                </a:lnTo>
                <a:lnTo>
                  <a:pt x="68" y="108"/>
                </a:lnTo>
                <a:lnTo>
                  <a:pt x="64" y="108"/>
                </a:lnTo>
                <a:lnTo>
                  <a:pt x="64" y="104"/>
                </a:lnTo>
                <a:lnTo>
                  <a:pt x="60" y="104"/>
                </a:lnTo>
                <a:lnTo>
                  <a:pt x="56" y="104"/>
                </a:lnTo>
                <a:lnTo>
                  <a:pt x="56" y="104"/>
                </a:lnTo>
                <a:lnTo>
                  <a:pt x="56" y="104"/>
                </a:lnTo>
                <a:close/>
                <a:moveTo>
                  <a:pt x="22" y="74"/>
                </a:moveTo>
                <a:lnTo>
                  <a:pt x="20" y="74"/>
                </a:lnTo>
                <a:lnTo>
                  <a:pt x="20" y="70"/>
                </a:lnTo>
                <a:lnTo>
                  <a:pt x="16" y="70"/>
                </a:lnTo>
                <a:lnTo>
                  <a:pt x="16" y="66"/>
                </a:lnTo>
                <a:lnTo>
                  <a:pt x="12" y="66"/>
                </a:lnTo>
                <a:lnTo>
                  <a:pt x="8" y="66"/>
                </a:lnTo>
                <a:lnTo>
                  <a:pt x="8" y="64"/>
                </a:lnTo>
                <a:lnTo>
                  <a:pt x="4" y="64"/>
                </a:lnTo>
                <a:lnTo>
                  <a:pt x="4" y="60"/>
                </a:lnTo>
                <a:lnTo>
                  <a:pt x="0" y="60"/>
                </a:lnTo>
                <a:lnTo>
                  <a:pt x="0" y="56"/>
                </a:lnTo>
                <a:lnTo>
                  <a:pt x="4" y="56"/>
                </a:lnTo>
                <a:lnTo>
                  <a:pt x="8" y="56"/>
                </a:lnTo>
                <a:lnTo>
                  <a:pt x="8" y="60"/>
                </a:lnTo>
                <a:lnTo>
                  <a:pt x="12" y="64"/>
                </a:lnTo>
                <a:lnTo>
                  <a:pt x="16" y="64"/>
                </a:lnTo>
                <a:lnTo>
                  <a:pt x="16" y="66"/>
                </a:lnTo>
                <a:lnTo>
                  <a:pt x="20" y="66"/>
                </a:lnTo>
                <a:lnTo>
                  <a:pt x="22" y="70"/>
                </a:lnTo>
                <a:lnTo>
                  <a:pt x="22" y="74"/>
                </a:lnTo>
                <a:lnTo>
                  <a:pt x="22" y="74"/>
                </a:lnTo>
                <a:lnTo>
                  <a:pt x="22" y="74"/>
                </a:lnTo>
                <a:close/>
                <a:moveTo>
                  <a:pt x="136" y="66"/>
                </a:moveTo>
                <a:lnTo>
                  <a:pt x="138" y="66"/>
                </a:lnTo>
                <a:lnTo>
                  <a:pt x="142" y="64"/>
                </a:lnTo>
                <a:lnTo>
                  <a:pt x="146" y="64"/>
                </a:lnTo>
                <a:lnTo>
                  <a:pt x="150" y="64"/>
                </a:lnTo>
                <a:lnTo>
                  <a:pt x="154" y="64"/>
                </a:lnTo>
                <a:lnTo>
                  <a:pt x="158" y="64"/>
                </a:lnTo>
                <a:lnTo>
                  <a:pt x="162" y="64"/>
                </a:lnTo>
                <a:lnTo>
                  <a:pt x="166" y="64"/>
                </a:lnTo>
                <a:lnTo>
                  <a:pt x="166" y="66"/>
                </a:lnTo>
                <a:lnTo>
                  <a:pt x="166" y="70"/>
                </a:lnTo>
                <a:lnTo>
                  <a:pt x="168" y="70"/>
                </a:lnTo>
                <a:lnTo>
                  <a:pt x="166" y="74"/>
                </a:lnTo>
                <a:lnTo>
                  <a:pt x="162" y="74"/>
                </a:lnTo>
                <a:lnTo>
                  <a:pt x="162" y="70"/>
                </a:lnTo>
                <a:lnTo>
                  <a:pt x="158" y="74"/>
                </a:lnTo>
                <a:lnTo>
                  <a:pt x="154" y="74"/>
                </a:lnTo>
                <a:lnTo>
                  <a:pt x="150" y="74"/>
                </a:lnTo>
                <a:lnTo>
                  <a:pt x="146" y="74"/>
                </a:lnTo>
                <a:lnTo>
                  <a:pt x="142" y="74"/>
                </a:lnTo>
                <a:lnTo>
                  <a:pt x="146" y="74"/>
                </a:lnTo>
                <a:lnTo>
                  <a:pt x="146" y="70"/>
                </a:lnTo>
                <a:lnTo>
                  <a:pt x="142" y="70"/>
                </a:lnTo>
                <a:lnTo>
                  <a:pt x="142" y="66"/>
                </a:lnTo>
                <a:lnTo>
                  <a:pt x="138" y="66"/>
                </a:lnTo>
                <a:lnTo>
                  <a:pt x="136" y="66"/>
                </a:lnTo>
                <a:lnTo>
                  <a:pt x="136" y="66"/>
                </a:lnTo>
                <a:lnTo>
                  <a:pt x="136" y="66"/>
                </a:lnTo>
                <a:close/>
                <a:moveTo>
                  <a:pt x="172" y="100"/>
                </a:moveTo>
                <a:lnTo>
                  <a:pt x="168" y="100"/>
                </a:lnTo>
                <a:lnTo>
                  <a:pt x="168" y="96"/>
                </a:lnTo>
                <a:lnTo>
                  <a:pt x="172" y="92"/>
                </a:lnTo>
                <a:lnTo>
                  <a:pt x="168" y="92"/>
                </a:lnTo>
                <a:lnTo>
                  <a:pt x="166" y="92"/>
                </a:lnTo>
                <a:lnTo>
                  <a:pt x="162" y="92"/>
                </a:lnTo>
                <a:lnTo>
                  <a:pt x="158" y="92"/>
                </a:lnTo>
                <a:lnTo>
                  <a:pt x="154" y="92"/>
                </a:lnTo>
                <a:lnTo>
                  <a:pt x="154" y="96"/>
                </a:lnTo>
                <a:lnTo>
                  <a:pt x="150" y="96"/>
                </a:lnTo>
                <a:lnTo>
                  <a:pt x="146" y="96"/>
                </a:lnTo>
                <a:lnTo>
                  <a:pt x="146" y="92"/>
                </a:lnTo>
                <a:lnTo>
                  <a:pt x="150" y="92"/>
                </a:lnTo>
                <a:lnTo>
                  <a:pt x="150" y="88"/>
                </a:lnTo>
                <a:lnTo>
                  <a:pt x="154" y="88"/>
                </a:lnTo>
                <a:lnTo>
                  <a:pt x="154" y="86"/>
                </a:lnTo>
                <a:lnTo>
                  <a:pt x="158" y="82"/>
                </a:lnTo>
                <a:lnTo>
                  <a:pt x="154" y="82"/>
                </a:lnTo>
                <a:lnTo>
                  <a:pt x="150" y="78"/>
                </a:lnTo>
                <a:lnTo>
                  <a:pt x="146" y="78"/>
                </a:lnTo>
                <a:lnTo>
                  <a:pt x="146" y="74"/>
                </a:lnTo>
                <a:lnTo>
                  <a:pt x="150" y="74"/>
                </a:lnTo>
                <a:lnTo>
                  <a:pt x="154" y="74"/>
                </a:lnTo>
                <a:lnTo>
                  <a:pt x="158" y="74"/>
                </a:lnTo>
                <a:lnTo>
                  <a:pt x="162" y="74"/>
                </a:lnTo>
                <a:lnTo>
                  <a:pt x="166" y="74"/>
                </a:lnTo>
                <a:lnTo>
                  <a:pt x="168" y="74"/>
                </a:lnTo>
                <a:lnTo>
                  <a:pt x="176" y="74"/>
                </a:lnTo>
                <a:lnTo>
                  <a:pt x="180" y="74"/>
                </a:lnTo>
                <a:lnTo>
                  <a:pt x="184" y="74"/>
                </a:lnTo>
                <a:lnTo>
                  <a:pt x="184" y="78"/>
                </a:lnTo>
                <a:lnTo>
                  <a:pt x="180" y="78"/>
                </a:lnTo>
                <a:lnTo>
                  <a:pt x="176" y="78"/>
                </a:lnTo>
                <a:lnTo>
                  <a:pt x="180" y="78"/>
                </a:lnTo>
                <a:lnTo>
                  <a:pt x="180" y="82"/>
                </a:lnTo>
                <a:lnTo>
                  <a:pt x="184" y="82"/>
                </a:lnTo>
                <a:lnTo>
                  <a:pt x="188" y="82"/>
                </a:lnTo>
                <a:lnTo>
                  <a:pt x="188" y="86"/>
                </a:lnTo>
                <a:lnTo>
                  <a:pt x="192" y="86"/>
                </a:lnTo>
                <a:lnTo>
                  <a:pt x="192" y="82"/>
                </a:lnTo>
                <a:lnTo>
                  <a:pt x="196" y="82"/>
                </a:lnTo>
                <a:lnTo>
                  <a:pt x="198" y="86"/>
                </a:lnTo>
                <a:lnTo>
                  <a:pt x="202" y="86"/>
                </a:lnTo>
                <a:lnTo>
                  <a:pt x="206" y="86"/>
                </a:lnTo>
                <a:lnTo>
                  <a:pt x="202" y="86"/>
                </a:lnTo>
                <a:lnTo>
                  <a:pt x="198" y="88"/>
                </a:lnTo>
                <a:lnTo>
                  <a:pt x="196" y="88"/>
                </a:lnTo>
                <a:lnTo>
                  <a:pt x="192" y="88"/>
                </a:lnTo>
                <a:lnTo>
                  <a:pt x="192" y="92"/>
                </a:lnTo>
                <a:lnTo>
                  <a:pt x="188" y="96"/>
                </a:lnTo>
                <a:lnTo>
                  <a:pt x="184" y="96"/>
                </a:lnTo>
                <a:lnTo>
                  <a:pt x="180" y="96"/>
                </a:lnTo>
                <a:lnTo>
                  <a:pt x="176" y="96"/>
                </a:lnTo>
                <a:lnTo>
                  <a:pt x="176" y="100"/>
                </a:lnTo>
                <a:lnTo>
                  <a:pt x="172" y="100"/>
                </a:lnTo>
                <a:lnTo>
                  <a:pt x="172" y="100"/>
                </a:lnTo>
                <a:lnTo>
                  <a:pt x="172" y="100"/>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16" name="Freeform 123"/>
          <p:cNvSpPr>
            <a:spLocks noEditPoints="1"/>
          </p:cNvSpPr>
          <p:nvPr/>
        </p:nvSpPr>
        <p:spPr bwMode="auto">
          <a:xfrm>
            <a:off x="4443412" y="2093118"/>
            <a:ext cx="223838" cy="381000"/>
          </a:xfrm>
          <a:custGeom>
            <a:avLst/>
            <a:gdLst>
              <a:gd name="T0" fmla="*/ 106 w 188"/>
              <a:gd name="T1" fmla="*/ 232 h 320"/>
              <a:gd name="T2" fmla="*/ 98 w 188"/>
              <a:gd name="T3" fmla="*/ 238 h 320"/>
              <a:gd name="T4" fmla="*/ 78 w 188"/>
              <a:gd name="T5" fmla="*/ 250 h 320"/>
              <a:gd name="T6" fmla="*/ 76 w 188"/>
              <a:gd name="T7" fmla="*/ 254 h 320"/>
              <a:gd name="T8" fmla="*/ 82 w 188"/>
              <a:gd name="T9" fmla="*/ 264 h 320"/>
              <a:gd name="T10" fmla="*/ 76 w 188"/>
              <a:gd name="T11" fmla="*/ 280 h 320"/>
              <a:gd name="T12" fmla="*/ 64 w 188"/>
              <a:gd name="T13" fmla="*/ 302 h 320"/>
              <a:gd name="T14" fmla="*/ 46 w 188"/>
              <a:gd name="T15" fmla="*/ 314 h 320"/>
              <a:gd name="T16" fmla="*/ 30 w 188"/>
              <a:gd name="T17" fmla="*/ 320 h 320"/>
              <a:gd name="T18" fmla="*/ 26 w 188"/>
              <a:gd name="T19" fmla="*/ 302 h 320"/>
              <a:gd name="T20" fmla="*/ 18 w 188"/>
              <a:gd name="T21" fmla="*/ 284 h 320"/>
              <a:gd name="T22" fmla="*/ 8 w 188"/>
              <a:gd name="T23" fmla="*/ 264 h 320"/>
              <a:gd name="T24" fmla="*/ 4 w 188"/>
              <a:gd name="T25" fmla="*/ 246 h 320"/>
              <a:gd name="T26" fmla="*/ 8 w 188"/>
              <a:gd name="T27" fmla="*/ 242 h 320"/>
              <a:gd name="T28" fmla="*/ 16 w 188"/>
              <a:gd name="T29" fmla="*/ 220 h 320"/>
              <a:gd name="T30" fmla="*/ 18 w 188"/>
              <a:gd name="T31" fmla="*/ 198 h 320"/>
              <a:gd name="T32" fmla="*/ 22 w 188"/>
              <a:gd name="T33" fmla="*/ 182 h 320"/>
              <a:gd name="T34" fmla="*/ 16 w 188"/>
              <a:gd name="T35" fmla="*/ 162 h 320"/>
              <a:gd name="T36" fmla="*/ 16 w 188"/>
              <a:gd name="T37" fmla="*/ 134 h 320"/>
              <a:gd name="T38" fmla="*/ 46 w 188"/>
              <a:gd name="T39" fmla="*/ 112 h 320"/>
              <a:gd name="T40" fmla="*/ 46 w 188"/>
              <a:gd name="T41" fmla="*/ 98 h 320"/>
              <a:gd name="T42" fmla="*/ 52 w 188"/>
              <a:gd name="T43" fmla="*/ 76 h 320"/>
              <a:gd name="T44" fmla="*/ 76 w 188"/>
              <a:gd name="T45" fmla="*/ 52 h 320"/>
              <a:gd name="T46" fmla="*/ 78 w 188"/>
              <a:gd name="T47" fmla="*/ 30 h 320"/>
              <a:gd name="T48" fmla="*/ 102 w 188"/>
              <a:gd name="T49" fmla="*/ 20 h 320"/>
              <a:gd name="T50" fmla="*/ 128 w 188"/>
              <a:gd name="T51" fmla="*/ 20 h 320"/>
              <a:gd name="T52" fmla="*/ 138 w 188"/>
              <a:gd name="T53" fmla="*/ 4 h 320"/>
              <a:gd name="T54" fmla="*/ 162 w 188"/>
              <a:gd name="T55" fmla="*/ 16 h 320"/>
              <a:gd name="T56" fmla="*/ 176 w 188"/>
              <a:gd name="T57" fmla="*/ 42 h 320"/>
              <a:gd name="T58" fmla="*/ 180 w 188"/>
              <a:gd name="T59" fmla="*/ 64 h 320"/>
              <a:gd name="T60" fmla="*/ 176 w 188"/>
              <a:gd name="T61" fmla="*/ 82 h 320"/>
              <a:gd name="T62" fmla="*/ 158 w 188"/>
              <a:gd name="T63" fmla="*/ 86 h 320"/>
              <a:gd name="T64" fmla="*/ 158 w 188"/>
              <a:gd name="T65" fmla="*/ 90 h 320"/>
              <a:gd name="T66" fmla="*/ 150 w 188"/>
              <a:gd name="T67" fmla="*/ 98 h 320"/>
              <a:gd name="T68" fmla="*/ 142 w 188"/>
              <a:gd name="T69" fmla="*/ 108 h 320"/>
              <a:gd name="T70" fmla="*/ 146 w 188"/>
              <a:gd name="T71" fmla="*/ 120 h 320"/>
              <a:gd name="T72" fmla="*/ 124 w 188"/>
              <a:gd name="T73" fmla="*/ 134 h 320"/>
              <a:gd name="T74" fmla="*/ 116 w 188"/>
              <a:gd name="T75" fmla="*/ 142 h 320"/>
              <a:gd name="T76" fmla="*/ 106 w 188"/>
              <a:gd name="T77" fmla="*/ 150 h 320"/>
              <a:gd name="T78" fmla="*/ 98 w 188"/>
              <a:gd name="T79" fmla="*/ 150 h 320"/>
              <a:gd name="T80" fmla="*/ 90 w 188"/>
              <a:gd name="T81" fmla="*/ 168 h 320"/>
              <a:gd name="T82" fmla="*/ 86 w 188"/>
              <a:gd name="T83" fmla="*/ 178 h 320"/>
              <a:gd name="T84" fmla="*/ 90 w 188"/>
              <a:gd name="T85" fmla="*/ 206 h 320"/>
              <a:gd name="T86" fmla="*/ 108 w 188"/>
              <a:gd name="T87" fmla="*/ 212 h 320"/>
              <a:gd name="T88" fmla="*/ 106 w 188"/>
              <a:gd name="T89" fmla="*/ 232 h 320"/>
              <a:gd name="T90" fmla="*/ 94 w 188"/>
              <a:gd name="T91" fmla="*/ 224 h 320"/>
              <a:gd name="T92" fmla="*/ 94 w 188"/>
              <a:gd name="T93" fmla="*/ 228 h 320"/>
              <a:gd name="T94" fmla="*/ 78 w 188"/>
              <a:gd name="T95" fmla="*/ 228 h 320"/>
              <a:gd name="T96" fmla="*/ 86 w 188"/>
              <a:gd name="T97" fmla="*/ 232 h 320"/>
              <a:gd name="T98" fmla="*/ 90 w 188"/>
              <a:gd name="T99" fmla="*/ 162 h 320"/>
              <a:gd name="T100" fmla="*/ 86 w 188"/>
              <a:gd name="T101" fmla="*/ 232 h 320"/>
              <a:gd name="T102" fmla="*/ 94 w 188"/>
              <a:gd name="T103" fmla="*/ 234 h 320"/>
              <a:gd name="T104" fmla="*/ 106 w 188"/>
              <a:gd name="T105" fmla="*/ 206 h 320"/>
              <a:gd name="T106" fmla="*/ 12 w 188"/>
              <a:gd name="T107" fmla="*/ 258 h 320"/>
              <a:gd name="T108" fmla="*/ 12 w 188"/>
              <a:gd name="T109" fmla="*/ 264 h 320"/>
              <a:gd name="T110" fmla="*/ 108 w 188"/>
              <a:gd name="T111" fmla="*/ 276 h 320"/>
              <a:gd name="T112" fmla="*/ 102 w 188"/>
              <a:gd name="T113" fmla="*/ 272 h 320"/>
              <a:gd name="T114" fmla="*/ 76 w 188"/>
              <a:gd name="T115" fmla="*/ 294 h 320"/>
              <a:gd name="T116" fmla="*/ 86 w 188"/>
              <a:gd name="T117" fmla="*/ 284 h 320"/>
              <a:gd name="T118" fmla="*/ 76 w 188"/>
              <a:gd name="T119" fmla="*/ 30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8" h="320">
                <a:moveTo>
                  <a:pt x="90" y="234"/>
                </a:moveTo>
                <a:lnTo>
                  <a:pt x="94" y="234"/>
                </a:lnTo>
                <a:lnTo>
                  <a:pt x="98" y="234"/>
                </a:lnTo>
                <a:lnTo>
                  <a:pt x="98" y="232"/>
                </a:lnTo>
                <a:lnTo>
                  <a:pt x="98" y="234"/>
                </a:lnTo>
                <a:lnTo>
                  <a:pt x="102" y="234"/>
                </a:lnTo>
                <a:lnTo>
                  <a:pt x="102" y="232"/>
                </a:lnTo>
                <a:lnTo>
                  <a:pt x="106" y="232"/>
                </a:lnTo>
                <a:lnTo>
                  <a:pt x="106" y="234"/>
                </a:lnTo>
                <a:lnTo>
                  <a:pt x="106" y="232"/>
                </a:lnTo>
                <a:lnTo>
                  <a:pt x="108" y="232"/>
                </a:lnTo>
                <a:lnTo>
                  <a:pt x="108" y="234"/>
                </a:lnTo>
                <a:lnTo>
                  <a:pt x="106" y="234"/>
                </a:lnTo>
                <a:lnTo>
                  <a:pt x="102" y="234"/>
                </a:lnTo>
                <a:lnTo>
                  <a:pt x="102" y="238"/>
                </a:lnTo>
                <a:lnTo>
                  <a:pt x="98" y="238"/>
                </a:lnTo>
                <a:lnTo>
                  <a:pt x="98" y="242"/>
                </a:lnTo>
                <a:lnTo>
                  <a:pt x="94" y="238"/>
                </a:lnTo>
                <a:lnTo>
                  <a:pt x="94" y="242"/>
                </a:lnTo>
                <a:lnTo>
                  <a:pt x="90" y="246"/>
                </a:lnTo>
                <a:lnTo>
                  <a:pt x="86" y="246"/>
                </a:lnTo>
                <a:lnTo>
                  <a:pt x="86" y="250"/>
                </a:lnTo>
                <a:lnTo>
                  <a:pt x="82" y="250"/>
                </a:lnTo>
                <a:lnTo>
                  <a:pt x="78" y="250"/>
                </a:lnTo>
                <a:lnTo>
                  <a:pt x="76" y="250"/>
                </a:lnTo>
                <a:lnTo>
                  <a:pt x="72" y="250"/>
                </a:lnTo>
                <a:lnTo>
                  <a:pt x="76" y="250"/>
                </a:lnTo>
                <a:lnTo>
                  <a:pt x="78" y="250"/>
                </a:lnTo>
                <a:lnTo>
                  <a:pt x="82" y="250"/>
                </a:lnTo>
                <a:lnTo>
                  <a:pt x="82" y="254"/>
                </a:lnTo>
                <a:lnTo>
                  <a:pt x="78" y="254"/>
                </a:lnTo>
                <a:lnTo>
                  <a:pt x="76" y="254"/>
                </a:lnTo>
                <a:lnTo>
                  <a:pt x="78" y="254"/>
                </a:lnTo>
                <a:lnTo>
                  <a:pt x="82" y="254"/>
                </a:lnTo>
                <a:lnTo>
                  <a:pt x="82" y="258"/>
                </a:lnTo>
                <a:lnTo>
                  <a:pt x="82" y="262"/>
                </a:lnTo>
                <a:lnTo>
                  <a:pt x="78" y="262"/>
                </a:lnTo>
                <a:lnTo>
                  <a:pt x="82" y="262"/>
                </a:lnTo>
                <a:lnTo>
                  <a:pt x="78" y="264"/>
                </a:lnTo>
                <a:lnTo>
                  <a:pt x="82" y="264"/>
                </a:lnTo>
                <a:lnTo>
                  <a:pt x="78" y="264"/>
                </a:lnTo>
                <a:lnTo>
                  <a:pt x="78" y="268"/>
                </a:lnTo>
                <a:lnTo>
                  <a:pt x="76" y="264"/>
                </a:lnTo>
                <a:lnTo>
                  <a:pt x="78" y="268"/>
                </a:lnTo>
                <a:lnTo>
                  <a:pt x="78" y="272"/>
                </a:lnTo>
                <a:lnTo>
                  <a:pt x="78" y="276"/>
                </a:lnTo>
                <a:lnTo>
                  <a:pt x="78" y="280"/>
                </a:lnTo>
                <a:lnTo>
                  <a:pt x="76" y="280"/>
                </a:lnTo>
                <a:lnTo>
                  <a:pt x="78" y="284"/>
                </a:lnTo>
                <a:lnTo>
                  <a:pt x="76" y="288"/>
                </a:lnTo>
                <a:lnTo>
                  <a:pt x="76" y="292"/>
                </a:lnTo>
                <a:lnTo>
                  <a:pt x="76" y="294"/>
                </a:lnTo>
                <a:lnTo>
                  <a:pt x="72" y="298"/>
                </a:lnTo>
                <a:lnTo>
                  <a:pt x="72" y="302"/>
                </a:lnTo>
                <a:lnTo>
                  <a:pt x="68" y="306"/>
                </a:lnTo>
                <a:lnTo>
                  <a:pt x="64" y="302"/>
                </a:lnTo>
                <a:lnTo>
                  <a:pt x="60" y="306"/>
                </a:lnTo>
                <a:lnTo>
                  <a:pt x="56" y="302"/>
                </a:lnTo>
                <a:lnTo>
                  <a:pt x="52" y="302"/>
                </a:lnTo>
                <a:lnTo>
                  <a:pt x="52" y="306"/>
                </a:lnTo>
                <a:lnTo>
                  <a:pt x="48" y="306"/>
                </a:lnTo>
                <a:lnTo>
                  <a:pt x="48" y="310"/>
                </a:lnTo>
                <a:lnTo>
                  <a:pt x="46" y="310"/>
                </a:lnTo>
                <a:lnTo>
                  <a:pt x="46" y="314"/>
                </a:lnTo>
                <a:lnTo>
                  <a:pt x="46" y="318"/>
                </a:lnTo>
                <a:lnTo>
                  <a:pt x="48" y="318"/>
                </a:lnTo>
                <a:lnTo>
                  <a:pt x="46" y="318"/>
                </a:lnTo>
                <a:lnTo>
                  <a:pt x="46" y="320"/>
                </a:lnTo>
                <a:lnTo>
                  <a:pt x="42" y="320"/>
                </a:lnTo>
                <a:lnTo>
                  <a:pt x="38" y="320"/>
                </a:lnTo>
                <a:lnTo>
                  <a:pt x="34" y="320"/>
                </a:lnTo>
                <a:lnTo>
                  <a:pt x="30" y="320"/>
                </a:lnTo>
                <a:lnTo>
                  <a:pt x="26" y="320"/>
                </a:lnTo>
                <a:lnTo>
                  <a:pt x="26" y="318"/>
                </a:lnTo>
                <a:lnTo>
                  <a:pt x="30" y="314"/>
                </a:lnTo>
                <a:lnTo>
                  <a:pt x="26" y="310"/>
                </a:lnTo>
                <a:lnTo>
                  <a:pt x="22" y="306"/>
                </a:lnTo>
                <a:lnTo>
                  <a:pt x="18" y="302"/>
                </a:lnTo>
                <a:lnTo>
                  <a:pt x="22" y="302"/>
                </a:lnTo>
                <a:lnTo>
                  <a:pt x="26" y="302"/>
                </a:lnTo>
                <a:lnTo>
                  <a:pt x="22" y="298"/>
                </a:lnTo>
                <a:lnTo>
                  <a:pt x="26" y="298"/>
                </a:lnTo>
                <a:lnTo>
                  <a:pt x="26" y="294"/>
                </a:lnTo>
                <a:lnTo>
                  <a:pt x="22" y="294"/>
                </a:lnTo>
                <a:lnTo>
                  <a:pt x="22" y="292"/>
                </a:lnTo>
                <a:lnTo>
                  <a:pt x="22" y="288"/>
                </a:lnTo>
                <a:lnTo>
                  <a:pt x="18" y="288"/>
                </a:lnTo>
                <a:lnTo>
                  <a:pt x="18" y="284"/>
                </a:lnTo>
                <a:lnTo>
                  <a:pt x="16" y="284"/>
                </a:lnTo>
                <a:lnTo>
                  <a:pt x="16" y="280"/>
                </a:lnTo>
                <a:lnTo>
                  <a:pt x="16" y="276"/>
                </a:lnTo>
                <a:lnTo>
                  <a:pt x="12" y="276"/>
                </a:lnTo>
                <a:lnTo>
                  <a:pt x="12" y="272"/>
                </a:lnTo>
                <a:lnTo>
                  <a:pt x="12" y="268"/>
                </a:lnTo>
                <a:lnTo>
                  <a:pt x="8" y="268"/>
                </a:lnTo>
                <a:lnTo>
                  <a:pt x="8" y="264"/>
                </a:lnTo>
                <a:lnTo>
                  <a:pt x="12" y="264"/>
                </a:lnTo>
                <a:lnTo>
                  <a:pt x="12" y="262"/>
                </a:lnTo>
                <a:lnTo>
                  <a:pt x="12" y="258"/>
                </a:lnTo>
                <a:lnTo>
                  <a:pt x="8" y="258"/>
                </a:lnTo>
                <a:lnTo>
                  <a:pt x="4" y="258"/>
                </a:lnTo>
                <a:lnTo>
                  <a:pt x="4" y="254"/>
                </a:lnTo>
                <a:lnTo>
                  <a:pt x="4" y="250"/>
                </a:lnTo>
                <a:lnTo>
                  <a:pt x="4" y="246"/>
                </a:lnTo>
                <a:lnTo>
                  <a:pt x="0" y="246"/>
                </a:lnTo>
                <a:lnTo>
                  <a:pt x="4" y="246"/>
                </a:lnTo>
                <a:lnTo>
                  <a:pt x="4" y="242"/>
                </a:lnTo>
                <a:lnTo>
                  <a:pt x="0" y="242"/>
                </a:lnTo>
                <a:lnTo>
                  <a:pt x="0" y="238"/>
                </a:lnTo>
                <a:lnTo>
                  <a:pt x="4" y="238"/>
                </a:lnTo>
                <a:lnTo>
                  <a:pt x="4" y="242"/>
                </a:lnTo>
                <a:lnTo>
                  <a:pt x="8" y="242"/>
                </a:lnTo>
                <a:lnTo>
                  <a:pt x="12" y="238"/>
                </a:lnTo>
                <a:lnTo>
                  <a:pt x="12" y="234"/>
                </a:lnTo>
                <a:lnTo>
                  <a:pt x="12" y="232"/>
                </a:lnTo>
                <a:lnTo>
                  <a:pt x="8" y="228"/>
                </a:lnTo>
                <a:lnTo>
                  <a:pt x="12" y="228"/>
                </a:lnTo>
                <a:lnTo>
                  <a:pt x="12" y="224"/>
                </a:lnTo>
                <a:lnTo>
                  <a:pt x="12" y="220"/>
                </a:lnTo>
                <a:lnTo>
                  <a:pt x="16" y="220"/>
                </a:lnTo>
                <a:lnTo>
                  <a:pt x="18" y="220"/>
                </a:lnTo>
                <a:lnTo>
                  <a:pt x="18" y="216"/>
                </a:lnTo>
                <a:lnTo>
                  <a:pt x="18" y="212"/>
                </a:lnTo>
                <a:lnTo>
                  <a:pt x="22" y="208"/>
                </a:lnTo>
                <a:lnTo>
                  <a:pt x="22" y="206"/>
                </a:lnTo>
                <a:lnTo>
                  <a:pt x="18" y="206"/>
                </a:lnTo>
                <a:lnTo>
                  <a:pt x="18" y="202"/>
                </a:lnTo>
                <a:lnTo>
                  <a:pt x="18" y="198"/>
                </a:lnTo>
                <a:lnTo>
                  <a:pt x="16" y="194"/>
                </a:lnTo>
                <a:lnTo>
                  <a:pt x="18" y="194"/>
                </a:lnTo>
                <a:lnTo>
                  <a:pt x="22" y="194"/>
                </a:lnTo>
                <a:lnTo>
                  <a:pt x="22" y="190"/>
                </a:lnTo>
                <a:lnTo>
                  <a:pt x="26" y="190"/>
                </a:lnTo>
                <a:lnTo>
                  <a:pt x="26" y="186"/>
                </a:lnTo>
                <a:lnTo>
                  <a:pt x="22" y="186"/>
                </a:lnTo>
                <a:lnTo>
                  <a:pt x="22" y="182"/>
                </a:lnTo>
                <a:lnTo>
                  <a:pt x="18" y="182"/>
                </a:lnTo>
                <a:lnTo>
                  <a:pt x="16" y="178"/>
                </a:lnTo>
                <a:lnTo>
                  <a:pt x="16" y="176"/>
                </a:lnTo>
                <a:lnTo>
                  <a:pt x="16" y="172"/>
                </a:lnTo>
                <a:lnTo>
                  <a:pt x="18" y="168"/>
                </a:lnTo>
                <a:lnTo>
                  <a:pt x="18" y="164"/>
                </a:lnTo>
                <a:lnTo>
                  <a:pt x="16" y="164"/>
                </a:lnTo>
                <a:lnTo>
                  <a:pt x="16" y="162"/>
                </a:lnTo>
                <a:lnTo>
                  <a:pt x="16" y="158"/>
                </a:lnTo>
                <a:lnTo>
                  <a:pt x="16" y="154"/>
                </a:lnTo>
                <a:lnTo>
                  <a:pt x="16" y="150"/>
                </a:lnTo>
                <a:lnTo>
                  <a:pt x="16" y="146"/>
                </a:lnTo>
                <a:lnTo>
                  <a:pt x="12" y="142"/>
                </a:lnTo>
                <a:lnTo>
                  <a:pt x="16" y="142"/>
                </a:lnTo>
                <a:lnTo>
                  <a:pt x="16" y="138"/>
                </a:lnTo>
                <a:lnTo>
                  <a:pt x="16" y="134"/>
                </a:lnTo>
                <a:lnTo>
                  <a:pt x="18" y="132"/>
                </a:lnTo>
                <a:lnTo>
                  <a:pt x="22" y="128"/>
                </a:lnTo>
                <a:lnTo>
                  <a:pt x="26" y="124"/>
                </a:lnTo>
                <a:lnTo>
                  <a:pt x="30" y="124"/>
                </a:lnTo>
                <a:lnTo>
                  <a:pt x="42" y="124"/>
                </a:lnTo>
                <a:lnTo>
                  <a:pt x="46" y="120"/>
                </a:lnTo>
                <a:lnTo>
                  <a:pt x="46" y="116"/>
                </a:lnTo>
                <a:lnTo>
                  <a:pt x="46" y="112"/>
                </a:lnTo>
                <a:lnTo>
                  <a:pt x="42" y="112"/>
                </a:lnTo>
                <a:lnTo>
                  <a:pt x="38" y="112"/>
                </a:lnTo>
                <a:lnTo>
                  <a:pt x="38" y="108"/>
                </a:lnTo>
                <a:lnTo>
                  <a:pt x="42" y="108"/>
                </a:lnTo>
                <a:lnTo>
                  <a:pt x="42" y="106"/>
                </a:lnTo>
                <a:lnTo>
                  <a:pt x="42" y="102"/>
                </a:lnTo>
                <a:lnTo>
                  <a:pt x="46" y="102"/>
                </a:lnTo>
                <a:lnTo>
                  <a:pt x="46" y="98"/>
                </a:lnTo>
                <a:lnTo>
                  <a:pt x="48" y="94"/>
                </a:lnTo>
                <a:lnTo>
                  <a:pt x="48" y="90"/>
                </a:lnTo>
                <a:lnTo>
                  <a:pt x="48" y="86"/>
                </a:lnTo>
                <a:lnTo>
                  <a:pt x="48" y="82"/>
                </a:lnTo>
                <a:lnTo>
                  <a:pt x="52" y="82"/>
                </a:lnTo>
                <a:lnTo>
                  <a:pt x="48" y="78"/>
                </a:lnTo>
                <a:lnTo>
                  <a:pt x="48" y="76"/>
                </a:lnTo>
                <a:lnTo>
                  <a:pt x="52" y="76"/>
                </a:lnTo>
                <a:lnTo>
                  <a:pt x="56" y="76"/>
                </a:lnTo>
                <a:lnTo>
                  <a:pt x="64" y="72"/>
                </a:lnTo>
                <a:lnTo>
                  <a:pt x="60" y="68"/>
                </a:lnTo>
                <a:lnTo>
                  <a:pt x="60" y="64"/>
                </a:lnTo>
                <a:lnTo>
                  <a:pt x="64" y="64"/>
                </a:lnTo>
                <a:lnTo>
                  <a:pt x="68" y="60"/>
                </a:lnTo>
                <a:lnTo>
                  <a:pt x="72" y="56"/>
                </a:lnTo>
                <a:lnTo>
                  <a:pt x="76" y="52"/>
                </a:lnTo>
                <a:lnTo>
                  <a:pt x="76" y="48"/>
                </a:lnTo>
                <a:lnTo>
                  <a:pt x="76" y="46"/>
                </a:lnTo>
                <a:lnTo>
                  <a:pt x="72" y="46"/>
                </a:lnTo>
                <a:lnTo>
                  <a:pt x="72" y="42"/>
                </a:lnTo>
                <a:lnTo>
                  <a:pt x="76" y="42"/>
                </a:lnTo>
                <a:lnTo>
                  <a:pt x="78" y="38"/>
                </a:lnTo>
                <a:lnTo>
                  <a:pt x="78" y="34"/>
                </a:lnTo>
                <a:lnTo>
                  <a:pt x="78" y="30"/>
                </a:lnTo>
                <a:lnTo>
                  <a:pt x="86" y="26"/>
                </a:lnTo>
                <a:lnTo>
                  <a:pt x="90" y="26"/>
                </a:lnTo>
                <a:lnTo>
                  <a:pt x="94" y="26"/>
                </a:lnTo>
                <a:lnTo>
                  <a:pt x="94" y="30"/>
                </a:lnTo>
                <a:lnTo>
                  <a:pt x="98" y="30"/>
                </a:lnTo>
                <a:lnTo>
                  <a:pt x="98" y="26"/>
                </a:lnTo>
                <a:lnTo>
                  <a:pt x="102" y="22"/>
                </a:lnTo>
                <a:lnTo>
                  <a:pt x="102" y="20"/>
                </a:lnTo>
                <a:lnTo>
                  <a:pt x="98" y="20"/>
                </a:lnTo>
                <a:lnTo>
                  <a:pt x="102" y="16"/>
                </a:lnTo>
                <a:lnTo>
                  <a:pt x="106" y="16"/>
                </a:lnTo>
                <a:lnTo>
                  <a:pt x="108" y="16"/>
                </a:lnTo>
                <a:lnTo>
                  <a:pt x="112" y="16"/>
                </a:lnTo>
                <a:lnTo>
                  <a:pt x="120" y="20"/>
                </a:lnTo>
                <a:lnTo>
                  <a:pt x="124" y="20"/>
                </a:lnTo>
                <a:lnTo>
                  <a:pt x="128" y="20"/>
                </a:lnTo>
                <a:lnTo>
                  <a:pt x="132" y="16"/>
                </a:lnTo>
                <a:lnTo>
                  <a:pt x="128" y="16"/>
                </a:lnTo>
                <a:lnTo>
                  <a:pt x="132" y="12"/>
                </a:lnTo>
                <a:lnTo>
                  <a:pt x="132" y="8"/>
                </a:lnTo>
                <a:lnTo>
                  <a:pt x="132" y="4"/>
                </a:lnTo>
                <a:lnTo>
                  <a:pt x="128" y="0"/>
                </a:lnTo>
                <a:lnTo>
                  <a:pt x="134" y="0"/>
                </a:lnTo>
                <a:lnTo>
                  <a:pt x="138" y="4"/>
                </a:lnTo>
                <a:lnTo>
                  <a:pt x="142" y="8"/>
                </a:lnTo>
                <a:lnTo>
                  <a:pt x="146" y="8"/>
                </a:lnTo>
                <a:lnTo>
                  <a:pt x="146" y="12"/>
                </a:lnTo>
                <a:lnTo>
                  <a:pt x="150" y="12"/>
                </a:lnTo>
                <a:lnTo>
                  <a:pt x="150" y="16"/>
                </a:lnTo>
                <a:lnTo>
                  <a:pt x="154" y="16"/>
                </a:lnTo>
                <a:lnTo>
                  <a:pt x="158" y="16"/>
                </a:lnTo>
                <a:lnTo>
                  <a:pt x="162" y="16"/>
                </a:lnTo>
                <a:lnTo>
                  <a:pt x="164" y="20"/>
                </a:lnTo>
                <a:lnTo>
                  <a:pt x="168" y="20"/>
                </a:lnTo>
                <a:lnTo>
                  <a:pt x="176" y="26"/>
                </a:lnTo>
                <a:lnTo>
                  <a:pt x="180" y="30"/>
                </a:lnTo>
                <a:lnTo>
                  <a:pt x="176" y="30"/>
                </a:lnTo>
                <a:lnTo>
                  <a:pt x="176" y="34"/>
                </a:lnTo>
                <a:lnTo>
                  <a:pt x="176" y="38"/>
                </a:lnTo>
                <a:lnTo>
                  <a:pt x="176" y="42"/>
                </a:lnTo>
                <a:lnTo>
                  <a:pt x="180" y="42"/>
                </a:lnTo>
                <a:lnTo>
                  <a:pt x="180" y="46"/>
                </a:lnTo>
                <a:lnTo>
                  <a:pt x="176" y="48"/>
                </a:lnTo>
                <a:lnTo>
                  <a:pt x="180" y="52"/>
                </a:lnTo>
                <a:lnTo>
                  <a:pt x="184" y="56"/>
                </a:lnTo>
                <a:lnTo>
                  <a:pt x="184" y="60"/>
                </a:lnTo>
                <a:lnTo>
                  <a:pt x="184" y="64"/>
                </a:lnTo>
                <a:lnTo>
                  <a:pt x="180" y="64"/>
                </a:lnTo>
                <a:lnTo>
                  <a:pt x="180" y="68"/>
                </a:lnTo>
                <a:lnTo>
                  <a:pt x="180" y="72"/>
                </a:lnTo>
                <a:lnTo>
                  <a:pt x="180" y="76"/>
                </a:lnTo>
                <a:lnTo>
                  <a:pt x="184" y="76"/>
                </a:lnTo>
                <a:lnTo>
                  <a:pt x="188" y="82"/>
                </a:lnTo>
                <a:lnTo>
                  <a:pt x="184" y="82"/>
                </a:lnTo>
                <a:lnTo>
                  <a:pt x="180" y="82"/>
                </a:lnTo>
                <a:lnTo>
                  <a:pt x="176" y="82"/>
                </a:lnTo>
                <a:lnTo>
                  <a:pt x="172" y="82"/>
                </a:lnTo>
                <a:lnTo>
                  <a:pt x="172" y="86"/>
                </a:lnTo>
                <a:lnTo>
                  <a:pt x="168" y="82"/>
                </a:lnTo>
                <a:lnTo>
                  <a:pt x="164" y="82"/>
                </a:lnTo>
                <a:lnTo>
                  <a:pt x="164" y="78"/>
                </a:lnTo>
                <a:lnTo>
                  <a:pt x="164" y="82"/>
                </a:lnTo>
                <a:lnTo>
                  <a:pt x="162" y="82"/>
                </a:lnTo>
                <a:lnTo>
                  <a:pt x="158" y="86"/>
                </a:lnTo>
                <a:lnTo>
                  <a:pt x="162" y="86"/>
                </a:lnTo>
                <a:lnTo>
                  <a:pt x="162" y="90"/>
                </a:lnTo>
                <a:lnTo>
                  <a:pt x="158" y="86"/>
                </a:lnTo>
                <a:lnTo>
                  <a:pt x="154" y="86"/>
                </a:lnTo>
                <a:lnTo>
                  <a:pt x="154" y="82"/>
                </a:lnTo>
                <a:lnTo>
                  <a:pt x="154" y="86"/>
                </a:lnTo>
                <a:lnTo>
                  <a:pt x="158" y="86"/>
                </a:lnTo>
                <a:lnTo>
                  <a:pt x="158" y="90"/>
                </a:lnTo>
                <a:lnTo>
                  <a:pt x="154" y="90"/>
                </a:lnTo>
                <a:lnTo>
                  <a:pt x="158" y="90"/>
                </a:lnTo>
                <a:lnTo>
                  <a:pt x="154" y="94"/>
                </a:lnTo>
                <a:lnTo>
                  <a:pt x="150" y="94"/>
                </a:lnTo>
                <a:lnTo>
                  <a:pt x="150" y="90"/>
                </a:lnTo>
                <a:lnTo>
                  <a:pt x="146" y="94"/>
                </a:lnTo>
                <a:lnTo>
                  <a:pt x="150" y="94"/>
                </a:lnTo>
                <a:lnTo>
                  <a:pt x="150" y="98"/>
                </a:lnTo>
                <a:lnTo>
                  <a:pt x="150" y="94"/>
                </a:lnTo>
                <a:lnTo>
                  <a:pt x="146" y="94"/>
                </a:lnTo>
                <a:lnTo>
                  <a:pt x="150" y="94"/>
                </a:lnTo>
                <a:lnTo>
                  <a:pt x="150" y="98"/>
                </a:lnTo>
                <a:lnTo>
                  <a:pt x="150" y="102"/>
                </a:lnTo>
                <a:lnTo>
                  <a:pt x="146" y="102"/>
                </a:lnTo>
                <a:lnTo>
                  <a:pt x="142" y="106"/>
                </a:lnTo>
                <a:lnTo>
                  <a:pt x="142" y="108"/>
                </a:lnTo>
                <a:lnTo>
                  <a:pt x="146" y="106"/>
                </a:lnTo>
                <a:lnTo>
                  <a:pt x="146" y="108"/>
                </a:lnTo>
                <a:lnTo>
                  <a:pt x="142" y="108"/>
                </a:lnTo>
                <a:lnTo>
                  <a:pt x="146" y="112"/>
                </a:lnTo>
                <a:lnTo>
                  <a:pt x="150" y="112"/>
                </a:lnTo>
                <a:lnTo>
                  <a:pt x="150" y="116"/>
                </a:lnTo>
                <a:lnTo>
                  <a:pt x="146" y="116"/>
                </a:lnTo>
                <a:lnTo>
                  <a:pt x="146" y="120"/>
                </a:lnTo>
                <a:lnTo>
                  <a:pt x="142" y="124"/>
                </a:lnTo>
                <a:lnTo>
                  <a:pt x="138" y="124"/>
                </a:lnTo>
                <a:lnTo>
                  <a:pt x="138" y="128"/>
                </a:lnTo>
                <a:lnTo>
                  <a:pt x="134" y="132"/>
                </a:lnTo>
                <a:lnTo>
                  <a:pt x="132" y="132"/>
                </a:lnTo>
                <a:lnTo>
                  <a:pt x="132" y="134"/>
                </a:lnTo>
                <a:lnTo>
                  <a:pt x="128" y="134"/>
                </a:lnTo>
                <a:lnTo>
                  <a:pt x="124" y="134"/>
                </a:lnTo>
                <a:lnTo>
                  <a:pt x="124" y="138"/>
                </a:lnTo>
                <a:lnTo>
                  <a:pt x="120" y="138"/>
                </a:lnTo>
                <a:lnTo>
                  <a:pt x="120" y="134"/>
                </a:lnTo>
                <a:lnTo>
                  <a:pt x="120" y="138"/>
                </a:lnTo>
                <a:lnTo>
                  <a:pt x="116" y="138"/>
                </a:lnTo>
                <a:lnTo>
                  <a:pt x="116" y="142"/>
                </a:lnTo>
                <a:lnTo>
                  <a:pt x="112" y="142"/>
                </a:lnTo>
                <a:lnTo>
                  <a:pt x="116" y="142"/>
                </a:lnTo>
                <a:lnTo>
                  <a:pt x="112" y="146"/>
                </a:lnTo>
                <a:lnTo>
                  <a:pt x="112" y="142"/>
                </a:lnTo>
                <a:lnTo>
                  <a:pt x="108" y="142"/>
                </a:lnTo>
                <a:lnTo>
                  <a:pt x="112" y="142"/>
                </a:lnTo>
                <a:lnTo>
                  <a:pt x="112" y="146"/>
                </a:lnTo>
                <a:lnTo>
                  <a:pt x="108" y="146"/>
                </a:lnTo>
                <a:lnTo>
                  <a:pt x="106" y="146"/>
                </a:lnTo>
                <a:lnTo>
                  <a:pt x="106" y="150"/>
                </a:lnTo>
                <a:lnTo>
                  <a:pt x="102" y="150"/>
                </a:lnTo>
                <a:lnTo>
                  <a:pt x="106" y="150"/>
                </a:lnTo>
                <a:lnTo>
                  <a:pt x="106" y="154"/>
                </a:lnTo>
                <a:lnTo>
                  <a:pt x="102" y="154"/>
                </a:lnTo>
                <a:lnTo>
                  <a:pt x="98" y="154"/>
                </a:lnTo>
                <a:lnTo>
                  <a:pt x="98" y="150"/>
                </a:lnTo>
                <a:lnTo>
                  <a:pt x="94" y="150"/>
                </a:lnTo>
                <a:lnTo>
                  <a:pt x="98" y="150"/>
                </a:lnTo>
                <a:lnTo>
                  <a:pt x="98" y="154"/>
                </a:lnTo>
                <a:lnTo>
                  <a:pt x="98" y="158"/>
                </a:lnTo>
                <a:lnTo>
                  <a:pt x="98" y="162"/>
                </a:lnTo>
                <a:lnTo>
                  <a:pt x="94" y="162"/>
                </a:lnTo>
                <a:lnTo>
                  <a:pt x="90" y="162"/>
                </a:lnTo>
                <a:lnTo>
                  <a:pt x="90" y="164"/>
                </a:lnTo>
                <a:lnTo>
                  <a:pt x="94" y="168"/>
                </a:lnTo>
                <a:lnTo>
                  <a:pt x="90" y="168"/>
                </a:lnTo>
                <a:lnTo>
                  <a:pt x="90" y="172"/>
                </a:lnTo>
                <a:lnTo>
                  <a:pt x="90" y="176"/>
                </a:lnTo>
                <a:lnTo>
                  <a:pt x="90" y="178"/>
                </a:lnTo>
                <a:lnTo>
                  <a:pt x="94" y="178"/>
                </a:lnTo>
                <a:lnTo>
                  <a:pt x="90" y="178"/>
                </a:lnTo>
                <a:lnTo>
                  <a:pt x="86" y="178"/>
                </a:lnTo>
                <a:lnTo>
                  <a:pt x="90" y="178"/>
                </a:lnTo>
                <a:lnTo>
                  <a:pt x="86" y="178"/>
                </a:lnTo>
                <a:lnTo>
                  <a:pt x="86" y="182"/>
                </a:lnTo>
                <a:lnTo>
                  <a:pt x="86" y="186"/>
                </a:lnTo>
                <a:lnTo>
                  <a:pt x="86" y="190"/>
                </a:lnTo>
                <a:lnTo>
                  <a:pt x="86" y="194"/>
                </a:lnTo>
                <a:lnTo>
                  <a:pt x="86" y="198"/>
                </a:lnTo>
                <a:lnTo>
                  <a:pt x="90" y="198"/>
                </a:lnTo>
                <a:lnTo>
                  <a:pt x="90" y="202"/>
                </a:lnTo>
                <a:lnTo>
                  <a:pt x="90" y="206"/>
                </a:lnTo>
                <a:lnTo>
                  <a:pt x="90" y="202"/>
                </a:lnTo>
                <a:lnTo>
                  <a:pt x="94" y="202"/>
                </a:lnTo>
                <a:lnTo>
                  <a:pt x="94" y="206"/>
                </a:lnTo>
                <a:lnTo>
                  <a:pt x="98" y="206"/>
                </a:lnTo>
                <a:lnTo>
                  <a:pt x="102" y="208"/>
                </a:lnTo>
                <a:lnTo>
                  <a:pt x="106" y="208"/>
                </a:lnTo>
                <a:lnTo>
                  <a:pt x="106" y="212"/>
                </a:lnTo>
                <a:lnTo>
                  <a:pt x="108" y="212"/>
                </a:lnTo>
                <a:lnTo>
                  <a:pt x="106" y="212"/>
                </a:lnTo>
                <a:lnTo>
                  <a:pt x="106" y="216"/>
                </a:lnTo>
                <a:lnTo>
                  <a:pt x="108" y="216"/>
                </a:lnTo>
                <a:lnTo>
                  <a:pt x="112" y="220"/>
                </a:lnTo>
                <a:lnTo>
                  <a:pt x="112" y="224"/>
                </a:lnTo>
                <a:lnTo>
                  <a:pt x="108" y="224"/>
                </a:lnTo>
                <a:lnTo>
                  <a:pt x="108" y="228"/>
                </a:lnTo>
                <a:lnTo>
                  <a:pt x="106" y="232"/>
                </a:lnTo>
                <a:lnTo>
                  <a:pt x="102" y="232"/>
                </a:lnTo>
                <a:lnTo>
                  <a:pt x="106" y="232"/>
                </a:lnTo>
                <a:lnTo>
                  <a:pt x="102" y="232"/>
                </a:lnTo>
                <a:lnTo>
                  <a:pt x="98" y="232"/>
                </a:lnTo>
                <a:lnTo>
                  <a:pt x="94" y="232"/>
                </a:lnTo>
                <a:lnTo>
                  <a:pt x="98" y="228"/>
                </a:lnTo>
                <a:lnTo>
                  <a:pt x="94" y="228"/>
                </a:lnTo>
                <a:lnTo>
                  <a:pt x="94" y="224"/>
                </a:lnTo>
                <a:lnTo>
                  <a:pt x="94" y="228"/>
                </a:lnTo>
                <a:lnTo>
                  <a:pt x="94" y="224"/>
                </a:lnTo>
                <a:lnTo>
                  <a:pt x="90" y="224"/>
                </a:lnTo>
                <a:lnTo>
                  <a:pt x="94" y="228"/>
                </a:lnTo>
                <a:lnTo>
                  <a:pt x="90" y="228"/>
                </a:lnTo>
                <a:lnTo>
                  <a:pt x="90" y="224"/>
                </a:lnTo>
                <a:lnTo>
                  <a:pt x="94" y="224"/>
                </a:lnTo>
                <a:lnTo>
                  <a:pt x="94" y="228"/>
                </a:lnTo>
                <a:lnTo>
                  <a:pt x="94" y="232"/>
                </a:lnTo>
                <a:lnTo>
                  <a:pt x="90" y="228"/>
                </a:lnTo>
                <a:lnTo>
                  <a:pt x="94" y="228"/>
                </a:lnTo>
                <a:lnTo>
                  <a:pt x="90" y="228"/>
                </a:lnTo>
                <a:lnTo>
                  <a:pt x="90" y="232"/>
                </a:lnTo>
                <a:lnTo>
                  <a:pt x="86" y="228"/>
                </a:lnTo>
                <a:lnTo>
                  <a:pt x="82" y="228"/>
                </a:lnTo>
                <a:lnTo>
                  <a:pt x="78" y="228"/>
                </a:lnTo>
                <a:lnTo>
                  <a:pt x="76" y="232"/>
                </a:lnTo>
                <a:lnTo>
                  <a:pt x="72" y="232"/>
                </a:lnTo>
                <a:lnTo>
                  <a:pt x="76" y="232"/>
                </a:lnTo>
                <a:lnTo>
                  <a:pt x="78" y="232"/>
                </a:lnTo>
                <a:lnTo>
                  <a:pt x="82" y="232"/>
                </a:lnTo>
                <a:lnTo>
                  <a:pt x="78" y="232"/>
                </a:lnTo>
                <a:lnTo>
                  <a:pt x="82" y="232"/>
                </a:lnTo>
                <a:lnTo>
                  <a:pt x="86" y="232"/>
                </a:lnTo>
                <a:lnTo>
                  <a:pt x="90" y="232"/>
                </a:lnTo>
                <a:lnTo>
                  <a:pt x="90" y="234"/>
                </a:lnTo>
                <a:lnTo>
                  <a:pt x="86" y="234"/>
                </a:lnTo>
                <a:lnTo>
                  <a:pt x="90" y="234"/>
                </a:lnTo>
                <a:lnTo>
                  <a:pt x="90" y="234"/>
                </a:lnTo>
                <a:lnTo>
                  <a:pt x="90" y="234"/>
                </a:lnTo>
                <a:close/>
                <a:moveTo>
                  <a:pt x="90" y="164"/>
                </a:moveTo>
                <a:lnTo>
                  <a:pt x="90" y="162"/>
                </a:lnTo>
                <a:lnTo>
                  <a:pt x="90" y="164"/>
                </a:lnTo>
                <a:lnTo>
                  <a:pt x="94" y="164"/>
                </a:lnTo>
                <a:lnTo>
                  <a:pt x="90" y="164"/>
                </a:lnTo>
                <a:lnTo>
                  <a:pt x="90" y="164"/>
                </a:lnTo>
                <a:lnTo>
                  <a:pt x="90" y="164"/>
                </a:lnTo>
                <a:close/>
                <a:moveTo>
                  <a:pt x="86" y="232"/>
                </a:moveTo>
                <a:lnTo>
                  <a:pt x="90" y="232"/>
                </a:lnTo>
                <a:lnTo>
                  <a:pt x="86" y="232"/>
                </a:lnTo>
                <a:lnTo>
                  <a:pt x="86" y="232"/>
                </a:lnTo>
                <a:lnTo>
                  <a:pt x="86" y="232"/>
                </a:lnTo>
                <a:close/>
                <a:moveTo>
                  <a:pt x="94" y="234"/>
                </a:moveTo>
                <a:lnTo>
                  <a:pt x="94" y="232"/>
                </a:lnTo>
                <a:lnTo>
                  <a:pt x="98" y="234"/>
                </a:lnTo>
                <a:lnTo>
                  <a:pt x="94" y="234"/>
                </a:lnTo>
                <a:lnTo>
                  <a:pt x="94" y="234"/>
                </a:lnTo>
                <a:lnTo>
                  <a:pt x="94" y="234"/>
                </a:lnTo>
                <a:close/>
                <a:moveTo>
                  <a:pt x="116" y="264"/>
                </a:moveTo>
                <a:lnTo>
                  <a:pt x="112" y="264"/>
                </a:lnTo>
                <a:lnTo>
                  <a:pt x="116" y="264"/>
                </a:lnTo>
                <a:lnTo>
                  <a:pt x="116" y="264"/>
                </a:lnTo>
                <a:lnTo>
                  <a:pt x="116" y="264"/>
                </a:lnTo>
                <a:close/>
                <a:moveTo>
                  <a:pt x="106" y="212"/>
                </a:moveTo>
                <a:lnTo>
                  <a:pt x="106" y="208"/>
                </a:lnTo>
                <a:lnTo>
                  <a:pt x="106" y="206"/>
                </a:lnTo>
                <a:lnTo>
                  <a:pt x="106" y="208"/>
                </a:lnTo>
                <a:lnTo>
                  <a:pt x="106" y="212"/>
                </a:lnTo>
                <a:lnTo>
                  <a:pt x="106" y="212"/>
                </a:lnTo>
                <a:lnTo>
                  <a:pt x="106" y="212"/>
                </a:lnTo>
                <a:close/>
                <a:moveTo>
                  <a:pt x="8" y="262"/>
                </a:moveTo>
                <a:lnTo>
                  <a:pt x="4" y="262"/>
                </a:lnTo>
                <a:lnTo>
                  <a:pt x="8" y="258"/>
                </a:lnTo>
                <a:lnTo>
                  <a:pt x="12" y="258"/>
                </a:lnTo>
                <a:lnTo>
                  <a:pt x="12" y="262"/>
                </a:lnTo>
                <a:lnTo>
                  <a:pt x="8" y="262"/>
                </a:lnTo>
                <a:lnTo>
                  <a:pt x="8" y="262"/>
                </a:lnTo>
                <a:lnTo>
                  <a:pt x="8" y="262"/>
                </a:lnTo>
                <a:close/>
                <a:moveTo>
                  <a:pt x="8" y="264"/>
                </a:moveTo>
                <a:lnTo>
                  <a:pt x="8" y="262"/>
                </a:lnTo>
                <a:lnTo>
                  <a:pt x="12" y="262"/>
                </a:lnTo>
                <a:lnTo>
                  <a:pt x="12" y="264"/>
                </a:lnTo>
                <a:lnTo>
                  <a:pt x="8" y="264"/>
                </a:lnTo>
                <a:lnTo>
                  <a:pt x="8" y="264"/>
                </a:lnTo>
                <a:lnTo>
                  <a:pt x="8" y="264"/>
                </a:lnTo>
                <a:close/>
                <a:moveTo>
                  <a:pt x="112" y="264"/>
                </a:moveTo>
                <a:lnTo>
                  <a:pt x="112" y="268"/>
                </a:lnTo>
                <a:lnTo>
                  <a:pt x="108" y="268"/>
                </a:lnTo>
                <a:lnTo>
                  <a:pt x="108" y="272"/>
                </a:lnTo>
                <a:lnTo>
                  <a:pt x="108" y="276"/>
                </a:lnTo>
                <a:lnTo>
                  <a:pt x="108" y="280"/>
                </a:lnTo>
                <a:lnTo>
                  <a:pt x="106" y="280"/>
                </a:lnTo>
                <a:lnTo>
                  <a:pt x="106" y="284"/>
                </a:lnTo>
                <a:lnTo>
                  <a:pt x="102" y="288"/>
                </a:lnTo>
                <a:lnTo>
                  <a:pt x="102" y="284"/>
                </a:lnTo>
                <a:lnTo>
                  <a:pt x="102" y="280"/>
                </a:lnTo>
                <a:lnTo>
                  <a:pt x="102" y="276"/>
                </a:lnTo>
                <a:lnTo>
                  <a:pt x="102" y="272"/>
                </a:lnTo>
                <a:lnTo>
                  <a:pt x="106" y="268"/>
                </a:lnTo>
                <a:lnTo>
                  <a:pt x="108" y="264"/>
                </a:lnTo>
                <a:lnTo>
                  <a:pt x="112" y="264"/>
                </a:lnTo>
                <a:lnTo>
                  <a:pt x="112" y="264"/>
                </a:lnTo>
                <a:lnTo>
                  <a:pt x="112" y="264"/>
                </a:lnTo>
                <a:close/>
                <a:moveTo>
                  <a:pt x="76" y="302"/>
                </a:moveTo>
                <a:lnTo>
                  <a:pt x="76" y="298"/>
                </a:lnTo>
                <a:lnTo>
                  <a:pt x="76" y="294"/>
                </a:lnTo>
                <a:lnTo>
                  <a:pt x="78" y="292"/>
                </a:lnTo>
                <a:lnTo>
                  <a:pt x="78" y="288"/>
                </a:lnTo>
                <a:lnTo>
                  <a:pt x="82" y="288"/>
                </a:lnTo>
                <a:lnTo>
                  <a:pt x="82" y="284"/>
                </a:lnTo>
                <a:lnTo>
                  <a:pt x="82" y="280"/>
                </a:lnTo>
                <a:lnTo>
                  <a:pt x="86" y="276"/>
                </a:lnTo>
                <a:lnTo>
                  <a:pt x="86" y="280"/>
                </a:lnTo>
                <a:lnTo>
                  <a:pt x="86" y="284"/>
                </a:lnTo>
                <a:lnTo>
                  <a:pt x="82" y="284"/>
                </a:lnTo>
                <a:lnTo>
                  <a:pt x="82" y="288"/>
                </a:lnTo>
                <a:lnTo>
                  <a:pt x="82" y="292"/>
                </a:lnTo>
                <a:lnTo>
                  <a:pt x="78" y="292"/>
                </a:lnTo>
                <a:lnTo>
                  <a:pt x="78" y="294"/>
                </a:lnTo>
                <a:lnTo>
                  <a:pt x="78" y="298"/>
                </a:lnTo>
                <a:lnTo>
                  <a:pt x="78" y="302"/>
                </a:lnTo>
                <a:lnTo>
                  <a:pt x="76" y="302"/>
                </a:lnTo>
                <a:lnTo>
                  <a:pt x="76" y="302"/>
                </a:lnTo>
                <a:lnTo>
                  <a:pt x="76" y="302"/>
                </a:lnTo>
                <a:close/>
              </a:path>
            </a:pathLst>
          </a:custGeom>
          <a:solidFill>
            <a:srgbClr val="A0DCFF"/>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17" name="Freeform 124"/>
          <p:cNvSpPr>
            <a:spLocks noEditPoints="1"/>
          </p:cNvSpPr>
          <p:nvPr/>
        </p:nvSpPr>
        <p:spPr bwMode="auto">
          <a:xfrm>
            <a:off x="4360069" y="2666999"/>
            <a:ext cx="73819" cy="47625"/>
          </a:xfrm>
          <a:custGeom>
            <a:avLst/>
            <a:gdLst>
              <a:gd name="T0" fmla="*/ 6 w 62"/>
              <a:gd name="T1" fmla="*/ 14 h 40"/>
              <a:gd name="T2" fmla="*/ 10 w 62"/>
              <a:gd name="T3" fmla="*/ 10 h 40"/>
              <a:gd name="T4" fmla="*/ 10 w 62"/>
              <a:gd name="T5" fmla="*/ 6 h 40"/>
              <a:gd name="T6" fmla="*/ 18 w 62"/>
              <a:gd name="T7" fmla="*/ 6 h 40"/>
              <a:gd name="T8" fmla="*/ 18 w 62"/>
              <a:gd name="T9" fmla="*/ 6 h 40"/>
              <a:gd name="T10" fmla="*/ 18 w 62"/>
              <a:gd name="T11" fmla="*/ 6 h 40"/>
              <a:gd name="T12" fmla="*/ 22 w 62"/>
              <a:gd name="T13" fmla="*/ 4 h 40"/>
              <a:gd name="T14" fmla="*/ 22 w 62"/>
              <a:gd name="T15" fmla="*/ 4 h 40"/>
              <a:gd name="T16" fmla="*/ 26 w 62"/>
              <a:gd name="T17" fmla="*/ 4 h 40"/>
              <a:gd name="T18" fmla="*/ 28 w 62"/>
              <a:gd name="T19" fmla="*/ 4 h 40"/>
              <a:gd name="T20" fmla="*/ 32 w 62"/>
              <a:gd name="T21" fmla="*/ 4 h 40"/>
              <a:gd name="T22" fmla="*/ 36 w 62"/>
              <a:gd name="T23" fmla="*/ 4 h 40"/>
              <a:gd name="T24" fmla="*/ 32 w 62"/>
              <a:gd name="T25" fmla="*/ 4 h 40"/>
              <a:gd name="T26" fmla="*/ 36 w 62"/>
              <a:gd name="T27" fmla="*/ 0 h 40"/>
              <a:gd name="T28" fmla="*/ 36 w 62"/>
              <a:gd name="T29" fmla="*/ 0 h 40"/>
              <a:gd name="T30" fmla="*/ 40 w 62"/>
              <a:gd name="T31" fmla="*/ 0 h 40"/>
              <a:gd name="T32" fmla="*/ 40 w 62"/>
              <a:gd name="T33" fmla="*/ 4 h 40"/>
              <a:gd name="T34" fmla="*/ 48 w 62"/>
              <a:gd name="T35" fmla="*/ 4 h 40"/>
              <a:gd name="T36" fmla="*/ 52 w 62"/>
              <a:gd name="T37" fmla="*/ 6 h 40"/>
              <a:gd name="T38" fmla="*/ 48 w 62"/>
              <a:gd name="T39" fmla="*/ 10 h 40"/>
              <a:gd name="T40" fmla="*/ 48 w 62"/>
              <a:gd name="T41" fmla="*/ 14 h 40"/>
              <a:gd name="T42" fmla="*/ 52 w 62"/>
              <a:gd name="T43" fmla="*/ 14 h 40"/>
              <a:gd name="T44" fmla="*/ 52 w 62"/>
              <a:gd name="T45" fmla="*/ 18 h 40"/>
              <a:gd name="T46" fmla="*/ 56 w 62"/>
              <a:gd name="T47" fmla="*/ 18 h 40"/>
              <a:gd name="T48" fmla="*/ 58 w 62"/>
              <a:gd name="T49" fmla="*/ 14 h 40"/>
              <a:gd name="T50" fmla="*/ 62 w 62"/>
              <a:gd name="T51" fmla="*/ 22 h 40"/>
              <a:gd name="T52" fmla="*/ 62 w 62"/>
              <a:gd name="T53" fmla="*/ 26 h 40"/>
              <a:gd name="T54" fmla="*/ 58 w 62"/>
              <a:gd name="T55" fmla="*/ 22 h 40"/>
              <a:gd name="T56" fmla="*/ 56 w 62"/>
              <a:gd name="T57" fmla="*/ 26 h 40"/>
              <a:gd name="T58" fmla="*/ 56 w 62"/>
              <a:gd name="T59" fmla="*/ 30 h 40"/>
              <a:gd name="T60" fmla="*/ 56 w 62"/>
              <a:gd name="T61" fmla="*/ 30 h 40"/>
              <a:gd name="T62" fmla="*/ 52 w 62"/>
              <a:gd name="T63" fmla="*/ 30 h 40"/>
              <a:gd name="T64" fmla="*/ 48 w 62"/>
              <a:gd name="T65" fmla="*/ 30 h 40"/>
              <a:gd name="T66" fmla="*/ 44 w 62"/>
              <a:gd name="T67" fmla="*/ 26 h 40"/>
              <a:gd name="T68" fmla="*/ 44 w 62"/>
              <a:gd name="T69" fmla="*/ 30 h 40"/>
              <a:gd name="T70" fmla="*/ 40 w 62"/>
              <a:gd name="T71" fmla="*/ 34 h 40"/>
              <a:gd name="T72" fmla="*/ 40 w 62"/>
              <a:gd name="T73" fmla="*/ 36 h 40"/>
              <a:gd name="T74" fmla="*/ 40 w 62"/>
              <a:gd name="T75" fmla="*/ 36 h 40"/>
              <a:gd name="T76" fmla="*/ 40 w 62"/>
              <a:gd name="T77" fmla="*/ 34 h 40"/>
              <a:gd name="T78" fmla="*/ 36 w 62"/>
              <a:gd name="T79" fmla="*/ 34 h 40"/>
              <a:gd name="T80" fmla="*/ 32 w 62"/>
              <a:gd name="T81" fmla="*/ 30 h 40"/>
              <a:gd name="T82" fmla="*/ 32 w 62"/>
              <a:gd name="T83" fmla="*/ 26 h 40"/>
              <a:gd name="T84" fmla="*/ 26 w 62"/>
              <a:gd name="T85" fmla="*/ 36 h 40"/>
              <a:gd name="T86" fmla="*/ 26 w 62"/>
              <a:gd name="T87" fmla="*/ 36 h 40"/>
              <a:gd name="T88" fmla="*/ 22 w 62"/>
              <a:gd name="T89" fmla="*/ 36 h 40"/>
              <a:gd name="T90" fmla="*/ 18 w 62"/>
              <a:gd name="T91" fmla="*/ 36 h 40"/>
              <a:gd name="T92" fmla="*/ 14 w 62"/>
              <a:gd name="T93" fmla="*/ 36 h 40"/>
              <a:gd name="T94" fmla="*/ 10 w 62"/>
              <a:gd name="T95" fmla="*/ 34 h 40"/>
              <a:gd name="T96" fmla="*/ 10 w 62"/>
              <a:gd name="T97" fmla="*/ 26 h 40"/>
              <a:gd name="T98" fmla="*/ 2 w 62"/>
              <a:gd name="T99" fmla="*/ 26 h 40"/>
              <a:gd name="T100" fmla="*/ 2 w 62"/>
              <a:gd name="T101" fmla="*/ 30 h 40"/>
              <a:gd name="T102" fmla="*/ 0 w 62"/>
              <a:gd name="T103" fmla="*/ 34 h 40"/>
              <a:gd name="T104" fmla="*/ 0 w 62"/>
              <a:gd name="T105" fmla="*/ 30 h 40"/>
              <a:gd name="T106" fmla="*/ 0 w 62"/>
              <a:gd name="T107" fmla="*/ 26 h 40"/>
              <a:gd name="T108" fmla="*/ 2 w 62"/>
              <a:gd name="T109" fmla="*/ 22 h 40"/>
              <a:gd name="T110" fmla="*/ 2 w 62"/>
              <a:gd name="T111" fmla="*/ 18 h 40"/>
              <a:gd name="T112" fmla="*/ 36 w 62"/>
              <a:gd name="T113"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2" h="40">
                <a:moveTo>
                  <a:pt x="2" y="18"/>
                </a:moveTo>
                <a:lnTo>
                  <a:pt x="6" y="18"/>
                </a:lnTo>
                <a:lnTo>
                  <a:pt x="6" y="14"/>
                </a:lnTo>
                <a:lnTo>
                  <a:pt x="6" y="14"/>
                </a:lnTo>
                <a:lnTo>
                  <a:pt x="6" y="14"/>
                </a:lnTo>
                <a:lnTo>
                  <a:pt x="6" y="14"/>
                </a:lnTo>
                <a:lnTo>
                  <a:pt x="6" y="14"/>
                </a:lnTo>
                <a:lnTo>
                  <a:pt x="10" y="14"/>
                </a:lnTo>
                <a:lnTo>
                  <a:pt x="10" y="10"/>
                </a:lnTo>
                <a:lnTo>
                  <a:pt x="10" y="10"/>
                </a:lnTo>
                <a:lnTo>
                  <a:pt x="10" y="10"/>
                </a:lnTo>
                <a:lnTo>
                  <a:pt x="14" y="6"/>
                </a:lnTo>
                <a:lnTo>
                  <a:pt x="10" y="6"/>
                </a:lnTo>
                <a:lnTo>
                  <a:pt x="10" y="6"/>
                </a:lnTo>
                <a:lnTo>
                  <a:pt x="10" y="6"/>
                </a:lnTo>
                <a:lnTo>
                  <a:pt x="14" y="6"/>
                </a:lnTo>
                <a:lnTo>
                  <a:pt x="14" y="4"/>
                </a:lnTo>
                <a:lnTo>
                  <a:pt x="14" y="6"/>
                </a:lnTo>
                <a:lnTo>
                  <a:pt x="14" y="6"/>
                </a:lnTo>
                <a:lnTo>
                  <a:pt x="18" y="6"/>
                </a:lnTo>
                <a:lnTo>
                  <a:pt x="18" y="6"/>
                </a:lnTo>
                <a:lnTo>
                  <a:pt x="18" y="6"/>
                </a:lnTo>
                <a:lnTo>
                  <a:pt x="18" y="6"/>
                </a:lnTo>
                <a:lnTo>
                  <a:pt x="18" y="6"/>
                </a:lnTo>
                <a:lnTo>
                  <a:pt x="18" y="6"/>
                </a:lnTo>
                <a:lnTo>
                  <a:pt x="18" y="6"/>
                </a:lnTo>
                <a:lnTo>
                  <a:pt x="18" y="6"/>
                </a:lnTo>
                <a:lnTo>
                  <a:pt x="18" y="6"/>
                </a:lnTo>
                <a:lnTo>
                  <a:pt x="18" y="6"/>
                </a:lnTo>
                <a:lnTo>
                  <a:pt x="18" y="6"/>
                </a:lnTo>
                <a:lnTo>
                  <a:pt x="18" y="6"/>
                </a:lnTo>
                <a:lnTo>
                  <a:pt x="18" y="4"/>
                </a:lnTo>
                <a:lnTo>
                  <a:pt x="22" y="4"/>
                </a:lnTo>
                <a:lnTo>
                  <a:pt x="22" y="4"/>
                </a:lnTo>
                <a:lnTo>
                  <a:pt x="22" y="4"/>
                </a:lnTo>
                <a:lnTo>
                  <a:pt x="22" y="4"/>
                </a:lnTo>
                <a:lnTo>
                  <a:pt x="22" y="4"/>
                </a:lnTo>
                <a:lnTo>
                  <a:pt x="22" y="4"/>
                </a:lnTo>
                <a:lnTo>
                  <a:pt x="22" y="4"/>
                </a:lnTo>
                <a:lnTo>
                  <a:pt x="22" y="4"/>
                </a:lnTo>
                <a:lnTo>
                  <a:pt x="22" y="4"/>
                </a:lnTo>
                <a:lnTo>
                  <a:pt x="22" y="4"/>
                </a:lnTo>
                <a:lnTo>
                  <a:pt x="22" y="4"/>
                </a:lnTo>
                <a:lnTo>
                  <a:pt x="22" y="4"/>
                </a:lnTo>
                <a:lnTo>
                  <a:pt x="26" y="4"/>
                </a:lnTo>
                <a:lnTo>
                  <a:pt x="26" y="4"/>
                </a:lnTo>
                <a:lnTo>
                  <a:pt x="28" y="4"/>
                </a:lnTo>
                <a:lnTo>
                  <a:pt x="28" y="4"/>
                </a:lnTo>
                <a:lnTo>
                  <a:pt x="28" y="4"/>
                </a:lnTo>
                <a:lnTo>
                  <a:pt x="28" y="4"/>
                </a:lnTo>
                <a:lnTo>
                  <a:pt x="32" y="4"/>
                </a:lnTo>
                <a:lnTo>
                  <a:pt x="32" y="4"/>
                </a:lnTo>
                <a:lnTo>
                  <a:pt x="32" y="4"/>
                </a:lnTo>
                <a:lnTo>
                  <a:pt x="32" y="4"/>
                </a:lnTo>
                <a:lnTo>
                  <a:pt x="32" y="4"/>
                </a:lnTo>
                <a:lnTo>
                  <a:pt x="36" y="4"/>
                </a:lnTo>
                <a:lnTo>
                  <a:pt x="36" y="4"/>
                </a:lnTo>
                <a:lnTo>
                  <a:pt x="36" y="4"/>
                </a:lnTo>
                <a:lnTo>
                  <a:pt x="36" y="4"/>
                </a:lnTo>
                <a:lnTo>
                  <a:pt x="36" y="4"/>
                </a:lnTo>
                <a:lnTo>
                  <a:pt x="36" y="4"/>
                </a:lnTo>
                <a:lnTo>
                  <a:pt x="32" y="4"/>
                </a:lnTo>
                <a:lnTo>
                  <a:pt x="32" y="4"/>
                </a:lnTo>
                <a:lnTo>
                  <a:pt x="32" y="4"/>
                </a:lnTo>
                <a:lnTo>
                  <a:pt x="32" y="4"/>
                </a:lnTo>
                <a:lnTo>
                  <a:pt x="32" y="0"/>
                </a:lnTo>
                <a:lnTo>
                  <a:pt x="32" y="0"/>
                </a:lnTo>
                <a:lnTo>
                  <a:pt x="32" y="0"/>
                </a:lnTo>
                <a:lnTo>
                  <a:pt x="36" y="0"/>
                </a:lnTo>
                <a:lnTo>
                  <a:pt x="36" y="0"/>
                </a:lnTo>
                <a:lnTo>
                  <a:pt x="36" y="0"/>
                </a:lnTo>
                <a:lnTo>
                  <a:pt x="36" y="0"/>
                </a:lnTo>
                <a:lnTo>
                  <a:pt x="36" y="0"/>
                </a:lnTo>
                <a:lnTo>
                  <a:pt x="36" y="0"/>
                </a:lnTo>
                <a:lnTo>
                  <a:pt x="36" y="0"/>
                </a:lnTo>
                <a:lnTo>
                  <a:pt x="36" y="4"/>
                </a:lnTo>
                <a:lnTo>
                  <a:pt x="36" y="0"/>
                </a:lnTo>
                <a:lnTo>
                  <a:pt x="36" y="0"/>
                </a:lnTo>
                <a:lnTo>
                  <a:pt x="40" y="0"/>
                </a:lnTo>
                <a:lnTo>
                  <a:pt x="40" y="0"/>
                </a:lnTo>
                <a:lnTo>
                  <a:pt x="40" y="4"/>
                </a:lnTo>
                <a:lnTo>
                  <a:pt x="40" y="4"/>
                </a:lnTo>
                <a:lnTo>
                  <a:pt x="40" y="4"/>
                </a:lnTo>
                <a:lnTo>
                  <a:pt x="40" y="4"/>
                </a:lnTo>
                <a:lnTo>
                  <a:pt x="40" y="4"/>
                </a:lnTo>
                <a:lnTo>
                  <a:pt x="40" y="4"/>
                </a:lnTo>
                <a:lnTo>
                  <a:pt x="40" y="0"/>
                </a:lnTo>
                <a:lnTo>
                  <a:pt x="40" y="4"/>
                </a:lnTo>
                <a:lnTo>
                  <a:pt x="44" y="4"/>
                </a:lnTo>
                <a:lnTo>
                  <a:pt x="48" y="4"/>
                </a:lnTo>
                <a:lnTo>
                  <a:pt x="48" y="4"/>
                </a:lnTo>
                <a:lnTo>
                  <a:pt x="48" y="6"/>
                </a:lnTo>
                <a:lnTo>
                  <a:pt x="48" y="6"/>
                </a:lnTo>
                <a:lnTo>
                  <a:pt x="52" y="6"/>
                </a:lnTo>
                <a:lnTo>
                  <a:pt x="52" y="6"/>
                </a:lnTo>
                <a:lnTo>
                  <a:pt x="52" y="6"/>
                </a:lnTo>
                <a:lnTo>
                  <a:pt x="48" y="6"/>
                </a:lnTo>
                <a:lnTo>
                  <a:pt x="48" y="10"/>
                </a:lnTo>
                <a:lnTo>
                  <a:pt x="48" y="10"/>
                </a:lnTo>
                <a:lnTo>
                  <a:pt x="48" y="10"/>
                </a:lnTo>
                <a:lnTo>
                  <a:pt x="48" y="10"/>
                </a:lnTo>
                <a:lnTo>
                  <a:pt x="48" y="10"/>
                </a:lnTo>
                <a:lnTo>
                  <a:pt x="48" y="10"/>
                </a:lnTo>
                <a:lnTo>
                  <a:pt x="48" y="14"/>
                </a:lnTo>
                <a:lnTo>
                  <a:pt x="48" y="14"/>
                </a:lnTo>
                <a:lnTo>
                  <a:pt x="48" y="14"/>
                </a:lnTo>
                <a:lnTo>
                  <a:pt x="48" y="14"/>
                </a:lnTo>
                <a:lnTo>
                  <a:pt x="48" y="14"/>
                </a:lnTo>
                <a:lnTo>
                  <a:pt x="48" y="14"/>
                </a:lnTo>
                <a:lnTo>
                  <a:pt x="52" y="14"/>
                </a:lnTo>
                <a:lnTo>
                  <a:pt x="52" y="14"/>
                </a:lnTo>
                <a:lnTo>
                  <a:pt x="52" y="14"/>
                </a:lnTo>
                <a:lnTo>
                  <a:pt x="56" y="14"/>
                </a:lnTo>
                <a:lnTo>
                  <a:pt x="52" y="14"/>
                </a:lnTo>
                <a:lnTo>
                  <a:pt x="52" y="18"/>
                </a:lnTo>
                <a:lnTo>
                  <a:pt x="56" y="18"/>
                </a:lnTo>
                <a:lnTo>
                  <a:pt x="56" y="18"/>
                </a:lnTo>
                <a:lnTo>
                  <a:pt x="56" y="18"/>
                </a:lnTo>
                <a:lnTo>
                  <a:pt x="56" y="18"/>
                </a:lnTo>
                <a:lnTo>
                  <a:pt x="56" y="18"/>
                </a:lnTo>
                <a:lnTo>
                  <a:pt x="58" y="18"/>
                </a:lnTo>
                <a:lnTo>
                  <a:pt x="58" y="18"/>
                </a:lnTo>
                <a:lnTo>
                  <a:pt x="58" y="18"/>
                </a:lnTo>
                <a:lnTo>
                  <a:pt x="58" y="14"/>
                </a:lnTo>
                <a:lnTo>
                  <a:pt x="58" y="14"/>
                </a:lnTo>
                <a:lnTo>
                  <a:pt x="58" y="14"/>
                </a:lnTo>
                <a:lnTo>
                  <a:pt x="62" y="14"/>
                </a:lnTo>
                <a:lnTo>
                  <a:pt x="62" y="18"/>
                </a:lnTo>
                <a:lnTo>
                  <a:pt x="62" y="18"/>
                </a:lnTo>
                <a:lnTo>
                  <a:pt x="62" y="22"/>
                </a:lnTo>
                <a:lnTo>
                  <a:pt x="62" y="22"/>
                </a:lnTo>
                <a:lnTo>
                  <a:pt x="62" y="22"/>
                </a:lnTo>
                <a:lnTo>
                  <a:pt x="62" y="22"/>
                </a:lnTo>
                <a:lnTo>
                  <a:pt x="62" y="26"/>
                </a:lnTo>
                <a:lnTo>
                  <a:pt x="62" y="26"/>
                </a:lnTo>
                <a:lnTo>
                  <a:pt x="62" y="26"/>
                </a:lnTo>
                <a:lnTo>
                  <a:pt x="58" y="26"/>
                </a:lnTo>
                <a:lnTo>
                  <a:pt x="58" y="26"/>
                </a:lnTo>
                <a:lnTo>
                  <a:pt x="58" y="22"/>
                </a:lnTo>
                <a:lnTo>
                  <a:pt x="58" y="22"/>
                </a:lnTo>
                <a:lnTo>
                  <a:pt x="58" y="22"/>
                </a:lnTo>
                <a:lnTo>
                  <a:pt x="58" y="22"/>
                </a:lnTo>
                <a:lnTo>
                  <a:pt x="56" y="22"/>
                </a:lnTo>
                <a:lnTo>
                  <a:pt x="56" y="26"/>
                </a:lnTo>
                <a:lnTo>
                  <a:pt x="56" y="26"/>
                </a:lnTo>
                <a:lnTo>
                  <a:pt x="56" y="26"/>
                </a:lnTo>
                <a:lnTo>
                  <a:pt x="56" y="26"/>
                </a:lnTo>
                <a:lnTo>
                  <a:pt x="58" y="30"/>
                </a:lnTo>
                <a:lnTo>
                  <a:pt x="58" y="30"/>
                </a:lnTo>
                <a:lnTo>
                  <a:pt x="56" y="30"/>
                </a:lnTo>
                <a:lnTo>
                  <a:pt x="56" y="30"/>
                </a:lnTo>
                <a:lnTo>
                  <a:pt x="56" y="30"/>
                </a:lnTo>
                <a:lnTo>
                  <a:pt x="56" y="30"/>
                </a:lnTo>
                <a:lnTo>
                  <a:pt x="56" y="30"/>
                </a:lnTo>
                <a:lnTo>
                  <a:pt x="56" y="30"/>
                </a:lnTo>
                <a:lnTo>
                  <a:pt x="56" y="30"/>
                </a:lnTo>
                <a:lnTo>
                  <a:pt x="52" y="30"/>
                </a:lnTo>
                <a:lnTo>
                  <a:pt x="52" y="30"/>
                </a:lnTo>
                <a:lnTo>
                  <a:pt x="52" y="30"/>
                </a:lnTo>
                <a:lnTo>
                  <a:pt x="52" y="30"/>
                </a:lnTo>
                <a:lnTo>
                  <a:pt x="52" y="30"/>
                </a:lnTo>
                <a:lnTo>
                  <a:pt x="48" y="30"/>
                </a:lnTo>
                <a:lnTo>
                  <a:pt x="48" y="30"/>
                </a:lnTo>
                <a:lnTo>
                  <a:pt x="48" y="30"/>
                </a:lnTo>
                <a:lnTo>
                  <a:pt x="48" y="30"/>
                </a:lnTo>
                <a:lnTo>
                  <a:pt x="48" y="26"/>
                </a:lnTo>
                <a:lnTo>
                  <a:pt x="48" y="26"/>
                </a:lnTo>
                <a:lnTo>
                  <a:pt x="48" y="26"/>
                </a:lnTo>
                <a:lnTo>
                  <a:pt x="44" y="26"/>
                </a:lnTo>
                <a:lnTo>
                  <a:pt x="44" y="26"/>
                </a:lnTo>
                <a:lnTo>
                  <a:pt x="44" y="26"/>
                </a:lnTo>
                <a:lnTo>
                  <a:pt x="44" y="30"/>
                </a:lnTo>
                <a:lnTo>
                  <a:pt x="44" y="30"/>
                </a:lnTo>
                <a:lnTo>
                  <a:pt x="44" y="30"/>
                </a:lnTo>
                <a:lnTo>
                  <a:pt x="44" y="30"/>
                </a:lnTo>
                <a:lnTo>
                  <a:pt x="44" y="34"/>
                </a:lnTo>
                <a:lnTo>
                  <a:pt x="44" y="34"/>
                </a:lnTo>
                <a:lnTo>
                  <a:pt x="44" y="34"/>
                </a:lnTo>
                <a:lnTo>
                  <a:pt x="40" y="34"/>
                </a:lnTo>
                <a:lnTo>
                  <a:pt x="40" y="34"/>
                </a:lnTo>
                <a:lnTo>
                  <a:pt x="40" y="36"/>
                </a:lnTo>
                <a:lnTo>
                  <a:pt x="40" y="36"/>
                </a:lnTo>
                <a:lnTo>
                  <a:pt x="40" y="36"/>
                </a:lnTo>
                <a:lnTo>
                  <a:pt x="40" y="36"/>
                </a:lnTo>
                <a:lnTo>
                  <a:pt x="40" y="36"/>
                </a:lnTo>
                <a:lnTo>
                  <a:pt x="40" y="40"/>
                </a:lnTo>
                <a:lnTo>
                  <a:pt x="40" y="40"/>
                </a:lnTo>
                <a:lnTo>
                  <a:pt x="40" y="40"/>
                </a:lnTo>
                <a:lnTo>
                  <a:pt x="40" y="36"/>
                </a:lnTo>
                <a:lnTo>
                  <a:pt x="40" y="36"/>
                </a:lnTo>
                <a:lnTo>
                  <a:pt x="40" y="36"/>
                </a:lnTo>
                <a:lnTo>
                  <a:pt x="36" y="36"/>
                </a:lnTo>
                <a:lnTo>
                  <a:pt x="36" y="36"/>
                </a:lnTo>
                <a:lnTo>
                  <a:pt x="40" y="34"/>
                </a:lnTo>
                <a:lnTo>
                  <a:pt x="40" y="34"/>
                </a:lnTo>
                <a:lnTo>
                  <a:pt x="36" y="34"/>
                </a:lnTo>
                <a:lnTo>
                  <a:pt x="36" y="34"/>
                </a:lnTo>
                <a:lnTo>
                  <a:pt x="36" y="34"/>
                </a:lnTo>
                <a:lnTo>
                  <a:pt x="36" y="34"/>
                </a:lnTo>
                <a:lnTo>
                  <a:pt x="36" y="34"/>
                </a:lnTo>
                <a:lnTo>
                  <a:pt x="36" y="34"/>
                </a:lnTo>
                <a:lnTo>
                  <a:pt x="32" y="30"/>
                </a:lnTo>
                <a:lnTo>
                  <a:pt x="32" y="30"/>
                </a:lnTo>
                <a:lnTo>
                  <a:pt x="32" y="30"/>
                </a:lnTo>
                <a:lnTo>
                  <a:pt x="32" y="30"/>
                </a:lnTo>
                <a:lnTo>
                  <a:pt x="32" y="30"/>
                </a:lnTo>
                <a:lnTo>
                  <a:pt x="32" y="26"/>
                </a:lnTo>
                <a:lnTo>
                  <a:pt x="32" y="26"/>
                </a:lnTo>
                <a:lnTo>
                  <a:pt x="32" y="26"/>
                </a:lnTo>
                <a:lnTo>
                  <a:pt x="32" y="26"/>
                </a:lnTo>
                <a:lnTo>
                  <a:pt x="32" y="26"/>
                </a:lnTo>
                <a:lnTo>
                  <a:pt x="28" y="30"/>
                </a:lnTo>
                <a:lnTo>
                  <a:pt x="28" y="34"/>
                </a:lnTo>
                <a:lnTo>
                  <a:pt x="28" y="34"/>
                </a:lnTo>
                <a:lnTo>
                  <a:pt x="26" y="36"/>
                </a:lnTo>
                <a:lnTo>
                  <a:pt x="26" y="36"/>
                </a:lnTo>
                <a:lnTo>
                  <a:pt x="26" y="36"/>
                </a:lnTo>
                <a:lnTo>
                  <a:pt x="26" y="36"/>
                </a:lnTo>
                <a:lnTo>
                  <a:pt x="26" y="36"/>
                </a:lnTo>
                <a:lnTo>
                  <a:pt x="26" y="36"/>
                </a:lnTo>
                <a:lnTo>
                  <a:pt x="26" y="36"/>
                </a:lnTo>
                <a:lnTo>
                  <a:pt x="26" y="36"/>
                </a:lnTo>
                <a:lnTo>
                  <a:pt x="22" y="36"/>
                </a:lnTo>
                <a:lnTo>
                  <a:pt x="22" y="36"/>
                </a:lnTo>
                <a:lnTo>
                  <a:pt x="22" y="36"/>
                </a:lnTo>
                <a:lnTo>
                  <a:pt x="22" y="36"/>
                </a:lnTo>
                <a:lnTo>
                  <a:pt x="18" y="36"/>
                </a:lnTo>
                <a:lnTo>
                  <a:pt x="18" y="36"/>
                </a:lnTo>
                <a:lnTo>
                  <a:pt x="18" y="36"/>
                </a:lnTo>
                <a:lnTo>
                  <a:pt x="18" y="36"/>
                </a:lnTo>
                <a:lnTo>
                  <a:pt x="18" y="36"/>
                </a:lnTo>
                <a:lnTo>
                  <a:pt x="14" y="36"/>
                </a:lnTo>
                <a:lnTo>
                  <a:pt x="14" y="36"/>
                </a:lnTo>
                <a:lnTo>
                  <a:pt x="14" y="36"/>
                </a:lnTo>
                <a:lnTo>
                  <a:pt x="14" y="36"/>
                </a:lnTo>
                <a:lnTo>
                  <a:pt x="14" y="36"/>
                </a:lnTo>
                <a:lnTo>
                  <a:pt x="14" y="36"/>
                </a:lnTo>
                <a:lnTo>
                  <a:pt x="14" y="36"/>
                </a:lnTo>
                <a:lnTo>
                  <a:pt x="10" y="34"/>
                </a:lnTo>
                <a:lnTo>
                  <a:pt x="10" y="34"/>
                </a:lnTo>
                <a:lnTo>
                  <a:pt x="10" y="34"/>
                </a:lnTo>
                <a:lnTo>
                  <a:pt x="10" y="30"/>
                </a:lnTo>
                <a:lnTo>
                  <a:pt x="10" y="26"/>
                </a:lnTo>
                <a:lnTo>
                  <a:pt x="10" y="26"/>
                </a:lnTo>
                <a:lnTo>
                  <a:pt x="10" y="26"/>
                </a:lnTo>
                <a:lnTo>
                  <a:pt x="6" y="26"/>
                </a:lnTo>
                <a:lnTo>
                  <a:pt x="6" y="26"/>
                </a:lnTo>
                <a:lnTo>
                  <a:pt x="6" y="26"/>
                </a:lnTo>
                <a:lnTo>
                  <a:pt x="6" y="26"/>
                </a:lnTo>
                <a:lnTo>
                  <a:pt x="2" y="26"/>
                </a:lnTo>
                <a:lnTo>
                  <a:pt x="2" y="30"/>
                </a:lnTo>
                <a:lnTo>
                  <a:pt x="2" y="30"/>
                </a:lnTo>
                <a:lnTo>
                  <a:pt x="2" y="30"/>
                </a:lnTo>
                <a:lnTo>
                  <a:pt x="2" y="30"/>
                </a:lnTo>
                <a:lnTo>
                  <a:pt x="2" y="30"/>
                </a:lnTo>
                <a:lnTo>
                  <a:pt x="2" y="34"/>
                </a:lnTo>
                <a:lnTo>
                  <a:pt x="0" y="34"/>
                </a:lnTo>
                <a:lnTo>
                  <a:pt x="0" y="34"/>
                </a:lnTo>
                <a:lnTo>
                  <a:pt x="0" y="34"/>
                </a:lnTo>
                <a:lnTo>
                  <a:pt x="0" y="34"/>
                </a:lnTo>
                <a:lnTo>
                  <a:pt x="0" y="30"/>
                </a:lnTo>
                <a:lnTo>
                  <a:pt x="0" y="30"/>
                </a:lnTo>
                <a:lnTo>
                  <a:pt x="0" y="30"/>
                </a:lnTo>
                <a:lnTo>
                  <a:pt x="0" y="30"/>
                </a:lnTo>
                <a:lnTo>
                  <a:pt x="0" y="30"/>
                </a:lnTo>
                <a:lnTo>
                  <a:pt x="0" y="30"/>
                </a:lnTo>
                <a:lnTo>
                  <a:pt x="0" y="30"/>
                </a:lnTo>
                <a:lnTo>
                  <a:pt x="0" y="30"/>
                </a:lnTo>
                <a:lnTo>
                  <a:pt x="0" y="26"/>
                </a:lnTo>
                <a:lnTo>
                  <a:pt x="0" y="26"/>
                </a:lnTo>
                <a:lnTo>
                  <a:pt x="0" y="26"/>
                </a:lnTo>
                <a:lnTo>
                  <a:pt x="0" y="26"/>
                </a:lnTo>
                <a:lnTo>
                  <a:pt x="0" y="22"/>
                </a:lnTo>
                <a:lnTo>
                  <a:pt x="2" y="22"/>
                </a:lnTo>
                <a:lnTo>
                  <a:pt x="2" y="22"/>
                </a:lnTo>
                <a:lnTo>
                  <a:pt x="2" y="22"/>
                </a:lnTo>
                <a:lnTo>
                  <a:pt x="6" y="18"/>
                </a:lnTo>
                <a:lnTo>
                  <a:pt x="2" y="18"/>
                </a:lnTo>
                <a:lnTo>
                  <a:pt x="2" y="18"/>
                </a:lnTo>
                <a:lnTo>
                  <a:pt x="2" y="18"/>
                </a:lnTo>
                <a:close/>
                <a:moveTo>
                  <a:pt x="36" y="0"/>
                </a:moveTo>
                <a:lnTo>
                  <a:pt x="36" y="0"/>
                </a:lnTo>
                <a:lnTo>
                  <a:pt x="36" y="0"/>
                </a:lnTo>
                <a:lnTo>
                  <a:pt x="36" y="0"/>
                </a:lnTo>
                <a:lnTo>
                  <a:pt x="36" y="0"/>
                </a:lnTo>
                <a:lnTo>
                  <a:pt x="36" y="0"/>
                </a:lnTo>
                <a:lnTo>
                  <a:pt x="36" y="0"/>
                </a:lnTo>
                <a:close/>
              </a:path>
            </a:pathLst>
          </a:custGeom>
          <a:solidFill>
            <a:srgbClr val="A0DCFF"/>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18" name="Freeform 125"/>
          <p:cNvSpPr>
            <a:spLocks/>
          </p:cNvSpPr>
          <p:nvPr/>
        </p:nvSpPr>
        <p:spPr bwMode="auto">
          <a:xfrm>
            <a:off x="4629150" y="2550318"/>
            <a:ext cx="302419" cy="195263"/>
          </a:xfrm>
          <a:custGeom>
            <a:avLst/>
            <a:gdLst>
              <a:gd name="T0" fmla="*/ 96 w 254"/>
              <a:gd name="T1" fmla="*/ 134 h 164"/>
              <a:gd name="T2" fmla="*/ 104 w 254"/>
              <a:gd name="T3" fmla="*/ 124 h 164"/>
              <a:gd name="T4" fmla="*/ 108 w 254"/>
              <a:gd name="T5" fmla="*/ 124 h 164"/>
              <a:gd name="T6" fmla="*/ 104 w 254"/>
              <a:gd name="T7" fmla="*/ 108 h 164"/>
              <a:gd name="T8" fmla="*/ 100 w 254"/>
              <a:gd name="T9" fmla="*/ 98 h 164"/>
              <a:gd name="T10" fmla="*/ 86 w 254"/>
              <a:gd name="T11" fmla="*/ 90 h 164"/>
              <a:gd name="T12" fmla="*/ 64 w 254"/>
              <a:gd name="T13" fmla="*/ 86 h 164"/>
              <a:gd name="T14" fmla="*/ 46 w 254"/>
              <a:gd name="T15" fmla="*/ 98 h 164"/>
              <a:gd name="T16" fmla="*/ 24 w 254"/>
              <a:gd name="T17" fmla="*/ 94 h 164"/>
              <a:gd name="T18" fmla="*/ 8 w 254"/>
              <a:gd name="T19" fmla="*/ 90 h 164"/>
              <a:gd name="T20" fmla="*/ 4 w 254"/>
              <a:gd name="T21" fmla="*/ 74 h 164"/>
              <a:gd name="T22" fmla="*/ 16 w 254"/>
              <a:gd name="T23" fmla="*/ 48 h 164"/>
              <a:gd name="T24" fmla="*/ 26 w 254"/>
              <a:gd name="T25" fmla="*/ 38 h 164"/>
              <a:gd name="T26" fmla="*/ 24 w 254"/>
              <a:gd name="T27" fmla="*/ 18 h 164"/>
              <a:gd name="T28" fmla="*/ 42 w 254"/>
              <a:gd name="T29" fmla="*/ 12 h 164"/>
              <a:gd name="T30" fmla="*/ 64 w 254"/>
              <a:gd name="T31" fmla="*/ 16 h 164"/>
              <a:gd name="T32" fmla="*/ 82 w 254"/>
              <a:gd name="T33" fmla="*/ 18 h 164"/>
              <a:gd name="T34" fmla="*/ 94 w 254"/>
              <a:gd name="T35" fmla="*/ 18 h 164"/>
              <a:gd name="T36" fmla="*/ 108 w 254"/>
              <a:gd name="T37" fmla="*/ 22 h 164"/>
              <a:gd name="T38" fmla="*/ 120 w 254"/>
              <a:gd name="T39" fmla="*/ 18 h 164"/>
              <a:gd name="T40" fmla="*/ 134 w 254"/>
              <a:gd name="T41" fmla="*/ 8 h 164"/>
              <a:gd name="T42" fmla="*/ 156 w 254"/>
              <a:gd name="T43" fmla="*/ 0 h 164"/>
              <a:gd name="T44" fmla="*/ 172 w 254"/>
              <a:gd name="T45" fmla="*/ 12 h 164"/>
              <a:gd name="T46" fmla="*/ 176 w 254"/>
              <a:gd name="T47" fmla="*/ 26 h 164"/>
              <a:gd name="T48" fmla="*/ 190 w 254"/>
              <a:gd name="T49" fmla="*/ 38 h 164"/>
              <a:gd name="T50" fmla="*/ 198 w 254"/>
              <a:gd name="T51" fmla="*/ 42 h 164"/>
              <a:gd name="T52" fmla="*/ 212 w 254"/>
              <a:gd name="T53" fmla="*/ 46 h 164"/>
              <a:gd name="T54" fmla="*/ 232 w 254"/>
              <a:gd name="T55" fmla="*/ 48 h 164"/>
              <a:gd name="T56" fmla="*/ 246 w 254"/>
              <a:gd name="T57" fmla="*/ 56 h 164"/>
              <a:gd name="T58" fmla="*/ 250 w 254"/>
              <a:gd name="T59" fmla="*/ 72 h 164"/>
              <a:gd name="T60" fmla="*/ 254 w 254"/>
              <a:gd name="T61" fmla="*/ 90 h 164"/>
              <a:gd name="T62" fmla="*/ 236 w 254"/>
              <a:gd name="T63" fmla="*/ 98 h 164"/>
              <a:gd name="T64" fmla="*/ 224 w 254"/>
              <a:gd name="T65" fmla="*/ 112 h 164"/>
              <a:gd name="T66" fmla="*/ 206 w 254"/>
              <a:gd name="T67" fmla="*/ 120 h 164"/>
              <a:gd name="T68" fmla="*/ 190 w 254"/>
              <a:gd name="T69" fmla="*/ 124 h 164"/>
              <a:gd name="T70" fmla="*/ 186 w 254"/>
              <a:gd name="T71" fmla="*/ 128 h 164"/>
              <a:gd name="T72" fmla="*/ 172 w 254"/>
              <a:gd name="T73" fmla="*/ 128 h 164"/>
              <a:gd name="T74" fmla="*/ 168 w 254"/>
              <a:gd name="T75" fmla="*/ 130 h 164"/>
              <a:gd name="T76" fmla="*/ 176 w 254"/>
              <a:gd name="T77" fmla="*/ 134 h 164"/>
              <a:gd name="T78" fmla="*/ 186 w 254"/>
              <a:gd name="T79" fmla="*/ 146 h 164"/>
              <a:gd name="T80" fmla="*/ 184 w 254"/>
              <a:gd name="T81" fmla="*/ 138 h 164"/>
              <a:gd name="T82" fmla="*/ 198 w 254"/>
              <a:gd name="T83" fmla="*/ 146 h 164"/>
              <a:gd name="T84" fmla="*/ 194 w 254"/>
              <a:gd name="T85" fmla="*/ 154 h 164"/>
              <a:gd name="T86" fmla="*/ 176 w 254"/>
              <a:gd name="T87" fmla="*/ 160 h 164"/>
              <a:gd name="T88" fmla="*/ 160 w 254"/>
              <a:gd name="T89" fmla="*/ 158 h 164"/>
              <a:gd name="T90" fmla="*/ 150 w 254"/>
              <a:gd name="T91" fmla="*/ 146 h 164"/>
              <a:gd name="T92" fmla="*/ 160 w 254"/>
              <a:gd name="T93" fmla="*/ 134 h 164"/>
              <a:gd name="T94" fmla="*/ 146 w 254"/>
              <a:gd name="T95" fmla="*/ 130 h 164"/>
              <a:gd name="T96" fmla="*/ 138 w 254"/>
              <a:gd name="T97" fmla="*/ 124 h 164"/>
              <a:gd name="T98" fmla="*/ 142 w 254"/>
              <a:gd name="T99" fmla="*/ 124 h 164"/>
              <a:gd name="T100" fmla="*/ 138 w 254"/>
              <a:gd name="T101" fmla="*/ 112 h 164"/>
              <a:gd name="T102" fmla="*/ 134 w 254"/>
              <a:gd name="T103" fmla="*/ 120 h 164"/>
              <a:gd name="T104" fmla="*/ 116 w 254"/>
              <a:gd name="T105" fmla="*/ 134 h 164"/>
              <a:gd name="T106" fmla="*/ 108 w 254"/>
              <a:gd name="T107" fmla="*/ 146 h 164"/>
              <a:gd name="T108" fmla="*/ 94 w 254"/>
              <a:gd name="T109" fmla="*/ 15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4" h="164">
                <a:moveTo>
                  <a:pt x="86" y="146"/>
                </a:moveTo>
                <a:lnTo>
                  <a:pt x="86" y="142"/>
                </a:lnTo>
                <a:lnTo>
                  <a:pt x="90" y="142"/>
                </a:lnTo>
                <a:lnTo>
                  <a:pt x="90" y="138"/>
                </a:lnTo>
                <a:lnTo>
                  <a:pt x="94" y="138"/>
                </a:lnTo>
                <a:lnTo>
                  <a:pt x="94" y="134"/>
                </a:lnTo>
                <a:lnTo>
                  <a:pt x="96" y="134"/>
                </a:lnTo>
                <a:lnTo>
                  <a:pt x="96" y="130"/>
                </a:lnTo>
                <a:lnTo>
                  <a:pt x="96" y="128"/>
                </a:lnTo>
                <a:lnTo>
                  <a:pt x="96" y="124"/>
                </a:lnTo>
                <a:lnTo>
                  <a:pt x="100" y="124"/>
                </a:lnTo>
                <a:lnTo>
                  <a:pt x="100" y="128"/>
                </a:lnTo>
                <a:lnTo>
                  <a:pt x="100" y="124"/>
                </a:lnTo>
                <a:lnTo>
                  <a:pt x="104" y="124"/>
                </a:lnTo>
                <a:lnTo>
                  <a:pt x="104" y="128"/>
                </a:lnTo>
                <a:lnTo>
                  <a:pt x="108" y="128"/>
                </a:lnTo>
                <a:lnTo>
                  <a:pt x="108" y="124"/>
                </a:lnTo>
                <a:lnTo>
                  <a:pt x="108" y="128"/>
                </a:lnTo>
                <a:lnTo>
                  <a:pt x="112" y="128"/>
                </a:lnTo>
                <a:lnTo>
                  <a:pt x="112" y="124"/>
                </a:lnTo>
                <a:lnTo>
                  <a:pt x="108" y="124"/>
                </a:lnTo>
                <a:lnTo>
                  <a:pt x="112" y="124"/>
                </a:lnTo>
                <a:lnTo>
                  <a:pt x="112" y="120"/>
                </a:lnTo>
                <a:lnTo>
                  <a:pt x="112" y="116"/>
                </a:lnTo>
                <a:lnTo>
                  <a:pt x="108" y="116"/>
                </a:lnTo>
                <a:lnTo>
                  <a:pt x="104" y="116"/>
                </a:lnTo>
                <a:lnTo>
                  <a:pt x="104" y="112"/>
                </a:lnTo>
                <a:lnTo>
                  <a:pt x="104" y="108"/>
                </a:lnTo>
                <a:lnTo>
                  <a:pt x="104" y="104"/>
                </a:lnTo>
                <a:lnTo>
                  <a:pt x="104" y="108"/>
                </a:lnTo>
                <a:lnTo>
                  <a:pt x="100" y="104"/>
                </a:lnTo>
                <a:lnTo>
                  <a:pt x="104" y="104"/>
                </a:lnTo>
                <a:lnTo>
                  <a:pt x="100" y="104"/>
                </a:lnTo>
                <a:lnTo>
                  <a:pt x="100" y="102"/>
                </a:lnTo>
                <a:lnTo>
                  <a:pt x="100" y="98"/>
                </a:lnTo>
                <a:lnTo>
                  <a:pt x="100" y="94"/>
                </a:lnTo>
                <a:lnTo>
                  <a:pt x="96" y="94"/>
                </a:lnTo>
                <a:lnTo>
                  <a:pt x="94" y="90"/>
                </a:lnTo>
                <a:lnTo>
                  <a:pt x="90" y="90"/>
                </a:lnTo>
                <a:lnTo>
                  <a:pt x="90" y="86"/>
                </a:lnTo>
                <a:lnTo>
                  <a:pt x="86" y="86"/>
                </a:lnTo>
                <a:lnTo>
                  <a:pt x="86" y="90"/>
                </a:lnTo>
                <a:lnTo>
                  <a:pt x="86" y="86"/>
                </a:lnTo>
                <a:lnTo>
                  <a:pt x="82" y="86"/>
                </a:lnTo>
                <a:lnTo>
                  <a:pt x="80" y="82"/>
                </a:lnTo>
                <a:lnTo>
                  <a:pt x="76" y="82"/>
                </a:lnTo>
                <a:lnTo>
                  <a:pt x="72" y="86"/>
                </a:lnTo>
                <a:lnTo>
                  <a:pt x="68" y="86"/>
                </a:lnTo>
                <a:lnTo>
                  <a:pt x="64" y="86"/>
                </a:lnTo>
                <a:lnTo>
                  <a:pt x="64" y="90"/>
                </a:lnTo>
                <a:lnTo>
                  <a:pt x="60" y="90"/>
                </a:lnTo>
                <a:lnTo>
                  <a:pt x="56" y="94"/>
                </a:lnTo>
                <a:lnTo>
                  <a:pt x="54" y="94"/>
                </a:lnTo>
                <a:lnTo>
                  <a:pt x="50" y="94"/>
                </a:lnTo>
                <a:lnTo>
                  <a:pt x="46" y="94"/>
                </a:lnTo>
                <a:lnTo>
                  <a:pt x="46" y="98"/>
                </a:lnTo>
                <a:lnTo>
                  <a:pt x="42" y="98"/>
                </a:lnTo>
                <a:lnTo>
                  <a:pt x="38" y="98"/>
                </a:lnTo>
                <a:lnTo>
                  <a:pt x="38" y="94"/>
                </a:lnTo>
                <a:lnTo>
                  <a:pt x="34" y="94"/>
                </a:lnTo>
                <a:lnTo>
                  <a:pt x="30" y="94"/>
                </a:lnTo>
                <a:lnTo>
                  <a:pt x="26" y="94"/>
                </a:lnTo>
                <a:lnTo>
                  <a:pt x="24" y="94"/>
                </a:lnTo>
                <a:lnTo>
                  <a:pt x="20" y="94"/>
                </a:lnTo>
                <a:lnTo>
                  <a:pt x="16" y="94"/>
                </a:lnTo>
                <a:lnTo>
                  <a:pt x="16" y="90"/>
                </a:lnTo>
                <a:lnTo>
                  <a:pt x="16" y="94"/>
                </a:lnTo>
                <a:lnTo>
                  <a:pt x="12" y="94"/>
                </a:lnTo>
                <a:lnTo>
                  <a:pt x="12" y="90"/>
                </a:lnTo>
                <a:lnTo>
                  <a:pt x="8" y="90"/>
                </a:lnTo>
                <a:lnTo>
                  <a:pt x="4" y="86"/>
                </a:lnTo>
                <a:lnTo>
                  <a:pt x="0" y="82"/>
                </a:lnTo>
                <a:lnTo>
                  <a:pt x="0" y="86"/>
                </a:lnTo>
                <a:lnTo>
                  <a:pt x="0" y="82"/>
                </a:lnTo>
                <a:lnTo>
                  <a:pt x="0" y="78"/>
                </a:lnTo>
                <a:lnTo>
                  <a:pt x="4" y="78"/>
                </a:lnTo>
                <a:lnTo>
                  <a:pt x="4" y="74"/>
                </a:lnTo>
                <a:lnTo>
                  <a:pt x="8" y="72"/>
                </a:lnTo>
                <a:lnTo>
                  <a:pt x="12" y="72"/>
                </a:lnTo>
                <a:lnTo>
                  <a:pt x="8" y="68"/>
                </a:lnTo>
                <a:lnTo>
                  <a:pt x="8" y="64"/>
                </a:lnTo>
                <a:lnTo>
                  <a:pt x="8" y="60"/>
                </a:lnTo>
                <a:lnTo>
                  <a:pt x="16" y="52"/>
                </a:lnTo>
                <a:lnTo>
                  <a:pt x="16" y="48"/>
                </a:lnTo>
                <a:lnTo>
                  <a:pt x="20" y="48"/>
                </a:lnTo>
                <a:lnTo>
                  <a:pt x="20" y="46"/>
                </a:lnTo>
                <a:lnTo>
                  <a:pt x="24" y="46"/>
                </a:lnTo>
                <a:lnTo>
                  <a:pt x="24" y="42"/>
                </a:lnTo>
                <a:lnTo>
                  <a:pt x="26" y="42"/>
                </a:lnTo>
                <a:lnTo>
                  <a:pt x="30" y="42"/>
                </a:lnTo>
                <a:lnTo>
                  <a:pt x="26" y="38"/>
                </a:lnTo>
                <a:lnTo>
                  <a:pt x="26" y="34"/>
                </a:lnTo>
                <a:lnTo>
                  <a:pt x="30" y="34"/>
                </a:lnTo>
                <a:lnTo>
                  <a:pt x="26" y="34"/>
                </a:lnTo>
                <a:lnTo>
                  <a:pt x="26" y="30"/>
                </a:lnTo>
                <a:lnTo>
                  <a:pt x="24" y="26"/>
                </a:lnTo>
                <a:lnTo>
                  <a:pt x="24" y="22"/>
                </a:lnTo>
                <a:lnTo>
                  <a:pt x="24" y="18"/>
                </a:lnTo>
                <a:lnTo>
                  <a:pt x="24" y="16"/>
                </a:lnTo>
                <a:lnTo>
                  <a:pt x="26" y="18"/>
                </a:lnTo>
                <a:lnTo>
                  <a:pt x="30" y="16"/>
                </a:lnTo>
                <a:lnTo>
                  <a:pt x="30" y="12"/>
                </a:lnTo>
                <a:lnTo>
                  <a:pt x="34" y="12"/>
                </a:lnTo>
                <a:lnTo>
                  <a:pt x="38" y="12"/>
                </a:lnTo>
                <a:lnTo>
                  <a:pt x="42" y="12"/>
                </a:lnTo>
                <a:lnTo>
                  <a:pt x="46" y="12"/>
                </a:lnTo>
                <a:lnTo>
                  <a:pt x="50" y="12"/>
                </a:lnTo>
                <a:lnTo>
                  <a:pt x="54" y="12"/>
                </a:lnTo>
                <a:lnTo>
                  <a:pt x="56" y="12"/>
                </a:lnTo>
                <a:lnTo>
                  <a:pt x="60" y="12"/>
                </a:lnTo>
                <a:lnTo>
                  <a:pt x="60" y="16"/>
                </a:lnTo>
                <a:lnTo>
                  <a:pt x="64" y="16"/>
                </a:lnTo>
                <a:lnTo>
                  <a:pt x="64" y="12"/>
                </a:lnTo>
                <a:lnTo>
                  <a:pt x="64" y="16"/>
                </a:lnTo>
                <a:lnTo>
                  <a:pt x="68" y="16"/>
                </a:lnTo>
                <a:lnTo>
                  <a:pt x="72" y="16"/>
                </a:lnTo>
                <a:lnTo>
                  <a:pt x="76" y="18"/>
                </a:lnTo>
                <a:lnTo>
                  <a:pt x="80" y="18"/>
                </a:lnTo>
                <a:lnTo>
                  <a:pt x="82" y="18"/>
                </a:lnTo>
                <a:lnTo>
                  <a:pt x="86" y="18"/>
                </a:lnTo>
                <a:lnTo>
                  <a:pt x="86" y="16"/>
                </a:lnTo>
                <a:lnTo>
                  <a:pt x="86" y="18"/>
                </a:lnTo>
                <a:lnTo>
                  <a:pt x="90" y="18"/>
                </a:lnTo>
                <a:lnTo>
                  <a:pt x="94" y="18"/>
                </a:lnTo>
                <a:lnTo>
                  <a:pt x="94" y="22"/>
                </a:lnTo>
                <a:lnTo>
                  <a:pt x="94" y="18"/>
                </a:lnTo>
                <a:lnTo>
                  <a:pt x="96" y="18"/>
                </a:lnTo>
                <a:lnTo>
                  <a:pt x="100" y="18"/>
                </a:lnTo>
                <a:lnTo>
                  <a:pt x="100" y="22"/>
                </a:lnTo>
                <a:lnTo>
                  <a:pt x="104" y="22"/>
                </a:lnTo>
                <a:lnTo>
                  <a:pt x="104" y="18"/>
                </a:lnTo>
                <a:lnTo>
                  <a:pt x="108" y="18"/>
                </a:lnTo>
                <a:lnTo>
                  <a:pt x="108" y="22"/>
                </a:lnTo>
                <a:lnTo>
                  <a:pt x="112" y="18"/>
                </a:lnTo>
                <a:lnTo>
                  <a:pt x="116" y="18"/>
                </a:lnTo>
                <a:lnTo>
                  <a:pt x="116" y="22"/>
                </a:lnTo>
                <a:lnTo>
                  <a:pt x="120" y="22"/>
                </a:lnTo>
                <a:lnTo>
                  <a:pt x="120" y="26"/>
                </a:lnTo>
                <a:lnTo>
                  <a:pt x="120" y="22"/>
                </a:lnTo>
                <a:lnTo>
                  <a:pt x="120" y="18"/>
                </a:lnTo>
                <a:lnTo>
                  <a:pt x="120" y="16"/>
                </a:lnTo>
                <a:lnTo>
                  <a:pt x="120" y="12"/>
                </a:lnTo>
                <a:lnTo>
                  <a:pt x="124" y="12"/>
                </a:lnTo>
                <a:lnTo>
                  <a:pt x="124" y="8"/>
                </a:lnTo>
                <a:lnTo>
                  <a:pt x="126" y="8"/>
                </a:lnTo>
                <a:lnTo>
                  <a:pt x="130" y="8"/>
                </a:lnTo>
                <a:lnTo>
                  <a:pt x="134" y="8"/>
                </a:lnTo>
                <a:lnTo>
                  <a:pt x="138" y="8"/>
                </a:lnTo>
                <a:lnTo>
                  <a:pt x="142" y="8"/>
                </a:lnTo>
                <a:lnTo>
                  <a:pt x="146" y="8"/>
                </a:lnTo>
                <a:lnTo>
                  <a:pt x="146" y="4"/>
                </a:lnTo>
                <a:lnTo>
                  <a:pt x="150" y="4"/>
                </a:lnTo>
                <a:lnTo>
                  <a:pt x="154" y="4"/>
                </a:lnTo>
                <a:lnTo>
                  <a:pt x="156" y="0"/>
                </a:lnTo>
                <a:lnTo>
                  <a:pt x="160" y="0"/>
                </a:lnTo>
                <a:lnTo>
                  <a:pt x="160" y="4"/>
                </a:lnTo>
                <a:lnTo>
                  <a:pt x="164" y="4"/>
                </a:lnTo>
                <a:lnTo>
                  <a:pt x="164" y="0"/>
                </a:lnTo>
                <a:lnTo>
                  <a:pt x="168" y="4"/>
                </a:lnTo>
                <a:lnTo>
                  <a:pt x="168" y="8"/>
                </a:lnTo>
                <a:lnTo>
                  <a:pt x="172" y="12"/>
                </a:lnTo>
                <a:lnTo>
                  <a:pt x="176" y="16"/>
                </a:lnTo>
                <a:lnTo>
                  <a:pt x="172" y="16"/>
                </a:lnTo>
                <a:lnTo>
                  <a:pt x="168" y="16"/>
                </a:lnTo>
                <a:lnTo>
                  <a:pt x="172" y="18"/>
                </a:lnTo>
                <a:lnTo>
                  <a:pt x="172" y="22"/>
                </a:lnTo>
                <a:lnTo>
                  <a:pt x="172" y="26"/>
                </a:lnTo>
                <a:lnTo>
                  <a:pt x="176" y="26"/>
                </a:lnTo>
                <a:lnTo>
                  <a:pt x="180" y="26"/>
                </a:lnTo>
                <a:lnTo>
                  <a:pt x="184" y="26"/>
                </a:lnTo>
                <a:lnTo>
                  <a:pt x="184" y="30"/>
                </a:lnTo>
                <a:lnTo>
                  <a:pt x="186" y="30"/>
                </a:lnTo>
                <a:lnTo>
                  <a:pt x="186" y="34"/>
                </a:lnTo>
                <a:lnTo>
                  <a:pt x="190" y="34"/>
                </a:lnTo>
                <a:lnTo>
                  <a:pt x="190" y="38"/>
                </a:lnTo>
                <a:lnTo>
                  <a:pt x="186" y="38"/>
                </a:lnTo>
                <a:lnTo>
                  <a:pt x="186" y="42"/>
                </a:lnTo>
                <a:lnTo>
                  <a:pt x="190" y="42"/>
                </a:lnTo>
                <a:lnTo>
                  <a:pt x="190" y="46"/>
                </a:lnTo>
                <a:lnTo>
                  <a:pt x="194" y="46"/>
                </a:lnTo>
                <a:lnTo>
                  <a:pt x="194" y="42"/>
                </a:lnTo>
                <a:lnTo>
                  <a:pt x="198" y="42"/>
                </a:lnTo>
                <a:lnTo>
                  <a:pt x="198" y="46"/>
                </a:lnTo>
                <a:lnTo>
                  <a:pt x="202" y="46"/>
                </a:lnTo>
                <a:lnTo>
                  <a:pt x="206" y="46"/>
                </a:lnTo>
                <a:lnTo>
                  <a:pt x="206" y="48"/>
                </a:lnTo>
                <a:lnTo>
                  <a:pt x="206" y="46"/>
                </a:lnTo>
                <a:lnTo>
                  <a:pt x="210" y="46"/>
                </a:lnTo>
                <a:lnTo>
                  <a:pt x="212" y="46"/>
                </a:lnTo>
                <a:lnTo>
                  <a:pt x="216" y="42"/>
                </a:lnTo>
                <a:lnTo>
                  <a:pt x="220" y="48"/>
                </a:lnTo>
                <a:lnTo>
                  <a:pt x="224" y="48"/>
                </a:lnTo>
                <a:lnTo>
                  <a:pt x="224" y="52"/>
                </a:lnTo>
                <a:lnTo>
                  <a:pt x="228" y="52"/>
                </a:lnTo>
                <a:lnTo>
                  <a:pt x="228" y="48"/>
                </a:lnTo>
                <a:lnTo>
                  <a:pt x="232" y="48"/>
                </a:lnTo>
                <a:lnTo>
                  <a:pt x="232" y="52"/>
                </a:lnTo>
                <a:lnTo>
                  <a:pt x="236" y="52"/>
                </a:lnTo>
                <a:lnTo>
                  <a:pt x="240" y="52"/>
                </a:lnTo>
                <a:lnTo>
                  <a:pt x="240" y="56"/>
                </a:lnTo>
                <a:lnTo>
                  <a:pt x="242" y="52"/>
                </a:lnTo>
                <a:lnTo>
                  <a:pt x="242" y="56"/>
                </a:lnTo>
                <a:lnTo>
                  <a:pt x="246" y="56"/>
                </a:lnTo>
                <a:lnTo>
                  <a:pt x="246" y="60"/>
                </a:lnTo>
                <a:lnTo>
                  <a:pt x="250" y="60"/>
                </a:lnTo>
                <a:lnTo>
                  <a:pt x="254" y="60"/>
                </a:lnTo>
                <a:lnTo>
                  <a:pt x="254" y="64"/>
                </a:lnTo>
                <a:lnTo>
                  <a:pt x="254" y="68"/>
                </a:lnTo>
                <a:lnTo>
                  <a:pt x="254" y="72"/>
                </a:lnTo>
                <a:lnTo>
                  <a:pt x="250" y="72"/>
                </a:lnTo>
                <a:lnTo>
                  <a:pt x="250" y="74"/>
                </a:lnTo>
                <a:lnTo>
                  <a:pt x="254" y="74"/>
                </a:lnTo>
                <a:lnTo>
                  <a:pt x="250" y="74"/>
                </a:lnTo>
                <a:lnTo>
                  <a:pt x="250" y="78"/>
                </a:lnTo>
                <a:lnTo>
                  <a:pt x="250" y="82"/>
                </a:lnTo>
                <a:lnTo>
                  <a:pt x="254" y="86"/>
                </a:lnTo>
                <a:lnTo>
                  <a:pt x="254" y="90"/>
                </a:lnTo>
                <a:lnTo>
                  <a:pt x="250" y="90"/>
                </a:lnTo>
                <a:lnTo>
                  <a:pt x="250" y="94"/>
                </a:lnTo>
                <a:lnTo>
                  <a:pt x="250" y="98"/>
                </a:lnTo>
                <a:lnTo>
                  <a:pt x="246" y="98"/>
                </a:lnTo>
                <a:lnTo>
                  <a:pt x="242" y="98"/>
                </a:lnTo>
                <a:lnTo>
                  <a:pt x="240" y="98"/>
                </a:lnTo>
                <a:lnTo>
                  <a:pt x="236" y="98"/>
                </a:lnTo>
                <a:lnTo>
                  <a:pt x="236" y="102"/>
                </a:lnTo>
                <a:lnTo>
                  <a:pt x="232" y="102"/>
                </a:lnTo>
                <a:lnTo>
                  <a:pt x="228" y="102"/>
                </a:lnTo>
                <a:lnTo>
                  <a:pt x="228" y="104"/>
                </a:lnTo>
                <a:lnTo>
                  <a:pt x="228" y="108"/>
                </a:lnTo>
                <a:lnTo>
                  <a:pt x="228" y="112"/>
                </a:lnTo>
                <a:lnTo>
                  <a:pt x="224" y="112"/>
                </a:lnTo>
                <a:lnTo>
                  <a:pt x="220" y="112"/>
                </a:lnTo>
                <a:lnTo>
                  <a:pt x="216" y="112"/>
                </a:lnTo>
                <a:lnTo>
                  <a:pt x="216" y="116"/>
                </a:lnTo>
                <a:lnTo>
                  <a:pt x="212" y="116"/>
                </a:lnTo>
                <a:lnTo>
                  <a:pt x="210" y="116"/>
                </a:lnTo>
                <a:lnTo>
                  <a:pt x="210" y="120"/>
                </a:lnTo>
                <a:lnTo>
                  <a:pt x="206" y="120"/>
                </a:lnTo>
                <a:lnTo>
                  <a:pt x="206" y="116"/>
                </a:lnTo>
                <a:lnTo>
                  <a:pt x="206" y="120"/>
                </a:lnTo>
                <a:lnTo>
                  <a:pt x="202" y="120"/>
                </a:lnTo>
                <a:lnTo>
                  <a:pt x="198" y="120"/>
                </a:lnTo>
                <a:lnTo>
                  <a:pt x="194" y="120"/>
                </a:lnTo>
                <a:lnTo>
                  <a:pt x="194" y="124"/>
                </a:lnTo>
                <a:lnTo>
                  <a:pt x="190" y="124"/>
                </a:lnTo>
                <a:lnTo>
                  <a:pt x="186" y="128"/>
                </a:lnTo>
                <a:lnTo>
                  <a:pt x="186" y="130"/>
                </a:lnTo>
                <a:lnTo>
                  <a:pt x="184" y="130"/>
                </a:lnTo>
                <a:lnTo>
                  <a:pt x="186" y="130"/>
                </a:lnTo>
                <a:lnTo>
                  <a:pt x="186" y="128"/>
                </a:lnTo>
                <a:lnTo>
                  <a:pt x="186" y="124"/>
                </a:lnTo>
                <a:lnTo>
                  <a:pt x="186" y="128"/>
                </a:lnTo>
                <a:lnTo>
                  <a:pt x="184" y="128"/>
                </a:lnTo>
                <a:lnTo>
                  <a:pt x="180" y="130"/>
                </a:lnTo>
                <a:lnTo>
                  <a:pt x="176" y="130"/>
                </a:lnTo>
                <a:lnTo>
                  <a:pt x="176" y="134"/>
                </a:lnTo>
                <a:lnTo>
                  <a:pt x="176" y="130"/>
                </a:lnTo>
                <a:lnTo>
                  <a:pt x="172" y="130"/>
                </a:lnTo>
                <a:lnTo>
                  <a:pt x="172" y="128"/>
                </a:lnTo>
                <a:lnTo>
                  <a:pt x="172" y="130"/>
                </a:lnTo>
                <a:lnTo>
                  <a:pt x="168" y="130"/>
                </a:lnTo>
                <a:lnTo>
                  <a:pt x="172" y="130"/>
                </a:lnTo>
                <a:lnTo>
                  <a:pt x="168" y="130"/>
                </a:lnTo>
                <a:lnTo>
                  <a:pt x="164" y="128"/>
                </a:lnTo>
                <a:lnTo>
                  <a:pt x="164" y="130"/>
                </a:lnTo>
                <a:lnTo>
                  <a:pt x="168" y="130"/>
                </a:lnTo>
                <a:lnTo>
                  <a:pt x="168" y="134"/>
                </a:lnTo>
                <a:lnTo>
                  <a:pt x="168" y="130"/>
                </a:lnTo>
                <a:lnTo>
                  <a:pt x="168" y="134"/>
                </a:lnTo>
                <a:lnTo>
                  <a:pt x="172" y="134"/>
                </a:lnTo>
                <a:lnTo>
                  <a:pt x="176" y="134"/>
                </a:lnTo>
                <a:lnTo>
                  <a:pt x="172" y="134"/>
                </a:lnTo>
                <a:lnTo>
                  <a:pt x="176" y="134"/>
                </a:lnTo>
                <a:lnTo>
                  <a:pt x="176" y="138"/>
                </a:lnTo>
                <a:lnTo>
                  <a:pt x="180" y="138"/>
                </a:lnTo>
                <a:lnTo>
                  <a:pt x="180" y="142"/>
                </a:lnTo>
                <a:lnTo>
                  <a:pt x="184" y="142"/>
                </a:lnTo>
                <a:lnTo>
                  <a:pt x="184" y="146"/>
                </a:lnTo>
                <a:lnTo>
                  <a:pt x="186" y="150"/>
                </a:lnTo>
                <a:lnTo>
                  <a:pt x="186" y="146"/>
                </a:lnTo>
                <a:lnTo>
                  <a:pt x="184" y="142"/>
                </a:lnTo>
                <a:lnTo>
                  <a:pt x="184" y="138"/>
                </a:lnTo>
                <a:lnTo>
                  <a:pt x="180" y="138"/>
                </a:lnTo>
                <a:lnTo>
                  <a:pt x="180" y="134"/>
                </a:lnTo>
                <a:lnTo>
                  <a:pt x="180" y="130"/>
                </a:lnTo>
                <a:lnTo>
                  <a:pt x="180" y="134"/>
                </a:lnTo>
                <a:lnTo>
                  <a:pt x="184" y="138"/>
                </a:lnTo>
                <a:lnTo>
                  <a:pt x="184" y="142"/>
                </a:lnTo>
                <a:lnTo>
                  <a:pt x="186" y="146"/>
                </a:lnTo>
                <a:lnTo>
                  <a:pt x="190" y="146"/>
                </a:lnTo>
                <a:lnTo>
                  <a:pt x="190" y="150"/>
                </a:lnTo>
                <a:lnTo>
                  <a:pt x="190" y="146"/>
                </a:lnTo>
                <a:lnTo>
                  <a:pt x="194" y="146"/>
                </a:lnTo>
                <a:lnTo>
                  <a:pt x="198" y="146"/>
                </a:lnTo>
                <a:lnTo>
                  <a:pt x="202" y="146"/>
                </a:lnTo>
                <a:lnTo>
                  <a:pt x="206" y="146"/>
                </a:lnTo>
                <a:lnTo>
                  <a:pt x="202" y="146"/>
                </a:lnTo>
                <a:lnTo>
                  <a:pt x="202" y="150"/>
                </a:lnTo>
                <a:lnTo>
                  <a:pt x="202" y="154"/>
                </a:lnTo>
                <a:lnTo>
                  <a:pt x="198" y="154"/>
                </a:lnTo>
                <a:lnTo>
                  <a:pt x="194" y="154"/>
                </a:lnTo>
                <a:lnTo>
                  <a:pt x="190" y="154"/>
                </a:lnTo>
                <a:lnTo>
                  <a:pt x="190" y="150"/>
                </a:lnTo>
                <a:lnTo>
                  <a:pt x="186" y="154"/>
                </a:lnTo>
                <a:lnTo>
                  <a:pt x="184" y="158"/>
                </a:lnTo>
                <a:lnTo>
                  <a:pt x="180" y="158"/>
                </a:lnTo>
                <a:lnTo>
                  <a:pt x="176" y="158"/>
                </a:lnTo>
                <a:lnTo>
                  <a:pt x="176" y="160"/>
                </a:lnTo>
                <a:lnTo>
                  <a:pt x="172" y="160"/>
                </a:lnTo>
                <a:lnTo>
                  <a:pt x="172" y="164"/>
                </a:lnTo>
                <a:lnTo>
                  <a:pt x="168" y="164"/>
                </a:lnTo>
                <a:lnTo>
                  <a:pt x="164" y="164"/>
                </a:lnTo>
                <a:lnTo>
                  <a:pt x="160" y="164"/>
                </a:lnTo>
                <a:lnTo>
                  <a:pt x="160" y="160"/>
                </a:lnTo>
                <a:lnTo>
                  <a:pt x="160" y="158"/>
                </a:lnTo>
                <a:lnTo>
                  <a:pt x="164" y="158"/>
                </a:lnTo>
                <a:lnTo>
                  <a:pt x="164" y="154"/>
                </a:lnTo>
                <a:lnTo>
                  <a:pt x="160" y="154"/>
                </a:lnTo>
                <a:lnTo>
                  <a:pt x="160" y="150"/>
                </a:lnTo>
                <a:lnTo>
                  <a:pt x="156" y="150"/>
                </a:lnTo>
                <a:lnTo>
                  <a:pt x="154" y="146"/>
                </a:lnTo>
                <a:lnTo>
                  <a:pt x="150" y="146"/>
                </a:lnTo>
                <a:lnTo>
                  <a:pt x="146" y="146"/>
                </a:lnTo>
                <a:lnTo>
                  <a:pt x="150" y="142"/>
                </a:lnTo>
                <a:lnTo>
                  <a:pt x="154" y="142"/>
                </a:lnTo>
                <a:lnTo>
                  <a:pt x="154" y="138"/>
                </a:lnTo>
                <a:lnTo>
                  <a:pt x="156" y="138"/>
                </a:lnTo>
                <a:lnTo>
                  <a:pt x="160" y="138"/>
                </a:lnTo>
                <a:lnTo>
                  <a:pt x="160" y="134"/>
                </a:lnTo>
                <a:lnTo>
                  <a:pt x="164" y="134"/>
                </a:lnTo>
                <a:lnTo>
                  <a:pt x="164" y="130"/>
                </a:lnTo>
                <a:lnTo>
                  <a:pt x="160" y="130"/>
                </a:lnTo>
                <a:lnTo>
                  <a:pt x="156" y="130"/>
                </a:lnTo>
                <a:lnTo>
                  <a:pt x="154" y="130"/>
                </a:lnTo>
                <a:lnTo>
                  <a:pt x="150" y="130"/>
                </a:lnTo>
                <a:lnTo>
                  <a:pt x="146" y="130"/>
                </a:lnTo>
                <a:lnTo>
                  <a:pt x="142" y="130"/>
                </a:lnTo>
                <a:lnTo>
                  <a:pt x="142" y="128"/>
                </a:lnTo>
                <a:lnTo>
                  <a:pt x="138" y="128"/>
                </a:lnTo>
                <a:lnTo>
                  <a:pt x="142" y="128"/>
                </a:lnTo>
                <a:lnTo>
                  <a:pt x="138" y="124"/>
                </a:lnTo>
                <a:lnTo>
                  <a:pt x="134" y="124"/>
                </a:lnTo>
                <a:lnTo>
                  <a:pt x="138" y="124"/>
                </a:lnTo>
                <a:lnTo>
                  <a:pt x="142" y="124"/>
                </a:lnTo>
                <a:lnTo>
                  <a:pt x="146" y="124"/>
                </a:lnTo>
                <a:lnTo>
                  <a:pt x="150" y="120"/>
                </a:lnTo>
                <a:lnTo>
                  <a:pt x="146" y="120"/>
                </a:lnTo>
                <a:lnTo>
                  <a:pt x="146" y="124"/>
                </a:lnTo>
                <a:lnTo>
                  <a:pt x="142" y="120"/>
                </a:lnTo>
                <a:lnTo>
                  <a:pt x="142" y="124"/>
                </a:lnTo>
                <a:lnTo>
                  <a:pt x="138" y="120"/>
                </a:lnTo>
                <a:lnTo>
                  <a:pt x="138" y="116"/>
                </a:lnTo>
                <a:lnTo>
                  <a:pt x="138" y="112"/>
                </a:lnTo>
                <a:lnTo>
                  <a:pt x="138" y="108"/>
                </a:lnTo>
                <a:lnTo>
                  <a:pt x="134" y="108"/>
                </a:lnTo>
                <a:lnTo>
                  <a:pt x="138" y="108"/>
                </a:lnTo>
                <a:lnTo>
                  <a:pt x="138" y="112"/>
                </a:lnTo>
                <a:lnTo>
                  <a:pt x="138" y="116"/>
                </a:lnTo>
                <a:lnTo>
                  <a:pt x="138" y="120"/>
                </a:lnTo>
                <a:lnTo>
                  <a:pt x="134" y="120"/>
                </a:lnTo>
                <a:lnTo>
                  <a:pt x="130" y="120"/>
                </a:lnTo>
                <a:lnTo>
                  <a:pt x="134" y="120"/>
                </a:lnTo>
                <a:lnTo>
                  <a:pt x="134" y="116"/>
                </a:lnTo>
                <a:lnTo>
                  <a:pt x="134" y="120"/>
                </a:lnTo>
                <a:lnTo>
                  <a:pt x="130" y="120"/>
                </a:lnTo>
                <a:lnTo>
                  <a:pt x="126" y="120"/>
                </a:lnTo>
                <a:lnTo>
                  <a:pt x="124" y="124"/>
                </a:lnTo>
                <a:lnTo>
                  <a:pt x="124" y="128"/>
                </a:lnTo>
                <a:lnTo>
                  <a:pt x="120" y="128"/>
                </a:lnTo>
                <a:lnTo>
                  <a:pt x="120" y="130"/>
                </a:lnTo>
                <a:lnTo>
                  <a:pt x="116" y="134"/>
                </a:lnTo>
                <a:lnTo>
                  <a:pt x="112" y="138"/>
                </a:lnTo>
                <a:lnTo>
                  <a:pt x="108" y="138"/>
                </a:lnTo>
                <a:lnTo>
                  <a:pt x="108" y="142"/>
                </a:lnTo>
                <a:lnTo>
                  <a:pt x="108" y="138"/>
                </a:lnTo>
                <a:lnTo>
                  <a:pt x="104" y="138"/>
                </a:lnTo>
                <a:lnTo>
                  <a:pt x="104" y="142"/>
                </a:lnTo>
                <a:lnTo>
                  <a:pt x="108" y="146"/>
                </a:lnTo>
                <a:lnTo>
                  <a:pt x="108" y="150"/>
                </a:lnTo>
                <a:lnTo>
                  <a:pt x="108" y="146"/>
                </a:lnTo>
                <a:lnTo>
                  <a:pt x="104" y="146"/>
                </a:lnTo>
                <a:lnTo>
                  <a:pt x="100" y="146"/>
                </a:lnTo>
                <a:lnTo>
                  <a:pt x="96" y="146"/>
                </a:lnTo>
                <a:lnTo>
                  <a:pt x="94" y="146"/>
                </a:lnTo>
                <a:lnTo>
                  <a:pt x="94" y="150"/>
                </a:lnTo>
                <a:lnTo>
                  <a:pt x="90" y="150"/>
                </a:lnTo>
                <a:lnTo>
                  <a:pt x="90" y="146"/>
                </a:lnTo>
                <a:lnTo>
                  <a:pt x="86" y="146"/>
                </a:lnTo>
                <a:lnTo>
                  <a:pt x="86" y="146"/>
                </a:lnTo>
                <a:lnTo>
                  <a:pt x="86" y="146"/>
                </a:lnTo>
                <a:close/>
              </a:path>
            </a:pathLst>
          </a:custGeom>
          <a:solidFill>
            <a:srgbClr val="A0DCFF"/>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19" name="Freeform 126"/>
          <p:cNvSpPr>
            <a:spLocks noEditPoints="1"/>
          </p:cNvSpPr>
          <p:nvPr/>
        </p:nvSpPr>
        <p:spPr bwMode="auto">
          <a:xfrm>
            <a:off x="4119562" y="2328862"/>
            <a:ext cx="169069" cy="285750"/>
          </a:xfrm>
          <a:custGeom>
            <a:avLst/>
            <a:gdLst>
              <a:gd name="T0" fmla="*/ 106 w 142"/>
              <a:gd name="T1" fmla="*/ 2 h 240"/>
              <a:gd name="T2" fmla="*/ 98 w 142"/>
              <a:gd name="T3" fmla="*/ 10 h 240"/>
              <a:gd name="T4" fmla="*/ 94 w 142"/>
              <a:gd name="T5" fmla="*/ 14 h 240"/>
              <a:gd name="T6" fmla="*/ 76 w 142"/>
              <a:gd name="T7" fmla="*/ 44 h 240"/>
              <a:gd name="T8" fmla="*/ 72 w 142"/>
              <a:gd name="T9" fmla="*/ 48 h 240"/>
              <a:gd name="T10" fmla="*/ 46 w 142"/>
              <a:gd name="T11" fmla="*/ 130 h 240"/>
              <a:gd name="T12" fmla="*/ 50 w 142"/>
              <a:gd name="T13" fmla="*/ 108 h 240"/>
              <a:gd name="T14" fmla="*/ 38 w 142"/>
              <a:gd name="T15" fmla="*/ 122 h 240"/>
              <a:gd name="T16" fmla="*/ 34 w 142"/>
              <a:gd name="T17" fmla="*/ 108 h 240"/>
              <a:gd name="T18" fmla="*/ 42 w 142"/>
              <a:gd name="T19" fmla="*/ 92 h 240"/>
              <a:gd name="T20" fmla="*/ 34 w 142"/>
              <a:gd name="T21" fmla="*/ 92 h 240"/>
              <a:gd name="T22" fmla="*/ 34 w 142"/>
              <a:gd name="T23" fmla="*/ 78 h 240"/>
              <a:gd name="T24" fmla="*/ 42 w 142"/>
              <a:gd name="T25" fmla="*/ 62 h 240"/>
              <a:gd name="T26" fmla="*/ 56 w 142"/>
              <a:gd name="T27" fmla="*/ 52 h 240"/>
              <a:gd name="T28" fmla="*/ 60 w 142"/>
              <a:gd name="T29" fmla="*/ 62 h 240"/>
              <a:gd name="T30" fmla="*/ 56 w 142"/>
              <a:gd name="T31" fmla="*/ 70 h 240"/>
              <a:gd name="T32" fmla="*/ 72 w 142"/>
              <a:gd name="T33" fmla="*/ 70 h 240"/>
              <a:gd name="T34" fmla="*/ 90 w 142"/>
              <a:gd name="T35" fmla="*/ 82 h 240"/>
              <a:gd name="T36" fmla="*/ 80 w 142"/>
              <a:gd name="T37" fmla="*/ 100 h 240"/>
              <a:gd name="T38" fmla="*/ 82 w 142"/>
              <a:gd name="T39" fmla="*/ 108 h 240"/>
              <a:gd name="T40" fmla="*/ 98 w 142"/>
              <a:gd name="T41" fmla="*/ 134 h 240"/>
              <a:gd name="T42" fmla="*/ 112 w 142"/>
              <a:gd name="T43" fmla="*/ 156 h 240"/>
              <a:gd name="T44" fmla="*/ 108 w 142"/>
              <a:gd name="T45" fmla="*/ 160 h 240"/>
              <a:gd name="T46" fmla="*/ 124 w 142"/>
              <a:gd name="T47" fmla="*/ 176 h 240"/>
              <a:gd name="T48" fmla="*/ 136 w 142"/>
              <a:gd name="T49" fmla="*/ 198 h 240"/>
              <a:gd name="T50" fmla="*/ 124 w 142"/>
              <a:gd name="T51" fmla="*/ 210 h 240"/>
              <a:gd name="T52" fmla="*/ 132 w 142"/>
              <a:gd name="T53" fmla="*/ 220 h 240"/>
              <a:gd name="T54" fmla="*/ 106 w 142"/>
              <a:gd name="T55" fmla="*/ 224 h 240"/>
              <a:gd name="T56" fmla="*/ 82 w 142"/>
              <a:gd name="T57" fmla="*/ 224 h 240"/>
              <a:gd name="T58" fmla="*/ 50 w 142"/>
              <a:gd name="T59" fmla="*/ 232 h 240"/>
              <a:gd name="T60" fmla="*/ 46 w 142"/>
              <a:gd name="T61" fmla="*/ 228 h 240"/>
              <a:gd name="T62" fmla="*/ 76 w 142"/>
              <a:gd name="T63" fmla="*/ 210 h 240"/>
              <a:gd name="T64" fmla="*/ 64 w 142"/>
              <a:gd name="T65" fmla="*/ 210 h 240"/>
              <a:gd name="T66" fmla="*/ 46 w 142"/>
              <a:gd name="T67" fmla="*/ 206 h 240"/>
              <a:gd name="T68" fmla="*/ 56 w 142"/>
              <a:gd name="T69" fmla="*/ 190 h 240"/>
              <a:gd name="T70" fmla="*/ 50 w 142"/>
              <a:gd name="T71" fmla="*/ 176 h 240"/>
              <a:gd name="T72" fmla="*/ 76 w 142"/>
              <a:gd name="T73" fmla="*/ 168 h 240"/>
              <a:gd name="T74" fmla="*/ 68 w 142"/>
              <a:gd name="T75" fmla="*/ 146 h 240"/>
              <a:gd name="T76" fmla="*/ 64 w 142"/>
              <a:gd name="T77" fmla="*/ 134 h 240"/>
              <a:gd name="T78" fmla="*/ 50 w 142"/>
              <a:gd name="T79" fmla="*/ 138 h 240"/>
              <a:gd name="T80" fmla="*/ 16 w 142"/>
              <a:gd name="T81" fmla="*/ 62 h 240"/>
              <a:gd name="T82" fmla="*/ 26 w 142"/>
              <a:gd name="T83" fmla="*/ 60 h 240"/>
              <a:gd name="T84" fmla="*/ 8 w 142"/>
              <a:gd name="T85" fmla="*/ 74 h 240"/>
              <a:gd name="T86" fmla="*/ 26 w 142"/>
              <a:gd name="T87" fmla="*/ 86 h 240"/>
              <a:gd name="T88" fmla="*/ 30 w 142"/>
              <a:gd name="T89" fmla="*/ 74 h 240"/>
              <a:gd name="T90" fmla="*/ 30 w 142"/>
              <a:gd name="T91" fmla="*/ 78 h 240"/>
              <a:gd name="T92" fmla="*/ 12 w 142"/>
              <a:gd name="T93" fmla="*/ 82 h 240"/>
              <a:gd name="T94" fmla="*/ 12 w 142"/>
              <a:gd name="T95" fmla="*/ 90 h 240"/>
              <a:gd name="T96" fmla="*/ 22 w 142"/>
              <a:gd name="T97" fmla="*/ 96 h 240"/>
              <a:gd name="T98" fmla="*/ 34 w 142"/>
              <a:gd name="T99" fmla="*/ 104 h 240"/>
              <a:gd name="T100" fmla="*/ 26 w 142"/>
              <a:gd name="T101" fmla="*/ 96 h 240"/>
              <a:gd name="T102" fmla="*/ 30 w 142"/>
              <a:gd name="T103" fmla="*/ 112 h 240"/>
              <a:gd name="T104" fmla="*/ 26 w 142"/>
              <a:gd name="T105" fmla="*/ 112 h 240"/>
              <a:gd name="T106" fmla="*/ 46 w 142"/>
              <a:gd name="T107" fmla="*/ 116 h 240"/>
              <a:gd name="T108" fmla="*/ 20 w 142"/>
              <a:gd name="T109" fmla="*/ 146 h 240"/>
              <a:gd name="T110" fmla="*/ 4 w 142"/>
              <a:gd name="T111" fmla="*/ 138 h 240"/>
              <a:gd name="T112" fmla="*/ 34 w 142"/>
              <a:gd name="T113" fmla="*/ 138 h 240"/>
              <a:gd name="T114" fmla="*/ 34 w 142"/>
              <a:gd name="T115" fmla="*/ 150 h 240"/>
              <a:gd name="T116" fmla="*/ 56 w 142"/>
              <a:gd name="T117" fmla="*/ 164 h 240"/>
              <a:gd name="T118" fmla="*/ 128 w 142"/>
              <a:gd name="T119" fmla="*/ 21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2" h="240">
                <a:moveTo>
                  <a:pt x="80" y="36"/>
                </a:moveTo>
                <a:lnTo>
                  <a:pt x="82" y="36"/>
                </a:lnTo>
                <a:lnTo>
                  <a:pt x="80" y="36"/>
                </a:lnTo>
                <a:lnTo>
                  <a:pt x="80" y="36"/>
                </a:lnTo>
                <a:lnTo>
                  <a:pt x="80" y="36"/>
                </a:lnTo>
                <a:close/>
                <a:moveTo>
                  <a:pt x="106" y="2"/>
                </a:moveTo>
                <a:lnTo>
                  <a:pt x="102" y="2"/>
                </a:lnTo>
                <a:lnTo>
                  <a:pt x="106" y="0"/>
                </a:lnTo>
                <a:lnTo>
                  <a:pt x="106" y="2"/>
                </a:lnTo>
                <a:lnTo>
                  <a:pt x="106" y="2"/>
                </a:lnTo>
                <a:lnTo>
                  <a:pt x="106" y="2"/>
                </a:lnTo>
                <a:close/>
                <a:moveTo>
                  <a:pt x="102" y="6"/>
                </a:moveTo>
                <a:lnTo>
                  <a:pt x="102" y="2"/>
                </a:lnTo>
                <a:lnTo>
                  <a:pt x="102" y="6"/>
                </a:lnTo>
                <a:lnTo>
                  <a:pt x="102" y="6"/>
                </a:lnTo>
                <a:lnTo>
                  <a:pt x="102" y="6"/>
                </a:lnTo>
                <a:close/>
                <a:moveTo>
                  <a:pt x="94" y="14"/>
                </a:moveTo>
                <a:lnTo>
                  <a:pt x="98" y="10"/>
                </a:lnTo>
                <a:lnTo>
                  <a:pt x="94" y="10"/>
                </a:lnTo>
                <a:lnTo>
                  <a:pt x="94" y="6"/>
                </a:lnTo>
                <a:lnTo>
                  <a:pt x="98" y="6"/>
                </a:lnTo>
                <a:lnTo>
                  <a:pt x="98" y="10"/>
                </a:lnTo>
                <a:lnTo>
                  <a:pt x="102" y="10"/>
                </a:lnTo>
                <a:lnTo>
                  <a:pt x="102" y="14"/>
                </a:lnTo>
                <a:lnTo>
                  <a:pt x="98" y="14"/>
                </a:lnTo>
                <a:lnTo>
                  <a:pt x="102" y="14"/>
                </a:lnTo>
                <a:lnTo>
                  <a:pt x="102" y="18"/>
                </a:lnTo>
                <a:lnTo>
                  <a:pt x="98" y="18"/>
                </a:lnTo>
                <a:lnTo>
                  <a:pt x="98" y="22"/>
                </a:lnTo>
                <a:lnTo>
                  <a:pt x="98" y="18"/>
                </a:lnTo>
                <a:lnTo>
                  <a:pt x="98" y="14"/>
                </a:lnTo>
                <a:lnTo>
                  <a:pt x="94" y="18"/>
                </a:lnTo>
                <a:lnTo>
                  <a:pt x="94" y="14"/>
                </a:lnTo>
                <a:lnTo>
                  <a:pt x="94" y="14"/>
                </a:lnTo>
                <a:lnTo>
                  <a:pt x="94" y="14"/>
                </a:lnTo>
                <a:close/>
                <a:moveTo>
                  <a:pt x="76" y="44"/>
                </a:moveTo>
                <a:lnTo>
                  <a:pt x="72" y="44"/>
                </a:lnTo>
                <a:lnTo>
                  <a:pt x="68" y="44"/>
                </a:lnTo>
                <a:lnTo>
                  <a:pt x="68" y="40"/>
                </a:lnTo>
                <a:lnTo>
                  <a:pt x="72" y="40"/>
                </a:lnTo>
                <a:lnTo>
                  <a:pt x="76" y="40"/>
                </a:lnTo>
                <a:lnTo>
                  <a:pt x="76" y="44"/>
                </a:lnTo>
                <a:lnTo>
                  <a:pt x="80" y="44"/>
                </a:lnTo>
                <a:lnTo>
                  <a:pt x="76" y="44"/>
                </a:lnTo>
                <a:lnTo>
                  <a:pt x="76" y="44"/>
                </a:lnTo>
                <a:lnTo>
                  <a:pt x="76" y="44"/>
                </a:lnTo>
                <a:close/>
                <a:moveTo>
                  <a:pt x="72" y="48"/>
                </a:moveTo>
                <a:lnTo>
                  <a:pt x="68" y="48"/>
                </a:lnTo>
                <a:lnTo>
                  <a:pt x="68" y="44"/>
                </a:lnTo>
                <a:lnTo>
                  <a:pt x="72" y="44"/>
                </a:lnTo>
                <a:lnTo>
                  <a:pt x="72" y="48"/>
                </a:lnTo>
                <a:lnTo>
                  <a:pt x="72" y="48"/>
                </a:lnTo>
                <a:lnTo>
                  <a:pt x="72" y="48"/>
                </a:lnTo>
                <a:close/>
                <a:moveTo>
                  <a:pt x="76" y="48"/>
                </a:moveTo>
                <a:lnTo>
                  <a:pt x="72" y="48"/>
                </a:lnTo>
                <a:lnTo>
                  <a:pt x="76" y="48"/>
                </a:lnTo>
                <a:lnTo>
                  <a:pt x="76" y="44"/>
                </a:lnTo>
                <a:lnTo>
                  <a:pt x="76" y="48"/>
                </a:lnTo>
                <a:lnTo>
                  <a:pt x="76" y="48"/>
                </a:lnTo>
                <a:lnTo>
                  <a:pt x="76" y="48"/>
                </a:lnTo>
                <a:close/>
                <a:moveTo>
                  <a:pt x="50" y="138"/>
                </a:moveTo>
                <a:lnTo>
                  <a:pt x="46" y="138"/>
                </a:lnTo>
                <a:lnTo>
                  <a:pt x="46" y="134"/>
                </a:lnTo>
                <a:lnTo>
                  <a:pt x="42" y="134"/>
                </a:lnTo>
                <a:lnTo>
                  <a:pt x="42" y="130"/>
                </a:lnTo>
                <a:lnTo>
                  <a:pt x="46" y="130"/>
                </a:lnTo>
                <a:lnTo>
                  <a:pt x="46" y="126"/>
                </a:lnTo>
                <a:lnTo>
                  <a:pt x="50" y="126"/>
                </a:lnTo>
                <a:lnTo>
                  <a:pt x="50" y="122"/>
                </a:lnTo>
                <a:lnTo>
                  <a:pt x="50" y="120"/>
                </a:lnTo>
                <a:lnTo>
                  <a:pt x="50" y="116"/>
                </a:lnTo>
                <a:lnTo>
                  <a:pt x="46" y="116"/>
                </a:lnTo>
                <a:lnTo>
                  <a:pt x="46" y="112"/>
                </a:lnTo>
                <a:lnTo>
                  <a:pt x="50" y="112"/>
                </a:lnTo>
                <a:lnTo>
                  <a:pt x="52" y="112"/>
                </a:lnTo>
                <a:lnTo>
                  <a:pt x="50" y="112"/>
                </a:lnTo>
                <a:lnTo>
                  <a:pt x="50" y="108"/>
                </a:lnTo>
                <a:lnTo>
                  <a:pt x="46" y="108"/>
                </a:lnTo>
                <a:lnTo>
                  <a:pt x="46" y="112"/>
                </a:lnTo>
                <a:lnTo>
                  <a:pt x="42" y="112"/>
                </a:lnTo>
                <a:lnTo>
                  <a:pt x="42" y="108"/>
                </a:lnTo>
                <a:lnTo>
                  <a:pt x="46" y="104"/>
                </a:lnTo>
                <a:lnTo>
                  <a:pt x="42" y="108"/>
                </a:lnTo>
                <a:lnTo>
                  <a:pt x="38" y="108"/>
                </a:lnTo>
                <a:lnTo>
                  <a:pt x="38" y="112"/>
                </a:lnTo>
                <a:lnTo>
                  <a:pt x="42" y="116"/>
                </a:lnTo>
                <a:lnTo>
                  <a:pt x="38" y="116"/>
                </a:lnTo>
                <a:lnTo>
                  <a:pt x="38" y="122"/>
                </a:lnTo>
                <a:lnTo>
                  <a:pt x="34" y="126"/>
                </a:lnTo>
                <a:lnTo>
                  <a:pt x="34" y="122"/>
                </a:lnTo>
                <a:lnTo>
                  <a:pt x="34" y="120"/>
                </a:lnTo>
                <a:lnTo>
                  <a:pt x="34" y="116"/>
                </a:lnTo>
                <a:lnTo>
                  <a:pt x="38" y="116"/>
                </a:lnTo>
                <a:lnTo>
                  <a:pt x="34" y="116"/>
                </a:lnTo>
                <a:lnTo>
                  <a:pt x="34" y="112"/>
                </a:lnTo>
                <a:lnTo>
                  <a:pt x="38" y="112"/>
                </a:lnTo>
                <a:lnTo>
                  <a:pt x="38" y="108"/>
                </a:lnTo>
                <a:lnTo>
                  <a:pt x="34" y="112"/>
                </a:lnTo>
                <a:lnTo>
                  <a:pt x="34" y="108"/>
                </a:lnTo>
                <a:lnTo>
                  <a:pt x="38" y="108"/>
                </a:lnTo>
                <a:lnTo>
                  <a:pt x="38" y="104"/>
                </a:lnTo>
                <a:lnTo>
                  <a:pt x="38" y="100"/>
                </a:lnTo>
                <a:lnTo>
                  <a:pt x="42" y="100"/>
                </a:lnTo>
                <a:lnTo>
                  <a:pt x="46" y="100"/>
                </a:lnTo>
                <a:lnTo>
                  <a:pt x="46" y="96"/>
                </a:lnTo>
                <a:lnTo>
                  <a:pt x="42" y="100"/>
                </a:lnTo>
                <a:lnTo>
                  <a:pt x="42" y="96"/>
                </a:lnTo>
                <a:lnTo>
                  <a:pt x="42" y="92"/>
                </a:lnTo>
                <a:lnTo>
                  <a:pt x="46" y="92"/>
                </a:lnTo>
                <a:lnTo>
                  <a:pt x="42" y="92"/>
                </a:lnTo>
                <a:lnTo>
                  <a:pt x="38" y="96"/>
                </a:lnTo>
                <a:lnTo>
                  <a:pt x="34" y="96"/>
                </a:lnTo>
                <a:lnTo>
                  <a:pt x="30" y="96"/>
                </a:lnTo>
                <a:lnTo>
                  <a:pt x="34" y="96"/>
                </a:lnTo>
                <a:lnTo>
                  <a:pt x="34" y="92"/>
                </a:lnTo>
                <a:lnTo>
                  <a:pt x="38" y="92"/>
                </a:lnTo>
                <a:lnTo>
                  <a:pt x="34" y="92"/>
                </a:lnTo>
                <a:lnTo>
                  <a:pt x="30" y="92"/>
                </a:lnTo>
                <a:lnTo>
                  <a:pt x="26" y="92"/>
                </a:lnTo>
                <a:lnTo>
                  <a:pt x="30" y="92"/>
                </a:lnTo>
                <a:lnTo>
                  <a:pt x="34" y="92"/>
                </a:lnTo>
                <a:lnTo>
                  <a:pt x="34" y="90"/>
                </a:lnTo>
                <a:lnTo>
                  <a:pt x="38" y="90"/>
                </a:lnTo>
                <a:lnTo>
                  <a:pt x="34" y="90"/>
                </a:lnTo>
                <a:lnTo>
                  <a:pt x="34" y="86"/>
                </a:lnTo>
                <a:lnTo>
                  <a:pt x="34" y="90"/>
                </a:lnTo>
                <a:lnTo>
                  <a:pt x="38" y="90"/>
                </a:lnTo>
                <a:lnTo>
                  <a:pt x="34" y="86"/>
                </a:lnTo>
                <a:lnTo>
                  <a:pt x="38" y="86"/>
                </a:lnTo>
                <a:lnTo>
                  <a:pt x="38" y="82"/>
                </a:lnTo>
                <a:lnTo>
                  <a:pt x="38" y="78"/>
                </a:lnTo>
                <a:lnTo>
                  <a:pt x="34" y="78"/>
                </a:lnTo>
                <a:lnTo>
                  <a:pt x="34" y="74"/>
                </a:lnTo>
                <a:lnTo>
                  <a:pt x="38" y="74"/>
                </a:lnTo>
                <a:lnTo>
                  <a:pt x="34" y="74"/>
                </a:lnTo>
                <a:lnTo>
                  <a:pt x="34" y="70"/>
                </a:lnTo>
                <a:lnTo>
                  <a:pt x="34" y="66"/>
                </a:lnTo>
                <a:lnTo>
                  <a:pt x="38" y="70"/>
                </a:lnTo>
                <a:lnTo>
                  <a:pt x="38" y="66"/>
                </a:lnTo>
                <a:lnTo>
                  <a:pt x="42" y="66"/>
                </a:lnTo>
                <a:lnTo>
                  <a:pt x="46" y="66"/>
                </a:lnTo>
                <a:lnTo>
                  <a:pt x="42" y="66"/>
                </a:lnTo>
                <a:lnTo>
                  <a:pt x="42" y="62"/>
                </a:lnTo>
                <a:lnTo>
                  <a:pt x="38" y="62"/>
                </a:lnTo>
                <a:lnTo>
                  <a:pt x="42" y="62"/>
                </a:lnTo>
                <a:lnTo>
                  <a:pt x="42" y="60"/>
                </a:lnTo>
                <a:lnTo>
                  <a:pt x="46" y="60"/>
                </a:lnTo>
                <a:lnTo>
                  <a:pt x="42" y="60"/>
                </a:lnTo>
                <a:lnTo>
                  <a:pt x="42" y="56"/>
                </a:lnTo>
                <a:lnTo>
                  <a:pt x="46" y="52"/>
                </a:lnTo>
                <a:lnTo>
                  <a:pt x="50" y="52"/>
                </a:lnTo>
                <a:lnTo>
                  <a:pt x="50" y="56"/>
                </a:lnTo>
                <a:lnTo>
                  <a:pt x="52" y="52"/>
                </a:lnTo>
                <a:lnTo>
                  <a:pt x="56" y="52"/>
                </a:lnTo>
                <a:lnTo>
                  <a:pt x="60" y="52"/>
                </a:lnTo>
                <a:lnTo>
                  <a:pt x="64" y="52"/>
                </a:lnTo>
                <a:lnTo>
                  <a:pt x="68" y="52"/>
                </a:lnTo>
                <a:lnTo>
                  <a:pt x="72" y="52"/>
                </a:lnTo>
                <a:lnTo>
                  <a:pt x="76" y="52"/>
                </a:lnTo>
                <a:lnTo>
                  <a:pt x="72" y="56"/>
                </a:lnTo>
                <a:lnTo>
                  <a:pt x="72" y="60"/>
                </a:lnTo>
                <a:lnTo>
                  <a:pt x="68" y="60"/>
                </a:lnTo>
                <a:lnTo>
                  <a:pt x="68" y="62"/>
                </a:lnTo>
                <a:lnTo>
                  <a:pt x="64" y="62"/>
                </a:lnTo>
                <a:lnTo>
                  <a:pt x="60" y="62"/>
                </a:lnTo>
                <a:lnTo>
                  <a:pt x="60" y="66"/>
                </a:lnTo>
                <a:lnTo>
                  <a:pt x="56" y="66"/>
                </a:lnTo>
                <a:lnTo>
                  <a:pt x="52" y="66"/>
                </a:lnTo>
                <a:lnTo>
                  <a:pt x="56" y="66"/>
                </a:lnTo>
                <a:lnTo>
                  <a:pt x="56" y="70"/>
                </a:lnTo>
                <a:lnTo>
                  <a:pt x="60" y="70"/>
                </a:lnTo>
                <a:lnTo>
                  <a:pt x="60" y="66"/>
                </a:lnTo>
                <a:lnTo>
                  <a:pt x="64" y="66"/>
                </a:lnTo>
                <a:lnTo>
                  <a:pt x="64" y="70"/>
                </a:lnTo>
                <a:lnTo>
                  <a:pt x="60" y="70"/>
                </a:lnTo>
                <a:lnTo>
                  <a:pt x="56" y="70"/>
                </a:lnTo>
                <a:lnTo>
                  <a:pt x="52" y="74"/>
                </a:lnTo>
                <a:lnTo>
                  <a:pt x="56" y="74"/>
                </a:lnTo>
                <a:lnTo>
                  <a:pt x="56" y="70"/>
                </a:lnTo>
                <a:lnTo>
                  <a:pt x="60" y="74"/>
                </a:lnTo>
                <a:lnTo>
                  <a:pt x="56" y="74"/>
                </a:lnTo>
                <a:lnTo>
                  <a:pt x="56" y="78"/>
                </a:lnTo>
                <a:lnTo>
                  <a:pt x="60" y="74"/>
                </a:lnTo>
                <a:lnTo>
                  <a:pt x="64" y="74"/>
                </a:lnTo>
                <a:lnTo>
                  <a:pt x="68" y="74"/>
                </a:lnTo>
                <a:lnTo>
                  <a:pt x="68" y="70"/>
                </a:lnTo>
                <a:lnTo>
                  <a:pt x="72" y="70"/>
                </a:lnTo>
                <a:lnTo>
                  <a:pt x="72" y="74"/>
                </a:lnTo>
                <a:lnTo>
                  <a:pt x="76" y="74"/>
                </a:lnTo>
                <a:lnTo>
                  <a:pt x="76" y="70"/>
                </a:lnTo>
                <a:lnTo>
                  <a:pt x="80" y="70"/>
                </a:lnTo>
                <a:lnTo>
                  <a:pt x="82" y="74"/>
                </a:lnTo>
                <a:lnTo>
                  <a:pt x="86" y="74"/>
                </a:lnTo>
                <a:lnTo>
                  <a:pt x="86" y="70"/>
                </a:lnTo>
                <a:lnTo>
                  <a:pt x="90" y="70"/>
                </a:lnTo>
                <a:lnTo>
                  <a:pt x="90" y="74"/>
                </a:lnTo>
                <a:lnTo>
                  <a:pt x="90" y="78"/>
                </a:lnTo>
                <a:lnTo>
                  <a:pt x="90" y="82"/>
                </a:lnTo>
                <a:lnTo>
                  <a:pt x="86" y="82"/>
                </a:lnTo>
                <a:lnTo>
                  <a:pt x="86" y="86"/>
                </a:lnTo>
                <a:lnTo>
                  <a:pt x="86" y="90"/>
                </a:lnTo>
                <a:lnTo>
                  <a:pt x="82" y="92"/>
                </a:lnTo>
                <a:lnTo>
                  <a:pt x="82" y="96"/>
                </a:lnTo>
                <a:lnTo>
                  <a:pt x="80" y="96"/>
                </a:lnTo>
                <a:lnTo>
                  <a:pt x="80" y="100"/>
                </a:lnTo>
                <a:lnTo>
                  <a:pt x="76" y="100"/>
                </a:lnTo>
                <a:lnTo>
                  <a:pt x="72" y="100"/>
                </a:lnTo>
                <a:lnTo>
                  <a:pt x="76" y="100"/>
                </a:lnTo>
                <a:lnTo>
                  <a:pt x="80" y="100"/>
                </a:lnTo>
                <a:lnTo>
                  <a:pt x="80" y="104"/>
                </a:lnTo>
                <a:lnTo>
                  <a:pt x="76" y="104"/>
                </a:lnTo>
                <a:lnTo>
                  <a:pt x="72" y="108"/>
                </a:lnTo>
                <a:lnTo>
                  <a:pt x="68" y="108"/>
                </a:lnTo>
                <a:lnTo>
                  <a:pt x="64" y="108"/>
                </a:lnTo>
                <a:lnTo>
                  <a:pt x="68" y="108"/>
                </a:lnTo>
                <a:lnTo>
                  <a:pt x="72" y="112"/>
                </a:lnTo>
                <a:lnTo>
                  <a:pt x="76" y="112"/>
                </a:lnTo>
                <a:lnTo>
                  <a:pt x="76" y="108"/>
                </a:lnTo>
                <a:lnTo>
                  <a:pt x="80" y="108"/>
                </a:lnTo>
                <a:lnTo>
                  <a:pt x="82" y="108"/>
                </a:lnTo>
                <a:lnTo>
                  <a:pt x="82" y="112"/>
                </a:lnTo>
                <a:lnTo>
                  <a:pt x="86" y="112"/>
                </a:lnTo>
                <a:lnTo>
                  <a:pt x="86" y="116"/>
                </a:lnTo>
                <a:lnTo>
                  <a:pt x="90" y="116"/>
                </a:lnTo>
                <a:lnTo>
                  <a:pt x="90" y="120"/>
                </a:lnTo>
                <a:lnTo>
                  <a:pt x="94" y="120"/>
                </a:lnTo>
                <a:lnTo>
                  <a:pt x="94" y="122"/>
                </a:lnTo>
                <a:lnTo>
                  <a:pt x="94" y="126"/>
                </a:lnTo>
                <a:lnTo>
                  <a:pt x="94" y="130"/>
                </a:lnTo>
                <a:lnTo>
                  <a:pt x="98" y="130"/>
                </a:lnTo>
                <a:lnTo>
                  <a:pt x="98" y="134"/>
                </a:lnTo>
                <a:lnTo>
                  <a:pt x="98" y="138"/>
                </a:lnTo>
                <a:lnTo>
                  <a:pt x="102" y="138"/>
                </a:lnTo>
                <a:lnTo>
                  <a:pt x="106" y="142"/>
                </a:lnTo>
                <a:lnTo>
                  <a:pt x="108" y="142"/>
                </a:lnTo>
                <a:lnTo>
                  <a:pt x="108" y="146"/>
                </a:lnTo>
                <a:lnTo>
                  <a:pt x="112" y="146"/>
                </a:lnTo>
                <a:lnTo>
                  <a:pt x="112" y="150"/>
                </a:lnTo>
                <a:lnTo>
                  <a:pt x="116" y="150"/>
                </a:lnTo>
                <a:lnTo>
                  <a:pt x="112" y="150"/>
                </a:lnTo>
                <a:lnTo>
                  <a:pt x="112" y="152"/>
                </a:lnTo>
                <a:lnTo>
                  <a:pt x="112" y="156"/>
                </a:lnTo>
                <a:lnTo>
                  <a:pt x="116" y="156"/>
                </a:lnTo>
                <a:lnTo>
                  <a:pt x="116" y="160"/>
                </a:lnTo>
                <a:lnTo>
                  <a:pt x="120" y="160"/>
                </a:lnTo>
                <a:lnTo>
                  <a:pt x="116" y="164"/>
                </a:lnTo>
                <a:lnTo>
                  <a:pt x="116" y="160"/>
                </a:lnTo>
                <a:lnTo>
                  <a:pt x="120" y="160"/>
                </a:lnTo>
                <a:lnTo>
                  <a:pt x="116" y="160"/>
                </a:lnTo>
                <a:lnTo>
                  <a:pt x="112" y="160"/>
                </a:lnTo>
                <a:lnTo>
                  <a:pt x="108" y="160"/>
                </a:lnTo>
                <a:lnTo>
                  <a:pt x="106" y="160"/>
                </a:lnTo>
                <a:lnTo>
                  <a:pt x="108" y="160"/>
                </a:lnTo>
                <a:lnTo>
                  <a:pt x="112" y="160"/>
                </a:lnTo>
                <a:lnTo>
                  <a:pt x="116" y="160"/>
                </a:lnTo>
                <a:lnTo>
                  <a:pt x="116" y="164"/>
                </a:lnTo>
                <a:lnTo>
                  <a:pt x="120" y="164"/>
                </a:lnTo>
                <a:lnTo>
                  <a:pt x="120" y="168"/>
                </a:lnTo>
                <a:lnTo>
                  <a:pt x="120" y="172"/>
                </a:lnTo>
                <a:lnTo>
                  <a:pt x="120" y="176"/>
                </a:lnTo>
                <a:lnTo>
                  <a:pt x="116" y="176"/>
                </a:lnTo>
                <a:lnTo>
                  <a:pt x="120" y="180"/>
                </a:lnTo>
                <a:lnTo>
                  <a:pt x="124" y="180"/>
                </a:lnTo>
                <a:lnTo>
                  <a:pt x="124" y="176"/>
                </a:lnTo>
                <a:lnTo>
                  <a:pt x="128" y="176"/>
                </a:lnTo>
                <a:lnTo>
                  <a:pt x="132" y="176"/>
                </a:lnTo>
                <a:lnTo>
                  <a:pt x="136" y="176"/>
                </a:lnTo>
                <a:lnTo>
                  <a:pt x="138" y="180"/>
                </a:lnTo>
                <a:lnTo>
                  <a:pt x="142" y="182"/>
                </a:lnTo>
                <a:lnTo>
                  <a:pt x="142" y="186"/>
                </a:lnTo>
                <a:lnTo>
                  <a:pt x="138" y="190"/>
                </a:lnTo>
                <a:lnTo>
                  <a:pt x="138" y="194"/>
                </a:lnTo>
                <a:lnTo>
                  <a:pt x="136" y="198"/>
                </a:lnTo>
                <a:lnTo>
                  <a:pt x="132" y="194"/>
                </a:lnTo>
                <a:lnTo>
                  <a:pt x="136" y="198"/>
                </a:lnTo>
                <a:lnTo>
                  <a:pt x="136" y="202"/>
                </a:lnTo>
                <a:lnTo>
                  <a:pt x="132" y="202"/>
                </a:lnTo>
                <a:lnTo>
                  <a:pt x="132" y="198"/>
                </a:lnTo>
                <a:lnTo>
                  <a:pt x="132" y="202"/>
                </a:lnTo>
                <a:lnTo>
                  <a:pt x="128" y="202"/>
                </a:lnTo>
                <a:lnTo>
                  <a:pt x="132" y="202"/>
                </a:lnTo>
                <a:lnTo>
                  <a:pt x="132" y="206"/>
                </a:lnTo>
                <a:lnTo>
                  <a:pt x="128" y="206"/>
                </a:lnTo>
                <a:lnTo>
                  <a:pt x="124" y="206"/>
                </a:lnTo>
                <a:lnTo>
                  <a:pt x="120" y="210"/>
                </a:lnTo>
                <a:lnTo>
                  <a:pt x="124" y="210"/>
                </a:lnTo>
                <a:lnTo>
                  <a:pt x="124" y="206"/>
                </a:lnTo>
                <a:lnTo>
                  <a:pt x="128" y="206"/>
                </a:lnTo>
                <a:lnTo>
                  <a:pt x="128" y="210"/>
                </a:lnTo>
                <a:lnTo>
                  <a:pt x="124" y="210"/>
                </a:lnTo>
                <a:lnTo>
                  <a:pt x="128" y="210"/>
                </a:lnTo>
                <a:lnTo>
                  <a:pt x="132" y="210"/>
                </a:lnTo>
                <a:lnTo>
                  <a:pt x="136" y="210"/>
                </a:lnTo>
                <a:lnTo>
                  <a:pt x="136" y="212"/>
                </a:lnTo>
                <a:lnTo>
                  <a:pt x="136" y="216"/>
                </a:lnTo>
                <a:lnTo>
                  <a:pt x="132" y="216"/>
                </a:lnTo>
                <a:lnTo>
                  <a:pt x="132" y="220"/>
                </a:lnTo>
                <a:lnTo>
                  <a:pt x="128" y="220"/>
                </a:lnTo>
                <a:lnTo>
                  <a:pt x="128" y="216"/>
                </a:lnTo>
                <a:lnTo>
                  <a:pt x="128" y="220"/>
                </a:lnTo>
                <a:lnTo>
                  <a:pt x="124" y="220"/>
                </a:lnTo>
                <a:lnTo>
                  <a:pt x="120" y="220"/>
                </a:lnTo>
                <a:lnTo>
                  <a:pt x="120" y="224"/>
                </a:lnTo>
                <a:lnTo>
                  <a:pt x="116" y="220"/>
                </a:lnTo>
                <a:lnTo>
                  <a:pt x="112" y="220"/>
                </a:lnTo>
                <a:lnTo>
                  <a:pt x="108" y="220"/>
                </a:lnTo>
                <a:lnTo>
                  <a:pt x="106" y="220"/>
                </a:lnTo>
                <a:lnTo>
                  <a:pt x="106" y="224"/>
                </a:lnTo>
                <a:lnTo>
                  <a:pt x="106" y="220"/>
                </a:lnTo>
                <a:lnTo>
                  <a:pt x="102" y="220"/>
                </a:lnTo>
                <a:lnTo>
                  <a:pt x="98" y="220"/>
                </a:lnTo>
                <a:lnTo>
                  <a:pt x="94" y="224"/>
                </a:lnTo>
                <a:lnTo>
                  <a:pt x="90" y="224"/>
                </a:lnTo>
                <a:lnTo>
                  <a:pt x="86" y="224"/>
                </a:lnTo>
                <a:lnTo>
                  <a:pt x="90" y="224"/>
                </a:lnTo>
                <a:lnTo>
                  <a:pt x="86" y="224"/>
                </a:lnTo>
                <a:lnTo>
                  <a:pt x="82" y="224"/>
                </a:lnTo>
                <a:lnTo>
                  <a:pt x="82" y="228"/>
                </a:lnTo>
                <a:lnTo>
                  <a:pt x="82" y="224"/>
                </a:lnTo>
                <a:lnTo>
                  <a:pt x="80" y="224"/>
                </a:lnTo>
                <a:lnTo>
                  <a:pt x="76" y="224"/>
                </a:lnTo>
                <a:lnTo>
                  <a:pt x="72" y="224"/>
                </a:lnTo>
                <a:lnTo>
                  <a:pt x="68" y="224"/>
                </a:lnTo>
                <a:lnTo>
                  <a:pt x="68" y="228"/>
                </a:lnTo>
                <a:lnTo>
                  <a:pt x="64" y="232"/>
                </a:lnTo>
                <a:lnTo>
                  <a:pt x="64" y="236"/>
                </a:lnTo>
                <a:lnTo>
                  <a:pt x="60" y="232"/>
                </a:lnTo>
                <a:lnTo>
                  <a:pt x="56" y="232"/>
                </a:lnTo>
                <a:lnTo>
                  <a:pt x="52" y="232"/>
                </a:lnTo>
                <a:lnTo>
                  <a:pt x="50" y="232"/>
                </a:lnTo>
                <a:lnTo>
                  <a:pt x="46" y="236"/>
                </a:lnTo>
                <a:lnTo>
                  <a:pt x="46" y="240"/>
                </a:lnTo>
                <a:lnTo>
                  <a:pt x="42" y="240"/>
                </a:lnTo>
                <a:lnTo>
                  <a:pt x="42" y="236"/>
                </a:lnTo>
                <a:lnTo>
                  <a:pt x="38" y="236"/>
                </a:lnTo>
                <a:lnTo>
                  <a:pt x="38" y="240"/>
                </a:lnTo>
                <a:lnTo>
                  <a:pt x="34" y="240"/>
                </a:lnTo>
                <a:lnTo>
                  <a:pt x="34" y="236"/>
                </a:lnTo>
                <a:lnTo>
                  <a:pt x="38" y="236"/>
                </a:lnTo>
                <a:lnTo>
                  <a:pt x="42" y="232"/>
                </a:lnTo>
                <a:lnTo>
                  <a:pt x="46" y="228"/>
                </a:lnTo>
                <a:lnTo>
                  <a:pt x="46" y="224"/>
                </a:lnTo>
                <a:lnTo>
                  <a:pt x="50" y="224"/>
                </a:lnTo>
                <a:lnTo>
                  <a:pt x="52" y="220"/>
                </a:lnTo>
                <a:lnTo>
                  <a:pt x="52" y="216"/>
                </a:lnTo>
                <a:lnTo>
                  <a:pt x="56" y="216"/>
                </a:lnTo>
                <a:lnTo>
                  <a:pt x="56" y="212"/>
                </a:lnTo>
                <a:lnTo>
                  <a:pt x="60" y="212"/>
                </a:lnTo>
                <a:lnTo>
                  <a:pt x="64" y="212"/>
                </a:lnTo>
                <a:lnTo>
                  <a:pt x="68" y="212"/>
                </a:lnTo>
                <a:lnTo>
                  <a:pt x="76" y="212"/>
                </a:lnTo>
                <a:lnTo>
                  <a:pt x="76" y="210"/>
                </a:lnTo>
                <a:lnTo>
                  <a:pt x="76" y="206"/>
                </a:lnTo>
                <a:lnTo>
                  <a:pt x="80" y="206"/>
                </a:lnTo>
                <a:lnTo>
                  <a:pt x="80" y="202"/>
                </a:lnTo>
                <a:lnTo>
                  <a:pt x="82" y="202"/>
                </a:lnTo>
                <a:lnTo>
                  <a:pt x="80" y="202"/>
                </a:lnTo>
                <a:lnTo>
                  <a:pt x="80" y="206"/>
                </a:lnTo>
                <a:lnTo>
                  <a:pt x="76" y="206"/>
                </a:lnTo>
                <a:lnTo>
                  <a:pt x="72" y="206"/>
                </a:lnTo>
                <a:lnTo>
                  <a:pt x="72" y="210"/>
                </a:lnTo>
                <a:lnTo>
                  <a:pt x="68" y="210"/>
                </a:lnTo>
                <a:lnTo>
                  <a:pt x="64" y="210"/>
                </a:lnTo>
                <a:lnTo>
                  <a:pt x="64" y="206"/>
                </a:lnTo>
                <a:lnTo>
                  <a:pt x="60" y="206"/>
                </a:lnTo>
                <a:lnTo>
                  <a:pt x="56" y="206"/>
                </a:lnTo>
                <a:lnTo>
                  <a:pt x="60" y="202"/>
                </a:lnTo>
                <a:lnTo>
                  <a:pt x="56" y="202"/>
                </a:lnTo>
                <a:lnTo>
                  <a:pt x="52" y="202"/>
                </a:lnTo>
                <a:lnTo>
                  <a:pt x="50" y="202"/>
                </a:lnTo>
                <a:lnTo>
                  <a:pt x="50" y="206"/>
                </a:lnTo>
                <a:lnTo>
                  <a:pt x="50" y="202"/>
                </a:lnTo>
                <a:lnTo>
                  <a:pt x="50" y="206"/>
                </a:lnTo>
                <a:lnTo>
                  <a:pt x="46" y="206"/>
                </a:lnTo>
                <a:lnTo>
                  <a:pt x="46" y="202"/>
                </a:lnTo>
                <a:lnTo>
                  <a:pt x="50" y="202"/>
                </a:lnTo>
                <a:lnTo>
                  <a:pt x="46" y="202"/>
                </a:lnTo>
                <a:lnTo>
                  <a:pt x="42" y="202"/>
                </a:lnTo>
                <a:lnTo>
                  <a:pt x="46" y="202"/>
                </a:lnTo>
                <a:lnTo>
                  <a:pt x="46" y="198"/>
                </a:lnTo>
                <a:lnTo>
                  <a:pt x="42" y="198"/>
                </a:lnTo>
                <a:lnTo>
                  <a:pt x="46" y="198"/>
                </a:lnTo>
                <a:lnTo>
                  <a:pt x="50" y="194"/>
                </a:lnTo>
                <a:lnTo>
                  <a:pt x="52" y="194"/>
                </a:lnTo>
                <a:lnTo>
                  <a:pt x="56" y="190"/>
                </a:lnTo>
                <a:lnTo>
                  <a:pt x="56" y="186"/>
                </a:lnTo>
                <a:lnTo>
                  <a:pt x="60" y="186"/>
                </a:lnTo>
                <a:lnTo>
                  <a:pt x="60" y="182"/>
                </a:lnTo>
                <a:lnTo>
                  <a:pt x="56" y="182"/>
                </a:lnTo>
                <a:lnTo>
                  <a:pt x="60" y="180"/>
                </a:lnTo>
                <a:lnTo>
                  <a:pt x="56" y="180"/>
                </a:lnTo>
                <a:lnTo>
                  <a:pt x="56" y="176"/>
                </a:lnTo>
                <a:lnTo>
                  <a:pt x="52" y="176"/>
                </a:lnTo>
                <a:lnTo>
                  <a:pt x="52" y="180"/>
                </a:lnTo>
                <a:lnTo>
                  <a:pt x="50" y="180"/>
                </a:lnTo>
                <a:lnTo>
                  <a:pt x="50" y="176"/>
                </a:lnTo>
                <a:lnTo>
                  <a:pt x="52" y="176"/>
                </a:lnTo>
                <a:lnTo>
                  <a:pt x="56" y="172"/>
                </a:lnTo>
                <a:lnTo>
                  <a:pt x="56" y="168"/>
                </a:lnTo>
                <a:lnTo>
                  <a:pt x="60" y="168"/>
                </a:lnTo>
                <a:lnTo>
                  <a:pt x="64" y="168"/>
                </a:lnTo>
                <a:lnTo>
                  <a:pt x="68" y="168"/>
                </a:lnTo>
                <a:lnTo>
                  <a:pt x="72" y="168"/>
                </a:lnTo>
                <a:lnTo>
                  <a:pt x="72" y="164"/>
                </a:lnTo>
                <a:lnTo>
                  <a:pt x="76" y="168"/>
                </a:lnTo>
                <a:lnTo>
                  <a:pt x="80" y="168"/>
                </a:lnTo>
                <a:lnTo>
                  <a:pt x="76" y="168"/>
                </a:lnTo>
                <a:lnTo>
                  <a:pt x="76" y="164"/>
                </a:lnTo>
                <a:lnTo>
                  <a:pt x="72" y="164"/>
                </a:lnTo>
                <a:lnTo>
                  <a:pt x="72" y="160"/>
                </a:lnTo>
                <a:lnTo>
                  <a:pt x="76" y="160"/>
                </a:lnTo>
                <a:lnTo>
                  <a:pt x="72" y="156"/>
                </a:lnTo>
                <a:lnTo>
                  <a:pt x="76" y="152"/>
                </a:lnTo>
                <a:lnTo>
                  <a:pt x="76" y="150"/>
                </a:lnTo>
                <a:lnTo>
                  <a:pt x="72" y="152"/>
                </a:lnTo>
                <a:lnTo>
                  <a:pt x="72" y="150"/>
                </a:lnTo>
                <a:lnTo>
                  <a:pt x="68" y="150"/>
                </a:lnTo>
                <a:lnTo>
                  <a:pt x="68" y="146"/>
                </a:lnTo>
                <a:lnTo>
                  <a:pt x="68" y="142"/>
                </a:lnTo>
                <a:lnTo>
                  <a:pt x="64" y="142"/>
                </a:lnTo>
                <a:lnTo>
                  <a:pt x="64" y="138"/>
                </a:lnTo>
                <a:lnTo>
                  <a:pt x="68" y="134"/>
                </a:lnTo>
                <a:lnTo>
                  <a:pt x="72" y="134"/>
                </a:lnTo>
                <a:lnTo>
                  <a:pt x="76" y="134"/>
                </a:lnTo>
                <a:lnTo>
                  <a:pt x="76" y="130"/>
                </a:lnTo>
                <a:lnTo>
                  <a:pt x="72" y="130"/>
                </a:lnTo>
                <a:lnTo>
                  <a:pt x="68" y="130"/>
                </a:lnTo>
                <a:lnTo>
                  <a:pt x="64" y="130"/>
                </a:lnTo>
                <a:lnTo>
                  <a:pt x="64" y="134"/>
                </a:lnTo>
                <a:lnTo>
                  <a:pt x="60" y="134"/>
                </a:lnTo>
                <a:lnTo>
                  <a:pt x="60" y="138"/>
                </a:lnTo>
                <a:lnTo>
                  <a:pt x="56" y="138"/>
                </a:lnTo>
                <a:lnTo>
                  <a:pt x="52" y="134"/>
                </a:lnTo>
                <a:lnTo>
                  <a:pt x="52" y="138"/>
                </a:lnTo>
                <a:lnTo>
                  <a:pt x="56" y="138"/>
                </a:lnTo>
                <a:lnTo>
                  <a:pt x="52" y="138"/>
                </a:lnTo>
                <a:lnTo>
                  <a:pt x="50" y="134"/>
                </a:lnTo>
                <a:lnTo>
                  <a:pt x="46" y="134"/>
                </a:lnTo>
                <a:lnTo>
                  <a:pt x="46" y="138"/>
                </a:lnTo>
                <a:lnTo>
                  <a:pt x="50" y="138"/>
                </a:lnTo>
                <a:lnTo>
                  <a:pt x="50" y="138"/>
                </a:lnTo>
                <a:lnTo>
                  <a:pt x="50" y="138"/>
                </a:lnTo>
                <a:close/>
                <a:moveTo>
                  <a:pt x="22" y="66"/>
                </a:moveTo>
                <a:lnTo>
                  <a:pt x="22" y="62"/>
                </a:lnTo>
                <a:lnTo>
                  <a:pt x="20" y="66"/>
                </a:lnTo>
                <a:lnTo>
                  <a:pt x="22" y="66"/>
                </a:lnTo>
                <a:lnTo>
                  <a:pt x="20" y="70"/>
                </a:lnTo>
                <a:lnTo>
                  <a:pt x="16" y="70"/>
                </a:lnTo>
                <a:lnTo>
                  <a:pt x="20" y="66"/>
                </a:lnTo>
                <a:lnTo>
                  <a:pt x="16" y="66"/>
                </a:lnTo>
                <a:lnTo>
                  <a:pt x="16" y="62"/>
                </a:lnTo>
                <a:lnTo>
                  <a:pt x="16" y="60"/>
                </a:lnTo>
                <a:lnTo>
                  <a:pt x="20" y="60"/>
                </a:lnTo>
                <a:lnTo>
                  <a:pt x="20" y="62"/>
                </a:lnTo>
                <a:lnTo>
                  <a:pt x="20" y="60"/>
                </a:lnTo>
                <a:lnTo>
                  <a:pt x="22" y="56"/>
                </a:lnTo>
                <a:lnTo>
                  <a:pt x="26" y="56"/>
                </a:lnTo>
                <a:lnTo>
                  <a:pt x="26" y="52"/>
                </a:lnTo>
                <a:lnTo>
                  <a:pt x="26" y="56"/>
                </a:lnTo>
                <a:lnTo>
                  <a:pt x="30" y="56"/>
                </a:lnTo>
                <a:lnTo>
                  <a:pt x="26" y="56"/>
                </a:lnTo>
                <a:lnTo>
                  <a:pt x="26" y="60"/>
                </a:lnTo>
                <a:lnTo>
                  <a:pt x="30" y="60"/>
                </a:lnTo>
                <a:lnTo>
                  <a:pt x="26" y="60"/>
                </a:lnTo>
                <a:lnTo>
                  <a:pt x="26" y="62"/>
                </a:lnTo>
                <a:lnTo>
                  <a:pt x="22" y="62"/>
                </a:lnTo>
                <a:lnTo>
                  <a:pt x="26" y="62"/>
                </a:lnTo>
                <a:lnTo>
                  <a:pt x="22" y="66"/>
                </a:lnTo>
                <a:lnTo>
                  <a:pt x="22" y="66"/>
                </a:lnTo>
                <a:lnTo>
                  <a:pt x="22" y="66"/>
                </a:lnTo>
                <a:close/>
                <a:moveTo>
                  <a:pt x="16" y="74"/>
                </a:moveTo>
                <a:lnTo>
                  <a:pt x="12" y="74"/>
                </a:lnTo>
                <a:lnTo>
                  <a:pt x="8" y="74"/>
                </a:lnTo>
                <a:lnTo>
                  <a:pt x="12" y="74"/>
                </a:lnTo>
                <a:lnTo>
                  <a:pt x="16" y="70"/>
                </a:lnTo>
                <a:lnTo>
                  <a:pt x="16" y="74"/>
                </a:lnTo>
                <a:lnTo>
                  <a:pt x="16" y="74"/>
                </a:lnTo>
                <a:lnTo>
                  <a:pt x="16" y="74"/>
                </a:lnTo>
                <a:close/>
                <a:moveTo>
                  <a:pt x="34" y="86"/>
                </a:moveTo>
                <a:lnTo>
                  <a:pt x="30" y="86"/>
                </a:lnTo>
                <a:lnTo>
                  <a:pt x="30" y="82"/>
                </a:lnTo>
                <a:lnTo>
                  <a:pt x="30" y="86"/>
                </a:lnTo>
                <a:lnTo>
                  <a:pt x="30" y="82"/>
                </a:lnTo>
                <a:lnTo>
                  <a:pt x="26" y="86"/>
                </a:lnTo>
                <a:lnTo>
                  <a:pt x="26" y="82"/>
                </a:lnTo>
                <a:lnTo>
                  <a:pt x="22" y="82"/>
                </a:lnTo>
                <a:lnTo>
                  <a:pt x="26" y="82"/>
                </a:lnTo>
                <a:lnTo>
                  <a:pt x="22" y="78"/>
                </a:lnTo>
                <a:lnTo>
                  <a:pt x="22" y="82"/>
                </a:lnTo>
                <a:lnTo>
                  <a:pt x="22" y="78"/>
                </a:lnTo>
                <a:lnTo>
                  <a:pt x="20" y="78"/>
                </a:lnTo>
                <a:lnTo>
                  <a:pt x="22" y="74"/>
                </a:lnTo>
                <a:lnTo>
                  <a:pt x="26" y="74"/>
                </a:lnTo>
                <a:lnTo>
                  <a:pt x="26" y="70"/>
                </a:lnTo>
                <a:lnTo>
                  <a:pt x="30" y="74"/>
                </a:lnTo>
                <a:lnTo>
                  <a:pt x="30" y="78"/>
                </a:lnTo>
                <a:lnTo>
                  <a:pt x="30" y="82"/>
                </a:lnTo>
                <a:lnTo>
                  <a:pt x="34" y="82"/>
                </a:lnTo>
                <a:lnTo>
                  <a:pt x="38" y="82"/>
                </a:lnTo>
                <a:lnTo>
                  <a:pt x="34" y="86"/>
                </a:lnTo>
                <a:lnTo>
                  <a:pt x="34" y="86"/>
                </a:lnTo>
                <a:lnTo>
                  <a:pt x="34" y="86"/>
                </a:lnTo>
                <a:close/>
                <a:moveTo>
                  <a:pt x="30" y="82"/>
                </a:moveTo>
                <a:lnTo>
                  <a:pt x="30" y="78"/>
                </a:lnTo>
                <a:lnTo>
                  <a:pt x="30" y="74"/>
                </a:lnTo>
                <a:lnTo>
                  <a:pt x="30" y="78"/>
                </a:lnTo>
                <a:lnTo>
                  <a:pt x="30" y="82"/>
                </a:lnTo>
                <a:lnTo>
                  <a:pt x="30" y="82"/>
                </a:lnTo>
                <a:lnTo>
                  <a:pt x="30" y="82"/>
                </a:lnTo>
                <a:close/>
                <a:moveTo>
                  <a:pt x="12" y="78"/>
                </a:moveTo>
                <a:lnTo>
                  <a:pt x="16" y="78"/>
                </a:lnTo>
                <a:lnTo>
                  <a:pt x="12" y="78"/>
                </a:lnTo>
                <a:lnTo>
                  <a:pt x="12" y="78"/>
                </a:lnTo>
                <a:lnTo>
                  <a:pt x="12" y="78"/>
                </a:lnTo>
                <a:close/>
                <a:moveTo>
                  <a:pt x="16" y="86"/>
                </a:moveTo>
                <a:lnTo>
                  <a:pt x="12" y="86"/>
                </a:lnTo>
                <a:lnTo>
                  <a:pt x="12" y="82"/>
                </a:lnTo>
                <a:lnTo>
                  <a:pt x="12" y="78"/>
                </a:lnTo>
                <a:lnTo>
                  <a:pt x="16" y="78"/>
                </a:lnTo>
                <a:lnTo>
                  <a:pt x="16" y="82"/>
                </a:lnTo>
                <a:lnTo>
                  <a:pt x="12" y="82"/>
                </a:lnTo>
                <a:lnTo>
                  <a:pt x="12" y="78"/>
                </a:lnTo>
                <a:lnTo>
                  <a:pt x="12" y="82"/>
                </a:lnTo>
                <a:lnTo>
                  <a:pt x="12" y="86"/>
                </a:lnTo>
                <a:lnTo>
                  <a:pt x="16" y="86"/>
                </a:lnTo>
                <a:lnTo>
                  <a:pt x="16" y="86"/>
                </a:lnTo>
                <a:lnTo>
                  <a:pt x="16" y="86"/>
                </a:lnTo>
                <a:close/>
                <a:moveTo>
                  <a:pt x="12" y="90"/>
                </a:moveTo>
                <a:lnTo>
                  <a:pt x="8" y="90"/>
                </a:lnTo>
                <a:lnTo>
                  <a:pt x="12" y="86"/>
                </a:lnTo>
                <a:lnTo>
                  <a:pt x="12" y="90"/>
                </a:lnTo>
                <a:lnTo>
                  <a:pt x="12" y="90"/>
                </a:lnTo>
                <a:lnTo>
                  <a:pt x="12" y="90"/>
                </a:lnTo>
                <a:close/>
                <a:moveTo>
                  <a:pt x="26" y="90"/>
                </a:moveTo>
                <a:lnTo>
                  <a:pt x="26" y="86"/>
                </a:lnTo>
                <a:lnTo>
                  <a:pt x="26" y="90"/>
                </a:lnTo>
                <a:lnTo>
                  <a:pt x="26" y="90"/>
                </a:lnTo>
                <a:lnTo>
                  <a:pt x="26" y="90"/>
                </a:lnTo>
                <a:close/>
                <a:moveTo>
                  <a:pt x="22" y="96"/>
                </a:moveTo>
                <a:lnTo>
                  <a:pt x="22" y="92"/>
                </a:lnTo>
                <a:lnTo>
                  <a:pt x="26" y="92"/>
                </a:lnTo>
                <a:lnTo>
                  <a:pt x="22" y="96"/>
                </a:lnTo>
                <a:lnTo>
                  <a:pt x="22" y="96"/>
                </a:lnTo>
                <a:lnTo>
                  <a:pt x="22" y="96"/>
                </a:lnTo>
                <a:close/>
                <a:moveTo>
                  <a:pt x="30" y="96"/>
                </a:moveTo>
                <a:lnTo>
                  <a:pt x="34" y="96"/>
                </a:lnTo>
                <a:lnTo>
                  <a:pt x="34" y="100"/>
                </a:lnTo>
                <a:lnTo>
                  <a:pt x="38" y="100"/>
                </a:lnTo>
                <a:lnTo>
                  <a:pt x="34" y="100"/>
                </a:lnTo>
                <a:lnTo>
                  <a:pt x="34" y="104"/>
                </a:lnTo>
                <a:lnTo>
                  <a:pt x="34" y="100"/>
                </a:lnTo>
                <a:lnTo>
                  <a:pt x="30" y="104"/>
                </a:lnTo>
                <a:lnTo>
                  <a:pt x="26" y="104"/>
                </a:lnTo>
                <a:lnTo>
                  <a:pt x="26" y="100"/>
                </a:lnTo>
                <a:lnTo>
                  <a:pt x="26" y="104"/>
                </a:lnTo>
                <a:lnTo>
                  <a:pt x="30" y="100"/>
                </a:lnTo>
                <a:lnTo>
                  <a:pt x="26" y="100"/>
                </a:lnTo>
                <a:lnTo>
                  <a:pt x="30" y="100"/>
                </a:lnTo>
                <a:lnTo>
                  <a:pt x="30" y="96"/>
                </a:lnTo>
                <a:lnTo>
                  <a:pt x="30" y="100"/>
                </a:lnTo>
                <a:lnTo>
                  <a:pt x="26" y="96"/>
                </a:lnTo>
                <a:lnTo>
                  <a:pt x="30" y="96"/>
                </a:lnTo>
                <a:lnTo>
                  <a:pt x="30" y="96"/>
                </a:lnTo>
                <a:lnTo>
                  <a:pt x="30" y="96"/>
                </a:lnTo>
                <a:close/>
                <a:moveTo>
                  <a:pt x="20" y="100"/>
                </a:moveTo>
                <a:lnTo>
                  <a:pt x="16" y="96"/>
                </a:lnTo>
                <a:lnTo>
                  <a:pt x="20" y="96"/>
                </a:lnTo>
                <a:lnTo>
                  <a:pt x="20" y="100"/>
                </a:lnTo>
                <a:lnTo>
                  <a:pt x="20" y="100"/>
                </a:lnTo>
                <a:lnTo>
                  <a:pt x="20" y="100"/>
                </a:lnTo>
                <a:close/>
                <a:moveTo>
                  <a:pt x="30" y="116"/>
                </a:moveTo>
                <a:lnTo>
                  <a:pt x="30" y="112"/>
                </a:lnTo>
                <a:lnTo>
                  <a:pt x="30" y="108"/>
                </a:lnTo>
                <a:lnTo>
                  <a:pt x="34" y="108"/>
                </a:lnTo>
                <a:lnTo>
                  <a:pt x="34" y="112"/>
                </a:lnTo>
                <a:lnTo>
                  <a:pt x="30" y="112"/>
                </a:lnTo>
                <a:lnTo>
                  <a:pt x="30" y="116"/>
                </a:lnTo>
                <a:lnTo>
                  <a:pt x="30" y="116"/>
                </a:lnTo>
                <a:lnTo>
                  <a:pt x="30" y="116"/>
                </a:lnTo>
                <a:close/>
                <a:moveTo>
                  <a:pt x="26" y="120"/>
                </a:moveTo>
                <a:lnTo>
                  <a:pt x="26" y="116"/>
                </a:lnTo>
                <a:lnTo>
                  <a:pt x="22" y="116"/>
                </a:lnTo>
                <a:lnTo>
                  <a:pt x="26" y="112"/>
                </a:lnTo>
                <a:lnTo>
                  <a:pt x="30" y="112"/>
                </a:lnTo>
                <a:lnTo>
                  <a:pt x="30" y="116"/>
                </a:lnTo>
                <a:lnTo>
                  <a:pt x="26" y="120"/>
                </a:lnTo>
                <a:lnTo>
                  <a:pt x="26" y="120"/>
                </a:lnTo>
                <a:lnTo>
                  <a:pt x="26" y="120"/>
                </a:lnTo>
                <a:close/>
                <a:moveTo>
                  <a:pt x="46" y="116"/>
                </a:moveTo>
                <a:lnTo>
                  <a:pt x="42" y="112"/>
                </a:lnTo>
                <a:lnTo>
                  <a:pt x="46" y="112"/>
                </a:lnTo>
                <a:lnTo>
                  <a:pt x="46" y="116"/>
                </a:lnTo>
                <a:lnTo>
                  <a:pt x="46" y="116"/>
                </a:lnTo>
                <a:lnTo>
                  <a:pt x="46" y="116"/>
                </a:lnTo>
                <a:close/>
                <a:moveTo>
                  <a:pt x="42" y="122"/>
                </a:moveTo>
                <a:lnTo>
                  <a:pt x="42" y="120"/>
                </a:lnTo>
                <a:lnTo>
                  <a:pt x="42" y="116"/>
                </a:lnTo>
                <a:lnTo>
                  <a:pt x="46" y="120"/>
                </a:lnTo>
                <a:lnTo>
                  <a:pt x="46" y="122"/>
                </a:lnTo>
                <a:lnTo>
                  <a:pt x="42" y="122"/>
                </a:lnTo>
                <a:lnTo>
                  <a:pt x="42" y="122"/>
                </a:lnTo>
                <a:lnTo>
                  <a:pt x="42" y="122"/>
                </a:lnTo>
                <a:close/>
                <a:moveTo>
                  <a:pt x="22" y="152"/>
                </a:moveTo>
                <a:lnTo>
                  <a:pt x="20" y="150"/>
                </a:lnTo>
                <a:lnTo>
                  <a:pt x="20" y="146"/>
                </a:lnTo>
                <a:lnTo>
                  <a:pt x="16" y="146"/>
                </a:lnTo>
                <a:lnTo>
                  <a:pt x="16" y="150"/>
                </a:lnTo>
                <a:lnTo>
                  <a:pt x="12" y="150"/>
                </a:lnTo>
                <a:lnTo>
                  <a:pt x="8" y="150"/>
                </a:lnTo>
                <a:lnTo>
                  <a:pt x="4" y="150"/>
                </a:lnTo>
                <a:lnTo>
                  <a:pt x="4" y="146"/>
                </a:lnTo>
                <a:lnTo>
                  <a:pt x="0" y="146"/>
                </a:lnTo>
                <a:lnTo>
                  <a:pt x="0" y="142"/>
                </a:lnTo>
                <a:lnTo>
                  <a:pt x="4" y="142"/>
                </a:lnTo>
                <a:lnTo>
                  <a:pt x="8" y="142"/>
                </a:lnTo>
                <a:lnTo>
                  <a:pt x="4" y="138"/>
                </a:lnTo>
                <a:lnTo>
                  <a:pt x="8" y="138"/>
                </a:lnTo>
                <a:lnTo>
                  <a:pt x="12" y="134"/>
                </a:lnTo>
                <a:lnTo>
                  <a:pt x="12" y="130"/>
                </a:lnTo>
                <a:lnTo>
                  <a:pt x="16" y="130"/>
                </a:lnTo>
                <a:lnTo>
                  <a:pt x="20" y="126"/>
                </a:lnTo>
                <a:lnTo>
                  <a:pt x="22" y="126"/>
                </a:lnTo>
                <a:lnTo>
                  <a:pt x="26" y="126"/>
                </a:lnTo>
                <a:lnTo>
                  <a:pt x="30" y="126"/>
                </a:lnTo>
                <a:lnTo>
                  <a:pt x="30" y="130"/>
                </a:lnTo>
                <a:lnTo>
                  <a:pt x="34" y="134"/>
                </a:lnTo>
                <a:lnTo>
                  <a:pt x="34" y="138"/>
                </a:lnTo>
                <a:lnTo>
                  <a:pt x="34" y="142"/>
                </a:lnTo>
                <a:lnTo>
                  <a:pt x="34" y="138"/>
                </a:lnTo>
                <a:lnTo>
                  <a:pt x="38" y="138"/>
                </a:lnTo>
                <a:lnTo>
                  <a:pt x="38" y="142"/>
                </a:lnTo>
                <a:lnTo>
                  <a:pt x="38" y="146"/>
                </a:lnTo>
                <a:lnTo>
                  <a:pt x="38" y="142"/>
                </a:lnTo>
                <a:lnTo>
                  <a:pt x="34" y="142"/>
                </a:lnTo>
                <a:lnTo>
                  <a:pt x="38" y="142"/>
                </a:lnTo>
                <a:lnTo>
                  <a:pt x="38" y="146"/>
                </a:lnTo>
                <a:lnTo>
                  <a:pt x="38" y="150"/>
                </a:lnTo>
                <a:lnTo>
                  <a:pt x="34" y="150"/>
                </a:lnTo>
                <a:lnTo>
                  <a:pt x="34" y="152"/>
                </a:lnTo>
                <a:lnTo>
                  <a:pt x="30" y="152"/>
                </a:lnTo>
                <a:lnTo>
                  <a:pt x="26" y="150"/>
                </a:lnTo>
                <a:lnTo>
                  <a:pt x="26" y="152"/>
                </a:lnTo>
                <a:lnTo>
                  <a:pt x="22" y="152"/>
                </a:lnTo>
                <a:lnTo>
                  <a:pt x="22" y="152"/>
                </a:lnTo>
                <a:lnTo>
                  <a:pt x="22" y="152"/>
                </a:lnTo>
                <a:close/>
                <a:moveTo>
                  <a:pt x="52" y="172"/>
                </a:moveTo>
                <a:lnTo>
                  <a:pt x="52" y="168"/>
                </a:lnTo>
                <a:lnTo>
                  <a:pt x="52" y="164"/>
                </a:lnTo>
                <a:lnTo>
                  <a:pt x="56" y="164"/>
                </a:lnTo>
                <a:lnTo>
                  <a:pt x="56" y="168"/>
                </a:lnTo>
                <a:lnTo>
                  <a:pt x="60" y="168"/>
                </a:lnTo>
                <a:lnTo>
                  <a:pt x="56" y="168"/>
                </a:lnTo>
                <a:lnTo>
                  <a:pt x="56" y="172"/>
                </a:lnTo>
                <a:lnTo>
                  <a:pt x="52" y="172"/>
                </a:lnTo>
                <a:lnTo>
                  <a:pt x="52" y="172"/>
                </a:lnTo>
                <a:lnTo>
                  <a:pt x="52" y="172"/>
                </a:lnTo>
                <a:close/>
                <a:moveTo>
                  <a:pt x="128" y="210"/>
                </a:moveTo>
                <a:lnTo>
                  <a:pt x="132" y="210"/>
                </a:lnTo>
                <a:lnTo>
                  <a:pt x="128" y="210"/>
                </a:lnTo>
                <a:lnTo>
                  <a:pt x="128" y="210"/>
                </a:lnTo>
                <a:lnTo>
                  <a:pt x="128" y="210"/>
                </a:lnTo>
                <a:close/>
                <a:moveTo>
                  <a:pt x="98" y="224"/>
                </a:moveTo>
                <a:lnTo>
                  <a:pt x="94" y="224"/>
                </a:lnTo>
                <a:lnTo>
                  <a:pt x="98" y="220"/>
                </a:lnTo>
                <a:lnTo>
                  <a:pt x="102" y="224"/>
                </a:lnTo>
                <a:lnTo>
                  <a:pt x="98" y="224"/>
                </a:lnTo>
                <a:lnTo>
                  <a:pt x="98" y="224"/>
                </a:lnTo>
                <a:lnTo>
                  <a:pt x="98" y="224"/>
                </a:lnTo>
                <a:close/>
              </a:path>
            </a:pathLst>
          </a:custGeom>
          <a:solidFill>
            <a:srgbClr val="A0DCFF"/>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20" name="Freeform 127"/>
          <p:cNvSpPr>
            <a:spLocks/>
          </p:cNvSpPr>
          <p:nvPr/>
        </p:nvSpPr>
        <p:spPr bwMode="auto">
          <a:xfrm>
            <a:off x="4110037" y="2914649"/>
            <a:ext cx="347663" cy="395288"/>
          </a:xfrm>
          <a:custGeom>
            <a:avLst/>
            <a:gdLst>
              <a:gd name="T0" fmla="*/ 202 w 292"/>
              <a:gd name="T1" fmla="*/ 10 h 332"/>
              <a:gd name="T2" fmla="*/ 214 w 292"/>
              <a:gd name="T3" fmla="*/ 4 h 332"/>
              <a:gd name="T4" fmla="*/ 224 w 292"/>
              <a:gd name="T5" fmla="*/ 4 h 332"/>
              <a:gd name="T6" fmla="*/ 228 w 292"/>
              <a:gd name="T7" fmla="*/ 4 h 332"/>
              <a:gd name="T8" fmla="*/ 236 w 292"/>
              <a:gd name="T9" fmla="*/ 8 h 332"/>
              <a:gd name="T10" fmla="*/ 246 w 292"/>
              <a:gd name="T11" fmla="*/ 8 h 332"/>
              <a:gd name="T12" fmla="*/ 240 w 292"/>
              <a:gd name="T13" fmla="*/ 10 h 332"/>
              <a:gd name="T14" fmla="*/ 244 w 292"/>
              <a:gd name="T15" fmla="*/ 26 h 332"/>
              <a:gd name="T16" fmla="*/ 240 w 292"/>
              <a:gd name="T17" fmla="*/ 44 h 332"/>
              <a:gd name="T18" fmla="*/ 232 w 292"/>
              <a:gd name="T19" fmla="*/ 56 h 332"/>
              <a:gd name="T20" fmla="*/ 232 w 292"/>
              <a:gd name="T21" fmla="*/ 66 h 332"/>
              <a:gd name="T22" fmla="*/ 240 w 292"/>
              <a:gd name="T23" fmla="*/ 78 h 332"/>
              <a:gd name="T24" fmla="*/ 246 w 292"/>
              <a:gd name="T25" fmla="*/ 90 h 332"/>
              <a:gd name="T26" fmla="*/ 254 w 292"/>
              <a:gd name="T27" fmla="*/ 112 h 332"/>
              <a:gd name="T28" fmla="*/ 258 w 292"/>
              <a:gd name="T29" fmla="*/ 130 h 332"/>
              <a:gd name="T30" fmla="*/ 262 w 292"/>
              <a:gd name="T31" fmla="*/ 142 h 332"/>
              <a:gd name="T32" fmla="*/ 262 w 292"/>
              <a:gd name="T33" fmla="*/ 160 h 332"/>
              <a:gd name="T34" fmla="*/ 262 w 292"/>
              <a:gd name="T35" fmla="*/ 180 h 332"/>
              <a:gd name="T36" fmla="*/ 266 w 292"/>
              <a:gd name="T37" fmla="*/ 194 h 332"/>
              <a:gd name="T38" fmla="*/ 266 w 292"/>
              <a:gd name="T39" fmla="*/ 216 h 332"/>
              <a:gd name="T40" fmla="*/ 270 w 292"/>
              <a:gd name="T41" fmla="*/ 232 h 332"/>
              <a:gd name="T42" fmla="*/ 284 w 292"/>
              <a:gd name="T43" fmla="*/ 236 h 332"/>
              <a:gd name="T44" fmla="*/ 288 w 292"/>
              <a:gd name="T45" fmla="*/ 254 h 332"/>
              <a:gd name="T46" fmla="*/ 270 w 292"/>
              <a:gd name="T47" fmla="*/ 270 h 332"/>
              <a:gd name="T48" fmla="*/ 246 w 292"/>
              <a:gd name="T49" fmla="*/ 284 h 332"/>
              <a:gd name="T50" fmla="*/ 228 w 292"/>
              <a:gd name="T51" fmla="*/ 300 h 332"/>
              <a:gd name="T52" fmla="*/ 210 w 292"/>
              <a:gd name="T53" fmla="*/ 320 h 332"/>
              <a:gd name="T54" fmla="*/ 188 w 292"/>
              <a:gd name="T55" fmla="*/ 328 h 332"/>
              <a:gd name="T56" fmla="*/ 170 w 292"/>
              <a:gd name="T57" fmla="*/ 328 h 332"/>
              <a:gd name="T58" fmla="*/ 162 w 292"/>
              <a:gd name="T59" fmla="*/ 314 h 332"/>
              <a:gd name="T60" fmla="*/ 150 w 292"/>
              <a:gd name="T61" fmla="*/ 306 h 332"/>
              <a:gd name="T62" fmla="*/ 142 w 292"/>
              <a:gd name="T63" fmla="*/ 300 h 332"/>
              <a:gd name="T64" fmla="*/ 128 w 292"/>
              <a:gd name="T65" fmla="*/ 284 h 332"/>
              <a:gd name="T66" fmla="*/ 106 w 292"/>
              <a:gd name="T67" fmla="*/ 266 h 332"/>
              <a:gd name="T68" fmla="*/ 80 w 292"/>
              <a:gd name="T69" fmla="*/ 242 h 332"/>
              <a:gd name="T70" fmla="*/ 56 w 292"/>
              <a:gd name="T71" fmla="*/ 224 h 332"/>
              <a:gd name="T72" fmla="*/ 34 w 292"/>
              <a:gd name="T73" fmla="*/ 210 h 332"/>
              <a:gd name="T74" fmla="*/ 20 w 292"/>
              <a:gd name="T75" fmla="*/ 198 h 332"/>
              <a:gd name="T76" fmla="*/ 0 w 292"/>
              <a:gd name="T77" fmla="*/ 180 h 332"/>
              <a:gd name="T78" fmla="*/ 4 w 292"/>
              <a:gd name="T79" fmla="*/ 154 h 332"/>
              <a:gd name="T80" fmla="*/ 16 w 292"/>
              <a:gd name="T81" fmla="*/ 146 h 332"/>
              <a:gd name="T82" fmla="*/ 30 w 292"/>
              <a:gd name="T83" fmla="*/ 142 h 332"/>
              <a:gd name="T84" fmla="*/ 42 w 292"/>
              <a:gd name="T85" fmla="*/ 134 h 332"/>
              <a:gd name="T86" fmla="*/ 54 w 292"/>
              <a:gd name="T87" fmla="*/ 126 h 332"/>
              <a:gd name="T88" fmla="*/ 68 w 292"/>
              <a:gd name="T89" fmla="*/ 116 h 332"/>
              <a:gd name="T90" fmla="*/ 68 w 292"/>
              <a:gd name="T91" fmla="*/ 108 h 332"/>
              <a:gd name="T92" fmla="*/ 76 w 292"/>
              <a:gd name="T93" fmla="*/ 100 h 332"/>
              <a:gd name="T94" fmla="*/ 94 w 292"/>
              <a:gd name="T95" fmla="*/ 94 h 332"/>
              <a:gd name="T96" fmla="*/ 110 w 292"/>
              <a:gd name="T97" fmla="*/ 94 h 332"/>
              <a:gd name="T98" fmla="*/ 106 w 292"/>
              <a:gd name="T99" fmla="*/ 86 h 332"/>
              <a:gd name="T100" fmla="*/ 102 w 292"/>
              <a:gd name="T101" fmla="*/ 66 h 332"/>
              <a:gd name="T102" fmla="*/ 98 w 292"/>
              <a:gd name="T103" fmla="*/ 52 h 332"/>
              <a:gd name="T104" fmla="*/ 94 w 292"/>
              <a:gd name="T105" fmla="*/ 40 h 332"/>
              <a:gd name="T106" fmla="*/ 106 w 292"/>
              <a:gd name="T107" fmla="*/ 34 h 332"/>
              <a:gd name="T108" fmla="*/ 120 w 292"/>
              <a:gd name="T109" fmla="*/ 22 h 332"/>
              <a:gd name="T110" fmla="*/ 132 w 292"/>
              <a:gd name="T111" fmla="*/ 18 h 332"/>
              <a:gd name="T112" fmla="*/ 142 w 292"/>
              <a:gd name="T113" fmla="*/ 10 h 332"/>
              <a:gd name="T114" fmla="*/ 162 w 292"/>
              <a:gd name="T115" fmla="*/ 10 h 332"/>
              <a:gd name="T116" fmla="*/ 176 w 292"/>
              <a:gd name="T117" fmla="*/ 8 h 332"/>
              <a:gd name="T118" fmla="*/ 188 w 292"/>
              <a:gd name="T119" fmla="*/ 4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2" h="332">
                <a:moveTo>
                  <a:pt x="188" y="4"/>
                </a:moveTo>
                <a:lnTo>
                  <a:pt x="192" y="4"/>
                </a:lnTo>
                <a:lnTo>
                  <a:pt x="194" y="8"/>
                </a:lnTo>
                <a:lnTo>
                  <a:pt x="198" y="10"/>
                </a:lnTo>
                <a:lnTo>
                  <a:pt x="202" y="10"/>
                </a:lnTo>
                <a:lnTo>
                  <a:pt x="202" y="8"/>
                </a:lnTo>
                <a:lnTo>
                  <a:pt x="206" y="8"/>
                </a:lnTo>
                <a:lnTo>
                  <a:pt x="210" y="8"/>
                </a:lnTo>
                <a:lnTo>
                  <a:pt x="210" y="4"/>
                </a:lnTo>
                <a:lnTo>
                  <a:pt x="214" y="4"/>
                </a:lnTo>
                <a:lnTo>
                  <a:pt x="214" y="0"/>
                </a:lnTo>
                <a:lnTo>
                  <a:pt x="216" y="0"/>
                </a:lnTo>
                <a:lnTo>
                  <a:pt x="216" y="4"/>
                </a:lnTo>
                <a:lnTo>
                  <a:pt x="220" y="4"/>
                </a:lnTo>
                <a:lnTo>
                  <a:pt x="224" y="4"/>
                </a:lnTo>
                <a:lnTo>
                  <a:pt x="228" y="4"/>
                </a:lnTo>
                <a:lnTo>
                  <a:pt x="224" y="4"/>
                </a:lnTo>
                <a:lnTo>
                  <a:pt x="224" y="0"/>
                </a:lnTo>
                <a:lnTo>
                  <a:pt x="228" y="0"/>
                </a:lnTo>
                <a:lnTo>
                  <a:pt x="228" y="4"/>
                </a:lnTo>
                <a:lnTo>
                  <a:pt x="228" y="0"/>
                </a:lnTo>
                <a:lnTo>
                  <a:pt x="228" y="4"/>
                </a:lnTo>
                <a:lnTo>
                  <a:pt x="232" y="4"/>
                </a:lnTo>
                <a:lnTo>
                  <a:pt x="236" y="4"/>
                </a:lnTo>
                <a:lnTo>
                  <a:pt x="236" y="8"/>
                </a:lnTo>
                <a:lnTo>
                  <a:pt x="240" y="8"/>
                </a:lnTo>
                <a:lnTo>
                  <a:pt x="240" y="4"/>
                </a:lnTo>
                <a:lnTo>
                  <a:pt x="244" y="4"/>
                </a:lnTo>
                <a:lnTo>
                  <a:pt x="246" y="4"/>
                </a:lnTo>
                <a:lnTo>
                  <a:pt x="246" y="8"/>
                </a:lnTo>
                <a:lnTo>
                  <a:pt x="244" y="8"/>
                </a:lnTo>
                <a:lnTo>
                  <a:pt x="244" y="10"/>
                </a:lnTo>
                <a:lnTo>
                  <a:pt x="240" y="10"/>
                </a:lnTo>
                <a:lnTo>
                  <a:pt x="240" y="14"/>
                </a:lnTo>
                <a:lnTo>
                  <a:pt x="240" y="10"/>
                </a:lnTo>
                <a:lnTo>
                  <a:pt x="244" y="14"/>
                </a:lnTo>
                <a:lnTo>
                  <a:pt x="244" y="18"/>
                </a:lnTo>
                <a:lnTo>
                  <a:pt x="240" y="22"/>
                </a:lnTo>
                <a:lnTo>
                  <a:pt x="240" y="26"/>
                </a:lnTo>
                <a:lnTo>
                  <a:pt x="244" y="26"/>
                </a:lnTo>
                <a:lnTo>
                  <a:pt x="244" y="30"/>
                </a:lnTo>
                <a:lnTo>
                  <a:pt x="244" y="34"/>
                </a:lnTo>
                <a:lnTo>
                  <a:pt x="244" y="38"/>
                </a:lnTo>
                <a:lnTo>
                  <a:pt x="240" y="40"/>
                </a:lnTo>
                <a:lnTo>
                  <a:pt x="240" y="44"/>
                </a:lnTo>
                <a:lnTo>
                  <a:pt x="240" y="48"/>
                </a:lnTo>
                <a:lnTo>
                  <a:pt x="236" y="48"/>
                </a:lnTo>
                <a:lnTo>
                  <a:pt x="236" y="52"/>
                </a:lnTo>
                <a:lnTo>
                  <a:pt x="236" y="56"/>
                </a:lnTo>
                <a:lnTo>
                  <a:pt x="232" y="56"/>
                </a:lnTo>
                <a:lnTo>
                  <a:pt x="232" y="60"/>
                </a:lnTo>
                <a:lnTo>
                  <a:pt x="228" y="60"/>
                </a:lnTo>
                <a:lnTo>
                  <a:pt x="228" y="64"/>
                </a:lnTo>
                <a:lnTo>
                  <a:pt x="232" y="64"/>
                </a:lnTo>
                <a:lnTo>
                  <a:pt x="232" y="66"/>
                </a:lnTo>
                <a:lnTo>
                  <a:pt x="232" y="70"/>
                </a:lnTo>
                <a:lnTo>
                  <a:pt x="232" y="74"/>
                </a:lnTo>
                <a:lnTo>
                  <a:pt x="236" y="74"/>
                </a:lnTo>
                <a:lnTo>
                  <a:pt x="240" y="74"/>
                </a:lnTo>
                <a:lnTo>
                  <a:pt x="240" y="78"/>
                </a:lnTo>
                <a:lnTo>
                  <a:pt x="240" y="82"/>
                </a:lnTo>
                <a:lnTo>
                  <a:pt x="244" y="82"/>
                </a:lnTo>
                <a:lnTo>
                  <a:pt x="244" y="86"/>
                </a:lnTo>
                <a:lnTo>
                  <a:pt x="244" y="90"/>
                </a:lnTo>
                <a:lnTo>
                  <a:pt x="246" y="90"/>
                </a:lnTo>
                <a:lnTo>
                  <a:pt x="250" y="94"/>
                </a:lnTo>
                <a:lnTo>
                  <a:pt x="250" y="96"/>
                </a:lnTo>
                <a:lnTo>
                  <a:pt x="254" y="96"/>
                </a:lnTo>
                <a:lnTo>
                  <a:pt x="254" y="104"/>
                </a:lnTo>
                <a:lnTo>
                  <a:pt x="254" y="112"/>
                </a:lnTo>
                <a:lnTo>
                  <a:pt x="254" y="116"/>
                </a:lnTo>
                <a:lnTo>
                  <a:pt x="258" y="120"/>
                </a:lnTo>
                <a:lnTo>
                  <a:pt x="258" y="124"/>
                </a:lnTo>
                <a:lnTo>
                  <a:pt x="258" y="126"/>
                </a:lnTo>
                <a:lnTo>
                  <a:pt x="258" y="130"/>
                </a:lnTo>
                <a:lnTo>
                  <a:pt x="254" y="130"/>
                </a:lnTo>
                <a:lnTo>
                  <a:pt x="258" y="134"/>
                </a:lnTo>
                <a:lnTo>
                  <a:pt x="258" y="138"/>
                </a:lnTo>
                <a:lnTo>
                  <a:pt x="262" y="138"/>
                </a:lnTo>
                <a:lnTo>
                  <a:pt x="262" y="142"/>
                </a:lnTo>
                <a:lnTo>
                  <a:pt x="262" y="146"/>
                </a:lnTo>
                <a:lnTo>
                  <a:pt x="262" y="150"/>
                </a:lnTo>
                <a:lnTo>
                  <a:pt x="262" y="154"/>
                </a:lnTo>
                <a:lnTo>
                  <a:pt x="262" y="156"/>
                </a:lnTo>
                <a:lnTo>
                  <a:pt x="262" y="160"/>
                </a:lnTo>
                <a:lnTo>
                  <a:pt x="262" y="164"/>
                </a:lnTo>
                <a:lnTo>
                  <a:pt x="262" y="168"/>
                </a:lnTo>
                <a:lnTo>
                  <a:pt x="266" y="172"/>
                </a:lnTo>
                <a:lnTo>
                  <a:pt x="266" y="176"/>
                </a:lnTo>
                <a:lnTo>
                  <a:pt x="262" y="180"/>
                </a:lnTo>
                <a:lnTo>
                  <a:pt x="262" y="182"/>
                </a:lnTo>
                <a:lnTo>
                  <a:pt x="262" y="186"/>
                </a:lnTo>
                <a:lnTo>
                  <a:pt x="262" y="190"/>
                </a:lnTo>
                <a:lnTo>
                  <a:pt x="266" y="190"/>
                </a:lnTo>
                <a:lnTo>
                  <a:pt x="266" y="194"/>
                </a:lnTo>
                <a:lnTo>
                  <a:pt x="262" y="198"/>
                </a:lnTo>
                <a:lnTo>
                  <a:pt x="258" y="202"/>
                </a:lnTo>
                <a:lnTo>
                  <a:pt x="258" y="206"/>
                </a:lnTo>
                <a:lnTo>
                  <a:pt x="262" y="212"/>
                </a:lnTo>
                <a:lnTo>
                  <a:pt x="266" y="216"/>
                </a:lnTo>
                <a:lnTo>
                  <a:pt x="266" y="220"/>
                </a:lnTo>
                <a:lnTo>
                  <a:pt x="266" y="224"/>
                </a:lnTo>
                <a:lnTo>
                  <a:pt x="266" y="228"/>
                </a:lnTo>
                <a:lnTo>
                  <a:pt x="270" y="228"/>
                </a:lnTo>
                <a:lnTo>
                  <a:pt x="270" y="232"/>
                </a:lnTo>
                <a:lnTo>
                  <a:pt x="272" y="236"/>
                </a:lnTo>
                <a:lnTo>
                  <a:pt x="272" y="232"/>
                </a:lnTo>
                <a:lnTo>
                  <a:pt x="276" y="232"/>
                </a:lnTo>
                <a:lnTo>
                  <a:pt x="280" y="236"/>
                </a:lnTo>
                <a:lnTo>
                  <a:pt x="284" y="236"/>
                </a:lnTo>
                <a:lnTo>
                  <a:pt x="288" y="236"/>
                </a:lnTo>
                <a:lnTo>
                  <a:pt x="292" y="242"/>
                </a:lnTo>
                <a:lnTo>
                  <a:pt x="292" y="250"/>
                </a:lnTo>
                <a:lnTo>
                  <a:pt x="292" y="254"/>
                </a:lnTo>
                <a:lnTo>
                  <a:pt x="288" y="254"/>
                </a:lnTo>
                <a:lnTo>
                  <a:pt x="280" y="262"/>
                </a:lnTo>
                <a:lnTo>
                  <a:pt x="276" y="262"/>
                </a:lnTo>
                <a:lnTo>
                  <a:pt x="276" y="266"/>
                </a:lnTo>
                <a:lnTo>
                  <a:pt x="272" y="266"/>
                </a:lnTo>
                <a:lnTo>
                  <a:pt x="270" y="270"/>
                </a:lnTo>
                <a:lnTo>
                  <a:pt x="266" y="270"/>
                </a:lnTo>
                <a:lnTo>
                  <a:pt x="262" y="272"/>
                </a:lnTo>
                <a:lnTo>
                  <a:pt x="258" y="276"/>
                </a:lnTo>
                <a:lnTo>
                  <a:pt x="250" y="280"/>
                </a:lnTo>
                <a:lnTo>
                  <a:pt x="246" y="284"/>
                </a:lnTo>
                <a:lnTo>
                  <a:pt x="246" y="288"/>
                </a:lnTo>
                <a:lnTo>
                  <a:pt x="240" y="292"/>
                </a:lnTo>
                <a:lnTo>
                  <a:pt x="236" y="296"/>
                </a:lnTo>
                <a:lnTo>
                  <a:pt x="232" y="296"/>
                </a:lnTo>
                <a:lnTo>
                  <a:pt x="228" y="300"/>
                </a:lnTo>
                <a:lnTo>
                  <a:pt x="220" y="306"/>
                </a:lnTo>
                <a:lnTo>
                  <a:pt x="216" y="310"/>
                </a:lnTo>
                <a:lnTo>
                  <a:pt x="216" y="314"/>
                </a:lnTo>
                <a:lnTo>
                  <a:pt x="214" y="316"/>
                </a:lnTo>
                <a:lnTo>
                  <a:pt x="210" y="320"/>
                </a:lnTo>
                <a:lnTo>
                  <a:pt x="206" y="324"/>
                </a:lnTo>
                <a:lnTo>
                  <a:pt x="202" y="324"/>
                </a:lnTo>
                <a:lnTo>
                  <a:pt x="198" y="324"/>
                </a:lnTo>
                <a:lnTo>
                  <a:pt x="194" y="324"/>
                </a:lnTo>
                <a:lnTo>
                  <a:pt x="188" y="328"/>
                </a:lnTo>
                <a:lnTo>
                  <a:pt x="184" y="328"/>
                </a:lnTo>
                <a:lnTo>
                  <a:pt x="180" y="328"/>
                </a:lnTo>
                <a:lnTo>
                  <a:pt x="176" y="328"/>
                </a:lnTo>
                <a:lnTo>
                  <a:pt x="172" y="332"/>
                </a:lnTo>
                <a:lnTo>
                  <a:pt x="170" y="328"/>
                </a:lnTo>
                <a:lnTo>
                  <a:pt x="170" y="324"/>
                </a:lnTo>
                <a:lnTo>
                  <a:pt x="170" y="320"/>
                </a:lnTo>
                <a:lnTo>
                  <a:pt x="170" y="316"/>
                </a:lnTo>
                <a:lnTo>
                  <a:pt x="166" y="314"/>
                </a:lnTo>
                <a:lnTo>
                  <a:pt x="162" y="314"/>
                </a:lnTo>
                <a:lnTo>
                  <a:pt x="158" y="314"/>
                </a:lnTo>
                <a:lnTo>
                  <a:pt x="158" y="310"/>
                </a:lnTo>
                <a:lnTo>
                  <a:pt x="154" y="310"/>
                </a:lnTo>
                <a:lnTo>
                  <a:pt x="150" y="310"/>
                </a:lnTo>
                <a:lnTo>
                  <a:pt x="150" y="306"/>
                </a:lnTo>
                <a:lnTo>
                  <a:pt x="146" y="306"/>
                </a:lnTo>
                <a:lnTo>
                  <a:pt x="146" y="302"/>
                </a:lnTo>
                <a:lnTo>
                  <a:pt x="142" y="302"/>
                </a:lnTo>
                <a:lnTo>
                  <a:pt x="140" y="300"/>
                </a:lnTo>
                <a:lnTo>
                  <a:pt x="142" y="300"/>
                </a:lnTo>
                <a:lnTo>
                  <a:pt x="142" y="296"/>
                </a:lnTo>
                <a:lnTo>
                  <a:pt x="140" y="296"/>
                </a:lnTo>
                <a:lnTo>
                  <a:pt x="136" y="292"/>
                </a:lnTo>
                <a:lnTo>
                  <a:pt x="132" y="284"/>
                </a:lnTo>
                <a:lnTo>
                  <a:pt x="128" y="284"/>
                </a:lnTo>
                <a:lnTo>
                  <a:pt x="124" y="280"/>
                </a:lnTo>
                <a:lnTo>
                  <a:pt x="116" y="276"/>
                </a:lnTo>
                <a:lnTo>
                  <a:pt x="114" y="272"/>
                </a:lnTo>
                <a:lnTo>
                  <a:pt x="110" y="270"/>
                </a:lnTo>
                <a:lnTo>
                  <a:pt x="106" y="266"/>
                </a:lnTo>
                <a:lnTo>
                  <a:pt x="98" y="262"/>
                </a:lnTo>
                <a:lnTo>
                  <a:pt x="94" y="258"/>
                </a:lnTo>
                <a:lnTo>
                  <a:pt x="90" y="250"/>
                </a:lnTo>
                <a:lnTo>
                  <a:pt x="84" y="246"/>
                </a:lnTo>
                <a:lnTo>
                  <a:pt x="80" y="242"/>
                </a:lnTo>
                <a:lnTo>
                  <a:pt x="76" y="240"/>
                </a:lnTo>
                <a:lnTo>
                  <a:pt x="72" y="236"/>
                </a:lnTo>
                <a:lnTo>
                  <a:pt x="64" y="232"/>
                </a:lnTo>
                <a:lnTo>
                  <a:pt x="60" y="228"/>
                </a:lnTo>
                <a:lnTo>
                  <a:pt x="56" y="224"/>
                </a:lnTo>
                <a:lnTo>
                  <a:pt x="54" y="224"/>
                </a:lnTo>
                <a:lnTo>
                  <a:pt x="50" y="220"/>
                </a:lnTo>
                <a:lnTo>
                  <a:pt x="46" y="216"/>
                </a:lnTo>
                <a:lnTo>
                  <a:pt x="42" y="212"/>
                </a:lnTo>
                <a:lnTo>
                  <a:pt x="34" y="210"/>
                </a:lnTo>
                <a:lnTo>
                  <a:pt x="30" y="206"/>
                </a:lnTo>
                <a:lnTo>
                  <a:pt x="28" y="202"/>
                </a:lnTo>
                <a:lnTo>
                  <a:pt x="24" y="202"/>
                </a:lnTo>
                <a:lnTo>
                  <a:pt x="24" y="198"/>
                </a:lnTo>
                <a:lnTo>
                  <a:pt x="20" y="198"/>
                </a:lnTo>
                <a:lnTo>
                  <a:pt x="16" y="194"/>
                </a:lnTo>
                <a:lnTo>
                  <a:pt x="8" y="190"/>
                </a:lnTo>
                <a:lnTo>
                  <a:pt x="8" y="186"/>
                </a:lnTo>
                <a:lnTo>
                  <a:pt x="0" y="182"/>
                </a:lnTo>
                <a:lnTo>
                  <a:pt x="0" y="180"/>
                </a:lnTo>
                <a:lnTo>
                  <a:pt x="0" y="176"/>
                </a:lnTo>
                <a:lnTo>
                  <a:pt x="0" y="172"/>
                </a:lnTo>
                <a:lnTo>
                  <a:pt x="0" y="156"/>
                </a:lnTo>
                <a:lnTo>
                  <a:pt x="4" y="156"/>
                </a:lnTo>
                <a:lnTo>
                  <a:pt x="4" y="154"/>
                </a:lnTo>
                <a:lnTo>
                  <a:pt x="8" y="154"/>
                </a:lnTo>
                <a:lnTo>
                  <a:pt x="8" y="150"/>
                </a:lnTo>
                <a:lnTo>
                  <a:pt x="12" y="150"/>
                </a:lnTo>
                <a:lnTo>
                  <a:pt x="12" y="146"/>
                </a:lnTo>
                <a:lnTo>
                  <a:pt x="16" y="146"/>
                </a:lnTo>
                <a:lnTo>
                  <a:pt x="20" y="146"/>
                </a:lnTo>
                <a:lnTo>
                  <a:pt x="20" y="142"/>
                </a:lnTo>
                <a:lnTo>
                  <a:pt x="24" y="142"/>
                </a:lnTo>
                <a:lnTo>
                  <a:pt x="28" y="142"/>
                </a:lnTo>
                <a:lnTo>
                  <a:pt x="30" y="142"/>
                </a:lnTo>
                <a:lnTo>
                  <a:pt x="30" y="138"/>
                </a:lnTo>
                <a:lnTo>
                  <a:pt x="34" y="138"/>
                </a:lnTo>
                <a:lnTo>
                  <a:pt x="38" y="138"/>
                </a:lnTo>
                <a:lnTo>
                  <a:pt x="42" y="138"/>
                </a:lnTo>
                <a:lnTo>
                  <a:pt x="42" y="134"/>
                </a:lnTo>
                <a:lnTo>
                  <a:pt x="46" y="134"/>
                </a:lnTo>
                <a:lnTo>
                  <a:pt x="50" y="134"/>
                </a:lnTo>
                <a:lnTo>
                  <a:pt x="50" y="130"/>
                </a:lnTo>
                <a:lnTo>
                  <a:pt x="54" y="130"/>
                </a:lnTo>
                <a:lnTo>
                  <a:pt x="54" y="126"/>
                </a:lnTo>
                <a:lnTo>
                  <a:pt x="54" y="124"/>
                </a:lnTo>
                <a:lnTo>
                  <a:pt x="56" y="124"/>
                </a:lnTo>
                <a:lnTo>
                  <a:pt x="60" y="124"/>
                </a:lnTo>
                <a:lnTo>
                  <a:pt x="64" y="120"/>
                </a:lnTo>
                <a:lnTo>
                  <a:pt x="68" y="116"/>
                </a:lnTo>
                <a:lnTo>
                  <a:pt x="72" y="116"/>
                </a:lnTo>
                <a:lnTo>
                  <a:pt x="72" y="112"/>
                </a:lnTo>
                <a:lnTo>
                  <a:pt x="68" y="112"/>
                </a:lnTo>
                <a:lnTo>
                  <a:pt x="72" y="108"/>
                </a:lnTo>
                <a:lnTo>
                  <a:pt x="68" y="108"/>
                </a:lnTo>
                <a:lnTo>
                  <a:pt x="68" y="104"/>
                </a:lnTo>
                <a:lnTo>
                  <a:pt x="72" y="100"/>
                </a:lnTo>
                <a:lnTo>
                  <a:pt x="72" y="104"/>
                </a:lnTo>
                <a:lnTo>
                  <a:pt x="76" y="104"/>
                </a:lnTo>
                <a:lnTo>
                  <a:pt x="76" y="100"/>
                </a:lnTo>
                <a:lnTo>
                  <a:pt x="80" y="100"/>
                </a:lnTo>
                <a:lnTo>
                  <a:pt x="84" y="100"/>
                </a:lnTo>
                <a:lnTo>
                  <a:pt x="84" y="96"/>
                </a:lnTo>
                <a:lnTo>
                  <a:pt x="90" y="94"/>
                </a:lnTo>
                <a:lnTo>
                  <a:pt x="94" y="94"/>
                </a:lnTo>
                <a:lnTo>
                  <a:pt x="98" y="94"/>
                </a:lnTo>
                <a:lnTo>
                  <a:pt x="102" y="94"/>
                </a:lnTo>
                <a:lnTo>
                  <a:pt x="106" y="94"/>
                </a:lnTo>
                <a:lnTo>
                  <a:pt x="106" y="96"/>
                </a:lnTo>
                <a:lnTo>
                  <a:pt x="110" y="94"/>
                </a:lnTo>
                <a:lnTo>
                  <a:pt x="106" y="94"/>
                </a:lnTo>
                <a:lnTo>
                  <a:pt x="106" y="90"/>
                </a:lnTo>
                <a:lnTo>
                  <a:pt x="110" y="90"/>
                </a:lnTo>
                <a:lnTo>
                  <a:pt x="110" y="86"/>
                </a:lnTo>
                <a:lnTo>
                  <a:pt x="106" y="86"/>
                </a:lnTo>
                <a:lnTo>
                  <a:pt x="106" y="82"/>
                </a:lnTo>
                <a:lnTo>
                  <a:pt x="102" y="78"/>
                </a:lnTo>
                <a:lnTo>
                  <a:pt x="102" y="74"/>
                </a:lnTo>
                <a:lnTo>
                  <a:pt x="102" y="70"/>
                </a:lnTo>
                <a:lnTo>
                  <a:pt x="102" y="66"/>
                </a:lnTo>
                <a:lnTo>
                  <a:pt x="98" y="64"/>
                </a:lnTo>
                <a:lnTo>
                  <a:pt x="102" y="64"/>
                </a:lnTo>
                <a:lnTo>
                  <a:pt x="102" y="60"/>
                </a:lnTo>
                <a:lnTo>
                  <a:pt x="98" y="56"/>
                </a:lnTo>
                <a:lnTo>
                  <a:pt x="98" y="52"/>
                </a:lnTo>
                <a:lnTo>
                  <a:pt x="102" y="52"/>
                </a:lnTo>
                <a:lnTo>
                  <a:pt x="98" y="52"/>
                </a:lnTo>
                <a:lnTo>
                  <a:pt x="98" y="48"/>
                </a:lnTo>
                <a:lnTo>
                  <a:pt x="98" y="44"/>
                </a:lnTo>
                <a:lnTo>
                  <a:pt x="94" y="40"/>
                </a:lnTo>
                <a:lnTo>
                  <a:pt x="98" y="40"/>
                </a:lnTo>
                <a:lnTo>
                  <a:pt x="98" y="38"/>
                </a:lnTo>
                <a:lnTo>
                  <a:pt x="102" y="38"/>
                </a:lnTo>
                <a:lnTo>
                  <a:pt x="102" y="34"/>
                </a:lnTo>
                <a:lnTo>
                  <a:pt x="106" y="34"/>
                </a:lnTo>
                <a:lnTo>
                  <a:pt x="106" y="30"/>
                </a:lnTo>
                <a:lnTo>
                  <a:pt x="110" y="30"/>
                </a:lnTo>
                <a:lnTo>
                  <a:pt x="114" y="26"/>
                </a:lnTo>
                <a:lnTo>
                  <a:pt x="116" y="26"/>
                </a:lnTo>
                <a:lnTo>
                  <a:pt x="120" y="22"/>
                </a:lnTo>
                <a:lnTo>
                  <a:pt x="120" y="26"/>
                </a:lnTo>
                <a:lnTo>
                  <a:pt x="124" y="26"/>
                </a:lnTo>
                <a:lnTo>
                  <a:pt x="124" y="22"/>
                </a:lnTo>
                <a:lnTo>
                  <a:pt x="128" y="18"/>
                </a:lnTo>
                <a:lnTo>
                  <a:pt x="132" y="18"/>
                </a:lnTo>
                <a:lnTo>
                  <a:pt x="132" y="14"/>
                </a:lnTo>
                <a:lnTo>
                  <a:pt x="136" y="14"/>
                </a:lnTo>
                <a:lnTo>
                  <a:pt x="140" y="14"/>
                </a:lnTo>
                <a:lnTo>
                  <a:pt x="140" y="10"/>
                </a:lnTo>
                <a:lnTo>
                  <a:pt x="142" y="10"/>
                </a:lnTo>
                <a:lnTo>
                  <a:pt x="146" y="10"/>
                </a:lnTo>
                <a:lnTo>
                  <a:pt x="150" y="10"/>
                </a:lnTo>
                <a:lnTo>
                  <a:pt x="154" y="10"/>
                </a:lnTo>
                <a:lnTo>
                  <a:pt x="158" y="10"/>
                </a:lnTo>
                <a:lnTo>
                  <a:pt x="162" y="10"/>
                </a:lnTo>
                <a:lnTo>
                  <a:pt x="166" y="10"/>
                </a:lnTo>
                <a:lnTo>
                  <a:pt x="166" y="8"/>
                </a:lnTo>
                <a:lnTo>
                  <a:pt x="170" y="8"/>
                </a:lnTo>
                <a:lnTo>
                  <a:pt x="172" y="8"/>
                </a:lnTo>
                <a:lnTo>
                  <a:pt x="176" y="8"/>
                </a:lnTo>
                <a:lnTo>
                  <a:pt x="176" y="4"/>
                </a:lnTo>
                <a:lnTo>
                  <a:pt x="180" y="4"/>
                </a:lnTo>
                <a:lnTo>
                  <a:pt x="184" y="4"/>
                </a:lnTo>
                <a:lnTo>
                  <a:pt x="188" y="4"/>
                </a:lnTo>
                <a:lnTo>
                  <a:pt x="188" y="4"/>
                </a:lnTo>
                <a:lnTo>
                  <a:pt x="188" y="4"/>
                </a:lnTo>
                <a:close/>
              </a:path>
            </a:pathLst>
          </a:custGeom>
          <a:solidFill>
            <a:srgbClr val="A0DCFF"/>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21" name="Freeform 128"/>
          <p:cNvSpPr>
            <a:spLocks noEditPoints="1"/>
          </p:cNvSpPr>
          <p:nvPr/>
        </p:nvSpPr>
        <p:spPr bwMode="auto">
          <a:xfrm>
            <a:off x="4457699" y="3788568"/>
            <a:ext cx="204788" cy="280988"/>
          </a:xfrm>
          <a:custGeom>
            <a:avLst/>
            <a:gdLst>
              <a:gd name="T0" fmla="*/ 10 w 172"/>
              <a:gd name="T1" fmla="*/ 12 h 236"/>
              <a:gd name="T2" fmla="*/ 4 w 172"/>
              <a:gd name="T3" fmla="*/ 22 h 236"/>
              <a:gd name="T4" fmla="*/ 4 w 172"/>
              <a:gd name="T5" fmla="*/ 8 h 236"/>
              <a:gd name="T6" fmla="*/ 14 w 172"/>
              <a:gd name="T7" fmla="*/ 0 h 236"/>
              <a:gd name="T8" fmla="*/ 18 w 172"/>
              <a:gd name="T9" fmla="*/ 4 h 236"/>
              <a:gd name="T10" fmla="*/ 152 w 172"/>
              <a:gd name="T11" fmla="*/ 232 h 236"/>
              <a:gd name="T12" fmla="*/ 134 w 172"/>
              <a:gd name="T13" fmla="*/ 232 h 236"/>
              <a:gd name="T14" fmla="*/ 122 w 172"/>
              <a:gd name="T15" fmla="*/ 232 h 236"/>
              <a:gd name="T16" fmla="*/ 108 w 172"/>
              <a:gd name="T17" fmla="*/ 232 h 236"/>
              <a:gd name="T18" fmla="*/ 96 w 172"/>
              <a:gd name="T19" fmla="*/ 228 h 236"/>
              <a:gd name="T20" fmla="*/ 82 w 172"/>
              <a:gd name="T21" fmla="*/ 224 h 236"/>
              <a:gd name="T22" fmla="*/ 52 w 172"/>
              <a:gd name="T23" fmla="*/ 224 h 236"/>
              <a:gd name="T24" fmla="*/ 34 w 172"/>
              <a:gd name="T25" fmla="*/ 224 h 236"/>
              <a:gd name="T26" fmla="*/ 22 w 172"/>
              <a:gd name="T27" fmla="*/ 216 h 236"/>
              <a:gd name="T28" fmla="*/ 8 w 172"/>
              <a:gd name="T29" fmla="*/ 220 h 236"/>
              <a:gd name="T30" fmla="*/ 0 w 172"/>
              <a:gd name="T31" fmla="*/ 212 h 236"/>
              <a:gd name="T32" fmla="*/ 0 w 172"/>
              <a:gd name="T33" fmla="*/ 198 h 236"/>
              <a:gd name="T34" fmla="*/ 4 w 172"/>
              <a:gd name="T35" fmla="*/ 182 h 236"/>
              <a:gd name="T36" fmla="*/ 8 w 172"/>
              <a:gd name="T37" fmla="*/ 168 h 236"/>
              <a:gd name="T38" fmla="*/ 8 w 172"/>
              <a:gd name="T39" fmla="*/ 154 h 236"/>
              <a:gd name="T40" fmla="*/ 14 w 172"/>
              <a:gd name="T41" fmla="*/ 146 h 236"/>
              <a:gd name="T42" fmla="*/ 18 w 172"/>
              <a:gd name="T43" fmla="*/ 142 h 236"/>
              <a:gd name="T44" fmla="*/ 26 w 172"/>
              <a:gd name="T45" fmla="*/ 130 h 236"/>
              <a:gd name="T46" fmla="*/ 26 w 172"/>
              <a:gd name="T47" fmla="*/ 116 h 236"/>
              <a:gd name="T48" fmla="*/ 22 w 172"/>
              <a:gd name="T49" fmla="*/ 100 h 236"/>
              <a:gd name="T50" fmla="*/ 18 w 172"/>
              <a:gd name="T51" fmla="*/ 90 h 236"/>
              <a:gd name="T52" fmla="*/ 18 w 172"/>
              <a:gd name="T53" fmla="*/ 74 h 236"/>
              <a:gd name="T54" fmla="*/ 18 w 172"/>
              <a:gd name="T55" fmla="*/ 74 h 236"/>
              <a:gd name="T56" fmla="*/ 22 w 172"/>
              <a:gd name="T57" fmla="*/ 64 h 236"/>
              <a:gd name="T58" fmla="*/ 14 w 172"/>
              <a:gd name="T59" fmla="*/ 52 h 236"/>
              <a:gd name="T60" fmla="*/ 10 w 172"/>
              <a:gd name="T61" fmla="*/ 42 h 236"/>
              <a:gd name="T62" fmla="*/ 4 w 172"/>
              <a:gd name="T63" fmla="*/ 26 h 236"/>
              <a:gd name="T64" fmla="*/ 14 w 172"/>
              <a:gd name="T65" fmla="*/ 22 h 236"/>
              <a:gd name="T66" fmla="*/ 22 w 172"/>
              <a:gd name="T67" fmla="*/ 22 h 236"/>
              <a:gd name="T68" fmla="*/ 34 w 172"/>
              <a:gd name="T69" fmla="*/ 26 h 236"/>
              <a:gd name="T70" fmla="*/ 56 w 172"/>
              <a:gd name="T71" fmla="*/ 22 h 236"/>
              <a:gd name="T72" fmla="*/ 66 w 172"/>
              <a:gd name="T73" fmla="*/ 26 h 236"/>
              <a:gd name="T74" fmla="*/ 70 w 172"/>
              <a:gd name="T75" fmla="*/ 42 h 236"/>
              <a:gd name="T76" fmla="*/ 74 w 172"/>
              <a:gd name="T77" fmla="*/ 52 h 236"/>
              <a:gd name="T78" fmla="*/ 82 w 172"/>
              <a:gd name="T79" fmla="*/ 64 h 236"/>
              <a:gd name="T80" fmla="*/ 90 w 172"/>
              <a:gd name="T81" fmla="*/ 60 h 236"/>
              <a:gd name="T82" fmla="*/ 108 w 172"/>
              <a:gd name="T83" fmla="*/ 60 h 236"/>
              <a:gd name="T84" fmla="*/ 108 w 172"/>
              <a:gd name="T85" fmla="*/ 52 h 236"/>
              <a:gd name="T86" fmla="*/ 120 w 172"/>
              <a:gd name="T87" fmla="*/ 44 h 236"/>
              <a:gd name="T88" fmla="*/ 122 w 172"/>
              <a:gd name="T89" fmla="*/ 48 h 236"/>
              <a:gd name="T90" fmla="*/ 142 w 172"/>
              <a:gd name="T91" fmla="*/ 52 h 236"/>
              <a:gd name="T92" fmla="*/ 142 w 172"/>
              <a:gd name="T93" fmla="*/ 68 h 236"/>
              <a:gd name="T94" fmla="*/ 142 w 172"/>
              <a:gd name="T95" fmla="*/ 82 h 236"/>
              <a:gd name="T96" fmla="*/ 146 w 172"/>
              <a:gd name="T97" fmla="*/ 98 h 236"/>
              <a:gd name="T98" fmla="*/ 146 w 172"/>
              <a:gd name="T99" fmla="*/ 108 h 236"/>
              <a:gd name="T100" fmla="*/ 150 w 172"/>
              <a:gd name="T101" fmla="*/ 112 h 236"/>
              <a:gd name="T102" fmla="*/ 164 w 172"/>
              <a:gd name="T103" fmla="*/ 112 h 236"/>
              <a:gd name="T104" fmla="*/ 172 w 172"/>
              <a:gd name="T105" fmla="*/ 112 h 236"/>
              <a:gd name="T106" fmla="*/ 172 w 172"/>
              <a:gd name="T107" fmla="*/ 126 h 236"/>
              <a:gd name="T108" fmla="*/ 172 w 172"/>
              <a:gd name="T109" fmla="*/ 146 h 236"/>
              <a:gd name="T110" fmla="*/ 156 w 172"/>
              <a:gd name="T111" fmla="*/ 146 h 236"/>
              <a:gd name="T112" fmla="*/ 142 w 172"/>
              <a:gd name="T113" fmla="*/ 160 h 236"/>
              <a:gd name="T114" fmla="*/ 142 w 172"/>
              <a:gd name="T115" fmla="*/ 180 h 236"/>
              <a:gd name="T116" fmla="*/ 146 w 172"/>
              <a:gd name="T117" fmla="*/ 202 h 236"/>
              <a:gd name="T118" fmla="*/ 150 w 172"/>
              <a:gd name="T119" fmla="*/ 212 h 236"/>
              <a:gd name="T120" fmla="*/ 164 w 172"/>
              <a:gd name="T121" fmla="*/ 22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2" h="236">
                <a:moveTo>
                  <a:pt x="18" y="4"/>
                </a:moveTo>
                <a:lnTo>
                  <a:pt x="14" y="4"/>
                </a:lnTo>
                <a:lnTo>
                  <a:pt x="10" y="8"/>
                </a:lnTo>
                <a:lnTo>
                  <a:pt x="10" y="12"/>
                </a:lnTo>
                <a:lnTo>
                  <a:pt x="10" y="14"/>
                </a:lnTo>
                <a:lnTo>
                  <a:pt x="10" y="22"/>
                </a:lnTo>
                <a:lnTo>
                  <a:pt x="8" y="22"/>
                </a:lnTo>
                <a:lnTo>
                  <a:pt x="4" y="22"/>
                </a:lnTo>
                <a:lnTo>
                  <a:pt x="4" y="18"/>
                </a:lnTo>
                <a:lnTo>
                  <a:pt x="4" y="14"/>
                </a:lnTo>
                <a:lnTo>
                  <a:pt x="4" y="12"/>
                </a:lnTo>
                <a:lnTo>
                  <a:pt x="4" y="8"/>
                </a:lnTo>
                <a:lnTo>
                  <a:pt x="4" y="4"/>
                </a:lnTo>
                <a:lnTo>
                  <a:pt x="8" y="4"/>
                </a:lnTo>
                <a:lnTo>
                  <a:pt x="10" y="0"/>
                </a:lnTo>
                <a:lnTo>
                  <a:pt x="14" y="0"/>
                </a:lnTo>
                <a:lnTo>
                  <a:pt x="14" y="4"/>
                </a:lnTo>
                <a:lnTo>
                  <a:pt x="18" y="4"/>
                </a:lnTo>
                <a:lnTo>
                  <a:pt x="18" y="4"/>
                </a:lnTo>
                <a:lnTo>
                  <a:pt x="18" y="4"/>
                </a:lnTo>
                <a:close/>
                <a:moveTo>
                  <a:pt x="164" y="228"/>
                </a:moveTo>
                <a:lnTo>
                  <a:pt x="160" y="228"/>
                </a:lnTo>
                <a:lnTo>
                  <a:pt x="156" y="228"/>
                </a:lnTo>
                <a:lnTo>
                  <a:pt x="152" y="232"/>
                </a:lnTo>
                <a:lnTo>
                  <a:pt x="150" y="232"/>
                </a:lnTo>
                <a:lnTo>
                  <a:pt x="142" y="232"/>
                </a:lnTo>
                <a:lnTo>
                  <a:pt x="134" y="236"/>
                </a:lnTo>
                <a:lnTo>
                  <a:pt x="134" y="232"/>
                </a:lnTo>
                <a:lnTo>
                  <a:pt x="130" y="232"/>
                </a:lnTo>
                <a:lnTo>
                  <a:pt x="126" y="236"/>
                </a:lnTo>
                <a:lnTo>
                  <a:pt x="122" y="236"/>
                </a:lnTo>
                <a:lnTo>
                  <a:pt x="122" y="232"/>
                </a:lnTo>
                <a:lnTo>
                  <a:pt x="120" y="232"/>
                </a:lnTo>
                <a:lnTo>
                  <a:pt x="116" y="232"/>
                </a:lnTo>
                <a:lnTo>
                  <a:pt x="112" y="232"/>
                </a:lnTo>
                <a:lnTo>
                  <a:pt x="108" y="232"/>
                </a:lnTo>
                <a:lnTo>
                  <a:pt x="104" y="232"/>
                </a:lnTo>
                <a:lnTo>
                  <a:pt x="100" y="232"/>
                </a:lnTo>
                <a:lnTo>
                  <a:pt x="96" y="232"/>
                </a:lnTo>
                <a:lnTo>
                  <a:pt x="96" y="228"/>
                </a:lnTo>
                <a:lnTo>
                  <a:pt x="94" y="224"/>
                </a:lnTo>
                <a:lnTo>
                  <a:pt x="90" y="224"/>
                </a:lnTo>
                <a:lnTo>
                  <a:pt x="86" y="224"/>
                </a:lnTo>
                <a:lnTo>
                  <a:pt x="82" y="224"/>
                </a:lnTo>
                <a:lnTo>
                  <a:pt x="78" y="224"/>
                </a:lnTo>
                <a:lnTo>
                  <a:pt x="66" y="224"/>
                </a:lnTo>
                <a:lnTo>
                  <a:pt x="60" y="224"/>
                </a:lnTo>
                <a:lnTo>
                  <a:pt x="52" y="224"/>
                </a:lnTo>
                <a:lnTo>
                  <a:pt x="44" y="224"/>
                </a:lnTo>
                <a:lnTo>
                  <a:pt x="40" y="224"/>
                </a:lnTo>
                <a:lnTo>
                  <a:pt x="38" y="224"/>
                </a:lnTo>
                <a:lnTo>
                  <a:pt x="34" y="224"/>
                </a:lnTo>
                <a:lnTo>
                  <a:pt x="30" y="224"/>
                </a:lnTo>
                <a:lnTo>
                  <a:pt x="30" y="220"/>
                </a:lnTo>
                <a:lnTo>
                  <a:pt x="26" y="220"/>
                </a:lnTo>
                <a:lnTo>
                  <a:pt x="22" y="216"/>
                </a:lnTo>
                <a:lnTo>
                  <a:pt x="18" y="216"/>
                </a:lnTo>
                <a:lnTo>
                  <a:pt x="14" y="216"/>
                </a:lnTo>
                <a:lnTo>
                  <a:pt x="10" y="220"/>
                </a:lnTo>
                <a:lnTo>
                  <a:pt x="8" y="220"/>
                </a:lnTo>
                <a:lnTo>
                  <a:pt x="4" y="220"/>
                </a:lnTo>
                <a:lnTo>
                  <a:pt x="0" y="220"/>
                </a:lnTo>
                <a:lnTo>
                  <a:pt x="0" y="216"/>
                </a:lnTo>
                <a:lnTo>
                  <a:pt x="0" y="212"/>
                </a:lnTo>
                <a:lnTo>
                  <a:pt x="0" y="210"/>
                </a:lnTo>
                <a:lnTo>
                  <a:pt x="0" y="206"/>
                </a:lnTo>
                <a:lnTo>
                  <a:pt x="0" y="202"/>
                </a:lnTo>
                <a:lnTo>
                  <a:pt x="0" y="198"/>
                </a:lnTo>
                <a:lnTo>
                  <a:pt x="0" y="194"/>
                </a:lnTo>
                <a:lnTo>
                  <a:pt x="4" y="190"/>
                </a:lnTo>
                <a:lnTo>
                  <a:pt x="4" y="186"/>
                </a:lnTo>
                <a:lnTo>
                  <a:pt x="4" y="182"/>
                </a:lnTo>
                <a:lnTo>
                  <a:pt x="4" y="180"/>
                </a:lnTo>
                <a:lnTo>
                  <a:pt x="8" y="176"/>
                </a:lnTo>
                <a:lnTo>
                  <a:pt x="8" y="172"/>
                </a:lnTo>
                <a:lnTo>
                  <a:pt x="8" y="168"/>
                </a:lnTo>
                <a:lnTo>
                  <a:pt x="8" y="164"/>
                </a:lnTo>
                <a:lnTo>
                  <a:pt x="8" y="160"/>
                </a:lnTo>
                <a:lnTo>
                  <a:pt x="10" y="156"/>
                </a:lnTo>
                <a:lnTo>
                  <a:pt x="8" y="154"/>
                </a:lnTo>
                <a:lnTo>
                  <a:pt x="10" y="154"/>
                </a:lnTo>
                <a:lnTo>
                  <a:pt x="10" y="150"/>
                </a:lnTo>
                <a:lnTo>
                  <a:pt x="14" y="150"/>
                </a:lnTo>
                <a:lnTo>
                  <a:pt x="14" y="146"/>
                </a:lnTo>
                <a:lnTo>
                  <a:pt x="14" y="142"/>
                </a:lnTo>
                <a:lnTo>
                  <a:pt x="18" y="142"/>
                </a:lnTo>
                <a:lnTo>
                  <a:pt x="18" y="138"/>
                </a:lnTo>
                <a:lnTo>
                  <a:pt x="18" y="142"/>
                </a:lnTo>
                <a:lnTo>
                  <a:pt x="22" y="138"/>
                </a:lnTo>
                <a:lnTo>
                  <a:pt x="22" y="134"/>
                </a:lnTo>
                <a:lnTo>
                  <a:pt x="26" y="134"/>
                </a:lnTo>
                <a:lnTo>
                  <a:pt x="26" y="130"/>
                </a:lnTo>
                <a:lnTo>
                  <a:pt x="26" y="126"/>
                </a:lnTo>
                <a:lnTo>
                  <a:pt x="26" y="124"/>
                </a:lnTo>
                <a:lnTo>
                  <a:pt x="26" y="120"/>
                </a:lnTo>
                <a:lnTo>
                  <a:pt x="26" y="116"/>
                </a:lnTo>
                <a:lnTo>
                  <a:pt x="30" y="112"/>
                </a:lnTo>
                <a:lnTo>
                  <a:pt x="26" y="108"/>
                </a:lnTo>
                <a:lnTo>
                  <a:pt x="26" y="104"/>
                </a:lnTo>
                <a:lnTo>
                  <a:pt x="22" y="100"/>
                </a:lnTo>
                <a:lnTo>
                  <a:pt x="22" y="98"/>
                </a:lnTo>
                <a:lnTo>
                  <a:pt x="22" y="94"/>
                </a:lnTo>
                <a:lnTo>
                  <a:pt x="18" y="94"/>
                </a:lnTo>
                <a:lnTo>
                  <a:pt x="18" y="90"/>
                </a:lnTo>
                <a:lnTo>
                  <a:pt x="18" y="86"/>
                </a:lnTo>
                <a:lnTo>
                  <a:pt x="18" y="82"/>
                </a:lnTo>
                <a:lnTo>
                  <a:pt x="14" y="78"/>
                </a:lnTo>
                <a:lnTo>
                  <a:pt x="18" y="74"/>
                </a:lnTo>
                <a:lnTo>
                  <a:pt x="18" y="78"/>
                </a:lnTo>
                <a:lnTo>
                  <a:pt x="14" y="78"/>
                </a:lnTo>
                <a:lnTo>
                  <a:pt x="18" y="78"/>
                </a:lnTo>
                <a:lnTo>
                  <a:pt x="18" y="74"/>
                </a:lnTo>
                <a:lnTo>
                  <a:pt x="22" y="74"/>
                </a:lnTo>
                <a:lnTo>
                  <a:pt x="22" y="70"/>
                </a:lnTo>
                <a:lnTo>
                  <a:pt x="22" y="68"/>
                </a:lnTo>
                <a:lnTo>
                  <a:pt x="22" y="64"/>
                </a:lnTo>
                <a:lnTo>
                  <a:pt x="18" y="64"/>
                </a:lnTo>
                <a:lnTo>
                  <a:pt x="18" y="60"/>
                </a:lnTo>
                <a:lnTo>
                  <a:pt x="18" y="56"/>
                </a:lnTo>
                <a:lnTo>
                  <a:pt x="14" y="52"/>
                </a:lnTo>
                <a:lnTo>
                  <a:pt x="14" y="48"/>
                </a:lnTo>
                <a:lnTo>
                  <a:pt x="14" y="44"/>
                </a:lnTo>
                <a:lnTo>
                  <a:pt x="14" y="42"/>
                </a:lnTo>
                <a:lnTo>
                  <a:pt x="10" y="42"/>
                </a:lnTo>
                <a:lnTo>
                  <a:pt x="10" y="38"/>
                </a:lnTo>
                <a:lnTo>
                  <a:pt x="8" y="34"/>
                </a:lnTo>
                <a:lnTo>
                  <a:pt x="8" y="30"/>
                </a:lnTo>
                <a:lnTo>
                  <a:pt x="4" y="26"/>
                </a:lnTo>
                <a:lnTo>
                  <a:pt x="8" y="26"/>
                </a:lnTo>
                <a:lnTo>
                  <a:pt x="10" y="26"/>
                </a:lnTo>
                <a:lnTo>
                  <a:pt x="14" y="26"/>
                </a:lnTo>
                <a:lnTo>
                  <a:pt x="14" y="22"/>
                </a:lnTo>
                <a:lnTo>
                  <a:pt x="18" y="22"/>
                </a:lnTo>
                <a:lnTo>
                  <a:pt x="18" y="26"/>
                </a:lnTo>
                <a:lnTo>
                  <a:pt x="18" y="22"/>
                </a:lnTo>
                <a:lnTo>
                  <a:pt x="22" y="22"/>
                </a:lnTo>
                <a:lnTo>
                  <a:pt x="26" y="22"/>
                </a:lnTo>
                <a:lnTo>
                  <a:pt x="30" y="22"/>
                </a:lnTo>
                <a:lnTo>
                  <a:pt x="34" y="22"/>
                </a:lnTo>
                <a:lnTo>
                  <a:pt x="34" y="26"/>
                </a:lnTo>
                <a:lnTo>
                  <a:pt x="38" y="26"/>
                </a:lnTo>
                <a:lnTo>
                  <a:pt x="40" y="22"/>
                </a:lnTo>
                <a:lnTo>
                  <a:pt x="44" y="22"/>
                </a:lnTo>
                <a:lnTo>
                  <a:pt x="56" y="22"/>
                </a:lnTo>
                <a:lnTo>
                  <a:pt x="60" y="22"/>
                </a:lnTo>
                <a:lnTo>
                  <a:pt x="64" y="22"/>
                </a:lnTo>
                <a:lnTo>
                  <a:pt x="66" y="22"/>
                </a:lnTo>
                <a:lnTo>
                  <a:pt x="66" y="26"/>
                </a:lnTo>
                <a:lnTo>
                  <a:pt x="66" y="30"/>
                </a:lnTo>
                <a:lnTo>
                  <a:pt x="66" y="34"/>
                </a:lnTo>
                <a:lnTo>
                  <a:pt x="70" y="38"/>
                </a:lnTo>
                <a:lnTo>
                  <a:pt x="70" y="42"/>
                </a:lnTo>
                <a:lnTo>
                  <a:pt x="70" y="44"/>
                </a:lnTo>
                <a:lnTo>
                  <a:pt x="70" y="48"/>
                </a:lnTo>
                <a:lnTo>
                  <a:pt x="74" y="48"/>
                </a:lnTo>
                <a:lnTo>
                  <a:pt x="74" y="52"/>
                </a:lnTo>
                <a:lnTo>
                  <a:pt x="78" y="56"/>
                </a:lnTo>
                <a:lnTo>
                  <a:pt x="78" y="60"/>
                </a:lnTo>
                <a:lnTo>
                  <a:pt x="82" y="60"/>
                </a:lnTo>
                <a:lnTo>
                  <a:pt x="82" y="64"/>
                </a:lnTo>
                <a:lnTo>
                  <a:pt x="86" y="60"/>
                </a:lnTo>
                <a:lnTo>
                  <a:pt x="86" y="64"/>
                </a:lnTo>
                <a:lnTo>
                  <a:pt x="90" y="64"/>
                </a:lnTo>
                <a:lnTo>
                  <a:pt x="90" y="60"/>
                </a:lnTo>
                <a:lnTo>
                  <a:pt x="94" y="60"/>
                </a:lnTo>
                <a:lnTo>
                  <a:pt x="96" y="60"/>
                </a:lnTo>
                <a:lnTo>
                  <a:pt x="100" y="60"/>
                </a:lnTo>
                <a:lnTo>
                  <a:pt x="108" y="60"/>
                </a:lnTo>
                <a:lnTo>
                  <a:pt x="104" y="60"/>
                </a:lnTo>
                <a:lnTo>
                  <a:pt x="104" y="56"/>
                </a:lnTo>
                <a:lnTo>
                  <a:pt x="108" y="56"/>
                </a:lnTo>
                <a:lnTo>
                  <a:pt x="108" y="52"/>
                </a:lnTo>
                <a:lnTo>
                  <a:pt x="108" y="48"/>
                </a:lnTo>
                <a:lnTo>
                  <a:pt x="108" y="44"/>
                </a:lnTo>
                <a:lnTo>
                  <a:pt x="116" y="44"/>
                </a:lnTo>
                <a:lnTo>
                  <a:pt x="120" y="44"/>
                </a:lnTo>
                <a:lnTo>
                  <a:pt x="120" y="42"/>
                </a:lnTo>
                <a:lnTo>
                  <a:pt x="122" y="42"/>
                </a:lnTo>
                <a:lnTo>
                  <a:pt x="122" y="44"/>
                </a:lnTo>
                <a:lnTo>
                  <a:pt x="122" y="48"/>
                </a:lnTo>
                <a:lnTo>
                  <a:pt x="130" y="48"/>
                </a:lnTo>
                <a:lnTo>
                  <a:pt x="138" y="48"/>
                </a:lnTo>
                <a:lnTo>
                  <a:pt x="142" y="48"/>
                </a:lnTo>
                <a:lnTo>
                  <a:pt x="142" y="52"/>
                </a:lnTo>
                <a:lnTo>
                  <a:pt x="142" y="56"/>
                </a:lnTo>
                <a:lnTo>
                  <a:pt x="142" y="60"/>
                </a:lnTo>
                <a:lnTo>
                  <a:pt x="142" y="64"/>
                </a:lnTo>
                <a:lnTo>
                  <a:pt x="142" y="68"/>
                </a:lnTo>
                <a:lnTo>
                  <a:pt x="142" y="70"/>
                </a:lnTo>
                <a:lnTo>
                  <a:pt x="142" y="74"/>
                </a:lnTo>
                <a:lnTo>
                  <a:pt x="142" y="78"/>
                </a:lnTo>
                <a:lnTo>
                  <a:pt x="142" y="82"/>
                </a:lnTo>
                <a:lnTo>
                  <a:pt x="142" y="86"/>
                </a:lnTo>
                <a:lnTo>
                  <a:pt x="142" y="90"/>
                </a:lnTo>
                <a:lnTo>
                  <a:pt x="146" y="94"/>
                </a:lnTo>
                <a:lnTo>
                  <a:pt x="146" y="98"/>
                </a:lnTo>
                <a:lnTo>
                  <a:pt x="150" y="100"/>
                </a:lnTo>
                <a:lnTo>
                  <a:pt x="150" y="104"/>
                </a:lnTo>
                <a:lnTo>
                  <a:pt x="150" y="108"/>
                </a:lnTo>
                <a:lnTo>
                  <a:pt x="146" y="108"/>
                </a:lnTo>
                <a:lnTo>
                  <a:pt x="146" y="112"/>
                </a:lnTo>
                <a:lnTo>
                  <a:pt x="146" y="116"/>
                </a:lnTo>
                <a:lnTo>
                  <a:pt x="150" y="116"/>
                </a:lnTo>
                <a:lnTo>
                  <a:pt x="150" y="112"/>
                </a:lnTo>
                <a:lnTo>
                  <a:pt x="152" y="112"/>
                </a:lnTo>
                <a:lnTo>
                  <a:pt x="156" y="112"/>
                </a:lnTo>
                <a:lnTo>
                  <a:pt x="160" y="112"/>
                </a:lnTo>
                <a:lnTo>
                  <a:pt x="164" y="112"/>
                </a:lnTo>
                <a:lnTo>
                  <a:pt x="168" y="112"/>
                </a:lnTo>
                <a:lnTo>
                  <a:pt x="172" y="112"/>
                </a:lnTo>
                <a:lnTo>
                  <a:pt x="172" y="108"/>
                </a:lnTo>
                <a:lnTo>
                  <a:pt x="172" y="112"/>
                </a:lnTo>
                <a:lnTo>
                  <a:pt x="172" y="116"/>
                </a:lnTo>
                <a:lnTo>
                  <a:pt x="172" y="120"/>
                </a:lnTo>
                <a:lnTo>
                  <a:pt x="172" y="124"/>
                </a:lnTo>
                <a:lnTo>
                  <a:pt x="172" y="126"/>
                </a:lnTo>
                <a:lnTo>
                  <a:pt x="172" y="134"/>
                </a:lnTo>
                <a:lnTo>
                  <a:pt x="172" y="138"/>
                </a:lnTo>
                <a:lnTo>
                  <a:pt x="172" y="142"/>
                </a:lnTo>
                <a:lnTo>
                  <a:pt x="172" y="146"/>
                </a:lnTo>
                <a:lnTo>
                  <a:pt x="168" y="146"/>
                </a:lnTo>
                <a:lnTo>
                  <a:pt x="164" y="146"/>
                </a:lnTo>
                <a:lnTo>
                  <a:pt x="160" y="146"/>
                </a:lnTo>
                <a:lnTo>
                  <a:pt x="156" y="146"/>
                </a:lnTo>
                <a:lnTo>
                  <a:pt x="150" y="146"/>
                </a:lnTo>
                <a:lnTo>
                  <a:pt x="142" y="146"/>
                </a:lnTo>
                <a:lnTo>
                  <a:pt x="142" y="154"/>
                </a:lnTo>
                <a:lnTo>
                  <a:pt x="142" y="160"/>
                </a:lnTo>
                <a:lnTo>
                  <a:pt x="142" y="164"/>
                </a:lnTo>
                <a:lnTo>
                  <a:pt x="142" y="172"/>
                </a:lnTo>
                <a:lnTo>
                  <a:pt x="142" y="176"/>
                </a:lnTo>
                <a:lnTo>
                  <a:pt x="142" y="180"/>
                </a:lnTo>
                <a:lnTo>
                  <a:pt x="142" y="190"/>
                </a:lnTo>
                <a:lnTo>
                  <a:pt x="142" y="198"/>
                </a:lnTo>
                <a:lnTo>
                  <a:pt x="142" y="202"/>
                </a:lnTo>
                <a:lnTo>
                  <a:pt x="146" y="202"/>
                </a:lnTo>
                <a:lnTo>
                  <a:pt x="146" y="206"/>
                </a:lnTo>
                <a:lnTo>
                  <a:pt x="146" y="210"/>
                </a:lnTo>
                <a:lnTo>
                  <a:pt x="150" y="210"/>
                </a:lnTo>
                <a:lnTo>
                  <a:pt x="150" y="212"/>
                </a:lnTo>
                <a:lnTo>
                  <a:pt x="152" y="216"/>
                </a:lnTo>
                <a:lnTo>
                  <a:pt x="160" y="224"/>
                </a:lnTo>
                <a:lnTo>
                  <a:pt x="164" y="228"/>
                </a:lnTo>
                <a:lnTo>
                  <a:pt x="164" y="228"/>
                </a:lnTo>
                <a:lnTo>
                  <a:pt x="164" y="228"/>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22" name="Freeform 129"/>
          <p:cNvSpPr>
            <a:spLocks/>
          </p:cNvSpPr>
          <p:nvPr/>
        </p:nvSpPr>
        <p:spPr bwMode="auto">
          <a:xfrm>
            <a:off x="4271962" y="3443287"/>
            <a:ext cx="52388" cy="128588"/>
          </a:xfrm>
          <a:custGeom>
            <a:avLst/>
            <a:gdLst>
              <a:gd name="T0" fmla="*/ 30 w 44"/>
              <a:gd name="T1" fmla="*/ 90 h 108"/>
              <a:gd name="T2" fmla="*/ 26 w 44"/>
              <a:gd name="T3" fmla="*/ 96 h 108"/>
              <a:gd name="T4" fmla="*/ 26 w 44"/>
              <a:gd name="T5" fmla="*/ 104 h 108"/>
              <a:gd name="T6" fmla="*/ 26 w 44"/>
              <a:gd name="T7" fmla="*/ 104 h 108"/>
              <a:gd name="T8" fmla="*/ 22 w 44"/>
              <a:gd name="T9" fmla="*/ 104 h 108"/>
              <a:gd name="T10" fmla="*/ 18 w 44"/>
              <a:gd name="T11" fmla="*/ 108 h 108"/>
              <a:gd name="T12" fmla="*/ 10 w 44"/>
              <a:gd name="T13" fmla="*/ 108 h 108"/>
              <a:gd name="T14" fmla="*/ 10 w 44"/>
              <a:gd name="T15" fmla="*/ 108 h 108"/>
              <a:gd name="T16" fmla="*/ 14 w 44"/>
              <a:gd name="T17" fmla="*/ 108 h 108"/>
              <a:gd name="T18" fmla="*/ 10 w 44"/>
              <a:gd name="T19" fmla="*/ 100 h 108"/>
              <a:gd name="T20" fmla="*/ 10 w 44"/>
              <a:gd name="T21" fmla="*/ 100 h 108"/>
              <a:gd name="T22" fmla="*/ 10 w 44"/>
              <a:gd name="T23" fmla="*/ 96 h 108"/>
              <a:gd name="T24" fmla="*/ 10 w 44"/>
              <a:gd name="T25" fmla="*/ 90 h 108"/>
              <a:gd name="T26" fmla="*/ 10 w 44"/>
              <a:gd name="T27" fmla="*/ 86 h 108"/>
              <a:gd name="T28" fmla="*/ 10 w 44"/>
              <a:gd name="T29" fmla="*/ 78 h 108"/>
              <a:gd name="T30" fmla="*/ 10 w 44"/>
              <a:gd name="T31" fmla="*/ 66 h 108"/>
              <a:gd name="T32" fmla="*/ 10 w 44"/>
              <a:gd name="T33" fmla="*/ 60 h 108"/>
              <a:gd name="T34" fmla="*/ 10 w 44"/>
              <a:gd name="T35" fmla="*/ 56 h 108"/>
              <a:gd name="T36" fmla="*/ 6 w 44"/>
              <a:gd name="T37" fmla="*/ 56 h 108"/>
              <a:gd name="T38" fmla="*/ 6 w 44"/>
              <a:gd name="T39" fmla="*/ 52 h 108"/>
              <a:gd name="T40" fmla="*/ 6 w 44"/>
              <a:gd name="T41" fmla="*/ 48 h 108"/>
              <a:gd name="T42" fmla="*/ 6 w 44"/>
              <a:gd name="T43" fmla="*/ 40 h 108"/>
              <a:gd name="T44" fmla="*/ 0 w 44"/>
              <a:gd name="T45" fmla="*/ 38 h 108"/>
              <a:gd name="T46" fmla="*/ 0 w 44"/>
              <a:gd name="T47" fmla="*/ 34 h 108"/>
              <a:gd name="T48" fmla="*/ 0 w 44"/>
              <a:gd name="T49" fmla="*/ 30 h 108"/>
              <a:gd name="T50" fmla="*/ 0 w 44"/>
              <a:gd name="T51" fmla="*/ 26 h 108"/>
              <a:gd name="T52" fmla="*/ 2 w 44"/>
              <a:gd name="T53" fmla="*/ 22 h 108"/>
              <a:gd name="T54" fmla="*/ 6 w 44"/>
              <a:gd name="T55" fmla="*/ 18 h 108"/>
              <a:gd name="T56" fmla="*/ 6 w 44"/>
              <a:gd name="T57" fmla="*/ 18 h 108"/>
              <a:gd name="T58" fmla="*/ 10 w 44"/>
              <a:gd name="T59" fmla="*/ 18 h 108"/>
              <a:gd name="T60" fmla="*/ 14 w 44"/>
              <a:gd name="T61" fmla="*/ 18 h 108"/>
              <a:gd name="T62" fmla="*/ 18 w 44"/>
              <a:gd name="T63" fmla="*/ 18 h 108"/>
              <a:gd name="T64" fmla="*/ 18 w 44"/>
              <a:gd name="T65" fmla="*/ 14 h 108"/>
              <a:gd name="T66" fmla="*/ 22 w 44"/>
              <a:gd name="T67" fmla="*/ 12 h 108"/>
              <a:gd name="T68" fmla="*/ 22 w 44"/>
              <a:gd name="T69" fmla="*/ 8 h 108"/>
              <a:gd name="T70" fmla="*/ 26 w 44"/>
              <a:gd name="T71" fmla="*/ 4 h 108"/>
              <a:gd name="T72" fmla="*/ 30 w 44"/>
              <a:gd name="T73" fmla="*/ 0 h 108"/>
              <a:gd name="T74" fmla="*/ 34 w 44"/>
              <a:gd name="T75" fmla="*/ 8 h 108"/>
              <a:gd name="T76" fmla="*/ 36 w 44"/>
              <a:gd name="T77" fmla="*/ 12 h 108"/>
              <a:gd name="T78" fmla="*/ 36 w 44"/>
              <a:gd name="T79" fmla="*/ 12 h 108"/>
              <a:gd name="T80" fmla="*/ 40 w 44"/>
              <a:gd name="T81" fmla="*/ 14 h 108"/>
              <a:gd name="T82" fmla="*/ 40 w 44"/>
              <a:gd name="T83" fmla="*/ 22 h 108"/>
              <a:gd name="T84" fmla="*/ 40 w 44"/>
              <a:gd name="T85" fmla="*/ 26 h 108"/>
              <a:gd name="T86" fmla="*/ 40 w 44"/>
              <a:gd name="T87" fmla="*/ 30 h 108"/>
              <a:gd name="T88" fmla="*/ 44 w 44"/>
              <a:gd name="T89" fmla="*/ 30 h 108"/>
              <a:gd name="T90" fmla="*/ 40 w 44"/>
              <a:gd name="T91" fmla="*/ 38 h 108"/>
              <a:gd name="T92" fmla="*/ 40 w 44"/>
              <a:gd name="T93" fmla="*/ 38 h 108"/>
              <a:gd name="T94" fmla="*/ 40 w 44"/>
              <a:gd name="T95" fmla="*/ 40 h 108"/>
              <a:gd name="T96" fmla="*/ 36 w 44"/>
              <a:gd name="T97" fmla="*/ 44 h 108"/>
              <a:gd name="T98" fmla="*/ 36 w 44"/>
              <a:gd name="T99" fmla="*/ 48 h 108"/>
              <a:gd name="T100" fmla="*/ 34 w 44"/>
              <a:gd name="T101" fmla="*/ 52 h 108"/>
              <a:gd name="T102" fmla="*/ 34 w 44"/>
              <a:gd name="T103" fmla="*/ 56 h 108"/>
              <a:gd name="T104" fmla="*/ 30 w 44"/>
              <a:gd name="T105" fmla="*/ 60 h 108"/>
              <a:gd name="T106" fmla="*/ 30 w 44"/>
              <a:gd name="T107" fmla="*/ 60 h 108"/>
              <a:gd name="T108" fmla="*/ 26 w 44"/>
              <a:gd name="T109" fmla="*/ 66 h 108"/>
              <a:gd name="T110" fmla="*/ 26 w 44"/>
              <a:gd name="T111" fmla="*/ 70 h 108"/>
              <a:gd name="T112" fmla="*/ 26 w 44"/>
              <a:gd name="T113" fmla="*/ 74 h 108"/>
              <a:gd name="T114" fmla="*/ 26 w 44"/>
              <a:gd name="T115" fmla="*/ 78 h 108"/>
              <a:gd name="T116" fmla="*/ 26 w 44"/>
              <a:gd name="T117" fmla="*/ 82 h 108"/>
              <a:gd name="T118" fmla="*/ 26 w 44"/>
              <a:gd name="T119" fmla="*/ 8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4" h="108">
                <a:moveTo>
                  <a:pt x="26" y="82"/>
                </a:moveTo>
                <a:lnTo>
                  <a:pt x="26" y="82"/>
                </a:lnTo>
                <a:lnTo>
                  <a:pt x="26" y="86"/>
                </a:lnTo>
                <a:lnTo>
                  <a:pt x="30" y="90"/>
                </a:lnTo>
                <a:lnTo>
                  <a:pt x="30" y="92"/>
                </a:lnTo>
                <a:lnTo>
                  <a:pt x="26" y="92"/>
                </a:lnTo>
                <a:lnTo>
                  <a:pt x="26" y="96"/>
                </a:lnTo>
                <a:lnTo>
                  <a:pt x="26" y="96"/>
                </a:lnTo>
                <a:lnTo>
                  <a:pt x="26" y="96"/>
                </a:lnTo>
                <a:lnTo>
                  <a:pt x="26" y="100"/>
                </a:lnTo>
                <a:lnTo>
                  <a:pt x="26" y="100"/>
                </a:lnTo>
                <a:lnTo>
                  <a:pt x="26" y="104"/>
                </a:lnTo>
                <a:lnTo>
                  <a:pt x="26" y="104"/>
                </a:lnTo>
                <a:lnTo>
                  <a:pt x="26" y="104"/>
                </a:lnTo>
                <a:lnTo>
                  <a:pt x="26" y="104"/>
                </a:lnTo>
                <a:lnTo>
                  <a:pt x="26" y="104"/>
                </a:lnTo>
                <a:lnTo>
                  <a:pt x="22" y="104"/>
                </a:lnTo>
                <a:lnTo>
                  <a:pt x="22" y="104"/>
                </a:lnTo>
                <a:lnTo>
                  <a:pt x="22" y="104"/>
                </a:lnTo>
                <a:lnTo>
                  <a:pt x="22" y="104"/>
                </a:lnTo>
                <a:lnTo>
                  <a:pt x="22" y="104"/>
                </a:lnTo>
                <a:lnTo>
                  <a:pt x="22" y="104"/>
                </a:lnTo>
                <a:lnTo>
                  <a:pt x="22" y="108"/>
                </a:lnTo>
                <a:lnTo>
                  <a:pt x="18" y="108"/>
                </a:lnTo>
                <a:lnTo>
                  <a:pt x="18" y="108"/>
                </a:lnTo>
                <a:lnTo>
                  <a:pt x="14" y="108"/>
                </a:lnTo>
                <a:lnTo>
                  <a:pt x="14" y="108"/>
                </a:lnTo>
                <a:lnTo>
                  <a:pt x="10" y="108"/>
                </a:lnTo>
                <a:lnTo>
                  <a:pt x="10" y="108"/>
                </a:lnTo>
                <a:lnTo>
                  <a:pt x="10" y="108"/>
                </a:lnTo>
                <a:lnTo>
                  <a:pt x="10" y="108"/>
                </a:lnTo>
                <a:lnTo>
                  <a:pt x="10" y="108"/>
                </a:lnTo>
                <a:lnTo>
                  <a:pt x="10" y="108"/>
                </a:lnTo>
                <a:lnTo>
                  <a:pt x="14" y="108"/>
                </a:lnTo>
                <a:lnTo>
                  <a:pt x="14" y="108"/>
                </a:lnTo>
                <a:lnTo>
                  <a:pt x="14" y="108"/>
                </a:lnTo>
                <a:lnTo>
                  <a:pt x="14" y="104"/>
                </a:lnTo>
                <a:lnTo>
                  <a:pt x="14" y="104"/>
                </a:lnTo>
                <a:lnTo>
                  <a:pt x="10" y="100"/>
                </a:lnTo>
                <a:lnTo>
                  <a:pt x="10" y="100"/>
                </a:lnTo>
                <a:lnTo>
                  <a:pt x="10" y="100"/>
                </a:lnTo>
                <a:lnTo>
                  <a:pt x="10" y="100"/>
                </a:lnTo>
                <a:lnTo>
                  <a:pt x="10" y="100"/>
                </a:lnTo>
                <a:lnTo>
                  <a:pt x="10" y="100"/>
                </a:lnTo>
                <a:lnTo>
                  <a:pt x="10" y="100"/>
                </a:lnTo>
                <a:lnTo>
                  <a:pt x="10" y="96"/>
                </a:lnTo>
                <a:lnTo>
                  <a:pt x="10" y="96"/>
                </a:lnTo>
                <a:lnTo>
                  <a:pt x="10" y="96"/>
                </a:lnTo>
                <a:lnTo>
                  <a:pt x="10" y="96"/>
                </a:lnTo>
                <a:lnTo>
                  <a:pt x="10" y="92"/>
                </a:lnTo>
                <a:lnTo>
                  <a:pt x="10" y="92"/>
                </a:lnTo>
                <a:lnTo>
                  <a:pt x="10" y="90"/>
                </a:lnTo>
                <a:lnTo>
                  <a:pt x="10" y="90"/>
                </a:lnTo>
                <a:lnTo>
                  <a:pt x="10" y="86"/>
                </a:lnTo>
                <a:lnTo>
                  <a:pt x="10" y="86"/>
                </a:lnTo>
                <a:lnTo>
                  <a:pt x="10" y="86"/>
                </a:lnTo>
                <a:lnTo>
                  <a:pt x="10" y="86"/>
                </a:lnTo>
                <a:lnTo>
                  <a:pt x="10" y="86"/>
                </a:lnTo>
                <a:lnTo>
                  <a:pt x="10" y="82"/>
                </a:lnTo>
                <a:lnTo>
                  <a:pt x="10" y="78"/>
                </a:lnTo>
                <a:lnTo>
                  <a:pt x="10" y="70"/>
                </a:lnTo>
                <a:lnTo>
                  <a:pt x="10" y="70"/>
                </a:lnTo>
                <a:lnTo>
                  <a:pt x="10" y="70"/>
                </a:lnTo>
                <a:lnTo>
                  <a:pt x="10" y="66"/>
                </a:lnTo>
                <a:lnTo>
                  <a:pt x="10" y="64"/>
                </a:lnTo>
                <a:lnTo>
                  <a:pt x="10" y="64"/>
                </a:lnTo>
                <a:lnTo>
                  <a:pt x="10" y="60"/>
                </a:lnTo>
                <a:lnTo>
                  <a:pt x="10" y="60"/>
                </a:lnTo>
                <a:lnTo>
                  <a:pt x="10" y="56"/>
                </a:lnTo>
                <a:lnTo>
                  <a:pt x="10" y="56"/>
                </a:lnTo>
                <a:lnTo>
                  <a:pt x="10" y="56"/>
                </a:lnTo>
                <a:lnTo>
                  <a:pt x="10" y="56"/>
                </a:lnTo>
                <a:lnTo>
                  <a:pt x="10" y="56"/>
                </a:lnTo>
                <a:lnTo>
                  <a:pt x="6" y="56"/>
                </a:lnTo>
                <a:lnTo>
                  <a:pt x="6" y="56"/>
                </a:lnTo>
                <a:lnTo>
                  <a:pt x="6" y="56"/>
                </a:lnTo>
                <a:lnTo>
                  <a:pt x="6" y="52"/>
                </a:lnTo>
                <a:lnTo>
                  <a:pt x="6" y="52"/>
                </a:lnTo>
                <a:lnTo>
                  <a:pt x="6" y="52"/>
                </a:lnTo>
                <a:lnTo>
                  <a:pt x="6" y="52"/>
                </a:lnTo>
                <a:lnTo>
                  <a:pt x="6" y="52"/>
                </a:lnTo>
                <a:lnTo>
                  <a:pt x="6" y="52"/>
                </a:lnTo>
                <a:lnTo>
                  <a:pt x="6" y="48"/>
                </a:lnTo>
                <a:lnTo>
                  <a:pt x="6" y="48"/>
                </a:lnTo>
                <a:lnTo>
                  <a:pt x="6" y="44"/>
                </a:lnTo>
                <a:lnTo>
                  <a:pt x="6" y="44"/>
                </a:lnTo>
                <a:lnTo>
                  <a:pt x="6" y="40"/>
                </a:lnTo>
                <a:lnTo>
                  <a:pt x="6" y="40"/>
                </a:lnTo>
                <a:lnTo>
                  <a:pt x="2" y="40"/>
                </a:lnTo>
                <a:lnTo>
                  <a:pt x="2" y="40"/>
                </a:lnTo>
                <a:lnTo>
                  <a:pt x="2" y="40"/>
                </a:lnTo>
                <a:lnTo>
                  <a:pt x="0" y="38"/>
                </a:lnTo>
                <a:lnTo>
                  <a:pt x="0" y="34"/>
                </a:lnTo>
                <a:lnTo>
                  <a:pt x="0" y="34"/>
                </a:lnTo>
                <a:lnTo>
                  <a:pt x="0" y="34"/>
                </a:lnTo>
                <a:lnTo>
                  <a:pt x="0" y="34"/>
                </a:lnTo>
                <a:lnTo>
                  <a:pt x="0" y="34"/>
                </a:lnTo>
                <a:lnTo>
                  <a:pt x="0" y="30"/>
                </a:lnTo>
                <a:lnTo>
                  <a:pt x="0" y="30"/>
                </a:lnTo>
                <a:lnTo>
                  <a:pt x="0" y="30"/>
                </a:lnTo>
                <a:lnTo>
                  <a:pt x="0" y="30"/>
                </a:lnTo>
                <a:lnTo>
                  <a:pt x="0" y="30"/>
                </a:lnTo>
                <a:lnTo>
                  <a:pt x="0" y="30"/>
                </a:lnTo>
                <a:lnTo>
                  <a:pt x="0" y="26"/>
                </a:lnTo>
                <a:lnTo>
                  <a:pt x="0" y="26"/>
                </a:lnTo>
                <a:lnTo>
                  <a:pt x="2" y="26"/>
                </a:lnTo>
                <a:lnTo>
                  <a:pt x="2" y="26"/>
                </a:lnTo>
                <a:lnTo>
                  <a:pt x="2" y="22"/>
                </a:lnTo>
                <a:lnTo>
                  <a:pt x="2" y="22"/>
                </a:lnTo>
                <a:lnTo>
                  <a:pt x="6" y="22"/>
                </a:lnTo>
                <a:lnTo>
                  <a:pt x="6" y="22"/>
                </a:lnTo>
                <a:lnTo>
                  <a:pt x="6" y="18"/>
                </a:lnTo>
                <a:lnTo>
                  <a:pt x="6" y="18"/>
                </a:lnTo>
                <a:lnTo>
                  <a:pt x="6" y="18"/>
                </a:lnTo>
                <a:lnTo>
                  <a:pt x="6" y="18"/>
                </a:lnTo>
                <a:lnTo>
                  <a:pt x="6" y="18"/>
                </a:lnTo>
                <a:lnTo>
                  <a:pt x="6" y="18"/>
                </a:lnTo>
                <a:lnTo>
                  <a:pt x="10" y="18"/>
                </a:lnTo>
                <a:lnTo>
                  <a:pt x="10" y="18"/>
                </a:lnTo>
                <a:lnTo>
                  <a:pt x="10" y="18"/>
                </a:lnTo>
                <a:lnTo>
                  <a:pt x="10" y="18"/>
                </a:lnTo>
                <a:lnTo>
                  <a:pt x="10" y="18"/>
                </a:lnTo>
                <a:lnTo>
                  <a:pt x="14" y="18"/>
                </a:lnTo>
                <a:lnTo>
                  <a:pt x="14" y="18"/>
                </a:lnTo>
                <a:lnTo>
                  <a:pt x="14" y="18"/>
                </a:lnTo>
                <a:lnTo>
                  <a:pt x="14" y="18"/>
                </a:lnTo>
                <a:lnTo>
                  <a:pt x="18" y="18"/>
                </a:lnTo>
                <a:lnTo>
                  <a:pt x="18" y="18"/>
                </a:lnTo>
                <a:lnTo>
                  <a:pt x="18" y="18"/>
                </a:lnTo>
                <a:lnTo>
                  <a:pt x="18" y="18"/>
                </a:lnTo>
                <a:lnTo>
                  <a:pt x="18" y="18"/>
                </a:lnTo>
                <a:lnTo>
                  <a:pt x="18" y="14"/>
                </a:lnTo>
                <a:lnTo>
                  <a:pt x="22" y="14"/>
                </a:lnTo>
                <a:lnTo>
                  <a:pt x="22" y="14"/>
                </a:lnTo>
                <a:lnTo>
                  <a:pt x="22" y="12"/>
                </a:lnTo>
                <a:lnTo>
                  <a:pt x="22" y="12"/>
                </a:lnTo>
                <a:lnTo>
                  <a:pt x="22" y="12"/>
                </a:lnTo>
                <a:lnTo>
                  <a:pt x="22" y="12"/>
                </a:lnTo>
                <a:lnTo>
                  <a:pt x="22" y="8"/>
                </a:lnTo>
                <a:lnTo>
                  <a:pt x="22" y="8"/>
                </a:lnTo>
                <a:lnTo>
                  <a:pt x="22" y="4"/>
                </a:lnTo>
                <a:lnTo>
                  <a:pt x="22" y="4"/>
                </a:lnTo>
                <a:lnTo>
                  <a:pt x="26" y="4"/>
                </a:lnTo>
                <a:lnTo>
                  <a:pt x="26" y="4"/>
                </a:lnTo>
                <a:lnTo>
                  <a:pt x="26" y="4"/>
                </a:lnTo>
                <a:lnTo>
                  <a:pt x="26" y="4"/>
                </a:lnTo>
                <a:lnTo>
                  <a:pt x="30" y="4"/>
                </a:lnTo>
                <a:lnTo>
                  <a:pt x="30" y="0"/>
                </a:lnTo>
                <a:lnTo>
                  <a:pt x="30" y="4"/>
                </a:lnTo>
                <a:lnTo>
                  <a:pt x="30" y="4"/>
                </a:lnTo>
                <a:lnTo>
                  <a:pt x="34" y="8"/>
                </a:lnTo>
                <a:lnTo>
                  <a:pt x="34" y="8"/>
                </a:lnTo>
                <a:lnTo>
                  <a:pt x="34" y="8"/>
                </a:lnTo>
                <a:lnTo>
                  <a:pt x="34" y="12"/>
                </a:lnTo>
                <a:lnTo>
                  <a:pt x="36" y="12"/>
                </a:lnTo>
                <a:lnTo>
                  <a:pt x="36" y="12"/>
                </a:lnTo>
                <a:lnTo>
                  <a:pt x="36" y="12"/>
                </a:lnTo>
                <a:lnTo>
                  <a:pt x="36" y="12"/>
                </a:lnTo>
                <a:lnTo>
                  <a:pt x="36" y="12"/>
                </a:lnTo>
                <a:lnTo>
                  <a:pt x="36" y="12"/>
                </a:lnTo>
                <a:lnTo>
                  <a:pt x="36" y="12"/>
                </a:lnTo>
                <a:lnTo>
                  <a:pt x="40" y="14"/>
                </a:lnTo>
                <a:lnTo>
                  <a:pt x="40" y="14"/>
                </a:lnTo>
                <a:lnTo>
                  <a:pt x="40" y="14"/>
                </a:lnTo>
                <a:lnTo>
                  <a:pt x="36" y="14"/>
                </a:lnTo>
                <a:lnTo>
                  <a:pt x="36" y="18"/>
                </a:lnTo>
                <a:lnTo>
                  <a:pt x="40" y="22"/>
                </a:lnTo>
                <a:lnTo>
                  <a:pt x="40" y="22"/>
                </a:lnTo>
                <a:lnTo>
                  <a:pt x="40" y="22"/>
                </a:lnTo>
                <a:lnTo>
                  <a:pt x="40" y="22"/>
                </a:lnTo>
                <a:lnTo>
                  <a:pt x="40" y="26"/>
                </a:lnTo>
                <a:lnTo>
                  <a:pt x="40" y="26"/>
                </a:lnTo>
                <a:lnTo>
                  <a:pt x="40" y="26"/>
                </a:lnTo>
                <a:lnTo>
                  <a:pt x="40" y="26"/>
                </a:lnTo>
                <a:lnTo>
                  <a:pt x="40" y="30"/>
                </a:lnTo>
                <a:lnTo>
                  <a:pt x="40" y="30"/>
                </a:lnTo>
                <a:lnTo>
                  <a:pt x="40" y="30"/>
                </a:lnTo>
                <a:lnTo>
                  <a:pt x="40" y="30"/>
                </a:lnTo>
                <a:lnTo>
                  <a:pt x="44" y="30"/>
                </a:lnTo>
                <a:lnTo>
                  <a:pt x="44" y="30"/>
                </a:lnTo>
                <a:lnTo>
                  <a:pt x="44" y="34"/>
                </a:lnTo>
                <a:lnTo>
                  <a:pt x="40" y="34"/>
                </a:lnTo>
                <a:lnTo>
                  <a:pt x="40" y="38"/>
                </a:lnTo>
                <a:lnTo>
                  <a:pt x="40" y="38"/>
                </a:lnTo>
                <a:lnTo>
                  <a:pt x="40" y="38"/>
                </a:lnTo>
                <a:lnTo>
                  <a:pt x="40" y="38"/>
                </a:lnTo>
                <a:lnTo>
                  <a:pt x="40" y="38"/>
                </a:lnTo>
                <a:lnTo>
                  <a:pt x="40" y="38"/>
                </a:lnTo>
                <a:lnTo>
                  <a:pt x="40" y="40"/>
                </a:lnTo>
                <a:lnTo>
                  <a:pt x="40" y="40"/>
                </a:lnTo>
                <a:lnTo>
                  <a:pt x="40" y="40"/>
                </a:lnTo>
                <a:lnTo>
                  <a:pt x="40" y="40"/>
                </a:lnTo>
                <a:lnTo>
                  <a:pt x="40" y="44"/>
                </a:lnTo>
                <a:lnTo>
                  <a:pt x="40" y="44"/>
                </a:lnTo>
                <a:lnTo>
                  <a:pt x="36" y="44"/>
                </a:lnTo>
                <a:lnTo>
                  <a:pt x="36" y="44"/>
                </a:lnTo>
                <a:lnTo>
                  <a:pt x="36" y="44"/>
                </a:lnTo>
                <a:lnTo>
                  <a:pt x="36" y="48"/>
                </a:lnTo>
                <a:lnTo>
                  <a:pt x="36" y="48"/>
                </a:lnTo>
                <a:lnTo>
                  <a:pt x="36" y="48"/>
                </a:lnTo>
                <a:lnTo>
                  <a:pt x="36" y="48"/>
                </a:lnTo>
                <a:lnTo>
                  <a:pt x="36" y="48"/>
                </a:lnTo>
                <a:lnTo>
                  <a:pt x="36" y="48"/>
                </a:lnTo>
                <a:lnTo>
                  <a:pt x="34" y="52"/>
                </a:lnTo>
                <a:lnTo>
                  <a:pt x="34" y="52"/>
                </a:lnTo>
                <a:lnTo>
                  <a:pt x="34" y="52"/>
                </a:lnTo>
                <a:lnTo>
                  <a:pt x="34" y="52"/>
                </a:lnTo>
                <a:lnTo>
                  <a:pt x="34" y="56"/>
                </a:lnTo>
                <a:lnTo>
                  <a:pt x="34" y="56"/>
                </a:lnTo>
                <a:lnTo>
                  <a:pt x="34" y="60"/>
                </a:lnTo>
                <a:lnTo>
                  <a:pt x="30" y="60"/>
                </a:lnTo>
                <a:lnTo>
                  <a:pt x="30" y="60"/>
                </a:lnTo>
                <a:lnTo>
                  <a:pt x="30" y="60"/>
                </a:lnTo>
                <a:lnTo>
                  <a:pt x="30" y="60"/>
                </a:lnTo>
                <a:lnTo>
                  <a:pt x="30" y="60"/>
                </a:lnTo>
                <a:lnTo>
                  <a:pt x="30" y="60"/>
                </a:lnTo>
                <a:lnTo>
                  <a:pt x="26" y="64"/>
                </a:lnTo>
                <a:lnTo>
                  <a:pt x="26" y="64"/>
                </a:lnTo>
                <a:lnTo>
                  <a:pt x="26" y="64"/>
                </a:lnTo>
                <a:lnTo>
                  <a:pt x="26" y="66"/>
                </a:lnTo>
                <a:lnTo>
                  <a:pt x="26" y="66"/>
                </a:lnTo>
                <a:lnTo>
                  <a:pt x="26" y="66"/>
                </a:lnTo>
                <a:lnTo>
                  <a:pt x="26" y="66"/>
                </a:lnTo>
                <a:lnTo>
                  <a:pt x="26" y="70"/>
                </a:lnTo>
                <a:lnTo>
                  <a:pt x="26" y="70"/>
                </a:lnTo>
                <a:lnTo>
                  <a:pt x="26" y="70"/>
                </a:lnTo>
                <a:lnTo>
                  <a:pt x="26" y="70"/>
                </a:lnTo>
                <a:lnTo>
                  <a:pt x="26" y="74"/>
                </a:lnTo>
                <a:lnTo>
                  <a:pt x="26" y="74"/>
                </a:lnTo>
                <a:lnTo>
                  <a:pt x="26" y="74"/>
                </a:lnTo>
                <a:lnTo>
                  <a:pt x="26" y="74"/>
                </a:lnTo>
                <a:lnTo>
                  <a:pt x="26" y="78"/>
                </a:lnTo>
                <a:lnTo>
                  <a:pt x="26" y="78"/>
                </a:lnTo>
                <a:lnTo>
                  <a:pt x="26" y="78"/>
                </a:lnTo>
                <a:lnTo>
                  <a:pt x="26" y="78"/>
                </a:lnTo>
                <a:lnTo>
                  <a:pt x="26" y="82"/>
                </a:lnTo>
                <a:lnTo>
                  <a:pt x="26" y="82"/>
                </a:lnTo>
                <a:lnTo>
                  <a:pt x="26" y="82"/>
                </a:lnTo>
                <a:lnTo>
                  <a:pt x="26" y="82"/>
                </a:lnTo>
                <a:lnTo>
                  <a:pt x="26" y="82"/>
                </a:lnTo>
                <a:lnTo>
                  <a:pt x="26" y="82"/>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23" name="Freeform 130"/>
          <p:cNvSpPr>
            <a:spLocks/>
          </p:cNvSpPr>
          <p:nvPr/>
        </p:nvSpPr>
        <p:spPr bwMode="auto">
          <a:xfrm>
            <a:off x="4593431" y="4064793"/>
            <a:ext cx="154781" cy="190500"/>
          </a:xfrm>
          <a:custGeom>
            <a:avLst/>
            <a:gdLst>
              <a:gd name="T0" fmla="*/ 82 w 130"/>
              <a:gd name="T1" fmla="*/ 124 h 160"/>
              <a:gd name="T2" fmla="*/ 80 w 130"/>
              <a:gd name="T3" fmla="*/ 134 h 160"/>
              <a:gd name="T4" fmla="*/ 76 w 130"/>
              <a:gd name="T5" fmla="*/ 142 h 160"/>
              <a:gd name="T6" fmla="*/ 68 w 130"/>
              <a:gd name="T7" fmla="*/ 142 h 160"/>
              <a:gd name="T8" fmla="*/ 64 w 130"/>
              <a:gd name="T9" fmla="*/ 138 h 160"/>
              <a:gd name="T10" fmla="*/ 60 w 130"/>
              <a:gd name="T11" fmla="*/ 138 h 160"/>
              <a:gd name="T12" fmla="*/ 54 w 130"/>
              <a:gd name="T13" fmla="*/ 134 h 160"/>
              <a:gd name="T14" fmla="*/ 46 w 130"/>
              <a:gd name="T15" fmla="*/ 130 h 160"/>
              <a:gd name="T16" fmla="*/ 42 w 130"/>
              <a:gd name="T17" fmla="*/ 138 h 160"/>
              <a:gd name="T18" fmla="*/ 38 w 130"/>
              <a:gd name="T19" fmla="*/ 146 h 160"/>
              <a:gd name="T20" fmla="*/ 30 w 130"/>
              <a:gd name="T21" fmla="*/ 152 h 160"/>
              <a:gd name="T22" fmla="*/ 26 w 130"/>
              <a:gd name="T23" fmla="*/ 156 h 160"/>
              <a:gd name="T24" fmla="*/ 26 w 130"/>
              <a:gd name="T25" fmla="*/ 160 h 160"/>
              <a:gd name="T26" fmla="*/ 20 w 130"/>
              <a:gd name="T27" fmla="*/ 160 h 160"/>
              <a:gd name="T28" fmla="*/ 16 w 130"/>
              <a:gd name="T29" fmla="*/ 160 h 160"/>
              <a:gd name="T30" fmla="*/ 12 w 130"/>
              <a:gd name="T31" fmla="*/ 160 h 160"/>
              <a:gd name="T32" fmla="*/ 8 w 130"/>
              <a:gd name="T33" fmla="*/ 152 h 160"/>
              <a:gd name="T34" fmla="*/ 12 w 130"/>
              <a:gd name="T35" fmla="*/ 150 h 160"/>
              <a:gd name="T36" fmla="*/ 8 w 130"/>
              <a:gd name="T37" fmla="*/ 138 h 160"/>
              <a:gd name="T38" fmla="*/ 4 w 130"/>
              <a:gd name="T39" fmla="*/ 128 h 160"/>
              <a:gd name="T40" fmla="*/ 0 w 130"/>
              <a:gd name="T41" fmla="*/ 124 h 160"/>
              <a:gd name="T42" fmla="*/ 0 w 130"/>
              <a:gd name="T43" fmla="*/ 104 h 160"/>
              <a:gd name="T44" fmla="*/ 0 w 130"/>
              <a:gd name="T45" fmla="*/ 90 h 160"/>
              <a:gd name="T46" fmla="*/ 0 w 130"/>
              <a:gd name="T47" fmla="*/ 74 h 160"/>
              <a:gd name="T48" fmla="*/ 16 w 130"/>
              <a:gd name="T49" fmla="*/ 68 h 160"/>
              <a:gd name="T50" fmla="*/ 16 w 130"/>
              <a:gd name="T51" fmla="*/ 22 h 160"/>
              <a:gd name="T52" fmla="*/ 26 w 130"/>
              <a:gd name="T53" fmla="*/ 8 h 160"/>
              <a:gd name="T54" fmla="*/ 46 w 130"/>
              <a:gd name="T55" fmla="*/ 4 h 160"/>
              <a:gd name="T56" fmla="*/ 50 w 130"/>
              <a:gd name="T57" fmla="*/ 8 h 160"/>
              <a:gd name="T58" fmla="*/ 54 w 130"/>
              <a:gd name="T59" fmla="*/ 12 h 160"/>
              <a:gd name="T60" fmla="*/ 56 w 130"/>
              <a:gd name="T61" fmla="*/ 8 h 160"/>
              <a:gd name="T62" fmla="*/ 64 w 130"/>
              <a:gd name="T63" fmla="*/ 4 h 160"/>
              <a:gd name="T64" fmla="*/ 68 w 130"/>
              <a:gd name="T65" fmla="*/ 0 h 160"/>
              <a:gd name="T66" fmla="*/ 76 w 130"/>
              <a:gd name="T67" fmla="*/ 0 h 160"/>
              <a:gd name="T68" fmla="*/ 76 w 130"/>
              <a:gd name="T69" fmla="*/ 4 h 160"/>
              <a:gd name="T70" fmla="*/ 80 w 130"/>
              <a:gd name="T71" fmla="*/ 8 h 160"/>
              <a:gd name="T72" fmla="*/ 82 w 130"/>
              <a:gd name="T73" fmla="*/ 18 h 160"/>
              <a:gd name="T74" fmla="*/ 86 w 130"/>
              <a:gd name="T75" fmla="*/ 22 h 160"/>
              <a:gd name="T76" fmla="*/ 90 w 130"/>
              <a:gd name="T77" fmla="*/ 30 h 160"/>
              <a:gd name="T78" fmla="*/ 94 w 130"/>
              <a:gd name="T79" fmla="*/ 34 h 160"/>
              <a:gd name="T80" fmla="*/ 102 w 130"/>
              <a:gd name="T81" fmla="*/ 38 h 160"/>
              <a:gd name="T82" fmla="*/ 106 w 130"/>
              <a:gd name="T83" fmla="*/ 46 h 160"/>
              <a:gd name="T84" fmla="*/ 110 w 130"/>
              <a:gd name="T85" fmla="*/ 46 h 160"/>
              <a:gd name="T86" fmla="*/ 110 w 130"/>
              <a:gd name="T87" fmla="*/ 52 h 160"/>
              <a:gd name="T88" fmla="*/ 112 w 130"/>
              <a:gd name="T89" fmla="*/ 64 h 160"/>
              <a:gd name="T90" fmla="*/ 116 w 130"/>
              <a:gd name="T91" fmla="*/ 68 h 160"/>
              <a:gd name="T92" fmla="*/ 120 w 130"/>
              <a:gd name="T93" fmla="*/ 68 h 160"/>
              <a:gd name="T94" fmla="*/ 126 w 130"/>
              <a:gd name="T95" fmla="*/ 68 h 160"/>
              <a:gd name="T96" fmla="*/ 126 w 130"/>
              <a:gd name="T97" fmla="*/ 74 h 160"/>
              <a:gd name="T98" fmla="*/ 130 w 130"/>
              <a:gd name="T99" fmla="*/ 74 h 160"/>
              <a:gd name="T100" fmla="*/ 126 w 130"/>
              <a:gd name="T101" fmla="*/ 78 h 160"/>
              <a:gd name="T102" fmla="*/ 126 w 130"/>
              <a:gd name="T103" fmla="*/ 82 h 160"/>
              <a:gd name="T104" fmla="*/ 116 w 130"/>
              <a:gd name="T105" fmla="*/ 86 h 160"/>
              <a:gd name="T106" fmla="*/ 112 w 130"/>
              <a:gd name="T107" fmla="*/ 90 h 160"/>
              <a:gd name="T108" fmla="*/ 110 w 130"/>
              <a:gd name="T109" fmla="*/ 98 h 160"/>
              <a:gd name="T110" fmla="*/ 102 w 130"/>
              <a:gd name="T111" fmla="*/ 100 h 160"/>
              <a:gd name="T112" fmla="*/ 98 w 130"/>
              <a:gd name="T113" fmla="*/ 108 h 160"/>
              <a:gd name="T114" fmla="*/ 94 w 130"/>
              <a:gd name="T115" fmla="*/ 116 h 160"/>
              <a:gd name="T116" fmla="*/ 90 w 130"/>
              <a:gd name="T117" fmla="*/ 12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0" h="160">
                <a:moveTo>
                  <a:pt x="90" y="120"/>
                </a:moveTo>
                <a:lnTo>
                  <a:pt x="90" y="120"/>
                </a:lnTo>
                <a:lnTo>
                  <a:pt x="90" y="120"/>
                </a:lnTo>
                <a:lnTo>
                  <a:pt x="90" y="120"/>
                </a:lnTo>
                <a:lnTo>
                  <a:pt x="86" y="120"/>
                </a:lnTo>
                <a:lnTo>
                  <a:pt x="86" y="120"/>
                </a:lnTo>
                <a:lnTo>
                  <a:pt x="82" y="124"/>
                </a:lnTo>
                <a:lnTo>
                  <a:pt x="82" y="124"/>
                </a:lnTo>
                <a:lnTo>
                  <a:pt x="82" y="124"/>
                </a:lnTo>
                <a:lnTo>
                  <a:pt x="82" y="124"/>
                </a:lnTo>
                <a:lnTo>
                  <a:pt x="82" y="128"/>
                </a:lnTo>
                <a:lnTo>
                  <a:pt x="82" y="130"/>
                </a:lnTo>
                <a:lnTo>
                  <a:pt x="80" y="134"/>
                </a:lnTo>
                <a:lnTo>
                  <a:pt x="80" y="134"/>
                </a:lnTo>
                <a:lnTo>
                  <a:pt x="80" y="138"/>
                </a:lnTo>
                <a:lnTo>
                  <a:pt x="80" y="138"/>
                </a:lnTo>
                <a:lnTo>
                  <a:pt x="80" y="138"/>
                </a:lnTo>
                <a:lnTo>
                  <a:pt x="80" y="138"/>
                </a:lnTo>
                <a:lnTo>
                  <a:pt x="76" y="138"/>
                </a:lnTo>
                <a:lnTo>
                  <a:pt x="76" y="142"/>
                </a:lnTo>
                <a:lnTo>
                  <a:pt x="76" y="142"/>
                </a:lnTo>
                <a:lnTo>
                  <a:pt x="72" y="142"/>
                </a:lnTo>
                <a:lnTo>
                  <a:pt x="72" y="138"/>
                </a:lnTo>
                <a:lnTo>
                  <a:pt x="72" y="138"/>
                </a:lnTo>
                <a:lnTo>
                  <a:pt x="72" y="138"/>
                </a:lnTo>
                <a:lnTo>
                  <a:pt x="72" y="138"/>
                </a:lnTo>
                <a:lnTo>
                  <a:pt x="72" y="142"/>
                </a:lnTo>
                <a:lnTo>
                  <a:pt x="68" y="142"/>
                </a:lnTo>
                <a:lnTo>
                  <a:pt x="68" y="142"/>
                </a:lnTo>
                <a:lnTo>
                  <a:pt x="68" y="142"/>
                </a:lnTo>
                <a:lnTo>
                  <a:pt x="68" y="142"/>
                </a:lnTo>
                <a:lnTo>
                  <a:pt x="64" y="142"/>
                </a:lnTo>
                <a:lnTo>
                  <a:pt x="64" y="142"/>
                </a:lnTo>
                <a:lnTo>
                  <a:pt x="64" y="142"/>
                </a:lnTo>
                <a:lnTo>
                  <a:pt x="64" y="138"/>
                </a:lnTo>
                <a:lnTo>
                  <a:pt x="64" y="138"/>
                </a:lnTo>
                <a:lnTo>
                  <a:pt x="64" y="142"/>
                </a:lnTo>
                <a:lnTo>
                  <a:pt x="60" y="142"/>
                </a:lnTo>
                <a:lnTo>
                  <a:pt x="60" y="138"/>
                </a:lnTo>
                <a:lnTo>
                  <a:pt x="60" y="138"/>
                </a:lnTo>
                <a:lnTo>
                  <a:pt x="60" y="138"/>
                </a:lnTo>
                <a:lnTo>
                  <a:pt x="60" y="138"/>
                </a:lnTo>
                <a:lnTo>
                  <a:pt x="60" y="138"/>
                </a:lnTo>
                <a:lnTo>
                  <a:pt x="56" y="138"/>
                </a:lnTo>
                <a:lnTo>
                  <a:pt x="56" y="138"/>
                </a:lnTo>
                <a:lnTo>
                  <a:pt x="56" y="138"/>
                </a:lnTo>
                <a:lnTo>
                  <a:pt x="56" y="138"/>
                </a:lnTo>
                <a:lnTo>
                  <a:pt x="56" y="138"/>
                </a:lnTo>
                <a:lnTo>
                  <a:pt x="54" y="134"/>
                </a:lnTo>
                <a:lnTo>
                  <a:pt x="54" y="134"/>
                </a:lnTo>
                <a:lnTo>
                  <a:pt x="54" y="134"/>
                </a:lnTo>
                <a:lnTo>
                  <a:pt x="54" y="134"/>
                </a:lnTo>
                <a:lnTo>
                  <a:pt x="54" y="134"/>
                </a:lnTo>
                <a:lnTo>
                  <a:pt x="50" y="130"/>
                </a:lnTo>
                <a:lnTo>
                  <a:pt x="50" y="130"/>
                </a:lnTo>
                <a:lnTo>
                  <a:pt x="46" y="130"/>
                </a:lnTo>
                <a:lnTo>
                  <a:pt x="46" y="130"/>
                </a:lnTo>
                <a:lnTo>
                  <a:pt x="42" y="130"/>
                </a:lnTo>
                <a:lnTo>
                  <a:pt x="42" y="130"/>
                </a:lnTo>
                <a:lnTo>
                  <a:pt x="42" y="134"/>
                </a:lnTo>
                <a:lnTo>
                  <a:pt x="42" y="134"/>
                </a:lnTo>
                <a:lnTo>
                  <a:pt x="42" y="138"/>
                </a:lnTo>
                <a:lnTo>
                  <a:pt x="42" y="138"/>
                </a:lnTo>
                <a:lnTo>
                  <a:pt x="42" y="138"/>
                </a:lnTo>
                <a:lnTo>
                  <a:pt x="38" y="138"/>
                </a:lnTo>
                <a:lnTo>
                  <a:pt x="38" y="138"/>
                </a:lnTo>
                <a:lnTo>
                  <a:pt x="38" y="142"/>
                </a:lnTo>
                <a:lnTo>
                  <a:pt x="38" y="142"/>
                </a:lnTo>
                <a:lnTo>
                  <a:pt x="38" y="146"/>
                </a:lnTo>
                <a:lnTo>
                  <a:pt x="38" y="146"/>
                </a:lnTo>
                <a:lnTo>
                  <a:pt x="38" y="146"/>
                </a:lnTo>
                <a:lnTo>
                  <a:pt x="38" y="146"/>
                </a:lnTo>
                <a:lnTo>
                  <a:pt x="38" y="146"/>
                </a:lnTo>
                <a:lnTo>
                  <a:pt x="34" y="150"/>
                </a:lnTo>
                <a:lnTo>
                  <a:pt x="34" y="150"/>
                </a:lnTo>
                <a:lnTo>
                  <a:pt x="30" y="150"/>
                </a:lnTo>
                <a:lnTo>
                  <a:pt x="30" y="152"/>
                </a:lnTo>
                <a:lnTo>
                  <a:pt x="30" y="152"/>
                </a:lnTo>
                <a:lnTo>
                  <a:pt x="30" y="152"/>
                </a:lnTo>
                <a:lnTo>
                  <a:pt x="30" y="152"/>
                </a:lnTo>
                <a:lnTo>
                  <a:pt x="30" y="156"/>
                </a:lnTo>
                <a:lnTo>
                  <a:pt x="30" y="156"/>
                </a:lnTo>
                <a:lnTo>
                  <a:pt x="26" y="156"/>
                </a:lnTo>
                <a:lnTo>
                  <a:pt x="26" y="156"/>
                </a:lnTo>
                <a:lnTo>
                  <a:pt x="26" y="156"/>
                </a:lnTo>
                <a:lnTo>
                  <a:pt x="26" y="156"/>
                </a:lnTo>
                <a:lnTo>
                  <a:pt x="26" y="156"/>
                </a:lnTo>
                <a:lnTo>
                  <a:pt x="26" y="156"/>
                </a:lnTo>
                <a:lnTo>
                  <a:pt x="26" y="156"/>
                </a:lnTo>
                <a:lnTo>
                  <a:pt x="26" y="160"/>
                </a:lnTo>
                <a:lnTo>
                  <a:pt x="26" y="160"/>
                </a:lnTo>
                <a:lnTo>
                  <a:pt x="24" y="160"/>
                </a:lnTo>
                <a:lnTo>
                  <a:pt x="24" y="160"/>
                </a:lnTo>
                <a:lnTo>
                  <a:pt x="24" y="160"/>
                </a:lnTo>
                <a:lnTo>
                  <a:pt x="24" y="160"/>
                </a:lnTo>
                <a:lnTo>
                  <a:pt x="24" y="160"/>
                </a:lnTo>
                <a:lnTo>
                  <a:pt x="20" y="160"/>
                </a:lnTo>
                <a:lnTo>
                  <a:pt x="20" y="160"/>
                </a:lnTo>
                <a:lnTo>
                  <a:pt x="20" y="160"/>
                </a:lnTo>
                <a:lnTo>
                  <a:pt x="20" y="160"/>
                </a:lnTo>
                <a:lnTo>
                  <a:pt x="20" y="160"/>
                </a:lnTo>
                <a:lnTo>
                  <a:pt x="20" y="160"/>
                </a:lnTo>
                <a:lnTo>
                  <a:pt x="16" y="160"/>
                </a:lnTo>
                <a:lnTo>
                  <a:pt x="16" y="160"/>
                </a:lnTo>
                <a:lnTo>
                  <a:pt x="16" y="160"/>
                </a:lnTo>
                <a:lnTo>
                  <a:pt x="16" y="160"/>
                </a:lnTo>
                <a:lnTo>
                  <a:pt x="16" y="160"/>
                </a:lnTo>
                <a:lnTo>
                  <a:pt x="16" y="160"/>
                </a:lnTo>
                <a:lnTo>
                  <a:pt x="16" y="160"/>
                </a:lnTo>
                <a:lnTo>
                  <a:pt x="12" y="160"/>
                </a:lnTo>
                <a:lnTo>
                  <a:pt x="12" y="160"/>
                </a:lnTo>
                <a:lnTo>
                  <a:pt x="12" y="160"/>
                </a:lnTo>
                <a:lnTo>
                  <a:pt x="12" y="160"/>
                </a:lnTo>
                <a:lnTo>
                  <a:pt x="12" y="160"/>
                </a:lnTo>
                <a:lnTo>
                  <a:pt x="12" y="160"/>
                </a:lnTo>
                <a:lnTo>
                  <a:pt x="12" y="160"/>
                </a:lnTo>
                <a:lnTo>
                  <a:pt x="8" y="160"/>
                </a:lnTo>
                <a:lnTo>
                  <a:pt x="8" y="156"/>
                </a:lnTo>
                <a:lnTo>
                  <a:pt x="8" y="152"/>
                </a:lnTo>
                <a:lnTo>
                  <a:pt x="8" y="152"/>
                </a:lnTo>
                <a:lnTo>
                  <a:pt x="8" y="152"/>
                </a:lnTo>
                <a:lnTo>
                  <a:pt x="8" y="152"/>
                </a:lnTo>
                <a:lnTo>
                  <a:pt x="8" y="152"/>
                </a:lnTo>
                <a:lnTo>
                  <a:pt x="12" y="152"/>
                </a:lnTo>
                <a:lnTo>
                  <a:pt x="12" y="150"/>
                </a:lnTo>
                <a:lnTo>
                  <a:pt x="12" y="150"/>
                </a:lnTo>
                <a:lnTo>
                  <a:pt x="12" y="150"/>
                </a:lnTo>
                <a:lnTo>
                  <a:pt x="12" y="146"/>
                </a:lnTo>
                <a:lnTo>
                  <a:pt x="12" y="142"/>
                </a:lnTo>
                <a:lnTo>
                  <a:pt x="12" y="142"/>
                </a:lnTo>
                <a:lnTo>
                  <a:pt x="12" y="142"/>
                </a:lnTo>
                <a:lnTo>
                  <a:pt x="8" y="138"/>
                </a:lnTo>
                <a:lnTo>
                  <a:pt x="8" y="138"/>
                </a:lnTo>
                <a:lnTo>
                  <a:pt x="12" y="138"/>
                </a:lnTo>
                <a:lnTo>
                  <a:pt x="8" y="134"/>
                </a:lnTo>
                <a:lnTo>
                  <a:pt x="8" y="134"/>
                </a:lnTo>
                <a:lnTo>
                  <a:pt x="8" y="134"/>
                </a:lnTo>
                <a:lnTo>
                  <a:pt x="8" y="130"/>
                </a:lnTo>
                <a:lnTo>
                  <a:pt x="8" y="130"/>
                </a:lnTo>
                <a:lnTo>
                  <a:pt x="4" y="128"/>
                </a:lnTo>
                <a:lnTo>
                  <a:pt x="4" y="128"/>
                </a:lnTo>
                <a:lnTo>
                  <a:pt x="4" y="124"/>
                </a:lnTo>
                <a:lnTo>
                  <a:pt x="4" y="124"/>
                </a:lnTo>
                <a:lnTo>
                  <a:pt x="0" y="124"/>
                </a:lnTo>
                <a:lnTo>
                  <a:pt x="0" y="124"/>
                </a:lnTo>
                <a:lnTo>
                  <a:pt x="0" y="124"/>
                </a:lnTo>
                <a:lnTo>
                  <a:pt x="0" y="124"/>
                </a:lnTo>
                <a:lnTo>
                  <a:pt x="0" y="124"/>
                </a:lnTo>
                <a:lnTo>
                  <a:pt x="0" y="124"/>
                </a:lnTo>
                <a:lnTo>
                  <a:pt x="0" y="120"/>
                </a:lnTo>
                <a:lnTo>
                  <a:pt x="0" y="116"/>
                </a:lnTo>
                <a:lnTo>
                  <a:pt x="0" y="112"/>
                </a:lnTo>
                <a:lnTo>
                  <a:pt x="0" y="108"/>
                </a:lnTo>
                <a:lnTo>
                  <a:pt x="0" y="104"/>
                </a:lnTo>
                <a:lnTo>
                  <a:pt x="0" y="104"/>
                </a:lnTo>
                <a:lnTo>
                  <a:pt x="0" y="100"/>
                </a:lnTo>
                <a:lnTo>
                  <a:pt x="0" y="98"/>
                </a:lnTo>
                <a:lnTo>
                  <a:pt x="0" y="98"/>
                </a:lnTo>
                <a:lnTo>
                  <a:pt x="0" y="94"/>
                </a:lnTo>
                <a:lnTo>
                  <a:pt x="0" y="90"/>
                </a:lnTo>
                <a:lnTo>
                  <a:pt x="0" y="90"/>
                </a:lnTo>
                <a:lnTo>
                  <a:pt x="0" y="90"/>
                </a:lnTo>
                <a:lnTo>
                  <a:pt x="0" y="86"/>
                </a:lnTo>
                <a:lnTo>
                  <a:pt x="0" y="82"/>
                </a:lnTo>
                <a:lnTo>
                  <a:pt x="0" y="78"/>
                </a:lnTo>
                <a:lnTo>
                  <a:pt x="0" y="74"/>
                </a:lnTo>
                <a:lnTo>
                  <a:pt x="0" y="74"/>
                </a:lnTo>
                <a:lnTo>
                  <a:pt x="0" y="74"/>
                </a:lnTo>
                <a:lnTo>
                  <a:pt x="4" y="74"/>
                </a:lnTo>
                <a:lnTo>
                  <a:pt x="8" y="74"/>
                </a:lnTo>
                <a:lnTo>
                  <a:pt x="12" y="74"/>
                </a:lnTo>
                <a:lnTo>
                  <a:pt x="16" y="74"/>
                </a:lnTo>
                <a:lnTo>
                  <a:pt x="16" y="72"/>
                </a:lnTo>
                <a:lnTo>
                  <a:pt x="16" y="72"/>
                </a:lnTo>
                <a:lnTo>
                  <a:pt x="16" y="68"/>
                </a:lnTo>
                <a:lnTo>
                  <a:pt x="16" y="60"/>
                </a:lnTo>
                <a:lnTo>
                  <a:pt x="16" y="56"/>
                </a:lnTo>
                <a:lnTo>
                  <a:pt x="16" y="56"/>
                </a:lnTo>
                <a:lnTo>
                  <a:pt x="16" y="52"/>
                </a:lnTo>
                <a:lnTo>
                  <a:pt x="16" y="42"/>
                </a:lnTo>
                <a:lnTo>
                  <a:pt x="16" y="38"/>
                </a:lnTo>
                <a:lnTo>
                  <a:pt x="16" y="22"/>
                </a:lnTo>
                <a:lnTo>
                  <a:pt x="16" y="16"/>
                </a:lnTo>
                <a:lnTo>
                  <a:pt x="16" y="12"/>
                </a:lnTo>
                <a:lnTo>
                  <a:pt x="16" y="8"/>
                </a:lnTo>
                <a:lnTo>
                  <a:pt x="16" y="8"/>
                </a:lnTo>
                <a:lnTo>
                  <a:pt x="20" y="8"/>
                </a:lnTo>
                <a:lnTo>
                  <a:pt x="20" y="8"/>
                </a:lnTo>
                <a:lnTo>
                  <a:pt x="26" y="8"/>
                </a:lnTo>
                <a:lnTo>
                  <a:pt x="30" y="4"/>
                </a:lnTo>
                <a:lnTo>
                  <a:pt x="34" y="4"/>
                </a:lnTo>
                <a:lnTo>
                  <a:pt x="38" y="4"/>
                </a:lnTo>
                <a:lnTo>
                  <a:pt x="46" y="4"/>
                </a:lnTo>
                <a:lnTo>
                  <a:pt x="46" y="4"/>
                </a:lnTo>
                <a:lnTo>
                  <a:pt x="46" y="4"/>
                </a:lnTo>
                <a:lnTo>
                  <a:pt x="46" y="4"/>
                </a:lnTo>
                <a:lnTo>
                  <a:pt x="50" y="4"/>
                </a:lnTo>
                <a:lnTo>
                  <a:pt x="50" y="4"/>
                </a:lnTo>
                <a:lnTo>
                  <a:pt x="50" y="4"/>
                </a:lnTo>
                <a:lnTo>
                  <a:pt x="50" y="4"/>
                </a:lnTo>
                <a:lnTo>
                  <a:pt x="50" y="8"/>
                </a:lnTo>
                <a:lnTo>
                  <a:pt x="50" y="8"/>
                </a:lnTo>
                <a:lnTo>
                  <a:pt x="50" y="8"/>
                </a:lnTo>
                <a:lnTo>
                  <a:pt x="50" y="8"/>
                </a:lnTo>
                <a:lnTo>
                  <a:pt x="50" y="8"/>
                </a:lnTo>
                <a:lnTo>
                  <a:pt x="50" y="8"/>
                </a:lnTo>
                <a:lnTo>
                  <a:pt x="50" y="12"/>
                </a:lnTo>
                <a:lnTo>
                  <a:pt x="50" y="12"/>
                </a:lnTo>
                <a:lnTo>
                  <a:pt x="54" y="12"/>
                </a:lnTo>
                <a:lnTo>
                  <a:pt x="54" y="12"/>
                </a:lnTo>
                <a:lnTo>
                  <a:pt x="54" y="12"/>
                </a:lnTo>
                <a:lnTo>
                  <a:pt x="54" y="8"/>
                </a:lnTo>
                <a:lnTo>
                  <a:pt x="54" y="8"/>
                </a:lnTo>
                <a:lnTo>
                  <a:pt x="54" y="8"/>
                </a:lnTo>
                <a:lnTo>
                  <a:pt x="56" y="8"/>
                </a:lnTo>
                <a:lnTo>
                  <a:pt x="56" y="8"/>
                </a:lnTo>
                <a:lnTo>
                  <a:pt x="56" y="8"/>
                </a:lnTo>
                <a:lnTo>
                  <a:pt x="56" y="8"/>
                </a:lnTo>
                <a:lnTo>
                  <a:pt x="56" y="4"/>
                </a:lnTo>
                <a:lnTo>
                  <a:pt x="60" y="4"/>
                </a:lnTo>
                <a:lnTo>
                  <a:pt x="60" y="0"/>
                </a:lnTo>
                <a:lnTo>
                  <a:pt x="64" y="0"/>
                </a:lnTo>
                <a:lnTo>
                  <a:pt x="64" y="0"/>
                </a:lnTo>
                <a:lnTo>
                  <a:pt x="64" y="4"/>
                </a:lnTo>
                <a:lnTo>
                  <a:pt x="64" y="4"/>
                </a:lnTo>
                <a:lnTo>
                  <a:pt x="64" y="4"/>
                </a:lnTo>
                <a:lnTo>
                  <a:pt x="64" y="4"/>
                </a:lnTo>
                <a:lnTo>
                  <a:pt x="64" y="4"/>
                </a:lnTo>
                <a:lnTo>
                  <a:pt x="64" y="4"/>
                </a:lnTo>
                <a:lnTo>
                  <a:pt x="68" y="0"/>
                </a:lnTo>
                <a:lnTo>
                  <a:pt x="68" y="0"/>
                </a:lnTo>
                <a:lnTo>
                  <a:pt x="72" y="0"/>
                </a:lnTo>
                <a:lnTo>
                  <a:pt x="72" y="0"/>
                </a:lnTo>
                <a:lnTo>
                  <a:pt x="72" y="0"/>
                </a:lnTo>
                <a:lnTo>
                  <a:pt x="72" y="0"/>
                </a:lnTo>
                <a:lnTo>
                  <a:pt x="72" y="0"/>
                </a:lnTo>
                <a:lnTo>
                  <a:pt x="72" y="0"/>
                </a:lnTo>
                <a:lnTo>
                  <a:pt x="76" y="0"/>
                </a:lnTo>
                <a:lnTo>
                  <a:pt x="76" y="0"/>
                </a:lnTo>
                <a:lnTo>
                  <a:pt x="76" y="0"/>
                </a:lnTo>
                <a:lnTo>
                  <a:pt x="76" y="0"/>
                </a:lnTo>
                <a:lnTo>
                  <a:pt x="76" y="0"/>
                </a:lnTo>
                <a:lnTo>
                  <a:pt x="76" y="0"/>
                </a:lnTo>
                <a:lnTo>
                  <a:pt x="76" y="4"/>
                </a:lnTo>
                <a:lnTo>
                  <a:pt x="76" y="4"/>
                </a:lnTo>
                <a:lnTo>
                  <a:pt x="76" y="4"/>
                </a:lnTo>
                <a:lnTo>
                  <a:pt x="76" y="4"/>
                </a:lnTo>
                <a:lnTo>
                  <a:pt x="80" y="8"/>
                </a:lnTo>
                <a:lnTo>
                  <a:pt x="80" y="8"/>
                </a:lnTo>
                <a:lnTo>
                  <a:pt x="80" y="8"/>
                </a:lnTo>
                <a:lnTo>
                  <a:pt x="80" y="8"/>
                </a:lnTo>
                <a:lnTo>
                  <a:pt x="80" y="8"/>
                </a:lnTo>
                <a:lnTo>
                  <a:pt x="80" y="12"/>
                </a:lnTo>
                <a:lnTo>
                  <a:pt x="80" y="12"/>
                </a:lnTo>
                <a:lnTo>
                  <a:pt x="80" y="12"/>
                </a:lnTo>
                <a:lnTo>
                  <a:pt x="82" y="12"/>
                </a:lnTo>
                <a:lnTo>
                  <a:pt x="82" y="16"/>
                </a:lnTo>
                <a:lnTo>
                  <a:pt x="82" y="18"/>
                </a:lnTo>
                <a:lnTo>
                  <a:pt x="82" y="18"/>
                </a:lnTo>
                <a:lnTo>
                  <a:pt x="86" y="18"/>
                </a:lnTo>
                <a:lnTo>
                  <a:pt x="86" y="18"/>
                </a:lnTo>
                <a:lnTo>
                  <a:pt x="86" y="18"/>
                </a:lnTo>
                <a:lnTo>
                  <a:pt x="86" y="18"/>
                </a:lnTo>
                <a:lnTo>
                  <a:pt x="86" y="22"/>
                </a:lnTo>
                <a:lnTo>
                  <a:pt x="86" y="22"/>
                </a:lnTo>
                <a:lnTo>
                  <a:pt x="86" y="22"/>
                </a:lnTo>
                <a:lnTo>
                  <a:pt x="86" y="22"/>
                </a:lnTo>
                <a:lnTo>
                  <a:pt x="86" y="26"/>
                </a:lnTo>
                <a:lnTo>
                  <a:pt x="86" y="26"/>
                </a:lnTo>
                <a:lnTo>
                  <a:pt x="86" y="30"/>
                </a:lnTo>
                <a:lnTo>
                  <a:pt x="86" y="30"/>
                </a:lnTo>
                <a:lnTo>
                  <a:pt x="86" y="30"/>
                </a:lnTo>
                <a:lnTo>
                  <a:pt x="90" y="30"/>
                </a:lnTo>
                <a:lnTo>
                  <a:pt x="90" y="30"/>
                </a:lnTo>
                <a:lnTo>
                  <a:pt x="90" y="30"/>
                </a:lnTo>
                <a:lnTo>
                  <a:pt x="90" y="34"/>
                </a:lnTo>
                <a:lnTo>
                  <a:pt x="94" y="34"/>
                </a:lnTo>
                <a:lnTo>
                  <a:pt x="94" y="34"/>
                </a:lnTo>
                <a:lnTo>
                  <a:pt x="94" y="34"/>
                </a:lnTo>
                <a:lnTo>
                  <a:pt x="94" y="34"/>
                </a:lnTo>
                <a:lnTo>
                  <a:pt x="94" y="34"/>
                </a:lnTo>
                <a:lnTo>
                  <a:pt x="94" y="34"/>
                </a:lnTo>
                <a:lnTo>
                  <a:pt x="94" y="34"/>
                </a:lnTo>
                <a:lnTo>
                  <a:pt x="94" y="38"/>
                </a:lnTo>
                <a:lnTo>
                  <a:pt x="98" y="38"/>
                </a:lnTo>
                <a:lnTo>
                  <a:pt x="102" y="38"/>
                </a:lnTo>
                <a:lnTo>
                  <a:pt x="102" y="38"/>
                </a:lnTo>
                <a:lnTo>
                  <a:pt x="102" y="42"/>
                </a:lnTo>
                <a:lnTo>
                  <a:pt x="106" y="42"/>
                </a:lnTo>
                <a:lnTo>
                  <a:pt x="106" y="42"/>
                </a:lnTo>
                <a:lnTo>
                  <a:pt x="106" y="46"/>
                </a:lnTo>
                <a:lnTo>
                  <a:pt x="106" y="46"/>
                </a:lnTo>
                <a:lnTo>
                  <a:pt x="106" y="46"/>
                </a:lnTo>
                <a:lnTo>
                  <a:pt x="106" y="46"/>
                </a:lnTo>
                <a:lnTo>
                  <a:pt x="106" y="46"/>
                </a:lnTo>
                <a:lnTo>
                  <a:pt x="106" y="46"/>
                </a:lnTo>
                <a:lnTo>
                  <a:pt x="106" y="46"/>
                </a:lnTo>
                <a:lnTo>
                  <a:pt x="106" y="46"/>
                </a:lnTo>
                <a:lnTo>
                  <a:pt x="106" y="46"/>
                </a:lnTo>
                <a:lnTo>
                  <a:pt x="110" y="46"/>
                </a:lnTo>
                <a:lnTo>
                  <a:pt x="110" y="46"/>
                </a:lnTo>
                <a:lnTo>
                  <a:pt x="110" y="46"/>
                </a:lnTo>
                <a:lnTo>
                  <a:pt x="110" y="48"/>
                </a:lnTo>
                <a:lnTo>
                  <a:pt x="110" y="52"/>
                </a:lnTo>
                <a:lnTo>
                  <a:pt x="110" y="52"/>
                </a:lnTo>
                <a:lnTo>
                  <a:pt x="110" y="52"/>
                </a:lnTo>
                <a:lnTo>
                  <a:pt x="110" y="52"/>
                </a:lnTo>
                <a:lnTo>
                  <a:pt x="110" y="52"/>
                </a:lnTo>
                <a:lnTo>
                  <a:pt x="110" y="56"/>
                </a:lnTo>
                <a:lnTo>
                  <a:pt x="110" y="56"/>
                </a:lnTo>
                <a:lnTo>
                  <a:pt x="110" y="60"/>
                </a:lnTo>
                <a:lnTo>
                  <a:pt x="110" y="60"/>
                </a:lnTo>
                <a:lnTo>
                  <a:pt x="112" y="60"/>
                </a:lnTo>
                <a:lnTo>
                  <a:pt x="112" y="60"/>
                </a:lnTo>
                <a:lnTo>
                  <a:pt x="112" y="64"/>
                </a:lnTo>
                <a:lnTo>
                  <a:pt x="112" y="64"/>
                </a:lnTo>
                <a:lnTo>
                  <a:pt x="112" y="64"/>
                </a:lnTo>
                <a:lnTo>
                  <a:pt x="112" y="64"/>
                </a:lnTo>
                <a:lnTo>
                  <a:pt x="112" y="64"/>
                </a:lnTo>
                <a:lnTo>
                  <a:pt x="112" y="68"/>
                </a:lnTo>
                <a:lnTo>
                  <a:pt x="116" y="68"/>
                </a:lnTo>
                <a:lnTo>
                  <a:pt x="116" y="68"/>
                </a:lnTo>
                <a:lnTo>
                  <a:pt x="116" y="68"/>
                </a:lnTo>
                <a:lnTo>
                  <a:pt x="116" y="68"/>
                </a:lnTo>
                <a:lnTo>
                  <a:pt x="120" y="68"/>
                </a:lnTo>
                <a:lnTo>
                  <a:pt x="120" y="68"/>
                </a:lnTo>
                <a:lnTo>
                  <a:pt x="120" y="68"/>
                </a:lnTo>
                <a:lnTo>
                  <a:pt x="120" y="68"/>
                </a:lnTo>
                <a:lnTo>
                  <a:pt x="120" y="68"/>
                </a:lnTo>
                <a:lnTo>
                  <a:pt x="120" y="68"/>
                </a:lnTo>
                <a:lnTo>
                  <a:pt x="120" y="68"/>
                </a:lnTo>
                <a:lnTo>
                  <a:pt x="124" y="68"/>
                </a:lnTo>
                <a:lnTo>
                  <a:pt x="126" y="68"/>
                </a:lnTo>
                <a:lnTo>
                  <a:pt x="126" y="68"/>
                </a:lnTo>
                <a:lnTo>
                  <a:pt x="126" y="68"/>
                </a:lnTo>
                <a:lnTo>
                  <a:pt x="126" y="68"/>
                </a:lnTo>
                <a:lnTo>
                  <a:pt x="126" y="72"/>
                </a:lnTo>
                <a:lnTo>
                  <a:pt x="126" y="72"/>
                </a:lnTo>
                <a:lnTo>
                  <a:pt x="126" y="72"/>
                </a:lnTo>
                <a:lnTo>
                  <a:pt x="126" y="72"/>
                </a:lnTo>
                <a:lnTo>
                  <a:pt x="126" y="72"/>
                </a:lnTo>
                <a:lnTo>
                  <a:pt x="126" y="72"/>
                </a:lnTo>
                <a:lnTo>
                  <a:pt x="126" y="74"/>
                </a:lnTo>
                <a:lnTo>
                  <a:pt x="126" y="74"/>
                </a:lnTo>
                <a:lnTo>
                  <a:pt x="126" y="74"/>
                </a:lnTo>
                <a:lnTo>
                  <a:pt x="126" y="74"/>
                </a:lnTo>
                <a:lnTo>
                  <a:pt x="126" y="74"/>
                </a:lnTo>
                <a:lnTo>
                  <a:pt x="130" y="74"/>
                </a:lnTo>
                <a:lnTo>
                  <a:pt x="130" y="74"/>
                </a:lnTo>
                <a:lnTo>
                  <a:pt x="130" y="74"/>
                </a:lnTo>
                <a:lnTo>
                  <a:pt x="130" y="74"/>
                </a:lnTo>
                <a:lnTo>
                  <a:pt x="130" y="74"/>
                </a:lnTo>
                <a:lnTo>
                  <a:pt x="130" y="74"/>
                </a:lnTo>
                <a:lnTo>
                  <a:pt x="130" y="74"/>
                </a:lnTo>
                <a:lnTo>
                  <a:pt x="130" y="74"/>
                </a:lnTo>
                <a:lnTo>
                  <a:pt x="126" y="78"/>
                </a:lnTo>
                <a:lnTo>
                  <a:pt x="126" y="78"/>
                </a:lnTo>
                <a:lnTo>
                  <a:pt x="126" y="78"/>
                </a:lnTo>
                <a:lnTo>
                  <a:pt x="126" y="78"/>
                </a:lnTo>
                <a:lnTo>
                  <a:pt x="126" y="78"/>
                </a:lnTo>
                <a:lnTo>
                  <a:pt x="126" y="78"/>
                </a:lnTo>
                <a:lnTo>
                  <a:pt x="126" y="78"/>
                </a:lnTo>
                <a:lnTo>
                  <a:pt x="126" y="82"/>
                </a:lnTo>
                <a:lnTo>
                  <a:pt x="126" y="82"/>
                </a:lnTo>
                <a:lnTo>
                  <a:pt x="124" y="82"/>
                </a:lnTo>
                <a:lnTo>
                  <a:pt x="124" y="82"/>
                </a:lnTo>
                <a:lnTo>
                  <a:pt x="120" y="82"/>
                </a:lnTo>
                <a:lnTo>
                  <a:pt x="120" y="82"/>
                </a:lnTo>
                <a:lnTo>
                  <a:pt x="116" y="82"/>
                </a:lnTo>
                <a:lnTo>
                  <a:pt x="116" y="86"/>
                </a:lnTo>
                <a:lnTo>
                  <a:pt x="116" y="86"/>
                </a:lnTo>
                <a:lnTo>
                  <a:pt x="116" y="86"/>
                </a:lnTo>
                <a:lnTo>
                  <a:pt x="116" y="86"/>
                </a:lnTo>
                <a:lnTo>
                  <a:pt x="116" y="86"/>
                </a:lnTo>
                <a:lnTo>
                  <a:pt x="116" y="86"/>
                </a:lnTo>
                <a:lnTo>
                  <a:pt x="116" y="86"/>
                </a:lnTo>
                <a:lnTo>
                  <a:pt x="112" y="90"/>
                </a:lnTo>
                <a:lnTo>
                  <a:pt x="112" y="90"/>
                </a:lnTo>
                <a:lnTo>
                  <a:pt x="112" y="90"/>
                </a:lnTo>
                <a:lnTo>
                  <a:pt x="110" y="94"/>
                </a:lnTo>
                <a:lnTo>
                  <a:pt x="110" y="94"/>
                </a:lnTo>
                <a:lnTo>
                  <a:pt x="110" y="94"/>
                </a:lnTo>
                <a:lnTo>
                  <a:pt x="110" y="98"/>
                </a:lnTo>
                <a:lnTo>
                  <a:pt x="110" y="98"/>
                </a:lnTo>
                <a:lnTo>
                  <a:pt x="110" y="98"/>
                </a:lnTo>
                <a:lnTo>
                  <a:pt x="106" y="98"/>
                </a:lnTo>
                <a:lnTo>
                  <a:pt x="106" y="98"/>
                </a:lnTo>
                <a:lnTo>
                  <a:pt x="106" y="98"/>
                </a:lnTo>
                <a:lnTo>
                  <a:pt x="106" y="98"/>
                </a:lnTo>
                <a:lnTo>
                  <a:pt x="106" y="98"/>
                </a:lnTo>
                <a:lnTo>
                  <a:pt x="102" y="100"/>
                </a:lnTo>
                <a:lnTo>
                  <a:pt x="102" y="100"/>
                </a:lnTo>
                <a:lnTo>
                  <a:pt x="102" y="100"/>
                </a:lnTo>
                <a:lnTo>
                  <a:pt x="102" y="100"/>
                </a:lnTo>
                <a:lnTo>
                  <a:pt x="98" y="100"/>
                </a:lnTo>
                <a:lnTo>
                  <a:pt x="98" y="104"/>
                </a:lnTo>
                <a:lnTo>
                  <a:pt x="98" y="104"/>
                </a:lnTo>
                <a:lnTo>
                  <a:pt x="98" y="104"/>
                </a:lnTo>
                <a:lnTo>
                  <a:pt x="98" y="108"/>
                </a:lnTo>
                <a:lnTo>
                  <a:pt x="98" y="108"/>
                </a:lnTo>
                <a:lnTo>
                  <a:pt x="98" y="112"/>
                </a:lnTo>
                <a:lnTo>
                  <a:pt x="98" y="112"/>
                </a:lnTo>
                <a:lnTo>
                  <a:pt x="98" y="112"/>
                </a:lnTo>
                <a:lnTo>
                  <a:pt x="98" y="116"/>
                </a:lnTo>
                <a:lnTo>
                  <a:pt x="94" y="116"/>
                </a:lnTo>
                <a:lnTo>
                  <a:pt x="94" y="116"/>
                </a:lnTo>
                <a:lnTo>
                  <a:pt x="94" y="116"/>
                </a:lnTo>
                <a:lnTo>
                  <a:pt x="94" y="120"/>
                </a:lnTo>
                <a:lnTo>
                  <a:pt x="94" y="120"/>
                </a:lnTo>
                <a:lnTo>
                  <a:pt x="90" y="120"/>
                </a:lnTo>
                <a:lnTo>
                  <a:pt x="90" y="120"/>
                </a:lnTo>
                <a:lnTo>
                  <a:pt x="90" y="120"/>
                </a:lnTo>
                <a:lnTo>
                  <a:pt x="90" y="120"/>
                </a:lnTo>
                <a:lnTo>
                  <a:pt x="90" y="120"/>
                </a:lnTo>
                <a:lnTo>
                  <a:pt x="90" y="120"/>
                </a:lnTo>
                <a:lnTo>
                  <a:pt x="90" y="120"/>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24" name="Freeform 131"/>
          <p:cNvSpPr>
            <a:spLocks/>
          </p:cNvSpPr>
          <p:nvPr/>
        </p:nvSpPr>
        <p:spPr bwMode="auto">
          <a:xfrm>
            <a:off x="4164806" y="3388519"/>
            <a:ext cx="133350" cy="116681"/>
          </a:xfrm>
          <a:custGeom>
            <a:avLst/>
            <a:gdLst>
              <a:gd name="T0" fmla="*/ 86 w 112"/>
              <a:gd name="T1" fmla="*/ 72 h 98"/>
              <a:gd name="T2" fmla="*/ 82 w 112"/>
              <a:gd name="T3" fmla="*/ 72 h 98"/>
              <a:gd name="T4" fmla="*/ 74 w 112"/>
              <a:gd name="T5" fmla="*/ 68 h 98"/>
              <a:gd name="T6" fmla="*/ 66 w 112"/>
              <a:gd name="T7" fmla="*/ 72 h 98"/>
              <a:gd name="T8" fmla="*/ 64 w 112"/>
              <a:gd name="T9" fmla="*/ 72 h 98"/>
              <a:gd name="T10" fmla="*/ 56 w 112"/>
              <a:gd name="T11" fmla="*/ 72 h 98"/>
              <a:gd name="T12" fmla="*/ 38 w 112"/>
              <a:gd name="T13" fmla="*/ 72 h 98"/>
              <a:gd name="T14" fmla="*/ 38 w 112"/>
              <a:gd name="T15" fmla="*/ 80 h 98"/>
              <a:gd name="T16" fmla="*/ 38 w 112"/>
              <a:gd name="T17" fmla="*/ 86 h 98"/>
              <a:gd name="T18" fmla="*/ 38 w 112"/>
              <a:gd name="T19" fmla="*/ 94 h 98"/>
              <a:gd name="T20" fmla="*/ 38 w 112"/>
              <a:gd name="T21" fmla="*/ 94 h 98"/>
              <a:gd name="T22" fmla="*/ 40 w 112"/>
              <a:gd name="T23" fmla="*/ 98 h 98"/>
              <a:gd name="T24" fmla="*/ 38 w 112"/>
              <a:gd name="T25" fmla="*/ 98 h 98"/>
              <a:gd name="T26" fmla="*/ 34 w 112"/>
              <a:gd name="T27" fmla="*/ 90 h 98"/>
              <a:gd name="T28" fmla="*/ 26 w 112"/>
              <a:gd name="T29" fmla="*/ 90 h 98"/>
              <a:gd name="T30" fmla="*/ 22 w 112"/>
              <a:gd name="T31" fmla="*/ 90 h 98"/>
              <a:gd name="T32" fmla="*/ 18 w 112"/>
              <a:gd name="T33" fmla="*/ 94 h 98"/>
              <a:gd name="T34" fmla="*/ 14 w 112"/>
              <a:gd name="T35" fmla="*/ 94 h 98"/>
              <a:gd name="T36" fmla="*/ 12 w 112"/>
              <a:gd name="T37" fmla="*/ 94 h 98"/>
              <a:gd name="T38" fmla="*/ 8 w 112"/>
              <a:gd name="T39" fmla="*/ 84 h 98"/>
              <a:gd name="T40" fmla="*/ 4 w 112"/>
              <a:gd name="T41" fmla="*/ 84 h 98"/>
              <a:gd name="T42" fmla="*/ 0 w 112"/>
              <a:gd name="T43" fmla="*/ 80 h 98"/>
              <a:gd name="T44" fmla="*/ 0 w 112"/>
              <a:gd name="T45" fmla="*/ 76 h 98"/>
              <a:gd name="T46" fmla="*/ 0 w 112"/>
              <a:gd name="T47" fmla="*/ 72 h 98"/>
              <a:gd name="T48" fmla="*/ 4 w 112"/>
              <a:gd name="T49" fmla="*/ 68 h 98"/>
              <a:gd name="T50" fmla="*/ 4 w 112"/>
              <a:gd name="T51" fmla="*/ 60 h 98"/>
              <a:gd name="T52" fmla="*/ 8 w 112"/>
              <a:gd name="T53" fmla="*/ 54 h 98"/>
              <a:gd name="T54" fmla="*/ 12 w 112"/>
              <a:gd name="T55" fmla="*/ 54 h 98"/>
              <a:gd name="T56" fmla="*/ 14 w 112"/>
              <a:gd name="T57" fmla="*/ 46 h 98"/>
              <a:gd name="T58" fmla="*/ 14 w 112"/>
              <a:gd name="T59" fmla="*/ 42 h 98"/>
              <a:gd name="T60" fmla="*/ 18 w 112"/>
              <a:gd name="T61" fmla="*/ 42 h 98"/>
              <a:gd name="T62" fmla="*/ 18 w 112"/>
              <a:gd name="T63" fmla="*/ 38 h 98"/>
              <a:gd name="T64" fmla="*/ 18 w 112"/>
              <a:gd name="T65" fmla="*/ 34 h 98"/>
              <a:gd name="T66" fmla="*/ 22 w 112"/>
              <a:gd name="T67" fmla="*/ 28 h 98"/>
              <a:gd name="T68" fmla="*/ 30 w 112"/>
              <a:gd name="T69" fmla="*/ 34 h 98"/>
              <a:gd name="T70" fmla="*/ 30 w 112"/>
              <a:gd name="T71" fmla="*/ 34 h 98"/>
              <a:gd name="T72" fmla="*/ 30 w 112"/>
              <a:gd name="T73" fmla="*/ 30 h 98"/>
              <a:gd name="T74" fmla="*/ 34 w 112"/>
              <a:gd name="T75" fmla="*/ 28 h 98"/>
              <a:gd name="T76" fmla="*/ 38 w 112"/>
              <a:gd name="T77" fmla="*/ 28 h 98"/>
              <a:gd name="T78" fmla="*/ 38 w 112"/>
              <a:gd name="T79" fmla="*/ 20 h 98"/>
              <a:gd name="T80" fmla="*/ 44 w 112"/>
              <a:gd name="T81" fmla="*/ 16 h 98"/>
              <a:gd name="T82" fmla="*/ 48 w 112"/>
              <a:gd name="T83" fmla="*/ 16 h 98"/>
              <a:gd name="T84" fmla="*/ 52 w 112"/>
              <a:gd name="T85" fmla="*/ 12 h 98"/>
              <a:gd name="T86" fmla="*/ 64 w 112"/>
              <a:gd name="T87" fmla="*/ 4 h 98"/>
              <a:gd name="T88" fmla="*/ 70 w 112"/>
              <a:gd name="T89" fmla="*/ 0 h 98"/>
              <a:gd name="T90" fmla="*/ 82 w 112"/>
              <a:gd name="T91" fmla="*/ 4 h 98"/>
              <a:gd name="T92" fmla="*/ 82 w 112"/>
              <a:gd name="T93" fmla="*/ 12 h 98"/>
              <a:gd name="T94" fmla="*/ 82 w 112"/>
              <a:gd name="T95" fmla="*/ 16 h 98"/>
              <a:gd name="T96" fmla="*/ 86 w 112"/>
              <a:gd name="T97" fmla="*/ 24 h 98"/>
              <a:gd name="T98" fmla="*/ 92 w 112"/>
              <a:gd name="T99" fmla="*/ 28 h 98"/>
              <a:gd name="T100" fmla="*/ 96 w 112"/>
              <a:gd name="T101" fmla="*/ 30 h 98"/>
              <a:gd name="T102" fmla="*/ 92 w 112"/>
              <a:gd name="T103" fmla="*/ 30 h 98"/>
              <a:gd name="T104" fmla="*/ 92 w 112"/>
              <a:gd name="T105" fmla="*/ 34 h 98"/>
              <a:gd name="T106" fmla="*/ 100 w 112"/>
              <a:gd name="T107" fmla="*/ 42 h 98"/>
              <a:gd name="T108" fmla="*/ 108 w 112"/>
              <a:gd name="T109" fmla="*/ 42 h 98"/>
              <a:gd name="T110" fmla="*/ 108 w 112"/>
              <a:gd name="T111" fmla="*/ 46 h 98"/>
              <a:gd name="T112" fmla="*/ 112 w 112"/>
              <a:gd name="T113" fmla="*/ 56 h 98"/>
              <a:gd name="T114" fmla="*/ 108 w 112"/>
              <a:gd name="T115" fmla="*/ 60 h 98"/>
              <a:gd name="T116" fmla="*/ 108 w 112"/>
              <a:gd name="T117" fmla="*/ 64 h 98"/>
              <a:gd name="T118" fmla="*/ 100 w 112"/>
              <a:gd name="T119" fmla="*/ 64 h 98"/>
              <a:gd name="T120" fmla="*/ 96 w 112"/>
              <a:gd name="T121" fmla="*/ 64 h 98"/>
              <a:gd name="T122" fmla="*/ 96 w 112"/>
              <a:gd name="T123" fmla="*/ 64 h 98"/>
              <a:gd name="T124" fmla="*/ 92 w 112"/>
              <a:gd name="T125" fmla="*/ 7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2" h="98">
                <a:moveTo>
                  <a:pt x="90" y="72"/>
                </a:moveTo>
                <a:lnTo>
                  <a:pt x="90" y="72"/>
                </a:lnTo>
                <a:lnTo>
                  <a:pt x="90" y="72"/>
                </a:lnTo>
                <a:lnTo>
                  <a:pt x="90" y="72"/>
                </a:lnTo>
                <a:lnTo>
                  <a:pt x="86" y="72"/>
                </a:lnTo>
                <a:lnTo>
                  <a:pt x="86" y="72"/>
                </a:lnTo>
                <a:lnTo>
                  <a:pt x="86" y="72"/>
                </a:lnTo>
                <a:lnTo>
                  <a:pt x="86" y="72"/>
                </a:lnTo>
                <a:lnTo>
                  <a:pt x="86" y="72"/>
                </a:lnTo>
                <a:lnTo>
                  <a:pt x="82" y="72"/>
                </a:lnTo>
                <a:lnTo>
                  <a:pt x="82" y="72"/>
                </a:lnTo>
                <a:lnTo>
                  <a:pt x="78" y="68"/>
                </a:lnTo>
                <a:lnTo>
                  <a:pt x="78" y="68"/>
                </a:lnTo>
                <a:lnTo>
                  <a:pt x="74" y="68"/>
                </a:lnTo>
                <a:lnTo>
                  <a:pt x="74" y="68"/>
                </a:lnTo>
                <a:lnTo>
                  <a:pt x="74" y="68"/>
                </a:lnTo>
                <a:lnTo>
                  <a:pt x="74" y="68"/>
                </a:lnTo>
                <a:lnTo>
                  <a:pt x="74" y="72"/>
                </a:lnTo>
                <a:lnTo>
                  <a:pt x="70" y="72"/>
                </a:lnTo>
                <a:lnTo>
                  <a:pt x="66" y="72"/>
                </a:lnTo>
                <a:lnTo>
                  <a:pt x="66" y="72"/>
                </a:lnTo>
                <a:lnTo>
                  <a:pt x="66" y="72"/>
                </a:lnTo>
                <a:lnTo>
                  <a:pt x="66" y="72"/>
                </a:lnTo>
                <a:lnTo>
                  <a:pt x="66" y="72"/>
                </a:lnTo>
                <a:lnTo>
                  <a:pt x="64" y="72"/>
                </a:lnTo>
                <a:lnTo>
                  <a:pt x="64" y="72"/>
                </a:lnTo>
                <a:lnTo>
                  <a:pt x="60" y="72"/>
                </a:lnTo>
                <a:lnTo>
                  <a:pt x="60" y="72"/>
                </a:lnTo>
                <a:lnTo>
                  <a:pt x="56" y="72"/>
                </a:lnTo>
                <a:lnTo>
                  <a:pt x="56" y="72"/>
                </a:lnTo>
                <a:lnTo>
                  <a:pt x="52" y="72"/>
                </a:lnTo>
                <a:lnTo>
                  <a:pt x="48" y="72"/>
                </a:lnTo>
                <a:lnTo>
                  <a:pt x="44" y="72"/>
                </a:lnTo>
                <a:lnTo>
                  <a:pt x="40" y="72"/>
                </a:lnTo>
                <a:lnTo>
                  <a:pt x="38" y="72"/>
                </a:lnTo>
                <a:lnTo>
                  <a:pt x="38" y="72"/>
                </a:lnTo>
                <a:lnTo>
                  <a:pt x="38" y="72"/>
                </a:lnTo>
                <a:lnTo>
                  <a:pt x="38" y="76"/>
                </a:lnTo>
                <a:lnTo>
                  <a:pt x="38" y="76"/>
                </a:lnTo>
                <a:lnTo>
                  <a:pt x="38" y="80"/>
                </a:lnTo>
                <a:lnTo>
                  <a:pt x="38" y="80"/>
                </a:lnTo>
                <a:lnTo>
                  <a:pt x="38" y="80"/>
                </a:lnTo>
                <a:lnTo>
                  <a:pt x="38" y="84"/>
                </a:lnTo>
                <a:lnTo>
                  <a:pt x="38" y="84"/>
                </a:lnTo>
                <a:lnTo>
                  <a:pt x="38" y="86"/>
                </a:lnTo>
                <a:lnTo>
                  <a:pt x="38" y="86"/>
                </a:lnTo>
                <a:lnTo>
                  <a:pt x="38" y="86"/>
                </a:lnTo>
                <a:lnTo>
                  <a:pt x="38" y="90"/>
                </a:lnTo>
                <a:lnTo>
                  <a:pt x="40" y="90"/>
                </a:lnTo>
                <a:lnTo>
                  <a:pt x="38" y="94"/>
                </a:lnTo>
                <a:lnTo>
                  <a:pt x="38" y="94"/>
                </a:lnTo>
                <a:lnTo>
                  <a:pt x="40" y="94"/>
                </a:lnTo>
                <a:lnTo>
                  <a:pt x="40" y="94"/>
                </a:lnTo>
                <a:lnTo>
                  <a:pt x="40" y="94"/>
                </a:lnTo>
                <a:lnTo>
                  <a:pt x="38" y="94"/>
                </a:lnTo>
                <a:lnTo>
                  <a:pt x="38" y="98"/>
                </a:lnTo>
                <a:lnTo>
                  <a:pt x="40" y="98"/>
                </a:lnTo>
                <a:lnTo>
                  <a:pt x="40" y="98"/>
                </a:lnTo>
                <a:lnTo>
                  <a:pt x="40" y="98"/>
                </a:lnTo>
                <a:lnTo>
                  <a:pt x="40" y="98"/>
                </a:lnTo>
                <a:lnTo>
                  <a:pt x="40" y="98"/>
                </a:lnTo>
                <a:lnTo>
                  <a:pt x="40" y="98"/>
                </a:lnTo>
                <a:lnTo>
                  <a:pt x="38" y="98"/>
                </a:lnTo>
                <a:lnTo>
                  <a:pt x="38" y="98"/>
                </a:lnTo>
                <a:lnTo>
                  <a:pt x="38" y="98"/>
                </a:lnTo>
                <a:lnTo>
                  <a:pt x="38" y="98"/>
                </a:lnTo>
                <a:lnTo>
                  <a:pt x="38" y="94"/>
                </a:lnTo>
                <a:lnTo>
                  <a:pt x="38" y="94"/>
                </a:lnTo>
                <a:lnTo>
                  <a:pt x="38" y="94"/>
                </a:lnTo>
                <a:lnTo>
                  <a:pt x="34" y="90"/>
                </a:lnTo>
                <a:lnTo>
                  <a:pt x="34" y="90"/>
                </a:lnTo>
                <a:lnTo>
                  <a:pt x="30" y="90"/>
                </a:lnTo>
                <a:lnTo>
                  <a:pt x="26" y="90"/>
                </a:lnTo>
                <a:lnTo>
                  <a:pt x="26" y="90"/>
                </a:lnTo>
                <a:lnTo>
                  <a:pt x="26" y="90"/>
                </a:lnTo>
                <a:lnTo>
                  <a:pt x="22" y="90"/>
                </a:lnTo>
                <a:lnTo>
                  <a:pt x="22" y="90"/>
                </a:lnTo>
                <a:lnTo>
                  <a:pt x="22" y="90"/>
                </a:lnTo>
                <a:lnTo>
                  <a:pt x="22" y="90"/>
                </a:lnTo>
                <a:lnTo>
                  <a:pt x="22" y="90"/>
                </a:lnTo>
                <a:lnTo>
                  <a:pt x="18" y="90"/>
                </a:lnTo>
                <a:lnTo>
                  <a:pt x="18" y="94"/>
                </a:lnTo>
                <a:lnTo>
                  <a:pt x="18" y="94"/>
                </a:lnTo>
                <a:lnTo>
                  <a:pt x="18" y="94"/>
                </a:lnTo>
                <a:lnTo>
                  <a:pt x="18" y="94"/>
                </a:lnTo>
                <a:lnTo>
                  <a:pt x="18" y="94"/>
                </a:lnTo>
                <a:lnTo>
                  <a:pt x="18" y="94"/>
                </a:lnTo>
                <a:lnTo>
                  <a:pt x="14" y="94"/>
                </a:lnTo>
                <a:lnTo>
                  <a:pt x="14" y="94"/>
                </a:lnTo>
                <a:lnTo>
                  <a:pt x="14" y="94"/>
                </a:lnTo>
                <a:lnTo>
                  <a:pt x="12" y="94"/>
                </a:lnTo>
                <a:lnTo>
                  <a:pt x="12" y="94"/>
                </a:lnTo>
                <a:lnTo>
                  <a:pt x="12" y="94"/>
                </a:lnTo>
                <a:lnTo>
                  <a:pt x="12" y="94"/>
                </a:lnTo>
                <a:lnTo>
                  <a:pt x="12" y="94"/>
                </a:lnTo>
                <a:lnTo>
                  <a:pt x="12" y="90"/>
                </a:lnTo>
                <a:lnTo>
                  <a:pt x="12" y="90"/>
                </a:lnTo>
                <a:lnTo>
                  <a:pt x="8" y="90"/>
                </a:lnTo>
                <a:lnTo>
                  <a:pt x="8" y="86"/>
                </a:lnTo>
                <a:lnTo>
                  <a:pt x="8" y="84"/>
                </a:lnTo>
                <a:lnTo>
                  <a:pt x="4" y="84"/>
                </a:lnTo>
                <a:lnTo>
                  <a:pt x="4" y="84"/>
                </a:lnTo>
                <a:lnTo>
                  <a:pt x="4" y="84"/>
                </a:lnTo>
                <a:lnTo>
                  <a:pt x="4" y="84"/>
                </a:lnTo>
                <a:lnTo>
                  <a:pt x="4" y="84"/>
                </a:lnTo>
                <a:lnTo>
                  <a:pt x="0" y="84"/>
                </a:lnTo>
                <a:lnTo>
                  <a:pt x="0" y="84"/>
                </a:lnTo>
                <a:lnTo>
                  <a:pt x="0" y="84"/>
                </a:lnTo>
                <a:lnTo>
                  <a:pt x="0" y="84"/>
                </a:lnTo>
                <a:lnTo>
                  <a:pt x="0" y="80"/>
                </a:lnTo>
                <a:lnTo>
                  <a:pt x="0" y="80"/>
                </a:lnTo>
                <a:lnTo>
                  <a:pt x="0" y="76"/>
                </a:lnTo>
                <a:lnTo>
                  <a:pt x="0" y="76"/>
                </a:lnTo>
                <a:lnTo>
                  <a:pt x="0" y="76"/>
                </a:lnTo>
                <a:lnTo>
                  <a:pt x="0" y="76"/>
                </a:lnTo>
                <a:lnTo>
                  <a:pt x="0" y="76"/>
                </a:lnTo>
                <a:lnTo>
                  <a:pt x="0" y="72"/>
                </a:lnTo>
                <a:lnTo>
                  <a:pt x="0" y="72"/>
                </a:lnTo>
                <a:lnTo>
                  <a:pt x="0" y="72"/>
                </a:lnTo>
                <a:lnTo>
                  <a:pt x="0" y="72"/>
                </a:lnTo>
                <a:lnTo>
                  <a:pt x="0" y="72"/>
                </a:lnTo>
                <a:lnTo>
                  <a:pt x="4" y="72"/>
                </a:lnTo>
                <a:lnTo>
                  <a:pt x="4" y="68"/>
                </a:lnTo>
                <a:lnTo>
                  <a:pt x="4" y="68"/>
                </a:lnTo>
                <a:lnTo>
                  <a:pt x="4" y="68"/>
                </a:lnTo>
                <a:lnTo>
                  <a:pt x="4" y="68"/>
                </a:lnTo>
                <a:lnTo>
                  <a:pt x="4" y="64"/>
                </a:lnTo>
                <a:lnTo>
                  <a:pt x="4" y="60"/>
                </a:lnTo>
                <a:lnTo>
                  <a:pt x="4" y="60"/>
                </a:lnTo>
                <a:lnTo>
                  <a:pt x="4" y="60"/>
                </a:lnTo>
                <a:lnTo>
                  <a:pt x="4" y="56"/>
                </a:lnTo>
                <a:lnTo>
                  <a:pt x="4" y="56"/>
                </a:lnTo>
                <a:lnTo>
                  <a:pt x="4" y="56"/>
                </a:lnTo>
                <a:lnTo>
                  <a:pt x="4" y="56"/>
                </a:lnTo>
                <a:lnTo>
                  <a:pt x="8" y="54"/>
                </a:lnTo>
                <a:lnTo>
                  <a:pt x="8" y="54"/>
                </a:lnTo>
                <a:lnTo>
                  <a:pt x="8" y="54"/>
                </a:lnTo>
                <a:lnTo>
                  <a:pt x="12" y="54"/>
                </a:lnTo>
                <a:lnTo>
                  <a:pt x="12" y="54"/>
                </a:lnTo>
                <a:lnTo>
                  <a:pt x="12" y="54"/>
                </a:lnTo>
                <a:lnTo>
                  <a:pt x="12" y="54"/>
                </a:lnTo>
                <a:lnTo>
                  <a:pt x="14" y="50"/>
                </a:lnTo>
                <a:lnTo>
                  <a:pt x="14" y="50"/>
                </a:lnTo>
                <a:lnTo>
                  <a:pt x="14" y="50"/>
                </a:lnTo>
                <a:lnTo>
                  <a:pt x="14" y="46"/>
                </a:lnTo>
                <a:lnTo>
                  <a:pt x="14" y="46"/>
                </a:lnTo>
                <a:lnTo>
                  <a:pt x="14" y="46"/>
                </a:lnTo>
                <a:lnTo>
                  <a:pt x="14" y="46"/>
                </a:lnTo>
                <a:lnTo>
                  <a:pt x="14" y="42"/>
                </a:lnTo>
                <a:lnTo>
                  <a:pt x="14" y="42"/>
                </a:lnTo>
                <a:lnTo>
                  <a:pt x="14" y="42"/>
                </a:lnTo>
                <a:lnTo>
                  <a:pt x="14" y="42"/>
                </a:lnTo>
                <a:lnTo>
                  <a:pt x="14" y="42"/>
                </a:lnTo>
                <a:lnTo>
                  <a:pt x="18" y="42"/>
                </a:lnTo>
                <a:lnTo>
                  <a:pt x="18" y="42"/>
                </a:lnTo>
                <a:lnTo>
                  <a:pt x="18" y="42"/>
                </a:lnTo>
                <a:lnTo>
                  <a:pt x="18" y="42"/>
                </a:lnTo>
                <a:lnTo>
                  <a:pt x="18" y="38"/>
                </a:lnTo>
                <a:lnTo>
                  <a:pt x="18" y="38"/>
                </a:lnTo>
                <a:lnTo>
                  <a:pt x="18" y="38"/>
                </a:lnTo>
                <a:lnTo>
                  <a:pt x="18" y="38"/>
                </a:lnTo>
                <a:lnTo>
                  <a:pt x="18" y="38"/>
                </a:lnTo>
                <a:lnTo>
                  <a:pt x="18" y="34"/>
                </a:lnTo>
                <a:lnTo>
                  <a:pt x="18" y="34"/>
                </a:lnTo>
                <a:lnTo>
                  <a:pt x="18" y="34"/>
                </a:lnTo>
                <a:lnTo>
                  <a:pt x="18" y="30"/>
                </a:lnTo>
                <a:lnTo>
                  <a:pt x="18" y="30"/>
                </a:lnTo>
                <a:lnTo>
                  <a:pt x="22" y="28"/>
                </a:lnTo>
                <a:lnTo>
                  <a:pt x="22" y="28"/>
                </a:lnTo>
                <a:lnTo>
                  <a:pt x="22" y="28"/>
                </a:lnTo>
                <a:lnTo>
                  <a:pt x="22" y="30"/>
                </a:lnTo>
                <a:lnTo>
                  <a:pt x="26" y="30"/>
                </a:lnTo>
                <a:lnTo>
                  <a:pt x="26" y="34"/>
                </a:lnTo>
                <a:lnTo>
                  <a:pt x="26" y="34"/>
                </a:lnTo>
                <a:lnTo>
                  <a:pt x="30" y="34"/>
                </a:lnTo>
                <a:lnTo>
                  <a:pt x="30" y="34"/>
                </a:lnTo>
                <a:lnTo>
                  <a:pt x="30" y="34"/>
                </a:lnTo>
                <a:lnTo>
                  <a:pt x="30" y="34"/>
                </a:lnTo>
                <a:lnTo>
                  <a:pt x="30" y="34"/>
                </a:lnTo>
                <a:lnTo>
                  <a:pt x="30" y="34"/>
                </a:lnTo>
                <a:lnTo>
                  <a:pt x="30" y="34"/>
                </a:lnTo>
                <a:lnTo>
                  <a:pt x="30" y="30"/>
                </a:lnTo>
                <a:lnTo>
                  <a:pt x="30" y="30"/>
                </a:lnTo>
                <a:lnTo>
                  <a:pt x="30" y="30"/>
                </a:lnTo>
                <a:lnTo>
                  <a:pt x="30" y="30"/>
                </a:lnTo>
                <a:lnTo>
                  <a:pt x="34" y="30"/>
                </a:lnTo>
                <a:lnTo>
                  <a:pt x="34" y="30"/>
                </a:lnTo>
                <a:lnTo>
                  <a:pt x="34" y="30"/>
                </a:lnTo>
                <a:lnTo>
                  <a:pt x="34" y="28"/>
                </a:lnTo>
                <a:lnTo>
                  <a:pt x="34" y="28"/>
                </a:lnTo>
                <a:lnTo>
                  <a:pt x="34" y="24"/>
                </a:lnTo>
                <a:lnTo>
                  <a:pt x="34" y="24"/>
                </a:lnTo>
                <a:lnTo>
                  <a:pt x="34" y="28"/>
                </a:lnTo>
                <a:lnTo>
                  <a:pt x="38" y="28"/>
                </a:lnTo>
                <a:lnTo>
                  <a:pt x="38" y="28"/>
                </a:lnTo>
                <a:lnTo>
                  <a:pt x="38" y="28"/>
                </a:lnTo>
                <a:lnTo>
                  <a:pt x="38" y="24"/>
                </a:lnTo>
                <a:lnTo>
                  <a:pt x="38" y="24"/>
                </a:lnTo>
                <a:lnTo>
                  <a:pt x="38" y="20"/>
                </a:lnTo>
                <a:lnTo>
                  <a:pt x="38" y="20"/>
                </a:lnTo>
                <a:lnTo>
                  <a:pt x="40" y="16"/>
                </a:lnTo>
                <a:lnTo>
                  <a:pt x="40" y="16"/>
                </a:lnTo>
                <a:lnTo>
                  <a:pt x="44" y="16"/>
                </a:lnTo>
                <a:lnTo>
                  <a:pt x="44" y="16"/>
                </a:lnTo>
                <a:lnTo>
                  <a:pt x="44" y="16"/>
                </a:lnTo>
                <a:lnTo>
                  <a:pt x="44" y="16"/>
                </a:lnTo>
                <a:lnTo>
                  <a:pt x="48" y="16"/>
                </a:lnTo>
                <a:lnTo>
                  <a:pt x="48" y="16"/>
                </a:lnTo>
                <a:lnTo>
                  <a:pt x="48" y="16"/>
                </a:lnTo>
                <a:lnTo>
                  <a:pt x="48" y="16"/>
                </a:lnTo>
                <a:lnTo>
                  <a:pt x="48" y="12"/>
                </a:lnTo>
                <a:lnTo>
                  <a:pt x="48" y="12"/>
                </a:lnTo>
                <a:lnTo>
                  <a:pt x="48" y="12"/>
                </a:lnTo>
                <a:lnTo>
                  <a:pt x="48" y="12"/>
                </a:lnTo>
                <a:lnTo>
                  <a:pt x="52" y="12"/>
                </a:lnTo>
                <a:lnTo>
                  <a:pt x="52" y="12"/>
                </a:lnTo>
                <a:lnTo>
                  <a:pt x="56" y="12"/>
                </a:lnTo>
                <a:lnTo>
                  <a:pt x="60" y="8"/>
                </a:lnTo>
                <a:lnTo>
                  <a:pt x="60" y="8"/>
                </a:lnTo>
                <a:lnTo>
                  <a:pt x="64" y="4"/>
                </a:lnTo>
                <a:lnTo>
                  <a:pt x="64" y="4"/>
                </a:lnTo>
                <a:lnTo>
                  <a:pt x="64" y="4"/>
                </a:lnTo>
                <a:lnTo>
                  <a:pt x="66" y="0"/>
                </a:lnTo>
                <a:lnTo>
                  <a:pt x="66" y="0"/>
                </a:lnTo>
                <a:lnTo>
                  <a:pt x="70" y="0"/>
                </a:lnTo>
                <a:lnTo>
                  <a:pt x="74" y="0"/>
                </a:lnTo>
                <a:lnTo>
                  <a:pt x="74" y="0"/>
                </a:lnTo>
                <a:lnTo>
                  <a:pt x="78" y="0"/>
                </a:lnTo>
                <a:lnTo>
                  <a:pt x="82" y="4"/>
                </a:lnTo>
                <a:lnTo>
                  <a:pt x="82" y="4"/>
                </a:lnTo>
                <a:lnTo>
                  <a:pt x="82" y="4"/>
                </a:lnTo>
                <a:lnTo>
                  <a:pt x="82" y="4"/>
                </a:lnTo>
                <a:lnTo>
                  <a:pt x="82" y="8"/>
                </a:lnTo>
                <a:lnTo>
                  <a:pt x="82" y="8"/>
                </a:lnTo>
                <a:lnTo>
                  <a:pt x="82" y="12"/>
                </a:lnTo>
                <a:lnTo>
                  <a:pt x="82" y="12"/>
                </a:lnTo>
                <a:lnTo>
                  <a:pt x="82" y="12"/>
                </a:lnTo>
                <a:lnTo>
                  <a:pt x="82" y="12"/>
                </a:lnTo>
                <a:lnTo>
                  <a:pt x="82" y="12"/>
                </a:lnTo>
                <a:lnTo>
                  <a:pt x="82" y="16"/>
                </a:lnTo>
                <a:lnTo>
                  <a:pt x="86" y="16"/>
                </a:lnTo>
                <a:lnTo>
                  <a:pt x="82" y="16"/>
                </a:lnTo>
                <a:lnTo>
                  <a:pt x="82" y="16"/>
                </a:lnTo>
                <a:lnTo>
                  <a:pt x="86" y="20"/>
                </a:lnTo>
                <a:lnTo>
                  <a:pt x="86" y="24"/>
                </a:lnTo>
                <a:lnTo>
                  <a:pt x="86" y="24"/>
                </a:lnTo>
                <a:lnTo>
                  <a:pt x="86" y="28"/>
                </a:lnTo>
                <a:lnTo>
                  <a:pt x="90" y="28"/>
                </a:lnTo>
                <a:lnTo>
                  <a:pt x="92" y="28"/>
                </a:lnTo>
                <a:lnTo>
                  <a:pt x="92" y="28"/>
                </a:lnTo>
                <a:lnTo>
                  <a:pt x="92" y="28"/>
                </a:lnTo>
                <a:lnTo>
                  <a:pt x="92" y="30"/>
                </a:lnTo>
                <a:lnTo>
                  <a:pt x="92" y="30"/>
                </a:lnTo>
                <a:lnTo>
                  <a:pt x="92" y="30"/>
                </a:lnTo>
                <a:lnTo>
                  <a:pt x="96" y="30"/>
                </a:lnTo>
                <a:lnTo>
                  <a:pt x="96" y="30"/>
                </a:lnTo>
                <a:lnTo>
                  <a:pt x="96" y="30"/>
                </a:lnTo>
                <a:lnTo>
                  <a:pt x="92" y="30"/>
                </a:lnTo>
                <a:lnTo>
                  <a:pt x="92" y="30"/>
                </a:lnTo>
                <a:lnTo>
                  <a:pt x="92" y="30"/>
                </a:lnTo>
                <a:lnTo>
                  <a:pt x="92" y="30"/>
                </a:lnTo>
                <a:lnTo>
                  <a:pt x="92" y="30"/>
                </a:lnTo>
                <a:lnTo>
                  <a:pt x="92" y="30"/>
                </a:lnTo>
                <a:lnTo>
                  <a:pt x="92" y="30"/>
                </a:lnTo>
                <a:lnTo>
                  <a:pt x="92" y="34"/>
                </a:lnTo>
                <a:lnTo>
                  <a:pt x="92" y="34"/>
                </a:lnTo>
                <a:lnTo>
                  <a:pt x="92" y="38"/>
                </a:lnTo>
                <a:lnTo>
                  <a:pt x="92" y="38"/>
                </a:lnTo>
                <a:lnTo>
                  <a:pt x="96" y="38"/>
                </a:lnTo>
                <a:lnTo>
                  <a:pt x="100" y="42"/>
                </a:lnTo>
                <a:lnTo>
                  <a:pt x="104" y="46"/>
                </a:lnTo>
                <a:lnTo>
                  <a:pt x="104" y="42"/>
                </a:lnTo>
                <a:lnTo>
                  <a:pt x="108" y="42"/>
                </a:lnTo>
                <a:lnTo>
                  <a:pt x="108" y="42"/>
                </a:lnTo>
                <a:lnTo>
                  <a:pt x="108" y="42"/>
                </a:lnTo>
                <a:lnTo>
                  <a:pt x="108" y="42"/>
                </a:lnTo>
                <a:lnTo>
                  <a:pt x="108" y="46"/>
                </a:lnTo>
                <a:lnTo>
                  <a:pt x="112" y="46"/>
                </a:lnTo>
                <a:lnTo>
                  <a:pt x="108" y="46"/>
                </a:lnTo>
                <a:lnTo>
                  <a:pt x="108" y="46"/>
                </a:lnTo>
                <a:lnTo>
                  <a:pt x="108" y="50"/>
                </a:lnTo>
                <a:lnTo>
                  <a:pt x="108" y="50"/>
                </a:lnTo>
                <a:lnTo>
                  <a:pt x="112" y="54"/>
                </a:lnTo>
                <a:lnTo>
                  <a:pt x="112" y="56"/>
                </a:lnTo>
                <a:lnTo>
                  <a:pt x="112" y="56"/>
                </a:lnTo>
                <a:lnTo>
                  <a:pt x="112" y="56"/>
                </a:lnTo>
                <a:lnTo>
                  <a:pt x="112" y="56"/>
                </a:lnTo>
                <a:lnTo>
                  <a:pt x="112" y="60"/>
                </a:lnTo>
                <a:lnTo>
                  <a:pt x="112" y="60"/>
                </a:lnTo>
                <a:lnTo>
                  <a:pt x="108" y="60"/>
                </a:lnTo>
                <a:lnTo>
                  <a:pt x="108" y="64"/>
                </a:lnTo>
                <a:lnTo>
                  <a:pt x="108" y="64"/>
                </a:lnTo>
                <a:lnTo>
                  <a:pt x="108" y="64"/>
                </a:lnTo>
                <a:lnTo>
                  <a:pt x="108" y="64"/>
                </a:lnTo>
                <a:lnTo>
                  <a:pt x="108" y="64"/>
                </a:lnTo>
                <a:lnTo>
                  <a:pt x="104" y="64"/>
                </a:lnTo>
                <a:lnTo>
                  <a:pt x="104" y="64"/>
                </a:lnTo>
                <a:lnTo>
                  <a:pt x="104" y="64"/>
                </a:lnTo>
                <a:lnTo>
                  <a:pt x="104" y="64"/>
                </a:lnTo>
                <a:lnTo>
                  <a:pt x="100" y="64"/>
                </a:lnTo>
                <a:lnTo>
                  <a:pt x="100" y="64"/>
                </a:lnTo>
                <a:lnTo>
                  <a:pt x="100" y="64"/>
                </a:lnTo>
                <a:lnTo>
                  <a:pt x="100" y="64"/>
                </a:lnTo>
                <a:lnTo>
                  <a:pt x="100" y="64"/>
                </a:lnTo>
                <a:lnTo>
                  <a:pt x="96" y="64"/>
                </a:lnTo>
                <a:lnTo>
                  <a:pt x="96" y="64"/>
                </a:lnTo>
                <a:lnTo>
                  <a:pt x="96" y="64"/>
                </a:lnTo>
                <a:lnTo>
                  <a:pt x="96" y="64"/>
                </a:lnTo>
                <a:lnTo>
                  <a:pt x="96" y="64"/>
                </a:lnTo>
                <a:lnTo>
                  <a:pt x="96" y="64"/>
                </a:lnTo>
                <a:lnTo>
                  <a:pt x="96" y="68"/>
                </a:lnTo>
                <a:lnTo>
                  <a:pt x="96" y="68"/>
                </a:lnTo>
                <a:lnTo>
                  <a:pt x="92" y="68"/>
                </a:lnTo>
                <a:lnTo>
                  <a:pt x="92" y="68"/>
                </a:lnTo>
                <a:lnTo>
                  <a:pt x="92" y="72"/>
                </a:lnTo>
                <a:lnTo>
                  <a:pt x="92" y="72"/>
                </a:lnTo>
                <a:lnTo>
                  <a:pt x="90" y="72"/>
                </a:lnTo>
                <a:lnTo>
                  <a:pt x="90" y="72"/>
                </a:lnTo>
                <a:lnTo>
                  <a:pt x="90" y="72"/>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25" name="Freeform 132"/>
          <p:cNvSpPr>
            <a:spLocks/>
          </p:cNvSpPr>
          <p:nvPr/>
        </p:nvSpPr>
        <p:spPr bwMode="auto">
          <a:xfrm>
            <a:off x="4745831" y="3745705"/>
            <a:ext cx="30956" cy="42863"/>
          </a:xfrm>
          <a:custGeom>
            <a:avLst/>
            <a:gdLst>
              <a:gd name="T0" fmla="*/ 26 w 26"/>
              <a:gd name="T1" fmla="*/ 14 h 36"/>
              <a:gd name="T2" fmla="*/ 26 w 26"/>
              <a:gd name="T3" fmla="*/ 18 h 36"/>
              <a:gd name="T4" fmla="*/ 22 w 26"/>
              <a:gd name="T5" fmla="*/ 18 h 36"/>
              <a:gd name="T6" fmla="*/ 22 w 26"/>
              <a:gd name="T7" fmla="*/ 18 h 36"/>
              <a:gd name="T8" fmla="*/ 22 w 26"/>
              <a:gd name="T9" fmla="*/ 18 h 36"/>
              <a:gd name="T10" fmla="*/ 22 w 26"/>
              <a:gd name="T11" fmla="*/ 18 h 36"/>
              <a:gd name="T12" fmla="*/ 18 w 26"/>
              <a:gd name="T13" fmla="*/ 22 h 36"/>
              <a:gd name="T14" fmla="*/ 18 w 26"/>
              <a:gd name="T15" fmla="*/ 24 h 36"/>
              <a:gd name="T16" fmla="*/ 18 w 26"/>
              <a:gd name="T17" fmla="*/ 24 h 36"/>
              <a:gd name="T18" fmla="*/ 18 w 26"/>
              <a:gd name="T19" fmla="*/ 28 h 36"/>
              <a:gd name="T20" fmla="*/ 10 w 26"/>
              <a:gd name="T21" fmla="*/ 36 h 36"/>
              <a:gd name="T22" fmla="*/ 8 w 26"/>
              <a:gd name="T23" fmla="*/ 36 h 36"/>
              <a:gd name="T24" fmla="*/ 8 w 26"/>
              <a:gd name="T25" fmla="*/ 32 h 36"/>
              <a:gd name="T26" fmla="*/ 4 w 26"/>
              <a:gd name="T27" fmla="*/ 28 h 36"/>
              <a:gd name="T28" fmla="*/ 4 w 26"/>
              <a:gd name="T29" fmla="*/ 28 h 36"/>
              <a:gd name="T30" fmla="*/ 4 w 26"/>
              <a:gd name="T31" fmla="*/ 28 h 36"/>
              <a:gd name="T32" fmla="*/ 4 w 26"/>
              <a:gd name="T33" fmla="*/ 24 h 36"/>
              <a:gd name="T34" fmla="*/ 4 w 26"/>
              <a:gd name="T35" fmla="*/ 24 h 36"/>
              <a:gd name="T36" fmla="*/ 4 w 26"/>
              <a:gd name="T37" fmla="*/ 22 h 36"/>
              <a:gd name="T38" fmla="*/ 4 w 26"/>
              <a:gd name="T39" fmla="*/ 18 h 36"/>
              <a:gd name="T40" fmla="*/ 4 w 26"/>
              <a:gd name="T41" fmla="*/ 18 h 36"/>
              <a:gd name="T42" fmla="*/ 4 w 26"/>
              <a:gd name="T43" fmla="*/ 14 h 36"/>
              <a:gd name="T44" fmla="*/ 4 w 26"/>
              <a:gd name="T45" fmla="*/ 10 h 36"/>
              <a:gd name="T46" fmla="*/ 0 w 26"/>
              <a:gd name="T47" fmla="*/ 8 h 36"/>
              <a:gd name="T48" fmla="*/ 0 w 26"/>
              <a:gd name="T49" fmla="*/ 8 h 36"/>
              <a:gd name="T50" fmla="*/ 0 w 26"/>
              <a:gd name="T51" fmla="*/ 8 h 36"/>
              <a:gd name="T52" fmla="*/ 4 w 26"/>
              <a:gd name="T53" fmla="*/ 4 h 36"/>
              <a:gd name="T54" fmla="*/ 4 w 26"/>
              <a:gd name="T55" fmla="*/ 8 h 36"/>
              <a:gd name="T56" fmla="*/ 4 w 26"/>
              <a:gd name="T57" fmla="*/ 8 h 36"/>
              <a:gd name="T58" fmla="*/ 8 w 26"/>
              <a:gd name="T59" fmla="*/ 8 h 36"/>
              <a:gd name="T60" fmla="*/ 8 w 26"/>
              <a:gd name="T61" fmla="*/ 8 h 36"/>
              <a:gd name="T62" fmla="*/ 8 w 26"/>
              <a:gd name="T63" fmla="*/ 8 h 36"/>
              <a:gd name="T64" fmla="*/ 10 w 26"/>
              <a:gd name="T65" fmla="*/ 8 h 36"/>
              <a:gd name="T66" fmla="*/ 10 w 26"/>
              <a:gd name="T67" fmla="*/ 8 h 36"/>
              <a:gd name="T68" fmla="*/ 14 w 26"/>
              <a:gd name="T69" fmla="*/ 4 h 36"/>
              <a:gd name="T70" fmla="*/ 14 w 26"/>
              <a:gd name="T71" fmla="*/ 0 h 36"/>
              <a:gd name="T72" fmla="*/ 14 w 26"/>
              <a:gd name="T73" fmla="*/ 4 h 36"/>
              <a:gd name="T74" fmla="*/ 18 w 26"/>
              <a:gd name="T75" fmla="*/ 0 h 36"/>
              <a:gd name="T76" fmla="*/ 22 w 26"/>
              <a:gd name="T77" fmla="*/ 0 h 36"/>
              <a:gd name="T78" fmla="*/ 22 w 26"/>
              <a:gd name="T79" fmla="*/ 0 h 36"/>
              <a:gd name="T80" fmla="*/ 18 w 26"/>
              <a:gd name="T81" fmla="*/ 10 h 36"/>
              <a:gd name="T82" fmla="*/ 22 w 26"/>
              <a:gd name="T83" fmla="*/ 10 h 36"/>
              <a:gd name="T84" fmla="*/ 22 w 26"/>
              <a:gd name="T85" fmla="*/ 10 h 36"/>
              <a:gd name="T86" fmla="*/ 26 w 26"/>
              <a:gd name="T87" fmla="*/ 1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 h="36">
                <a:moveTo>
                  <a:pt x="26" y="10"/>
                </a:moveTo>
                <a:lnTo>
                  <a:pt x="26" y="10"/>
                </a:lnTo>
                <a:lnTo>
                  <a:pt x="26" y="14"/>
                </a:lnTo>
                <a:lnTo>
                  <a:pt x="26" y="14"/>
                </a:lnTo>
                <a:lnTo>
                  <a:pt x="26" y="14"/>
                </a:lnTo>
                <a:lnTo>
                  <a:pt x="26" y="18"/>
                </a:lnTo>
                <a:lnTo>
                  <a:pt x="26" y="18"/>
                </a:lnTo>
                <a:lnTo>
                  <a:pt x="26" y="18"/>
                </a:lnTo>
                <a:lnTo>
                  <a:pt x="22" y="18"/>
                </a:lnTo>
                <a:lnTo>
                  <a:pt x="22" y="18"/>
                </a:lnTo>
                <a:lnTo>
                  <a:pt x="22" y="18"/>
                </a:lnTo>
                <a:lnTo>
                  <a:pt x="22" y="18"/>
                </a:lnTo>
                <a:lnTo>
                  <a:pt x="22" y="18"/>
                </a:lnTo>
                <a:lnTo>
                  <a:pt x="22" y="18"/>
                </a:lnTo>
                <a:lnTo>
                  <a:pt x="22" y="18"/>
                </a:lnTo>
                <a:lnTo>
                  <a:pt x="22" y="18"/>
                </a:lnTo>
                <a:lnTo>
                  <a:pt x="22" y="18"/>
                </a:lnTo>
                <a:lnTo>
                  <a:pt x="22" y="18"/>
                </a:lnTo>
                <a:lnTo>
                  <a:pt x="22" y="22"/>
                </a:lnTo>
                <a:lnTo>
                  <a:pt x="22" y="22"/>
                </a:lnTo>
                <a:lnTo>
                  <a:pt x="18" y="22"/>
                </a:lnTo>
                <a:lnTo>
                  <a:pt x="18" y="24"/>
                </a:lnTo>
                <a:lnTo>
                  <a:pt x="18" y="24"/>
                </a:lnTo>
                <a:lnTo>
                  <a:pt x="18" y="24"/>
                </a:lnTo>
                <a:lnTo>
                  <a:pt x="18" y="24"/>
                </a:lnTo>
                <a:lnTo>
                  <a:pt x="18" y="24"/>
                </a:lnTo>
                <a:lnTo>
                  <a:pt x="18" y="24"/>
                </a:lnTo>
                <a:lnTo>
                  <a:pt x="18" y="28"/>
                </a:lnTo>
                <a:lnTo>
                  <a:pt x="18" y="28"/>
                </a:lnTo>
                <a:lnTo>
                  <a:pt x="18" y="28"/>
                </a:lnTo>
                <a:lnTo>
                  <a:pt x="14" y="32"/>
                </a:lnTo>
                <a:lnTo>
                  <a:pt x="14" y="32"/>
                </a:lnTo>
                <a:lnTo>
                  <a:pt x="10" y="36"/>
                </a:lnTo>
                <a:lnTo>
                  <a:pt x="10" y="36"/>
                </a:lnTo>
                <a:lnTo>
                  <a:pt x="8" y="36"/>
                </a:lnTo>
                <a:lnTo>
                  <a:pt x="8" y="36"/>
                </a:lnTo>
                <a:lnTo>
                  <a:pt x="8" y="36"/>
                </a:lnTo>
                <a:lnTo>
                  <a:pt x="8" y="32"/>
                </a:lnTo>
                <a:lnTo>
                  <a:pt x="8" y="32"/>
                </a:lnTo>
                <a:lnTo>
                  <a:pt x="8" y="32"/>
                </a:lnTo>
                <a:lnTo>
                  <a:pt x="8" y="32"/>
                </a:lnTo>
                <a:lnTo>
                  <a:pt x="4" y="28"/>
                </a:lnTo>
                <a:lnTo>
                  <a:pt x="4" y="28"/>
                </a:lnTo>
                <a:lnTo>
                  <a:pt x="4" y="28"/>
                </a:lnTo>
                <a:lnTo>
                  <a:pt x="4" y="28"/>
                </a:lnTo>
                <a:lnTo>
                  <a:pt x="4" y="28"/>
                </a:lnTo>
                <a:lnTo>
                  <a:pt x="4" y="28"/>
                </a:lnTo>
                <a:lnTo>
                  <a:pt x="4" y="28"/>
                </a:lnTo>
                <a:lnTo>
                  <a:pt x="4" y="24"/>
                </a:lnTo>
                <a:lnTo>
                  <a:pt x="4" y="24"/>
                </a:lnTo>
                <a:lnTo>
                  <a:pt x="4" y="24"/>
                </a:lnTo>
                <a:lnTo>
                  <a:pt x="4" y="24"/>
                </a:lnTo>
                <a:lnTo>
                  <a:pt x="4" y="24"/>
                </a:lnTo>
                <a:lnTo>
                  <a:pt x="4" y="24"/>
                </a:lnTo>
                <a:lnTo>
                  <a:pt x="4" y="22"/>
                </a:lnTo>
                <a:lnTo>
                  <a:pt x="4" y="22"/>
                </a:lnTo>
                <a:lnTo>
                  <a:pt x="4" y="22"/>
                </a:lnTo>
                <a:lnTo>
                  <a:pt x="4" y="18"/>
                </a:lnTo>
                <a:lnTo>
                  <a:pt x="4" y="18"/>
                </a:lnTo>
                <a:lnTo>
                  <a:pt x="4" y="18"/>
                </a:lnTo>
                <a:lnTo>
                  <a:pt x="4" y="18"/>
                </a:lnTo>
                <a:lnTo>
                  <a:pt x="4" y="18"/>
                </a:lnTo>
                <a:lnTo>
                  <a:pt x="4" y="18"/>
                </a:lnTo>
                <a:lnTo>
                  <a:pt x="4" y="14"/>
                </a:lnTo>
                <a:lnTo>
                  <a:pt x="4" y="14"/>
                </a:lnTo>
                <a:lnTo>
                  <a:pt x="4" y="14"/>
                </a:lnTo>
                <a:lnTo>
                  <a:pt x="4" y="14"/>
                </a:lnTo>
                <a:lnTo>
                  <a:pt x="4" y="14"/>
                </a:lnTo>
                <a:lnTo>
                  <a:pt x="4" y="10"/>
                </a:lnTo>
                <a:lnTo>
                  <a:pt x="4" y="10"/>
                </a:lnTo>
                <a:lnTo>
                  <a:pt x="4" y="10"/>
                </a:lnTo>
                <a:lnTo>
                  <a:pt x="0" y="8"/>
                </a:lnTo>
                <a:lnTo>
                  <a:pt x="0" y="8"/>
                </a:lnTo>
                <a:lnTo>
                  <a:pt x="0" y="8"/>
                </a:lnTo>
                <a:lnTo>
                  <a:pt x="0" y="8"/>
                </a:lnTo>
                <a:lnTo>
                  <a:pt x="0" y="8"/>
                </a:lnTo>
                <a:lnTo>
                  <a:pt x="0" y="8"/>
                </a:lnTo>
                <a:lnTo>
                  <a:pt x="0" y="8"/>
                </a:lnTo>
                <a:lnTo>
                  <a:pt x="0" y="4"/>
                </a:lnTo>
                <a:lnTo>
                  <a:pt x="0" y="4"/>
                </a:lnTo>
                <a:lnTo>
                  <a:pt x="4" y="4"/>
                </a:lnTo>
                <a:lnTo>
                  <a:pt x="4" y="8"/>
                </a:lnTo>
                <a:lnTo>
                  <a:pt x="4" y="8"/>
                </a:lnTo>
                <a:lnTo>
                  <a:pt x="4" y="8"/>
                </a:lnTo>
                <a:lnTo>
                  <a:pt x="4" y="8"/>
                </a:lnTo>
                <a:lnTo>
                  <a:pt x="4" y="8"/>
                </a:lnTo>
                <a:lnTo>
                  <a:pt x="4" y="8"/>
                </a:lnTo>
                <a:lnTo>
                  <a:pt x="4" y="8"/>
                </a:lnTo>
                <a:lnTo>
                  <a:pt x="4" y="8"/>
                </a:lnTo>
                <a:lnTo>
                  <a:pt x="8" y="8"/>
                </a:lnTo>
                <a:lnTo>
                  <a:pt x="8" y="8"/>
                </a:lnTo>
                <a:lnTo>
                  <a:pt x="8" y="8"/>
                </a:lnTo>
                <a:lnTo>
                  <a:pt x="8" y="8"/>
                </a:lnTo>
                <a:lnTo>
                  <a:pt x="8" y="8"/>
                </a:lnTo>
                <a:lnTo>
                  <a:pt x="8" y="8"/>
                </a:lnTo>
                <a:lnTo>
                  <a:pt x="8" y="8"/>
                </a:lnTo>
                <a:lnTo>
                  <a:pt x="10" y="8"/>
                </a:lnTo>
                <a:lnTo>
                  <a:pt x="10" y="8"/>
                </a:lnTo>
                <a:lnTo>
                  <a:pt x="10" y="8"/>
                </a:lnTo>
                <a:lnTo>
                  <a:pt x="10" y="8"/>
                </a:lnTo>
                <a:lnTo>
                  <a:pt x="10" y="8"/>
                </a:lnTo>
                <a:lnTo>
                  <a:pt x="10" y="8"/>
                </a:lnTo>
                <a:lnTo>
                  <a:pt x="14" y="8"/>
                </a:lnTo>
                <a:lnTo>
                  <a:pt x="14" y="8"/>
                </a:lnTo>
                <a:lnTo>
                  <a:pt x="14" y="4"/>
                </a:lnTo>
                <a:lnTo>
                  <a:pt x="14" y="0"/>
                </a:lnTo>
                <a:lnTo>
                  <a:pt x="14" y="0"/>
                </a:lnTo>
                <a:lnTo>
                  <a:pt x="14" y="0"/>
                </a:lnTo>
                <a:lnTo>
                  <a:pt x="14" y="0"/>
                </a:lnTo>
                <a:lnTo>
                  <a:pt x="14" y="4"/>
                </a:lnTo>
                <a:lnTo>
                  <a:pt x="14" y="4"/>
                </a:lnTo>
                <a:lnTo>
                  <a:pt x="14" y="4"/>
                </a:lnTo>
                <a:lnTo>
                  <a:pt x="18" y="0"/>
                </a:lnTo>
                <a:lnTo>
                  <a:pt x="18" y="0"/>
                </a:lnTo>
                <a:lnTo>
                  <a:pt x="18" y="0"/>
                </a:lnTo>
                <a:lnTo>
                  <a:pt x="22" y="0"/>
                </a:lnTo>
                <a:lnTo>
                  <a:pt x="22" y="0"/>
                </a:lnTo>
                <a:lnTo>
                  <a:pt x="22" y="0"/>
                </a:lnTo>
                <a:lnTo>
                  <a:pt x="22" y="0"/>
                </a:lnTo>
                <a:lnTo>
                  <a:pt x="22" y="0"/>
                </a:lnTo>
                <a:lnTo>
                  <a:pt x="22" y="4"/>
                </a:lnTo>
                <a:lnTo>
                  <a:pt x="22" y="4"/>
                </a:lnTo>
                <a:lnTo>
                  <a:pt x="18" y="10"/>
                </a:lnTo>
                <a:lnTo>
                  <a:pt x="22" y="10"/>
                </a:lnTo>
                <a:lnTo>
                  <a:pt x="22" y="10"/>
                </a:lnTo>
                <a:lnTo>
                  <a:pt x="22" y="10"/>
                </a:lnTo>
                <a:lnTo>
                  <a:pt x="22" y="10"/>
                </a:lnTo>
                <a:lnTo>
                  <a:pt x="22" y="10"/>
                </a:lnTo>
                <a:lnTo>
                  <a:pt x="22" y="10"/>
                </a:lnTo>
                <a:lnTo>
                  <a:pt x="26" y="10"/>
                </a:lnTo>
                <a:lnTo>
                  <a:pt x="26" y="10"/>
                </a:lnTo>
                <a:lnTo>
                  <a:pt x="26" y="10"/>
                </a:lnTo>
                <a:lnTo>
                  <a:pt x="26" y="10"/>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26" name="Freeform 133"/>
          <p:cNvSpPr>
            <a:spLocks/>
          </p:cNvSpPr>
          <p:nvPr/>
        </p:nvSpPr>
        <p:spPr bwMode="auto">
          <a:xfrm>
            <a:off x="4398169" y="3429000"/>
            <a:ext cx="135731" cy="235744"/>
          </a:xfrm>
          <a:custGeom>
            <a:avLst/>
            <a:gdLst>
              <a:gd name="T0" fmla="*/ 24 w 114"/>
              <a:gd name="T1" fmla="*/ 188 h 198"/>
              <a:gd name="T2" fmla="*/ 20 w 114"/>
              <a:gd name="T3" fmla="*/ 176 h 198"/>
              <a:gd name="T4" fmla="*/ 20 w 114"/>
              <a:gd name="T5" fmla="*/ 168 h 198"/>
              <a:gd name="T6" fmla="*/ 20 w 114"/>
              <a:gd name="T7" fmla="*/ 162 h 198"/>
              <a:gd name="T8" fmla="*/ 12 w 114"/>
              <a:gd name="T9" fmla="*/ 162 h 198"/>
              <a:gd name="T10" fmla="*/ 8 w 114"/>
              <a:gd name="T11" fmla="*/ 154 h 198"/>
              <a:gd name="T12" fmla="*/ 8 w 114"/>
              <a:gd name="T13" fmla="*/ 150 h 198"/>
              <a:gd name="T14" fmla="*/ 4 w 114"/>
              <a:gd name="T15" fmla="*/ 150 h 198"/>
              <a:gd name="T16" fmla="*/ 4 w 114"/>
              <a:gd name="T17" fmla="*/ 142 h 198"/>
              <a:gd name="T18" fmla="*/ 8 w 114"/>
              <a:gd name="T19" fmla="*/ 132 h 198"/>
              <a:gd name="T20" fmla="*/ 12 w 114"/>
              <a:gd name="T21" fmla="*/ 120 h 198"/>
              <a:gd name="T22" fmla="*/ 20 w 114"/>
              <a:gd name="T23" fmla="*/ 112 h 198"/>
              <a:gd name="T24" fmla="*/ 26 w 114"/>
              <a:gd name="T25" fmla="*/ 106 h 198"/>
              <a:gd name="T26" fmla="*/ 30 w 114"/>
              <a:gd name="T27" fmla="*/ 106 h 198"/>
              <a:gd name="T28" fmla="*/ 38 w 114"/>
              <a:gd name="T29" fmla="*/ 108 h 198"/>
              <a:gd name="T30" fmla="*/ 42 w 114"/>
              <a:gd name="T31" fmla="*/ 116 h 198"/>
              <a:gd name="T32" fmla="*/ 46 w 114"/>
              <a:gd name="T33" fmla="*/ 108 h 198"/>
              <a:gd name="T34" fmla="*/ 50 w 114"/>
              <a:gd name="T35" fmla="*/ 98 h 198"/>
              <a:gd name="T36" fmla="*/ 54 w 114"/>
              <a:gd name="T37" fmla="*/ 90 h 198"/>
              <a:gd name="T38" fmla="*/ 54 w 114"/>
              <a:gd name="T39" fmla="*/ 86 h 198"/>
              <a:gd name="T40" fmla="*/ 56 w 114"/>
              <a:gd name="T41" fmla="*/ 78 h 198"/>
              <a:gd name="T42" fmla="*/ 64 w 114"/>
              <a:gd name="T43" fmla="*/ 72 h 198"/>
              <a:gd name="T44" fmla="*/ 68 w 114"/>
              <a:gd name="T45" fmla="*/ 64 h 198"/>
              <a:gd name="T46" fmla="*/ 68 w 114"/>
              <a:gd name="T47" fmla="*/ 52 h 198"/>
              <a:gd name="T48" fmla="*/ 72 w 114"/>
              <a:gd name="T49" fmla="*/ 46 h 198"/>
              <a:gd name="T50" fmla="*/ 80 w 114"/>
              <a:gd name="T51" fmla="*/ 34 h 198"/>
              <a:gd name="T52" fmla="*/ 86 w 114"/>
              <a:gd name="T53" fmla="*/ 30 h 198"/>
              <a:gd name="T54" fmla="*/ 86 w 114"/>
              <a:gd name="T55" fmla="*/ 22 h 198"/>
              <a:gd name="T56" fmla="*/ 86 w 114"/>
              <a:gd name="T57" fmla="*/ 20 h 198"/>
              <a:gd name="T58" fmla="*/ 86 w 114"/>
              <a:gd name="T59" fmla="*/ 16 h 198"/>
              <a:gd name="T60" fmla="*/ 84 w 114"/>
              <a:gd name="T61" fmla="*/ 8 h 198"/>
              <a:gd name="T62" fmla="*/ 84 w 114"/>
              <a:gd name="T63" fmla="*/ 0 h 198"/>
              <a:gd name="T64" fmla="*/ 86 w 114"/>
              <a:gd name="T65" fmla="*/ 8 h 198"/>
              <a:gd name="T66" fmla="*/ 94 w 114"/>
              <a:gd name="T67" fmla="*/ 20 h 198"/>
              <a:gd name="T68" fmla="*/ 94 w 114"/>
              <a:gd name="T69" fmla="*/ 30 h 198"/>
              <a:gd name="T70" fmla="*/ 94 w 114"/>
              <a:gd name="T71" fmla="*/ 42 h 198"/>
              <a:gd name="T72" fmla="*/ 98 w 114"/>
              <a:gd name="T73" fmla="*/ 50 h 198"/>
              <a:gd name="T74" fmla="*/ 98 w 114"/>
              <a:gd name="T75" fmla="*/ 56 h 198"/>
              <a:gd name="T76" fmla="*/ 86 w 114"/>
              <a:gd name="T77" fmla="*/ 56 h 198"/>
              <a:gd name="T78" fmla="*/ 84 w 114"/>
              <a:gd name="T79" fmla="*/ 68 h 198"/>
              <a:gd name="T80" fmla="*/ 94 w 114"/>
              <a:gd name="T81" fmla="*/ 76 h 198"/>
              <a:gd name="T82" fmla="*/ 98 w 114"/>
              <a:gd name="T83" fmla="*/ 86 h 198"/>
              <a:gd name="T84" fmla="*/ 102 w 114"/>
              <a:gd name="T85" fmla="*/ 94 h 198"/>
              <a:gd name="T86" fmla="*/ 98 w 114"/>
              <a:gd name="T87" fmla="*/ 102 h 198"/>
              <a:gd name="T88" fmla="*/ 94 w 114"/>
              <a:gd name="T89" fmla="*/ 108 h 198"/>
              <a:gd name="T90" fmla="*/ 90 w 114"/>
              <a:gd name="T91" fmla="*/ 120 h 198"/>
              <a:gd name="T92" fmla="*/ 86 w 114"/>
              <a:gd name="T93" fmla="*/ 128 h 198"/>
              <a:gd name="T94" fmla="*/ 86 w 114"/>
              <a:gd name="T95" fmla="*/ 134 h 198"/>
              <a:gd name="T96" fmla="*/ 90 w 114"/>
              <a:gd name="T97" fmla="*/ 146 h 198"/>
              <a:gd name="T98" fmla="*/ 94 w 114"/>
              <a:gd name="T99" fmla="*/ 154 h 198"/>
              <a:gd name="T100" fmla="*/ 98 w 114"/>
              <a:gd name="T101" fmla="*/ 162 h 198"/>
              <a:gd name="T102" fmla="*/ 106 w 114"/>
              <a:gd name="T103" fmla="*/ 172 h 198"/>
              <a:gd name="T104" fmla="*/ 110 w 114"/>
              <a:gd name="T105" fmla="*/ 184 h 198"/>
              <a:gd name="T106" fmla="*/ 110 w 114"/>
              <a:gd name="T107" fmla="*/ 188 h 198"/>
              <a:gd name="T108" fmla="*/ 110 w 114"/>
              <a:gd name="T109" fmla="*/ 198 h 198"/>
              <a:gd name="T110" fmla="*/ 102 w 114"/>
              <a:gd name="T111" fmla="*/ 194 h 198"/>
              <a:gd name="T112" fmla="*/ 94 w 114"/>
              <a:gd name="T113" fmla="*/ 190 h 198"/>
              <a:gd name="T114" fmla="*/ 84 w 114"/>
              <a:gd name="T115" fmla="*/ 190 h 198"/>
              <a:gd name="T116" fmla="*/ 68 w 114"/>
              <a:gd name="T117" fmla="*/ 188 h 198"/>
              <a:gd name="T118" fmla="*/ 56 w 114"/>
              <a:gd name="T119" fmla="*/ 188 h 198"/>
              <a:gd name="T120" fmla="*/ 46 w 114"/>
              <a:gd name="T121" fmla="*/ 188 h 198"/>
              <a:gd name="T122" fmla="*/ 38 w 114"/>
              <a:gd name="T123" fmla="*/ 190 h 198"/>
              <a:gd name="T124" fmla="*/ 26 w 114"/>
              <a:gd name="T125" fmla="*/ 19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4" h="198">
                <a:moveTo>
                  <a:pt x="26" y="190"/>
                </a:moveTo>
                <a:lnTo>
                  <a:pt x="24" y="190"/>
                </a:lnTo>
                <a:lnTo>
                  <a:pt x="24" y="188"/>
                </a:lnTo>
                <a:lnTo>
                  <a:pt x="20" y="188"/>
                </a:lnTo>
                <a:lnTo>
                  <a:pt x="20" y="184"/>
                </a:lnTo>
                <a:lnTo>
                  <a:pt x="20" y="176"/>
                </a:lnTo>
                <a:lnTo>
                  <a:pt x="24" y="176"/>
                </a:lnTo>
                <a:lnTo>
                  <a:pt x="24" y="172"/>
                </a:lnTo>
                <a:lnTo>
                  <a:pt x="20" y="168"/>
                </a:lnTo>
                <a:lnTo>
                  <a:pt x="20" y="164"/>
                </a:lnTo>
                <a:lnTo>
                  <a:pt x="16" y="162"/>
                </a:lnTo>
                <a:lnTo>
                  <a:pt x="20" y="162"/>
                </a:lnTo>
                <a:lnTo>
                  <a:pt x="16" y="158"/>
                </a:lnTo>
                <a:lnTo>
                  <a:pt x="16" y="162"/>
                </a:lnTo>
                <a:lnTo>
                  <a:pt x="12" y="162"/>
                </a:lnTo>
                <a:lnTo>
                  <a:pt x="12" y="158"/>
                </a:lnTo>
                <a:lnTo>
                  <a:pt x="8" y="158"/>
                </a:lnTo>
                <a:lnTo>
                  <a:pt x="8" y="154"/>
                </a:lnTo>
                <a:lnTo>
                  <a:pt x="8" y="150"/>
                </a:lnTo>
                <a:lnTo>
                  <a:pt x="8" y="146"/>
                </a:lnTo>
                <a:lnTo>
                  <a:pt x="8" y="150"/>
                </a:lnTo>
                <a:lnTo>
                  <a:pt x="4" y="150"/>
                </a:lnTo>
                <a:lnTo>
                  <a:pt x="4" y="146"/>
                </a:lnTo>
                <a:lnTo>
                  <a:pt x="4" y="150"/>
                </a:lnTo>
                <a:lnTo>
                  <a:pt x="0" y="150"/>
                </a:lnTo>
                <a:lnTo>
                  <a:pt x="0" y="146"/>
                </a:lnTo>
                <a:lnTo>
                  <a:pt x="4" y="142"/>
                </a:lnTo>
                <a:lnTo>
                  <a:pt x="4" y="138"/>
                </a:lnTo>
                <a:lnTo>
                  <a:pt x="8" y="134"/>
                </a:lnTo>
                <a:lnTo>
                  <a:pt x="8" y="132"/>
                </a:lnTo>
                <a:lnTo>
                  <a:pt x="8" y="128"/>
                </a:lnTo>
                <a:lnTo>
                  <a:pt x="8" y="124"/>
                </a:lnTo>
                <a:lnTo>
                  <a:pt x="12" y="120"/>
                </a:lnTo>
                <a:lnTo>
                  <a:pt x="16" y="116"/>
                </a:lnTo>
                <a:lnTo>
                  <a:pt x="20" y="116"/>
                </a:lnTo>
                <a:lnTo>
                  <a:pt x="20" y="112"/>
                </a:lnTo>
                <a:lnTo>
                  <a:pt x="20" y="108"/>
                </a:lnTo>
                <a:lnTo>
                  <a:pt x="24" y="108"/>
                </a:lnTo>
                <a:lnTo>
                  <a:pt x="26" y="106"/>
                </a:lnTo>
                <a:lnTo>
                  <a:pt x="26" y="108"/>
                </a:lnTo>
                <a:lnTo>
                  <a:pt x="30" y="108"/>
                </a:lnTo>
                <a:lnTo>
                  <a:pt x="30" y="106"/>
                </a:lnTo>
                <a:lnTo>
                  <a:pt x="34" y="106"/>
                </a:lnTo>
                <a:lnTo>
                  <a:pt x="34" y="108"/>
                </a:lnTo>
                <a:lnTo>
                  <a:pt x="38" y="108"/>
                </a:lnTo>
                <a:lnTo>
                  <a:pt x="38" y="112"/>
                </a:lnTo>
                <a:lnTo>
                  <a:pt x="38" y="116"/>
                </a:lnTo>
                <a:lnTo>
                  <a:pt x="42" y="116"/>
                </a:lnTo>
                <a:lnTo>
                  <a:pt x="42" y="112"/>
                </a:lnTo>
                <a:lnTo>
                  <a:pt x="46" y="112"/>
                </a:lnTo>
                <a:lnTo>
                  <a:pt x="46" y="108"/>
                </a:lnTo>
                <a:lnTo>
                  <a:pt x="50" y="106"/>
                </a:lnTo>
                <a:lnTo>
                  <a:pt x="50" y="102"/>
                </a:lnTo>
                <a:lnTo>
                  <a:pt x="50" y="98"/>
                </a:lnTo>
                <a:lnTo>
                  <a:pt x="54" y="98"/>
                </a:lnTo>
                <a:lnTo>
                  <a:pt x="54" y="94"/>
                </a:lnTo>
                <a:lnTo>
                  <a:pt x="54" y="90"/>
                </a:lnTo>
                <a:lnTo>
                  <a:pt x="54" y="86"/>
                </a:lnTo>
                <a:lnTo>
                  <a:pt x="56" y="86"/>
                </a:lnTo>
                <a:lnTo>
                  <a:pt x="54" y="86"/>
                </a:lnTo>
                <a:lnTo>
                  <a:pt x="54" y="82"/>
                </a:lnTo>
                <a:lnTo>
                  <a:pt x="56" y="82"/>
                </a:lnTo>
                <a:lnTo>
                  <a:pt x="56" y="78"/>
                </a:lnTo>
                <a:lnTo>
                  <a:pt x="60" y="78"/>
                </a:lnTo>
                <a:lnTo>
                  <a:pt x="64" y="76"/>
                </a:lnTo>
                <a:lnTo>
                  <a:pt x="64" y="72"/>
                </a:lnTo>
                <a:lnTo>
                  <a:pt x="64" y="68"/>
                </a:lnTo>
                <a:lnTo>
                  <a:pt x="64" y="64"/>
                </a:lnTo>
                <a:lnTo>
                  <a:pt x="68" y="64"/>
                </a:lnTo>
                <a:lnTo>
                  <a:pt x="68" y="60"/>
                </a:lnTo>
                <a:lnTo>
                  <a:pt x="68" y="56"/>
                </a:lnTo>
                <a:lnTo>
                  <a:pt x="68" y="52"/>
                </a:lnTo>
                <a:lnTo>
                  <a:pt x="72" y="52"/>
                </a:lnTo>
                <a:lnTo>
                  <a:pt x="72" y="50"/>
                </a:lnTo>
                <a:lnTo>
                  <a:pt x="72" y="46"/>
                </a:lnTo>
                <a:lnTo>
                  <a:pt x="76" y="42"/>
                </a:lnTo>
                <a:lnTo>
                  <a:pt x="76" y="38"/>
                </a:lnTo>
                <a:lnTo>
                  <a:pt x="80" y="34"/>
                </a:lnTo>
                <a:lnTo>
                  <a:pt x="84" y="34"/>
                </a:lnTo>
                <a:lnTo>
                  <a:pt x="84" y="30"/>
                </a:lnTo>
                <a:lnTo>
                  <a:pt x="86" y="30"/>
                </a:lnTo>
                <a:lnTo>
                  <a:pt x="90" y="26"/>
                </a:lnTo>
                <a:lnTo>
                  <a:pt x="86" y="26"/>
                </a:lnTo>
                <a:lnTo>
                  <a:pt x="86" y="22"/>
                </a:lnTo>
                <a:lnTo>
                  <a:pt x="90" y="22"/>
                </a:lnTo>
                <a:lnTo>
                  <a:pt x="90" y="20"/>
                </a:lnTo>
                <a:lnTo>
                  <a:pt x="86" y="20"/>
                </a:lnTo>
                <a:lnTo>
                  <a:pt x="90" y="20"/>
                </a:lnTo>
                <a:lnTo>
                  <a:pt x="90" y="16"/>
                </a:lnTo>
                <a:lnTo>
                  <a:pt x="86" y="16"/>
                </a:lnTo>
                <a:lnTo>
                  <a:pt x="84" y="16"/>
                </a:lnTo>
                <a:lnTo>
                  <a:pt x="84" y="12"/>
                </a:lnTo>
                <a:lnTo>
                  <a:pt x="84" y="8"/>
                </a:lnTo>
                <a:lnTo>
                  <a:pt x="84" y="4"/>
                </a:lnTo>
                <a:lnTo>
                  <a:pt x="80" y="0"/>
                </a:lnTo>
                <a:lnTo>
                  <a:pt x="84" y="0"/>
                </a:lnTo>
                <a:lnTo>
                  <a:pt x="86" y="0"/>
                </a:lnTo>
                <a:lnTo>
                  <a:pt x="86" y="4"/>
                </a:lnTo>
                <a:lnTo>
                  <a:pt x="86" y="8"/>
                </a:lnTo>
                <a:lnTo>
                  <a:pt x="90" y="8"/>
                </a:lnTo>
                <a:lnTo>
                  <a:pt x="94" y="16"/>
                </a:lnTo>
                <a:lnTo>
                  <a:pt x="94" y="20"/>
                </a:lnTo>
                <a:lnTo>
                  <a:pt x="94" y="22"/>
                </a:lnTo>
                <a:lnTo>
                  <a:pt x="94" y="26"/>
                </a:lnTo>
                <a:lnTo>
                  <a:pt x="94" y="30"/>
                </a:lnTo>
                <a:lnTo>
                  <a:pt x="94" y="34"/>
                </a:lnTo>
                <a:lnTo>
                  <a:pt x="94" y="38"/>
                </a:lnTo>
                <a:lnTo>
                  <a:pt x="94" y="42"/>
                </a:lnTo>
                <a:lnTo>
                  <a:pt x="94" y="46"/>
                </a:lnTo>
                <a:lnTo>
                  <a:pt x="98" y="46"/>
                </a:lnTo>
                <a:lnTo>
                  <a:pt x="98" y="50"/>
                </a:lnTo>
                <a:lnTo>
                  <a:pt x="102" y="52"/>
                </a:lnTo>
                <a:lnTo>
                  <a:pt x="102" y="56"/>
                </a:lnTo>
                <a:lnTo>
                  <a:pt x="98" y="56"/>
                </a:lnTo>
                <a:lnTo>
                  <a:pt x="94" y="56"/>
                </a:lnTo>
                <a:lnTo>
                  <a:pt x="90" y="56"/>
                </a:lnTo>
                <a:lnTo>
                  <a:pt x="86" y="56"/>
                </a:lnTo>
                <a:lnTo>
                  <a:pt x="84" y="56"/>
                </a:lnTo>
                <a:lnTo>
                  <a:pt x="80" y="60"/>
                </a:lnTo>
                <a:lnTo>
                  <a:pt x="84" y="68"/>
                </a:lnTo>
                <a:lnTo>
                  <a:pt x="86" y="72"/>
                </a:lnTo>
                <a:lnTo>
                  <a:pt x="90" y="76"/>
                </a:lnTo>
                <a:lnTo>
                  <a:pt x="94" y="76"/>
                </a:lnTo>
                <a:lnTo>
                  <a:pt x="94" y="78"/>
                </a:lnTo>
                <a:lnTo>
                  <a:pt x="98" y="82"/>
                </a:lnTo>
                <a:lnTo>
                  <a:pt x="98" y="86"/>
                </a:lnTo>
                <a:lnTo>
                  <a:pt x="98" y="90"/>
                </a:lnTo>
                <a:lnTo>
                  <a:pt x="102" y="90"/>
                </a:lnTo>
                <a:lnTo>
                  <a:pt x="102" y="94"/>
                </a:lnTo>
                <a:lnTo>
                  <a:pt x="102" y="98"/>
                </a:lnTo>
                <a:lnTo>
                  <a:pt x="102" y="102"/>
                </a:lnTo>
                <a:lnTo>
                  <a:pt x="98" y="102"/>
                </a:lnTo>
                <a:lnTo>
                  <a:pt x="98" y="106"/>
                </a:lnTo>
                <a:lnTo>
                  <a:pt x="94" y="106"/>
                </a:lnTo>
                <a:lnTo>
                  <a:pt x="94" y="108"/>
                </a:lnTo>
                <a:lnTo>
                  <a:pt x="94" y="112"/>
                </a:lnTo>
                <a:lnTo>
                  <a:pt x="90" y="116"/>
                </a:lnTo>
                <a:lnTo>
                  <a:pt x="90" y="120"/>
                </a:lnTo>
                <a:lnTo>
                  <a:pt x="86" y="120"/>
                </a:lnTo>
                <a:lnTo>
                  <a:pt x="86" y="124"/>
                </a:lnTo>
                <a:lnTo>
                  <a:pt x="86" y="128"/>
                </a:lnTo>
                <a:lnTo>
                  <a:pt x="90" y="128"/>
                </a:lnTo>
                <a:lnTo>
                  <a:pt x="86" y="132"/>
                </a:lnTo>
                <a:lnTo>
                  <a:pt x="86" y="134"/>
                </a:lnTo>
                <a:lnTo>
                  <a:pt x="90" y="138"/>
                </a:lnTo>
                <a:lnTo>
                  <a:pt x="90" y="142"/>
                </a:lnTo>
                <a:lnTo>
                  <a:pt x="90" y="146"/>
                </a:lnTo>
                <a:lnTo>
                  <a:pt x="90" y="150"/>
                </a:lnTo>
                <a:lnTo>
                  <a:pt x="94" y="150"/>
                </a:lnTo>
                <a:lnTo>
                  <a:pt x="94" y="154"/>
                </a:lnTo>
                <a:lnTo>
                  <a:pt x="94" y="158"/>
                </a:lnTo>
                <a:lnTo>
                  <a:pt x="94" y="162"/>
                </a:lnTo>
                <a:lnTo>
                  <a:pt x="98" y="162"/>
                </a:lnTo>
                <a:lnTo>
                  <a:pt x="98" y="164"/>
                </a:lnTo>
                <a:lnTo>
                  <a:pt x="102" y="168"/>
                </a:lnTo>
                <a:lnTo>
                  <a:pt x="106" y="172"/>
                </a:lnTo>
                <a:lnTo>
                  <a:pt x="110" y="176"/>
                </a:lnTo>
                <a:lnTo>
                  <a:pt x="110" y="180"/>
                </a:lnTo>
                <a:lnTo>
                  <a:pt x="110" y="184"/>
                </a:lnTo>
                <a:lnTo>
                  <a:pt x="110" y="188"/>
                </a:lnTo>
                <a:lnTo>
                  <a:pt x="114" y="188"/>
                </a:lnTo>
                <a:lnTo>
                  <a:pt x="110" y="188"/>
                </a:lnTo>
                <a:lnTo>
                  <a:pt x="110" y="190"/>
                </a:lnTo>
                <a:lnTo>
                  <a:pt x="110" y="194"/>
                </a:lnTo>
                <a:lnTo>
                  <a:pt x="110" y="198"/>
                </a:lnTo>
                <a:lnTo>
                  <a:pt x="110" y="194"/>
                </a:lnTo>
                <a:lnTo>
                  <a:pt x="106" y="194"/>
                </a:lnTo>
                <a:lnTo>
                  <a:pt x="102" y="194"/>
                </a:lnTo>
                <a:lnTo>
                  <a:pt x="102" y="190"/>
                </a:lnTo>
                <a:lnTo>
                  <a:pt x="98" y="190"/>
                </a:lnTo>
                <a:lnTo>
                  <a:pt x="94" y="190"/>
                </a:lnTo>
                <a:lnTo>
                  <a:pt x="90" y="190"/>
                </a:lnTo>
                <a:lnTo>
                  <a:pt x="86" y="190"/>
                </a:lnTo>
                <a:lnTo>
                  <a:pt x="84" y="190"/>
                </a:lnTo>
                <a:lnTo>
                  <a:pt x="76" y="190"/>
                </a:lnTo>
                <a:lnTo>
                  <a:pt x="68" y="190"/>
                </a:lnTo>
                <a:lnTo>
                  <a:pt x="68" y="188"/>
                </a:lnTo>
                <a:lnTo>
                  <a:pt x="64" y="188"/>
                </a:lnTo>
                <a:lnTo>
                  <a:pt x="60" y="188"/>
                </a:lnTo>
                <a:lnTo>
                  <a:pt x="56" y="188"/>
                </a:lnTo>
                <a:lnTo>
                  <a:pt x="54" y="188"/>
                </a:lnTo>
                <a:lnTo>
                  <a:pt x="50" y="188"/>
                </a:lnTo>
                <a:lnTo>
                  <a:pt x="46" y="188"/>
                </a:lnTo>
                <a:lnTo>
                  <a:pt x="42" y="188"/>
                </a:lnTo>
                <a:lnTo>
                  <a:pt x="42" y="190"/>
                </a:lnTo>
                <a:lnTo>
                  <a:pt x="38" y="190"/>
                </a:lnTo>
                <a:lnTo>
                  <a:pt x="30" y="190"/>
                </a:lnTo>
                <a:lnTo>
                  <a:pt x="26" y="190"/>
                </a:lnTo>
                <a:lnTo>
                  <a:pt x="26" y="190"/>
                </a:lnTo>
                <a:lnTo>
                  <a:pt x="26" y="190"/>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27" name="Freeform 134"/>
          <p:cNvSpPr>
            <a:spLocks noEditPoints="1"/>
          </p:cNvSpPr>
          <p:nvPr/>
        </p:nvSpPr>
        <p:spPr bwMode="auto">
          <a:xfrm>
            <a:off x="3831431" y="3345656"/>
            <a:ext cx="45244" cy="47625"/>
          </a:xfrm>
          <a:custGeom>
            <a:avLst/>
            <a:gdLst>
              <a:gd name="T0" fmla="*/ 0 w 38"/>
              <a:gd name="T1" fmla="*/ 4 h 40"/>
              <a:gd name="T2" fmla="*/ 0 w 38"/>
              <a:gd name="T3" fmla="*/ 4 h 40"/>
              <a:gd name="T4" fmla="*/ 4 w 38"/>
              <a:gd name="T5" fmla="*/ 0 h 40"/>
              <a:gd name="T6" fmla="*/ 4 w 38"/>
              <a:gd name="T7" fmla="*/ 4 h 40"/>
              <a:gd name="T8" fmla="*/ 4 w 38"/>
              <a:gd name="T9" fmla="*/ 4 h 40"/>
              <a:gd name="T10" fmla="*/ 4 w 38"/>
              <a:gd name="T11" fmla="*/ 4 h 40"/>
              <a:gd name="T12" fmla="*/ 0 w 38"/>
              <a:gd name="T13" fmla="*/ 4 h 40"/>
              <a:gd name="T14" fmla="*/ 0 w 38"/>
              <a:gd name="T15" fmla="*/ 4 h 40"/>
              <a:gd name="T16" fmla="*/ 4 w 38"/>
              <a:gd name="T17" fmla="*/ 8 h 40"/>
              <a:gd name="T18" fmla="*/ 4 w 38"/>
              <a:gd name="T19" fmla="*/ 8 h 40"/>
              <a:gd name="T20" fmla="*/ 4 w 38"/>
              <a:gd name="T21" fmla="*/ 4 h 40"/>
              <a:gd name="T22" fmla="*/ 8 w 38"/>
              <a:gd name="T23" fmla="*/ 8 h 40"/>
              <a:gd name="T24" fmla="*/ 4 w 38"/>
              <a:gd name="T25" fmla="*/ 8 h 40"/>
              <a:gd name="T26" fmla="*/ 34 w 38"/>
              <a:gd name="T27" fmla="*/ 10 h 40"/>
              <a:gd name="T28" fmla="*/ 34 w 38"/>
              <a:gd name="T29" fmla="*/ 8 h 40"/>
              <a:gd name="T30" fmla="*/ 34 w 38"/>
              <a:gd name="T31" fmla="*/ 8 h 40"/>
              <a:gd name="T32" fmla="*/ 34 w 38"/>
              <a:gd name="T33" fmla="*/ 8 h 40"/>
              <a:gd name="T34" fmla="*/ 34 w 38"/>
              <a:gd name="T35" fmla="*/ 10 h 40"/>
              <a:gd name="T36" fmla="*/ 16 w 38"/>
              <a:gd name="T37" fmla="*/ 10 h 40"/>
              <a:gd name="T38" fmla="*/ 12 w 38"/>
              <a:gd name="T39" fmla="*/ 10 h 40"/>
              <a:gd name="T40" fmla="*/ 16 w 38"/>
              <a:gd name="T41" fmla="*/ 10 h 40"/>
              <a:gd name="T42" fmla="*/ 20 w 38"/>
              <a:gd name="T43" fmla="*/ 10 h 40"/>
              <a:gd name="T44" fmla="*/ 20 w 38"/>
              <a:gd name="T45" fmla="*/ 10 h 40"/>
              <a:gd name="T46" fmla="*/ 16 w 38"/>
              <a:gd name="T47" fmla="*/ 10 h 40"/>
              <a:gd name="T48" fmla="*/ 16 w 38"/>
              <a:gd name="T49" fmla="*/ 10 h 40"/>
              <a:gd name="T50" fmla="*/ 16 w 38"/>
              <a:gd name="T51" fmla="*/ 10 h 40"/>
              <a:gd name="T52" fmla="*/ 16 w 38"/>
              <a:gd name="T53" fmla="*/ 10 h 40"/>
              <a:gd name="T54" fmla="*/ 16 w 38"/>
              <a:gd name="T55" fmla="*/ 10 h 40"/>
              <a:gd name="T56" fmla="*/ 34 w 38"/>
              <a:gd name="T57" fmla="*/ 22 h 40"/>
              <a:gd name="T58" fmla="*/ 34 w 38"/>
              <a:gd name="T59" fmla="*/ 22 h 40"/>
              <a:gd name="T60" fmla="*/ 34 w 38"/>
              <a:gd name="T61" fmla="*/ 18 h 40"/>
              <a:gd name="T62" fmla="*/ 38 w 38"/>
              <a:gd name="T63" fmla="*/ 18 h 40"/>
              <a:gd name="T64" fmla="*/ 38 w 38"/>
              <a:gd name="T65" fmla="*/ 18 h 40"/>
              <a:gd name="T66" fmla="*/ 34 w 38"/>
              <a:gd name="T67" fmla="*/ 22 h 40"/>
              <a:gd name="T68" fmla="*/ 30 w 38"/>
              <a:gd name="T69" fmla="*/ 38 h 40"/>
              <a:gd name="T70" fmla="*/ 30 w 38"/>
              <a:gd name="T71" fmla="*/ 38 h 40"/>
              <a:gd name="T72" fmla="*/ 30 w 38"/>
              <a:gd name="T73" fmla="*/ 34 h 40"/>
              <a:gd name="T74" fmla="*/ 30 w 38"/>
              <a:gd name="T75" fmla="*/ 34 h 40"/>
              <a:gd name="T76" fmla="*/ 30 w 38"/>
              <a:gd name="T77" fmla="*/ 38 h 40"/>
              <a:gd name="T78" fmla="*/ 30 w 38"/>
              <a:gd name="T79" fmla="*/ 38 h 40"/>
              <a:gd name="T80" fmla="*/ 24 w 38"/>
              <a:gd name="T81" fmla="*/ 40 h 40"/>
              <a:gd name="T82" fmla="*/ 24 w 38"/>
              <a:gd name="T83" fmla="*/ 38 h 40"/>
              <a:gd name="T84" fmla="*/ 24 w 38"/>
              <a:gd name="T85" fmla="*/ 38 h 40"/>
              <a:gd name="T86" fmla="*/ 24 w 38"/>
              <a:gd name="T87" fmla="*/ 34 h 40"/>
              <a:gd name="T88" fmla="*/ 26 w 38"/>
              <a:gd name="T89" fmla="*/ 38 h 40"/>
              <a:gd name="T90" fmla="*/ 26 w 38"/>
              <a:gd name="T91" fmla="*/ 38 h 40"/>
              <a:gd name="T92" fmla="*/ 26 w 38"/>
              <a:gd name="T93" fmla="*/ 40 h 40"/>
              <a:gd name="T94" fmla="*/ 12 w 38"/>
              <a:gd name="T95" fmla="*/ 40 h 40"/>
              <a:gd name="T96" fmla="*/ 12 w 38"/>
              <a:gd name="T97" fmla="*/ 40 h 40"/>
              <a:gd name="T98" fmla="*/ 12 w 38"/>
              <a:gd name="T99" fmla="*/ 40 h 40"/>
              <a:gd name="T100" fmla="*/ 12 w 38"/>
              <a:gd name="T101" fmla="*/ 38 h 40"/>
              <a:gd name="T102" fmla="*/ 16 w 38"/>
              <a:gd name="T103" fmla="*/ 38 h 40"/>
              <a:gd name="T104" fmla="*/ 16 w 38"/>
              <a:gd name="T105" fmla="*/ 40 h 40"/>
              <a:gd name="T106" fmla="*/ 16 w 38"/>
              <a:gd name="T107" fmla="*/ 40 h 40"/>
              <a:gd name="T108" fmla="*/ 12 w 38"/>
              <a:gd name="T10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8" h="40">
                <a:moveTo>
                  <a:pt x="0" y="4"/>
                </a:moveTo>
                <a:lnTo>
                  <a:pt x="0" y="4"/>
                </a:lnTo>
                <a:lnTo>
                  <a:pt x="0" y="4"/>
                </a:lnTo>
                <a:lnTo>
                  <a:pt x="0" y="4"/>
                </a:lnTo>
                <a:lnTo>
                  <a:pt x="0" y="4"/>
                </a:lnTo>
                <a:lnTo>
                  <a:pt x="0" y="4"/>
                </a:lnTo>
                <a:lnTo>
                  <a:pt x="0" y="4"/>
                </a:lnTo>
                <a:lnTo>
                  <a:pt x="0" y="0"/>
                </a:lnTo>
                <a:lnTo>
                  <a:pt x="4" y="0"/>
                </a:lnTo>
                <a:lnTo>
                  <a:pt x="4" y="0"/>
                </a:lnTo>
                <a:lnTo>
                  <a:pt x="4" y="0"/>
                </a:lnTo>
                <a:lnTo>
                  <a:pt x="4" y="4"/>
                </a:lnTo>
                <a:lnTo>
                  <a:pt x="4" y="4"/>
                </a:lnTo>
                <a:lnTo>
                  <a:pt x="4" y="4"/>
                </a:lnTo>
                <a:lnTo>
                  <a:pt x="4" y="4"/>
                </a:lnTo>
                <a:lnTo>
                  <a:pt x="4" y="4"/>
                </a:lnTo>
                <a:lnTo>
                  <a:pt x="4" y="4"/>
                </a:lnTo>
                <a:lnTo>
                  <a:pt x="4" y="4"/>
                </a:lnTo>
                <a:lnTo>
                  <a:pt x="4" y="4"/>
                </a:lnTo>
                <a:lnTo>
                  <a:pt x="0" y="4"/>
                </a:lnTo>
                <a:lnTo>
                  <a:pt x="0" y="4"/>
                </a:lnTo>
                <a:lnTo>
                  <a:pt x="0" y="4"/>
                </a:lnTo>
                <a:lnTo>
                  <a:pt x="0" y="4"/>
                </a:lnTo>
                <a:lnTo>
                  <a:pt x="0" y="4"/>
                </a:lnTo>
                <a:lnTo>
                  <a:pt x="0" y="4"/>
                </a:lnTo>
                <a:close/>
                <a:moveTo>
                  <a:pt x="4" y="8"/>
                </a:moveTo>
                <a:lnTo>
                  <a:pt x="4" y="8"/>
                </a:lnTo>
                <a:lnTo>
                  <a:pt x="4" y="8"/>
                </a:lnTo>
                <a:lnTo>
                  <a:pt x="4" y="8"/>
                </a:lnTo>
                <a:lnTo>
                  <a:pt x="4" y="8"/>
                </a:lnTo>
                <a:lnTo>
                  <a:pt x="4" y="4"/>
                </a:lnTo>
                <a:lnTo>
                  <a:pt x="4" y="4"/>
                </a:lnTo>
                <a:lnTo>
                  <a:pt x="4" y="4"/>
                </a:lnTo>
                <a:lnTo>
                  <a:pt x="8" y="8"/>
                </a:lnTo>
                <a:lnTo>
                  <a:pt x="8" y="8"/>
                </a:lnTo>
                <a:lnTo>
                  <a:pt x="8" y="8"/>
                </a:lnTo>
                <a:lnTo>
                  <a:pt x="8" y="8"/>
                </a:lnTo>
                <a:lnTo>
                  <a:pt x="4" y="8"/>
                </a:lnTo>
                <a:lnTo>
                  <a:pt x="4" y="8"/>
                </a:lnTo>
                <a:lnTo>
                  <a:pt x="4" y="8"/>
                </a:lnTo>
                <a:lnTo>
                  <a:pt x="4" y="8"/>
                </a:lnTo>
                <a:close/>
                <a:moveTo>
                  <a:pt x="34" y="10"/>
                </a:moveTo>
                <a:lnTo>
                  <a:pt x="34" y="10"/>
                </a:lnTo>
                <a:lnTo>
                  <a:pt x="34" y="10"/>
                </a:lnTo>
                <a:lnTo>
                  <a:pt x="34" y="8"/>
                </a:lnTo>
                <a:lnTo>
                  <a:pt x="34" y="8"/>
                </a:lnTo>
                <a:lnTo>
                  <a:pt x="34" y="8"/>
                </a:lnTo>
                <a:lnTo>
                  <a:pt x="34" y="8"/>
                </a:lnTo>
                <a:lnTo>
                  <a:pt x="34" y="8"/>
                </a:lnTo>
                <a:lnTo>
                  <a:pt x="34" y="8"/>
                </a:lnTo>
                <a:lnTo>
                  <a:pt x="34" y="8"/>
                </a:lnTo>
                <a:lnTo>
                  <a:pt x="34" y="10"/>
                </a:lnTo>
                <a:lnTo>
                  <a:pt x="34" y="10"/>
                </a:lnTo>
                <a:lnTo>
                  <a:pt x="34" y="10"/>
                </a:lnTo>
                <a:lnTo>
                  <a:pt x="34" y="10"/>
                </a:lnTo>
                <a:lnTo>
                  <a:pt x="34" y="10"/>
                </a:lnTo>
                <a:close/>
                <a:moveTo>
                  <a:pt x="16" y="10"/>
                </a:moveTo>
                <a:lnTo>
                  <a:pt x="12" y="10"/>
                </a:lnTo>
                <a:lnTo>
                  <a:pt x="12" y="10"/>
                </a:lnTo>
                <a:lnTo>
                  <a:pt x="12" y="10"/>
                </a:lnTo>
                <a:lnTo>
                  <a:pt x="12" y="10"/>
                </a:lnTo>
                <a:lnTo>
                  <a:pt x="16" y="10"/>
                </a:lnTo>
                <a:lnTo>
                  <a:pt x="16" y="10"/>
                </a:lnTo>
                <a:lnTo>
                  <a:pt x="16" y="10"/>
                </a:lnTo>
                <a:lnTo>
                  <a:pt x="16" y="10"/>
                </a:lnTo>
                <a:lnTo>
                  <a:pt x="20" y="10"/>
                </a:lnTo>
                <a:lnTo>
                  <a:pt x="20" y="10"/>
                </a:lnTo>
                <a:lnTo>
                  <a:pt x="20" y="10"/>
                </a:lnTo>
                <a:lnTo>
                  <a:pt x="20" y="10"/>
                </a:lnTo>
                <a:lnTo>
                  <a:pt x="20" y="10"/>
                </a:lnTo>
                <a:lnTo>
                  <a:pt x="20" y="10"/>
                </a:lnTo>
                <a:lnTo>
                  <a:pt x="16" y="10"/>
                </a:lnTo>
                <a:lnTo>
                  <a:pt x="16" y="10"/>
                </a:lnTo>
                <a:lnTo>
                  <a:pt x="16" y="10"/>
                </a:lnTo>
                <a:lnTo>
                  <a:pt x="16" y="10"/>
                </a:lnTo>
                <a:lnTo>
                  <a:pt x="16" y="10"/>
                </a:lnTo>
                <a:lnTo>
                  <a:pt x="16" y="10"/>
                </a:lnTo>
                <a:lnTo>
                  <a:pt x="16" y="10"/>
                </a:lnTo>
                <a:lnTo>
                  <a:pt x="16" y="10"/>
                </a:lnTo>
                <a:lnTo>
                  <a:pt x="16" y="10"/>
                </a:lnTo>
                <a:lnTo>
                  <a:pt x="16" y="10"/>
                </a:lnTo>
                <a:lnTo>
                  <a:pt x="16" y="10"/>
                </a:lnTo>
                <a:lnTo>
                  <a:pt x="16" y="10"/>
                </a:lnTo>
                <a:lnTo>
                  <a:pt x="16" y="10"/>
                </a:lnTo>
                <a:lnTo>
                  <a:pt x="16" y="10"/>
                </a:lnTo>
                <a:lnTo>
                  <a:pt x="16" y="10"/>
                </a:lnTo>
                <a:close/>
                <a:moveTo>
                  <a:pt x="34" y="22"/>
                </a:moveTo>
                <a:lnTo>
                  <a:pt x="34" y="22"/>
                </a:lnTo>
                <a:lnTo>
                  <a:pt x="34" y="22"/>
                </a:lnTo>
                <a:lnTo>
                  <a:pt x="34" y="22"/>
                </a:lnTo>
                <a:lnTo>
                  <a:pt x="34" y="18"/>
                </a:lnTo>
                <a:lnTo>
                  <a:pt x="34" y="18"/>
                </a:lnTo>
                <a:lnTo>
                  <a:pt x="34" y="18"/>
                </a:lnTo>
                <a:lnTo>
                  <a:pt x="34" y="18"/>
                </a:lnTo>
                <a:lnTo>
                  <a:pt x="38" y="18"/>
                </a:lnTo>
                <a:lnTo>
                  <a:pt x="38" y="18"/>
                </a:lnTo>
                <a:lnTo>
                  <a:pt x="38" y="18"/>
                </a:lnTo>
                <a:lnTo>
                  <a:pt x="38" y="18"/>
                </a:lnTo>
                <a:lnTo>
                  <a:pt x="38" y="18"/>
                </a:lnTo>
                <a:lnTo>
                  <a:pt x="38" y="18"/>
                </a:lnTo>
                <a:lnTo>
                  <a:pt x="38" y="22"/>
                </a:lnTo>
                <a:lnTo>
                  <a:pt x="34" y="22"/>
                </a:lnTo>
                <a:lnTo>
                  <a:pt x="34" y="22"/>
                </a:lnTo>
                <a:lnTo>
                  <a:pt x="34" y="22"/>
                </a:lnTo>
                <a:close/>
                <a:moveTo>
                  <a:pt x="30" y="38"/>
                </a:moveTo>
                <a:lnTo>
                  <a:pt x="30" y="38"/>
                </a:lnTo>
                <a:lnTo>
                  <a:pt x="30" y="38"/>
                </a:lnTo>
                <a:lnTo>
                  <a:pt x="30" y="38"/>
                </a:lnTo>
                <a:lnTo>
                  <a:pt x="30" y="38"/>
                </a:lnTo>
                <a:lnTo>
                  <a:pt x="30" y="34"/>
                </a:lnTo>
                <a:lnTo>
                  <a:pt x="30" y="34"/>
                </a:lnTo>
                <a:lnTo>
                  <a:pt x="30" y="34"/>
                </a:lnTo>
                <a:lnTo>
                  <a:pt x="30" y="34"/>
                </a:lnTo>
                <a:lnTo>
                  <a:pt x="30" y="34"/>
                </a:lnTo>
                <a:lnTo>
                  <a:pt x="30" y="38"/>
                </a:lnTo>
                <a:lnTo>
                  <a:pt x="30" y="38"/>
                </a:lnTo>
                <a:lnTo>
                  <a:pt x="30" y="38"/>
                </a:lnTo>
                <a:lnTo>
                  <a:pt x="30" y="38"/>
                </a:lnTo>
                <a:lnTo>
                  <a:pt x="30" y="38"/>
                </a:lnTo>
                <a:lnTo>
                  <a:pt x="30" y="38"/>
                </a:lnTo>
                <a:close/>
                <a:moveTo>
                  <a:pt x="26" y="40"/>
                </a:moveTo>
                <a:lnTo>
                  <a:pt x="24" y="40"/>
                </a:lnTo>
                <a:lnTo>
                  <a:pt x="24" y="40"/>
                </a:lnTo>
                <a:lnTo>
                  <a:pt x="24" y="40"/>
                </a:lnTo>
                <a:lnTo>
                  <a:pt x="24" y="40"/>
                </a:lnTo>
                <a:lnTo>
                  <a:pt x="24" y="38"/>
                </a:lnTo>
                <a:lnTo>
                  <a:pt x="24" y="38"/>
                </a:lnTo>
                <a:lnTo>
                  <a:pt x="24" y="38"/>
                </a:lnTo>
                <a:lnTo>
                  <a:pt x="24" y="38"/>
                </a:lnTo>
                <a:lnTo>
                  <a:pt x="24" y="34"/>
                </a:lnTo>
                <a:lnTo>
                  <a:pt x="24" y="34"/>
                </a:lnTo>
                <a:lnTo>
                  <a:pt x="24" y="34"/>
                </a:lnTo>
                <a:lnTo>
                  <a:pt x="24" y="38"/>
                </a:lnTo>
                <a:lnTo>
                  <a:pt x="26" y="38"/>
                </a:lnTo>
                <a:lnTo>
                  <a:pt x="26" y="38"/>
                </a:lnTo>
                <a:lnTo>
                  <a:pt x="26" y="38"/>
                </a:lnTo>
                <a:lnTo>
                  <a:pt x="26" y="38"/>
                </a:lnTo>
                <a:lnTo>
                  <a:pt x="26" y="38"/>
                </a:lnTo>
                <a:lnTo>
                  <a:pt x="26" y="40"/>
                </a:lnTo>
                <a:lnTo>
                  <a:pt x="26" y="40"/>
                </a:lnTo>
                <a:lnTo>
                  <a:pt x="26" y="40"/>
                </a:lnTo>
                <a:close/>
                <a:moveTo>
                  <a:pt x="12" y="40"/>
                </a:moveTo>
                <a:lnTo>
                  <a:pt x="12" y="40"/>
                </a:lnTo>
                <a:lnTo>
                  <a:pt x="12" y="40"/>
                </a:lnTo>
                <a:lnTo>
                  <a:pt x="12" y="40"/>
                </a:lnTo>
                <a:lnTo>
                  <a:pt x="12" y="40"/>
                </a:lnTo>
                <a:lnTo>
                  <a:pt x="12" y="40"/>
                </a:lnTo>
                <a:lnTo>
                  <a:pt x="12" y="40"/>
                </a:lnTo>
                <a:lnTo>
                  <a:pt x="12" y="40"/>
                </a:lnTo>
                <a:lnTo>
                  <a:pt x="12" y="40"/>
                </a:lnTo>
                <a:lnTo>
                  <a:pt x="12" y="38"/>
                </a:lnTo>
                <a:lnTo>
                  <a:pt x="12" y="38"/>
                </a:lnTo>
                <a:lnTo>
                  <a:pt x="12" y="38"/>
                </a:lnTo>
                <a:lnTo>
                  <a:pt x="12" y="38"/>
                </a:lnTo>
                <a:lnTo>
                  <a:pt x="16" y="38"/>
                </a:lnTo>
                <a:lnTo>
                  <a:pt x="16" y="38"/>
                </a:lnTo>
                <a:lnTo>
                  <a:pt x="16" y="38"/>
                </a:lnTo>
                <a:lnTo>
                  <a:pt x="16" y="40"/>
                </a:lnTo>
                <a:lnTo>
                  <a:pt x="16" y="40"/>
                </a:lnTo>
                <a:lnTo>
                  <a:pt x="16" y="40"/>
                </a:lnTo>
                <a:lnTo>
                  <a:pt x="16" y="40"/>
                </a:lnTo>
                <a:lnTo>
                  <a:pt x="16" y="40"/>
                </a:lnTo>
                <a:lnTo>
                  <a:pt x="16" y="40"/>
                </a:lnTo>
                <a:lnTo>
                  <a:pt x="16" y="40"/>
                </a:lnTo>
                <a:lnTo>
                  <a:pt x="12" y="40"/>
                </a:lnTo>
                <a:lnTo>
                  <a:pt x="12" y="40"/>
                </a:lnTo>
                <a:lnTo>
                  <a:pt x="12" y="40"/>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28" name="Freeform 135"/>
          <p:cNvSpPr>
            <a:spLocks/>
          </p:cNvSpPr>
          <p:nvPr/>
        </p:nvSpPr>
        <p:spPr bwMode="auto">
          <a:xfrm>
            <a:off x="4502944" y="3474243"/>
            <a:ext cx="216694" cy="178594"/>
          </a:xfrm>
          <a:custGeom>
            <a:avLst/>
            <a:gdLst>
              <a:gd name="T0" fmla="*/ 82 w 182"/>
              <a:gd name="T1" fmla="*/ 104 h 150"/>
              <a:gd name="T2" fmla="*/ 70 w 182"/>
              <a:gd name="T3" fmla="*/ 102 h 150"/>
              <a:gd name="T4" fmla="*/ 58 w 182"/>
              <a:gd name="T5" fmla="*/ 112 h 150"/>
              <a:gd name="T6" fmla="*/ 58 w 182"/>
              <a:gd name="T7" fmla="*/ 116 h 150"/>
              <a:gd name="T8" fmla="*/ 58 w 182"/>
              <a:gd name="T9" fmla="*/ 132 h 150"/>
              <a:gd name="T10" fmla="*/ 52 w 182"/>
              <a:gd name="T11" fmla="*/ 132 h 150"/>
              <a:gd name="T12" fmla="*/ 40 w 182"/>
              <a:gd name="T13" fmla="*/ 128 h 150"/>
              <a:gd name="T14" fmla="*/ 32 w 182"/>
              <a:gd name="T15" fmla="*/ 128 h 150"/>
              <a:gd name="T16" fmla="*/ 26 w 182"/>
              <a:gd name="T17" fmla="*/ 138 h 150"/>
              <a:gd name="T18" fmla="*/ 26 w 182"/>
              <a:gd name="T19" fmla="*/ 146 h 150"/>
              <a:gd name="T20" fmla="*/ 22 w 182"/>
              <a:gd name="T21" fmla="*/ 142 h 150"/>
              <a:gd name="T22" fmla="*/ 10 w 182"/>
              <a:gd name="T23" fmla="*/ 128 h 150"/>
              <a:gd name="T24" fmla="*/ 6 w 182"/>
              <a:gd name="T25" fmla="*/ 116 h 150"/>
              <a:gd name="T26" fmla="*/ 2 w 182"/>
              <a:gd name="T27" fmla="*/ 104 h 150"/>
              <a:gd name="T28" fmla="*/ 2 w 182"/>
              <a:gd name="T29" fmla="*/ 90 h 150"/>
              <a:gd name="T30" fmla="*/ 2 w 182"/>
              <a:gd name="T31" fmla="*/ 82 h 150"/>
              <a:gd name="T32" fmla="*/ 6 w 182"/>
              <a:gd name="T33" fmla="*/ 68 h 150"/>
              <a:gd name="T34" fmla="*/ 14 w 182"/>
              <a:gd name="T35" fmla="*/ 60 h 150"/>
              <a:gd name="T36" fmla="*/ 26 w 182"/>
              <a:gd name="T37" fmla="*/ 56 h 150"/>
              <a:gd name="T38" fmla="*/ 32 w 182"/>
              <a:gd name="T39" fmla="*/ 56 h 150"/>
              <a:gd name="T40" fmla="*/ 48 w 182"/>
              <a:gd name="T41" fmla="*/ 52 h 150"/>
              <a:gd name="T42" fmla="*/ 58 w 182"/>
              <a:gd name="T43" fmla="*/ 48 h 150"/>
              <a:gd name="T44" fmla="*/ 66 w 182"/>
              <a:gd name="T45" fmla="*/ 42 h 150"/>
              <a:gd name="T46" fmla="*/ 70 w 182"/>
              <a:gd name="T47" fmla="*/ 34 h 150"/>
              <a:gd name="T48" fmla="*/ 84 w 182"/>
              <a:gd name="T49" fmla="*/ 34 h 150"/>
              <a:gd name="T50" fmla="*/ 96 w 182"/>
              <a:gd name="T51" fmla="*/ 18 h 150"/>
              <a:gd name="T52" fmla="*/ 104 w 182"/>
              <a:gd name="T53" fmla="*/ 12 h 150"/>
              <a:gd name="T54" fmla="*/ 108 w 182"/>
              <a:gd name="T55" fmla="*/ 4 h 150"/>
              <a:gd name="T56" fmla="*/ 118 w 182"/>
              <a:gd name="T57" fmla="*/ 0 h 150"/>
              <a:gd name="T58" fmla="*/ 126 w 182"/>
              <a:gd name="T59" fmla="*/ 14 h 150"/>
              <a:gd name="T60" fmla="*/ 130 w 182"/>
              <a:gd name="T61" fmla="*/ 30 h 150"/>
              <a:gd name="T62" fmla="*/ 126 w 182"/>
              <a:gd name="T63" fmla="*/ 42 h 150"/>
              <a:gd name="T64" fmla="*/ 134 w 182"/>
              <a:gd name="T65" fmla="*/ 42 h 150"/>
              <a:gd name="T66" fmla="*/ 140 w 182"/>
              <a:gd name="T67" fmla="*/ 48 h 150"/>
              <a:gd name="T68" fmla="*/ 152 w 182"/>
              <a:gd name="T69" fmla="*/ 52 h 150"/>
              <a:gd name="T70" fmla="*/ 156 w 182"/>
              <a:gd name="T71" fmla="*/ 64 h 150"/>
              <a:gd name="T72" fmla="*/ 166 w 182"/>
              <a:gd name="T73" fmla="*/ 74 h 150"/>
              <a:gd name="T74" fmla="*/ 166 w 182"/>
              <a:gd name="T75" fmla="*/ 82 h 150"/>
              <a:gd name="T76" fmla="*/ 174 w 182"/>
              <a:gd name="T77" fmla="*/ 90 h 150"/>
              <a:gd name="T78" fmla="*/ 178 w 182"/>
              <a:gd name="T79" fmla="*/ 94 h 150"/>
              <a:gd name="T80" fmla="*/ 182 w 182"/>
              <a:gd name="T81" fmla="*/ 104 h 150"/>
              <a:gd name="T82" fmla="*/ 170 w 182"/>
              <a:gd name="T83" fmla="*/ 102 h 150"/>
              <a:gd name="T84" fmla="*/ 162 w 182"/>
              <a:gd name="T85" fmla="*/ 102 h 150"/>
              <a:gd name="T86" fmla="*/ 152 w 182"/>
              <a:gd name="T87" fmla="*/ 98 h 150"/>
              <a:gd name="T88" fmla="*/ 144 w 182"/>
              <a:gd name="T89" fmla="*/ 104 h 150"/>
              <a:gd name="T90" fmla="*/ 136 w 182"/>
              <a:gd name="T91" fmla="*/ 104 h 150"/>
              <a:gd name="T92" fmla="*/ 122 w 182"/>
              <a:gd name="T93" fmla="*/ 108 h 150"/>
              <a:gd name="T94" fmla="*/ 114 w 182"/>
              <a:gd name="T95" fmla="*/ 108 h 150"/>
              <a:gd name="T96" fmla="*/ 110 w 182"/>
              <a:gd name="T97" fmla="*/ 120 h 150"/>
              <a:gd name="T98" fmla="*/ 100 w 182"/>
              <a:gd name="T99" fmla="*/ 116 h 150"/>
              <a:gd name="T100" fmla="*/ 84 w 182"/>
              <a:gd name="T101" fmla="*/ 112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82" h="150">
                <a:moveTo>
                  <a:pt x="84" y="112"/>
                </a:moveTo>
                <a:lnTo>
                  <a:pt x="84" y="108"/>
                </a:lnTo>
                <a:lnTo>
                  <a:pt x="82" y="108"/>
                </a:lnTo>
                <a:lnTo>
                  <a:pt x="82" y="104"/>
                </a:lnTo>
                <a:lnTo>
                  <a:pt x="78" y="104"/>
                </a:lnTo>
                <a:lnTo>
                  <a:pt x="74" y="104"/>
                </a:lnTo>
                <a:lnTo>
                  <a:pt x="74" y="102"/>
                </a:lnTo>
                <a:lnTo>
                  <a:pt x="70" y="102"/>
                </a:lnTo>
                <a:lnTo>
                  <a:pt x="66" y="104"/>
                </a:lnTo>
                <a:lnTo>
                  <a:pt x="62" y="104"/>
                </a:lnTo>
                <a:lnTo>
                  <a:pt x="62" y="108"/>
                </a:lnTo>
                <a:lnTo>
                  <a:pt x="58" y="112"/>
                </a:lnTo>
                <a:lnTo>
                  <a:pt x="58" y="116"/>
                </a:lnTo>
                <a:lnTo>
                  <a:pt x="58" y="112"/>
                </a:lnTo>
                <a:lnTo>
                  <a:pt x="54" y="116"/>
                </a:lnTo>
                <a:lnTo>
                  <a:pt x="58" y="116"/>
                </a:lnTo>
                <a:lnTo>
                  <a:pt x="58" y="120"/>
                </a:lnTo>
                <a:lnTo>
                  <a:pt x="58" y="124"/>
                </a:lnTo>
                <a:lnTo>
                  <a:pt x="58" y="128"/>
                </a:lnTo>
                <a:lnTo>
                  <a:pt x="58" y="132"/>
                </a:lnTo>
                <a:lnTo>
                  <a:pt x="58" y="128"/>
                </a:lnTo>
                <a:lnTo>
                  <a:pt x="54" y="128"/>
                </a:lnTo>
                <a:lnTo>
                  <a:pt x="52" y="128"/>
                </a:lnTo>
                <a:lnTo>
                  <a:pt x="52" y="132"/>
                </a:lnTo>
                <a:lnTo>
                  <a:pt x="52" y="128"/>
                </a:lnTo>
                <a:lnTo>
                  <a:pt x="48" y="128"/>
                </a:lnTo>
                <a:lnTo>
                  <a:pt x="44" y="128"/>
                </a:lnTo>
                <a:lnTo>
                  <a:pt x="40" y="128"/>
                </a:lnTo>
                <a:lnTo>
                  <a:pt x="40" y="124"/>
                </a:lnTo>
                <a:lnTo>
                  <a:pt x="40" y="128"/>
                </a:lnTo>
                <a:lnTo>
                  <a:pt x="36" y="128"/>
                </a:lnTo>
                <a:lnTo>
                  <a:pt x="32" y="128"/>
                </a:lnTo>
                <a:lnTo>
                  <a:pt x="28" y="128"/>
                </a:lnTo>
                <a:lnTo>
                  <a:pt x="28" y="132"/>
                </a:lnTo>
                <a:lnTo>
                  <a:pt x="28" y="134"/>
                </a:lnTo>
                <a:lnTo>
                  <a:pt x="26" y="138"/>
                </a:lnTo>
                <a:lnTo>
                  <a:pt x="28" y="138"/>
                </a:lnTo>
                <a:lnTo>
                  <a:pt x="28" y="142"/>
                </a:lnTo>
                <a:lnTo>
                  <a:pt x="26" y="142"/>
                </a:lnTo>
                <a:lnTo>
                  <a:pt x="26" y="146"/>
                </a:lnTo>
                <a:lnTo>
                  <a:pt x="26" y="150"/>
                </a:lnTo>
                <a:lnTo>
                  <a:pt x="22" y="150"/>
                </a:lnTo>
                <a:lnTo>
                  <a:pt x="22" y="146"/>
                </a:lnTo>
                <a:lnTo>
                  <a:pt x="22" y="142"/>
                </a:lnTo>
                <a:lnTo>
                  <a:pt x="22" y="138"/>
                </a:lnTo>
                <a:lnTo>
                  <a:pt x="18" y="134"/>
                </a:lnTo>
                <a:lnTo>
                  <a:pt x="14" y="132"/>
                </a:lnTo>
                <a:lnTo>
                  <a:pt x="10" y="128"/>
                </a:lnTo>
                <a:lnTo>
                  <a:pt x="10" y="124"/>
                </a:lnTo>
                <a:lnTo>
                  <a:pt x="6" y="124"/>
                </a:lnTo>
                <a:lnTo>
                  <a:pt x="6" y="120"/>
                </a:lnTo>
                <a:lnTo>
                  <a:pt x="6" y="116"/>
                </a:lnTo>
                <a:lnTo>
                  <a:pt x="6" y="112"/>
                </a:lnTo>
                <a:lnTo>
                  <a:pt x="2" y="112"/>
                </a:lnTo>
                <a:lnTo>
                  <a:pt x="2" y="108"/>
                </a:lnTo>
                <a:lnTo>
                  <a:pt x="2" y="104"/>
                </a:lnTo>
                <a:lnTo>
                  <a:pt x="2" y="102"/>
                </a:lnTo>
                <a:lnTo>
                  <a:pt x="0" y="98"/>
                </a:lnTo>
                <a:lnTo>
                  <a:pt x="0" y="94"/>
                </a:lnTo>
                <a:lnTo>
                  <a:pt x="2" y="90"/>
                </a:lnTo>
                <a:lnTo>
                  <a:pt x="0" y="90"/>
                </a:lnTo>
                <a:lnTo>
                  <a:pt x="0" y="86"/>
                </a:lnTo>
                <a:lnTo>
                  <a:pt x="0" y="82"/>
                </a:lnTo>
                <a:lnTo>
                  <a:pt x="2" y="82"/>
                </a:lnTo>
                <a:lnTo>
                  <a:pt x="2" y="78"/>
                </a:lnTo>
                <a:lnTo>
                  <a:pt x="6" y="74"/>
                </a:lnTo>
                <a:lnTo>
                  <a:pt x="6" y="72"/>
                </a:lnTo>
                <a:lnTo>
                  <a:pt x="6" y="68"/>
                </a:lnTo>
                <a:lnTo>
                  <a:pt x="10" y="68"/>
                </a:lnTo>
                <a:lnTo>
                  <a:pt x="10" y="64"/>
                </a:lnTo>
                <a:lnTo>
                  <a:pt x="14" y="64"/>
                </a:lnTo>
                <a:lnTo>
                  <a:pt x="14" y="60"/>
                </a:lnTo>
                <a:lnTo>
                  <a:pt x="18" y="60"/>
                </a:lnTo>
                <a:lnTo>
                  <a:pt x="22" y="60"/>
                </a:lnTo>
                <a:lnTo>
                  <a:pt x="26" y="60"/>
                </a:lnTo>
                <a:lnTo>
                  <a:pt x="26" y="56"/>
                </a:lnTo>
                <a:lnTo>
                  <a:pt x="28" y="52"/>
                </a:lnTo>
                <a:lnTo>
                  <a:pt x="28" y="56"/>
                </a:lnTo>
                <a:lnTo>
                  <a:pt x="32" y="60"/>
                </a:lnTo>
                <a:lnTo>
                  <a:pt x="32" y="56"/>
                </a:lnTo>
                <a:lnTo>
                  <a:pt x="36" y="56"/>
                </a:lnTo>
                <a:lnTo>
                  <a:pt x="40" y="52"/>
                </a:lnTo>
                <a:lnTo>
                  <a:pt x="44" y="52"/>
                </a:lnTo>
                <a:lnTo>
                  <a:pt x="48" y="52"/>
                </a:lnTo>
                <a:lnTo>
                  <a:pt x="52" y="52"/>
                </a:lnTo>
                <a:lnTo>
                  <a:pt x="54" y="52"/>
                </a:lnTo>
                <a:lnTo>
                  <a:pt x="58" y="52"/>
                </a:lnTo>
                <a:lnTo>
                  <a:pt x="58" y="48"/>
                </a:lnTo>
                <a:lnTo>
                  <a:pt x="58" y="44"/>
                </a:lnTo>
                <a:lnTo>
                  <a:pt x="62" y="44"/>
                </a:lnTo>
                <a:lnTo>
                  <a:pt x="62" y="42"/>
                </a:lnTo>
                <a:lnTo>
                  <a:pt x="66" y="42"/>
                </a:lnTo>
                <a:lnTo>
                  <a:pt x="62" y="38"/>
                </a:lnTo>
                <a:lnTo>
                  <a:pt x="62" y="34"/>
                </a:lnTo>
                <a:lnTo>
                  <a:pt x="66" y="34"/>
                </a:lnTo>
                <a:lnTo>
                  <a:pt x="70" y="34"/>
                </a:lnTo>
                <a:lnTo>
                  <a:pt x="74" y="34"/>
                </a:lnTo>
                <a:lnTo>
                  <a:pt x="78" y="34"/>
                </a:lnTo>
                <a:lnTo>
                  <a:pt x="82" y="34"/>
                </a:lnTo>
                <a:lnTo>
                  <a:pt x="84" y="34"/>
                </a:lnTo>
                <a:lnTo>
                  <a:pt x="84" y="30"/>
                </a:lnTo>
                <a:lnTo>
                  <a:pt x="88" y="26"/>
                </a:lnTo>
                <a:lnTo>
                  <a:pt x="92" y="22"/>
                </a:lnTo>
                <a:lnTo>
                  <a:pt x="96" y="18"/>
                </a:lnTo>
                <a:lnTo>
                  <a:pt x="96" y="14"/>
                </a:lnTo>
                <a:lnTo>
                  <a:pt x="100" y="14"/>
                </a:lnTo>
                <a:lnTo>
                  <a:pt x="100" y="12"/>
                </a:lnTo>
                <a:lnTo>
                  <a:pt x="104" y="12"/>
                </a:lnTo>
                <a:lnTo>
                  <a:pt x="100" y="12"/>
                </a:lnTo>
                <a:lnTo>
                  <a:pt x="100" y="8"/>
                </a:lnTo>
                <a:lnTo>
                  <a:pt x="104" y="4"/>
                </a:lnTo>
                <a:lnTo>
                  <a:pt x="108" y="4"/>
                </a:lnTo>
                <a:lnTo>
                  <a:pt x="108" y="0"/>
                </a:lnTo>
                <a:lnTo>
                  <a:pt x="110" y="0"/>
                </a:lnTo>
                <a:lnTo>
                  <a:pt x="114" y="0"/>
                </a:lnTo>
                <a:lnTo>
                  <a:pt x="118" y="0"/>
                </a:lnTo>
                <a:lnTo>
                  <a:pt x="118" y="4"/>
                </a:lnTo>
                <a:lnTo>
                  <a:pt x="122" y="8"/>
                </a:lnTo>
                <a:lnTo>
                  <a:pt x="126" y="12"/>
                </a:lnTo>
                <a:lnTo>
                  <a:pt x="126" y="14"/>
                </a:lnTo>
                <a:lnTo>
                  <a:pt x="130" y="18"/>
                </a:lnTo>
                <a:lnTo>
                  <a:pt x="130" y="22"/>
                </a:lnTo>
                <a:lnTo>
                  <a:pt x="130" y="26"/>
                </a:lnTo>
                <a:lnTo>
                  <a:pt x="130" y="30"/>
                </a:lnTo>
                <a:lnTo>
                  <a:pt x="126" y="30"/>
                </a:lnTo>
                <a:lnTo>
                  <a:pt x="126" y="34"/>
                </a:lnTo>
                <a:lnTo>
                  <a:pt x="126" y="38"/>
                </a:lnTo>
                <a:lnTo>
                  <a:pt x="126" y="42"/>
                </a:lnTo>
                <a:lnTo>
                  <a:pt x="130" y="42"/>
                </a:lnTo>
                <a:lnTo>
                  <a:pt x="130" y="38"/>
                </a:lnTo>
                <a:lnTo>
                  <a:pt x="134" y="38"/>
                </a:lnTo>
                <a:lnTo>
                  <a:pt x="134" y="42"/>
                </a:lnTo>
                <a:lnTo>
                  <a:pt x="136" y="42"/>
                </a:lnTo>
                <a:lnTo>
                  <a:pt x="136" y="44"/>
                </a:lnTo>
                <a:lnTo>
                  <a:pt x="136" y="48"/>
                </a:lnTo>
                <a:lnTo>
                  <a:pt x="140" y="48"/>
                </a:lnTo>
                <a:lnTo>
                  <a:pt x="144" y="48"/>
                </a:lnTo>
                <a:lnTo>
                  <a:pt x="148" y="48"/>
                </a:lnTo>
                <a:lnTo>
                  <a:pt x="148" y="52"/>
                </a:lnTo>
                <a:lnTo>
                  <a:pt x="152" y="52"/>
                </a:lnTo>
                <a:lnTo>
                  <a:pt x="152" y="56"/>
                </a:lnTo>
                <a:lnTo>
                  <a:pt x="152" y="60"/>
                </a:lnTo>
                <a:lnTo>
                  <a:pt x="152" y="64"/>
                </a:lnTo>
                <a:lnTo>
                  <a:pt x="156" y="64"/>
                </a:lnTo>
                <a:lnTo>
                  <a:pt x="160" y="68"/>
                </a:lnTo>
                <a:lnTo>
                  <a:pt x="162" y="68"/>
                </a:lnTo>
                <a:lnTo>
                  <a:pt x="162" y="72"/>
                </a:lnTo>
                <a:lnTo>
                  <a:pt x="166" y="74"/>
                </a:lnTo>
                <a:lnTo>
                  <a:pt x="166" y="78"/>
                </a:lnTo>
                <a:lnTo>
                  <a:pt x="166" y="82"/>
                </a:lnTo>
                <a:lnTo>
                  <a:pt x="170" y="82"/>
                </a:lnTo>
                <a:lnTo>
                  <a:pt x="166" y="82"/>
                </a:lnTo>
                <a:lnTo>
                  <a:pt x="166" y="86"/>
                </a:lnTo>
                <a:lnTo>
                  <a:pt x="170" y="86"/>
                </a:lnTo>
                <a:lnTo>
                  <a:pt x="174" y="86"/>
                </a:lnTo>
                <a:lnTo>
                  <a:pt x="174" y="90"/>
                </a:lnTo>
                <a:lnTo>
                  <a:pt x="178" y="90"/>
                </a:lnTo>
                <a:lnTo>
                  <a:pt x="178" y="94"/>
                </a:lnTo>
                <a:lnTo>
                  <a:pt x="182" y="94"/>
                </a:lnTo>
                <a:lnTo>
                  <a:pt x="178" y="94"/>
                </a:lnTo>
                <a:lnTo>
                  <a:pt x="178" y="98"/>
                </a:lnTo>
                <a:lnTo>
                  <a:pt x="182" y="98"/>
                </a:lnTo>
                <a:lnTo>
                  <a:pt x="182" y="102"/>
                </a:lnTo>
                <a:lnTo>
                  <a:pt x="182" y="104"/>
                </a:lnTo>
                <a:lnTo>
                  <a:pt x="182" y="102"/>
                </a:lnTo>
                <a:lnTo>
                  <a:pt x="178" y="102"/>
                </a:lnTo>
                <a:lnTo>
                  <a:pt x="174" y="102"/>
                </a:lnTo>
                <a:lnTo>
                  <a:pt x="170" y="102"/>
                </a:lnTo>
                <a:lnTo>
                  <a:pt x="166" y="102"/>
                </a:lnTo>
                <a:lnTo>
                  <a:pt x="162" y="102"/>
                </a:lnTo>
                <a:lnTo>
                  <a:pt x="162" y="98"/>
                </a:lnTo>
                <a:lnTo>
                  <a:pt x="162" y="102"/>
                </a:lnTo>
                <a:lnTo>
                  <a:pt x="160" y="102"/>
                </a:lnTo>
                <a:lnTo>
                  <a:pt x="160" y="98"/>
                </a:lnTo>
                <a:lnTo>
                  <a:pt x="156" y="98"/>
                </a:lnTo>
                <a:lnTo>
                  <a:pt x="152" y="98"/>
                </a:lnTo>
                <a:lnTo>
                  <a:pt x="152" y="102"/>
                </a:lnTo>
                <a:lnTo>
                  <a:pt x="152" y="104"/>
                </a:lnTo>
                <a:lnTo>
                  <a:pt x="148" y="104"/>
                </a:lnTo>
                <a:lnTo>
                  <a:pt x="144" y="104"/>
                </a:lnTo>
                <a:lnTo>
                  <a:pt x="140" y="102"/>
                </a:lnTo>
                <a:lnTo>
                  <a:pt x="136" y="102"/>
                </a:lnTo>
                <a:lnTo>
                  <a:pt x="140" y="102"/>
                </a:lnTo>
                <a:lnTo>
                  <a:pt x="136" y="104"/>
                </a:lnTo>
                <a:lnTo>
                  <a:pt x="134" y="104"/>
                </a:lnTo>
                <a:lnTo>
                  <a:pt x="130" y="104"/>
                </a:lnTo>
                <a:lnTo>
                  <a:pt x="126" y="108"/>
                </a:lnTo>
                <a:lnTo>
                  <a:pt x="122" y="108"/>
                </a:lnTo>
                <a:lnTo>
                  <a:pt x="118" y="108"/>
                </a:lnTo>
                <a:lnTo>
                  <a:pt x="118" y="104"/>
                </a:lnTo>
                <a:lnTo>
                  <a:pt x="118" y="108"/>
                </a:lnTo>
                <a:lnTo>
                  <a:pt x="114" y="108"/>
                </a:lnTo>
                <a:lnTo>
                  <a:pt x="114" y="112"/>
                </a:lnTo>
                <a:lnTo>
                  <a:pt x="114" y="116"/>
                </a:lnTo>
                <a:lnTo>
                  <a:pt x="110" y="116"/>
                </a:lnTo>
                <a:lnTo>
                  <a:pt x="110" y="120"/>
                </a:lnTo>
                <a:lnTo>
                  <a:pt x="108" y="120"/>
                </a:lnTo>
                <a:lnTo>
                  <a:pt x="108" y="116"/>
                </a:lnTo>
                <a:lnTo>
                  <a:pt x="104" y="116"/>
                </a:lnTo>
                <a:lnTo>
                  <a:pt x="100" y="116"/>
                </a:lnTo>
                <a:lnTo>
                  <a:pt x="92" y="116"/>
                </a:lnTo>
                <a:lnTo>
                  <a:pt x="92" y="112"/>
                </a:lnTo>
                <a:lnTo>
                  <a:pt x="88" y="112"/>
                </a:lnTo>
                <a:lnTo>
                  <a:pt x="84" y="112"/>
                </a:lnTo>
                <a:lnTo>
                  <a:pt x="84" y="112"/>
                </a:lnTo>
                <a:lnTo>
                  <a:pt x="84" y="112"/>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29" name="Freeform 136"/>
          <p:cNvSpPr>
            <a:spLocks/>
          </p:cNvSpPr>
          <p:nvPr/>
        </p:nvSpPr>
        <p:spPr bwMode="auto">
          <a:xfrm>
            <a:off x="4483894" y="3217068"/>
            <a:ext cx="178594" cy="328613"/>
          </a:xfrm>
          <a:custGeom>
            <a:avLst/>
            <a:gdLst>
              <a:gd name="T0" fmla="*/ 22 w 150"/>
              <a:gd name="T1" fmla="*/ 234 h 276"/>
              <a:gd name="T2" fmla="*/ 30 w 150"/>
              <a:gd name="T3" fmla="*/ 234 h 276"/>
              <a:gd name="T4" fmla="*/ 26 w 150"/>
              <a:gd name="T5" fmla="*/ 226 h 276"/>
              <a:gd name="T6" fmla="*/ 22 w 150"/>
              <a:gd name="T7" fmla="*/ 220 h 276"/>
              <a:gd name="T8" fmla="*/ 22 w 150"/>
              <a:gd name="T9" fmla="*/ 208 h 276"/>
              <a:gd name="T10" fmla="*/ 22 w 150"/>
              <a:gd name="T11" fmla="*/ 198 h 276"/>
              <a:gd name="T12" fmla="*/ 14 w 150"/>
              <a:gd name="T13" fmla="*/ 186 h 276"/>
              <a:gd name="T14" fmla="*/ 14 w 150"/>
              <a:gd name="T15" fmla="*/ 178 h 276"/>
              <a:gd name="T16" fmla="*/ 0 w 150"/>
              <a:gd name="T17" fmla="*/ 164 h 276"/>
              <a:gd name="T18" fmla="*/ 4 w 150"/>
              <a:gd name="T19" fmla="*/ 156 h 276"/>
              <a:gd name="T20" fmla="*/ 4 w 150"/>
              <a:gd name="T21" fmla="*/ 148 h 276"/>
              <a:gd name="T22" fmla="*/ 14 w 150"/>
              <a:gd name="T23" fmla="*/ 130 h 276"/>
              <a:gd name="T24" fmla="*/ 30 w 150"/>
              <a:gd name="T25" fmla="*/ 112 h 276"/>
              <a:gd name="T26" fmla="*/ 34 w 150"/>
              <a:gd name="T27" fmla="*/ 66 h 276"/>
              <a:gd name="T28" fmla="*/ 30 w 150"/>
              <a:gd name="T29" fmla="*/ 48 h 276"/>
              <a:gd name="T30" fmla="*/ 30 w 150"/>
              <a:gd name="T31" fmla="*/ 42 h 276"/>
              <a:gd name="T32" fmla="*/ 26 w 150"/>
              <a:gd name="T33" fmla="*/ 26 h 276"/>
              <a:gd name="T34" fmla="*/ 38 w 150"/>
              <a:gd name="T35" fmla="*/ 0 h 276"/>
              <a:gd name="T36" fmla="*/ 78 w 150"/>
              <a:gd name="T37" fmla="*/ 22 h 276"/>
              <a:gd name="T38" fmla="*/ 134 w 150"/>
              <a:gd name="T39" fmla="*/ 58 h 276"/>
              <a:gd name="T40" fmla="*/ 150 w 150"/>
              <a:gd name="T41" fmla="*/ 88 h 276"/>
              <a:gd name="T42" fmla="*/ 146 w 150"/>
              <a:gd name="T43" fmla="*/ 134 h 276"/>
              <a:gd name="T44" fmla="*/ 142 w 150"/>
              <a:gd name="T45" fmla="*/ 134 h 276"/>
              <a:gd name="T46" fmla="*/ 138 w 150"/>
              <a:gd name="T47" fmla="*/ 134 h 276"/>
              <a:gd name="T48" fmla="*/ 134 w 150"/>
              <a:gd name="T49" fmla="*/ 142 h 276"/>
              <a:gd name="T50" fmla="*/ 134 w 150"/>
              <a:gd name="T51" fmla="*/ 144 h 276"/>
              <a:gd name="T52" fmla="*/ 128 w 150"/>
              <a:gd name="T53" fmla="*/ 152 h 276"/>
              <a:gd name="T54" fmla="*/ 128 w 150"/>
              <a:gd name="T55" fmla="*/ 160 h 276"/>
              <a:gd name="T56" fmla="*/ 124 w 150"/>
              <a:gd name="T57" fmla="*/ 164 h 276"/>
              <a:gd name="T58" fmla="*/ 124 w 150"/>
              <a:gd name="T59" fmla="*/ 178 h 276"/>
              <a:gd name="T60" fmla="*/ 120 w 150"/>
              <a:gd name="T61" fmla="*/ 186 h 276"/>
              <a:gd name="T62" fmla="*/ 124 w 150"/>
              <a:gd name="T63" fmla="*/ 186 h 276"/>
              <a:gd name="T64" fmla="*/ 130 w 150"/>
              <a:gd name="T65" fmla="*/ 198 h 276"/>
              <a:gd name="T66" fmla="*/ 130 w 150"/>
              <a:gd name="T67" fmla="*/ 204 h 276"/>
              <a:gd name="T68" fmla="*/ 134 w 150"/>
              <a:gd name="T69" fmla="*/ 216 h 276"/>
              <a:gd name="T70" fmla="*/ 124 w 150"/>
              <a:gd name="T71" fmla="*/ 220 h 276"/>
              <a:gd name="T72" fmla="*/ 116 w 150"/>
              <a:gd name="T73" fmla="*/ 224 h 276"/>
              <a:gd name="T74" fmla="*/ 116 w 150"/>
              <a:gd name="T75" fmla="*/ 230 h 276"/>
              <a:gd name="T76" fmla="*/ 112 w 150"/>
              <a:gd name="T77" fmla="*/ 234 h 276"/>
              <a:gd name="T78" fmla="*/ 104 w 150"/>
              <a:gd name="T79" fmla="*/ 242 h 276"/>
              <a:gd name="T80" fmla="*/ 100 w 150"/>
              <a:gd name="T81" fmla="*/ 246 h 276"/>
              <a:gd name="T82" fmla="*/ 94 w 150"/>
              <a:gd name="T83" fmla="*/ 250 h 276"/>
              <a:gd name="T84" fmla="*/ 78 w 150"/>
              <a:gd name="T85" fmla="*/ 250 h 276"/>
              <a:gd name="T86" fmla="*/ 78 w 150"/>
              <a:gd name="T87" fmla="*/ 254 h 276"/>
              <a:gd name="T88" fmla="*/ 78 w 150"/>
              <a:gd name="T89" fmla="*/ 260 h 276"/>
              <a:gd name="T90" fmla="*/ 74 w 150"/>
              <a:gd name="T91" fmla="*/ 264 h 276"/>
              <a:gd name="T92" fmla="*/ 64 w 150"/>
              <a:gd name="T93" fmla="*/ 268 h 276"/>
              <a:gd name="T94" fmla="*/ 56 w 150"/>
              <a:gd name="T95" fmla="*/ 268 h 276"/>
              <a:gd name="T96" fmla="*/ 48 w 150"/>
              <a:gd name="T97" fmla="*/ 276 h 276"/>
              <a:gd name="T98" fmla="*/ 44 w 150"/>
              <a:gd name="T99" fmla="*/ 268 h 276"/>
              <a:gd name="T100" fmla="*/ 38 w 150"/>
              <a:gd name="T101" fmla="*/ 276 h 276"/>
              <a:gd name="T102" fmla="*/ 34 w 150"/>
              <a:gd name="T103" fmla="*/ 276 h 276"/>
              <a:gd name="T104" fmla="*/ 30 w 150"/>
              <a:gd name="T105" fmla="*/ 276 h 276"/>
              <a:gd name="T106" fmla="*/ 30 w 150"/>
              <a:gd name="T107" fmla="*/ 272 h 276"/>
              <a:gd name="T108" fmla="*/ 26 w 150"/>
              <a:gd name="T109" fmla="*/ 264 h 276"/>
              <a:gd name="T110" fmla="*/ 18 w 150"/>
              <a:gd name="T111" fmla="*/ 254 h 276"/>
              <a:gd name="T112" fmla="*/ 8 w 150"/>
              <a:gd name="T113" fmla="*/ 238 h 276"/>
              <a:gd name="T114" fmla="*/ 12 w 150"/>
              <a:gd name="T115" fmla="*/ 234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0" h="276">
                <a:moveTo>
                  <a:pt x="12" y="234"/>
                </a:moveTo>
                <a:lnTo>
                  <a:pt x="14" y="234"/>
                </a:lnTo>
                <a:lnTo>
                  <a:pt x="14" y="234"/>
                </a:lnTo>
                <a:lnTo>
                  <a:pt x="18" y="234"/>
                </a:lnTo>
                <a:lnTo>
                  <a:pt x="18" y="234"/>
                </a:lnTo>
                <a:lnTo>
                  <a:pt x="22" y="234"/>
                </a:lnTo>
                <a:lnTo>
                  <a:pt x="22" y="234"/>
                </a:lnTo>
                <a:lnTo>
                  <a:pt x="22" y="234"/>
                </a:lnTo>
                <a:lnTo>
                  <a:pt x="22" y="234"/>
                </a:lnTo>
                <a:lnTo>
                  <a:pt x="22" y="234"/>
                </a:lnTo>
                <a:lnTo>
                  <a:pt x="22" y="234"/>
                </a:lnTo>
                <a:lnTo>
                  <a:pt x="26" y="234"/>
                </a:lnTo>
                <a:lnTo>
                  <a:pt x="26" y="234"/>
                </a:lnTo>
                <a:lnTo>
                  <a:pt x="26" y="234"/>
                </a:lnTo>
                <a:lnTo>
                  <a:pt x="30" y="234"/>
                </a:lnTo>
                <a:lnTo>
                  <a:pt x="30" y="234"/>
                </a:lnTo>
                <a:lnTo>
                  <a:pt x="30" y="234"/>
                </a:lnTo>
                <a:lnTo>
                  <a:pt x="30" y="234"/>
                </a:lnTo>
                <a:lnTo>
                  <a:pt x="30" y="234"/>
                </a:lnTo>
                <a:lnTo>
                  <a:pt x="30" y="230"/>
                </a:lnTo>
                <a:lnTo>
                  <a:pt x="30" y="230"/>
                </a:lnTo>
                <a:lnTo>
                  <a:pt x="30" y="230"/>
                </a:lnTo>
                <a:lnTo>
                  <a:pt x="30" y="230"/>
                </a:lnTo>
                <a:lnTo>
                  <a:pt x="26" y="226"/>
                </a:lnTo>
                <a:lnTo>
                  <a:pt x="26" y="226"/>
                </a:lnTo>
                <a:lnTo>
                  <a:pt x="26" y="224"/>
                </a:lnTo>
                <a:lnTo>
                  <a:pt x="22" y="224"/>
                </a:lnTo>
                <a:lnTo>
                  <a:pt x="22" y="224"/>
                </a:lnTo>
                <a:lnTo>
                  <a:pt x="22" y="220"/>
                </a:lnTo>
                <a:lnTo>
                  <a:pt x="22" y="220"/>
                </a:lnTo>
                <a:lnTo>
                  <a:pt x="22" y="220"/>
                </a:lnTo>
                <a:lnTo>
                  <a:pt x="22" y="220"/>
                </a:lnTo>
                <a:lnTo>
                  <a:pt x="22" y="220"/>
                </a:lnTo>
                <a:lnTo>
                  <a:pt x="22" y="220"/>
                </a:lnTo>
                <a:lnTo>
                  <a:pt x="22" y="216"/>
                </a:lnTo>
                <a:lnTo>
                  <a:pt x="22" y="216"/>
                </a:lnTo>
                <a:lnTo>
                  <a:pt x="22" y="212"/>
                </a:lnTo>
                <a:lnTo>
                  <a:pt x="22" y="212"/>
                </a:lnTo>
                <a:lnTo>
                  <a:pt x="22" y="208"/>
                </a:lnTo>
                <a:lnTo>
                  <a:pt x="22" y="208"/>
                </a:lnTo>
                <a:lnTo>
                  <a:pt x="22" y="208"/>
                </a:lnTo>
                <a:lnTo>
                  <a:pt x="22" y="204"/>
                </a:lnTo>
                <a:lnTo>
                  <a:pt x="22" y="204"/>
                </a:lnTo>
                <a:lnTo>
                  <a:pt x="22" y="200"/>
                </a:lnTo>
                <a:lnTo>
                  <a:pt x="22" y="198"/>
                </a:lnTo>
                <a:lnTo>
                  <a:pt x="22" y="198"/>
                </a:lnTo>
                <a:lnTo>
                  <a:pt x="22" y="198"/>
                </a:lnTo>
                <a:lnTo>
                  <a:pt x="22" y="198"/>
                </a:lnTo>
                <a:lnTo>
                  <a:pt x="22" y="194"/>
                </a:lnTo>
                <a:lnTo>
                  <a:pt x="22" y="194"/>
                </a:lnTo>
                <a:lnTo>
                  <a:pt x="22" y="194"/>
                </a:lnTo>
                <a:lnTo>
                  <a:pt x="22" y="194"/>
                </a:lnTo>
                <a:lnTo>
                  <a:pt x="18" y="186"/>
                </a:lnTo>
                <a:lnTo>
                  <a:pt x="18" y="186"/>
                </a:lnTo>
                <a:lnTo>
                  <a:pt x="18" y="186"/>
                </a:lnTo>
                <a:lnTo>
                  <a:pt x="14" y="186"/>
                </a:lnTo>
                <a:lnTo>
                  <a:pt x="14" y="186"/>
                </a:lnTo>
                <a:lnTo>
                  <a:pt x="14" y="182"/>
                </a:lnTo>
                <a:lnTo>
                  <a:pt x="14" y="182"/>
                </a:lnTo>
                <a:lnTo>
                  <a:pt x="14" y="182"/>
                </a:lnTo>
                <a:lnTo>
                  <a:pt x="14" y="182"/>
                </a:lnTo>
                <a:lnTo>
                  <a:pt x="14" y="182"/>
                </a:lnTo>
                <a:lnTo>
                  <a:pt x="14" y="178"/>
                </a:lnTo>
                <a:lnTo>
                  <a:pt x="14" y="178"/>
                </a:lnTo>
                <a:lnTo>
                  <a:pt x="12" y="178"/>
                </a:lnTo>
                <a:lnTo>
                  <a:pt x="8" y="178"/>
                </a:lnTo>
                <a:lnTo>
                  <a:pt x="8" y="174"/>
                </a:lnTo>
                <a:lnTo>
                  <a:pt x="4" y="170"/>
                </a:lnTo>
                <a:lnTo>
                  <a:pt x="4" y="168"/>
                </a:lnTo>
                <a:lnTo>
                  <a:pt x="4" y="168"/>
                </a:lnTo>
                <a:lnTo>
                  <a:pt x="4" y="168"/>
                </a:lnTo>
                <a:lnTo>
                  <a:pt x="0" y="164"/>
                </a:lnTo>
                <a:lnTo>
                  <a:pt x="0" y="156"/>
                </a:lnTo>
                <a:lnTo>
                  <a:pt x="0" y="156"/>
                </a:lnTo>
                <a:lnTo>
                  <a:pt x="0" y="156"/>
                </a:lnTo>
                <a:lnTo>
                  <a:pt x="0" y="156"/>
                </a:lnTo>
                <a:lnTo>
                  <a:pt x="0" y="156"/>
                </a:lnTo>
                <a:lnTo>
                  <a:pt x="0" y="156"/>
                </a:lnTo>
                <a:lnTo>
                  <a:pt x="4" y="156"/>
                </a:lnTo>
                <a:lnTo>
                  <a:pt x="4" y="156"/>
                </a:lnTo>
                <a:lnTo>
                  <a:pt x="4" y="156"/>
                </a:lnTo>
                <a:lnTo>
                  <a:pt x="4" y="152"/>
                </a:lnTo>
                <a:lnTo>
                  <a:pt x="4" y="152"/>
                </a:lnTo>
                <a:lnTo>
                  <a:pt x="4" y="152"/>
                </a:lnTo>
                <a:lnTo>
                  <a:pt x="4" y="152"/>
                </a:lnTo>
                <a:lnTo>
                  <a:pt x="4" y="152"/>
                </a:lnTo>
                <a:lnTo>
                  <a:pt x="4" y="148"/>
                </a:lnTo>
                <a:lnTo>
                  <a:pt x="4" y="148"/>
                </a:lnTo>
                <a:lnTo>
                  <a:pt x="4" y="148"/>
                </a:lnTo>
                <a:lnTo>
                  <a:pt x="8" y="144"/>
                </a:lnTo>
                <a:lnTo>
                  <a:pt x="8" y="142"/>
                </a:lnTo>
                <a:lnTo>
                  <a:pt x="8" y="142"/>
                </a:lnTo>
                <a:lnTo>
                  <a:pt x="12" y="138"/>
                </a:lnTo>
                <a:lnTo>
                  <a:pt x="12" y="138"/>
                </a:lnTo>
                <a:lnTo>
                  <a:pt x="14" y="134"/>
                </a:lnTo>
                <a:lnTo>
                  <a:pt x="14" y="130"/>
                </a:lnTo>
                <a:lnTo>
                  <a:pt x="22" y="122"/>
                </a:lnTo>
                <a:lnTo>
                  <a:pt x="22" y="118"/>
                </a:lnTo>
                <a:lnTo>
                  <a:pt x="26" y="118"/>
                </a:lnTo>
                <a:lnTo>
                  <a:pt x="26" y="114"/>
                </a:lnTo>
                <a:lnTo>
                  <a:pt x="30" y="114"/>
                </a:lnTo>
                <a:lnTo>
                  <a:pt x="30" y="114"/>
                </a:lnTo>
                <a:lnTo>
                  <a:pt x="30" y="114"/>
                </a:lnTo>
                <a:lnTo>
                  <a:pt x="30" y="112"/>
                </a:lnTo>
                <a:lnTo>
                  <a:pt x="30" y="104"/>
                </a:lnTo>
                <a:lnTo>
                  <a:pt x="30" y="92"/>
                </a:lnTo>
                <a:lnTo>
                  <a:pt x="30" y="88"/>
                </a:lnTo>
                <a:lnTo>
                  <a:pt x="30" y="88"/>
                </a:lnTo>
                <a:lnTo>
                  <a:pt x="30" y="82"/>
                </a:lnTo>
                <a:lnTo>
                  <a:pt x="30" y="78"/>
                </a:lnTo>
                <a:lnTo>
                  <a:pt x="30" y="78"/>
                </a:lnTo>
                <a:lnTo>
                  <a:pt x="34" y="66"/>
                </a:lnTo>
                <a:lnTo>
                  <a:pt x="34" y="62"/>
                </a:lnTo>
                <a:lnTo>
                  <a:pt x="34" y="58"/>
                </a:lnTo>
                <a:lnTo>
                  <a:pt x="34" y="58"/>
                </a:lnTo>
                <a:lnTo>
                  <a:pt x="34" y="56"/>
                </a:lnTo>
                <a:lnTo>
                  <a:pt x="38" y="52"/>
                </a:lnTo>
                <a:lnTo>
                  <a:pt x="38" y="52"/>
                </a:lnTo>
                <a:lnTo>
                  <a:pt x="30" y="48"/>
                </a:lnTo>
                <a:lnTo>
                  <a:pt x="30" y="48"/>
                </a:lnTo>
                <a:lnTo>
                  <a:pt x="30" y="44"/>
                </a:lnTo>
                <a:lnTo>
                  <a:pt x="30" y="44"/>
                </a:lnTo>
                <a:lnTo>
                  <a:pt x="30" y="44"/>
                </a:lnTo>
                <a:lnTo>
                  <a:pt x="30" y="44"/>
                </a:lnTo>
                <a:lnTo>
                  <a:pt x="30" y="44"/>
                </a:lnTo>
                <a:lnTo>
                  <a:pt x="30" y="44"/>
                </a:lnTo>
                <a:lnTo>
                  <a:pt x="30" y="44"/>
                </a:lnTo>
                <a:lnTo>
                  <a:pt x="30" y="42"/>
                </a:lnTo>
                <a:lnTo>
                  <a:pt x="30" y="42"/>
                </a:lnTo>
                <a:lnTo>
                  <a:pt x="30" y="42"/>
                </a:lnTo>
                <a:lnTo>
                  <a:pt x="26" y="34"/>
                </a:lnTo>
                <a:lnTo>
                  <a:pt x="26" y="34"/>
                </a:lnTo>
                <a:lnTo>
                  <a:pt x="26" y="34"/>
                </a:lnTo>
                <a:lnTo>
                  <a:pt x="26" y="30"/>
                </a:lnTo>
                <a:lnTo>
                  <a:pt x="26" y="30"/>
                </a:lnTo>
                <a:lnTo>
                  <a:pt x="26" y="26"/>
                </a:lnTo>
                <a:lnTo>
                  <a:pt x="26" y="22"/>
                </a:lnTo>
                <a:lnTo>
                  <a:pt x="26" y="22"/>
                </a:lnTo>
                <a:lnTo>
                  <a:pt x="22" y="12"/>
                </a:lnTo>
                <a:lnTo>
                  <a:pt x="22" y="8"/>
                </a:lnTo>
                <a:lnTo>
                  <a:pt x="22" y="8"/>
                </a:lnTo>
                <a:lnTo>
                  <a:pt x="22" y="4"/>
                </a:lnTo>
                <a:lnTo>
                  <a:pt x="26" y="4"/>
                </a:lnTo>
                <a:lnTo>
                  <a:pt x="38" y="0"/>
                </a:lnTo>
                <a:lnTo>
                  <a:pt x="40" y="0"/>
                </a:lnTo>
                <a:lnTo>
                  <a:pt x="48" y="8"/>
                </a:lnTo>
                <a:lnTo>
                  <a:pt x="60" y="12"/>
                </a:lnTo>
                <a:lnTo>
                  <a:pt x="60" y="12"/>
                </a:lnTo>
                <a:lnTo>
                  <a:pt x="64" y="14"/>
                </a:lnTo>
                <a:lnTo>
                  <a:pt x="70" y="18"/>
                </a:lnTo>
                <a:lnTo>
                  <a:pt x="74" y="22"/>
                </a:lnTo>
                <a:lnTo>
                  <a:pt x="78" y="22"/>
                </a:lnTo>
                <a:lnTo>
                  <a:pt x="82" y="26"/>
                </a:lnTo>
                <a:lnTo>
                  <a:pt x="90" y="30"/>
                </a:lnTo>
                <a:lnTo>
                  <a:pt x="98" y="38"/>
                </a:lnTo>
                <a:lnTo>
                  <a:pt x="108" y="42"/>
                </a:lnTo>
                <a:lnTo>
                  <a:pt x="112" y="44"/>
                </a:lnTo>
                <a:lnTo>
                  <a:pt x="120" y="48"/>
                </a:lnTo>
                <a:lnTo>
                  <a:pt x="128" y="52"/>
                </a:lnTo>
                <a:lnTo>
                  <a:pt x="134" y="58"/>
                </a:lnTo>
                <a:lnTo>
                  <a:pt x="142" y="62"/>
                </a:lnTo>
                <a:lnTo>
                  <a:pt x="150" y="66"/>
                </a:lnTo>
                <a:lnTo>
                  <a:pt x="150" y="66"/>
                </a:lnTo>
                <a:lnTo>
                  <a:pt x="150" y="70"/>
                </a:lnTo>
                <a:lnTo>
                  <a:pt x="150" y="78"/>
                </a:lnTo>
                <a:lnTo>
                  <a:pt x="150" y="82"/>
                </a:lnTo>
                <a:lnTo>
                  <a:pt x="150" y="84"/>
                </a:lnTo>
                <a:lnTo>
                  <a:pt x="150" y="88"/>
                </a:lnTo>
                <a:lnTo>
                  <a:pt x="150" y="122"/>
                </a:lnTo>
                <a:lnTo>
                  <a:pt x="150" y="126"/>
                </a:lnTo>
                <a:lnTo>
                  <a:pt x="150" y="134"/>
                </a:lnTo>
                <a:lnTo>
                  <a:pt x="150" y="134"/>
                </a:lnTo>
                <a:lnTo>
                  <a:pt x="150" y="134"/>
                </a:lnTo>
                <a:lnTo>
                  <a:pt x="150" y="134"/>
                </a:lnTo>
                <a:lnTo>
                  <a:pt x="150" y="134"/>
                </a:lnTo>
                <a:lnTo>
                  <a:pt x="146" y="134"/>
                </a:lnTo>
                <a:lnTo>
                  <a:pt x="146" y="134"/>
                </a:lnTo>
                <a:lnTo>
                  <a:pt x="146" y="134"/>
                </a:lnTo>
                <a:lnTo>
                  <a:pt x="142" y="134"/>
                </a:lnTo>
                <a:lnTo>
                  <a:pt x="142" y="134"/>
                </a:lnTo>
                <a:lnTo>
                  <a:pt x="142" y="134"/>
                </a:lnTo>
                <a:lnTo>
                  <a:pt x="142" y="134"/>
                </a:lnTo>
                <a:lnTo>
                  <a:pt x="142" y="134"/>
                </a:lnTo>
                <a:lnTo>
                  <a:pt x="142" y="134"/>
                </a:lnTo>
                <a:lnTo>
                  <a:pt x="142" y="134"/>
                </a:lnTo>
                <a:lnTo>
                  <a:pt x="142" y="134"/>
                </a:lnTo>
                <a:lnTo>
                  <a:pt x="142" y="134"/>
                </a:lnTo>
                <a:lnTo>
                  <a:pt x="138" y="134"/>
                </a:lnTo>
                <a:lnTo>
                  <a:pt x="138" y="134"/>
                </a:lnTo>
                <a:lnTo>
                  <a:pt x="138" y="134"/>
                </a:lnTo>
                <a:lnTo>
                  <a:pt x="138" y="134"/>
                </a:lnTo>
                <a:lnTo>
                  <a:pt x="138" y="134"/>
                </a:lnTo>
                <a:lnTo>
                  <a:pt x="138" y="134"/>
                </a:lnTo>
                <a:lnTo>
                  <a:pt x="134" y="138"/>
                </a:lnTo>
                <a:lnTo>
                  <a:pt x="134" y="138"/>
                </a:lnTo>
                <a:lnTo>
                  <a:pt x="134" y="138"/>
                </a:lnTo>
                <a:lnTo>
                  <a:pt x="134" y="138"/>
                </a:lnTo>
                <a:lnTo>
                  <a:pt x="134" y="138"/>
                </a:lnTo>
                <a:lnTo>
                  <a:pt x="134" y="138"/>
                </a:lnTo>
                <a:lnTo>
                  <a:pt x="134" y="142"/>
                </a:lnTo>
                <a:lnTo>
                  <a:pt x="134" y="142"/>
                </a:lnTo>
                <a:lnTo>
                  <a:pt x="134" y="142"/>
                </a:lnTo>
                <a:lnTo>
                  <a:pt x="134" y="142"/>
                </a:lnTo>
                <a:lnTo>
                  <a:pt x="134" y="142"/>
                </a:lnTo>
                <a:lnTo>
                  <a:pt x="134" y="144"/>
                </a:lnTo>
                <a:lnTo>
                  <a:pt x="134" y="144"/>
                </a:lnTo>
                <a:lnTo>
                  <a:pt x="134" y="144"/>
                </a:lnTo>
                <a:lnTo>
                  <a:pt x="134" y="144"/>
                </a:lnTo>
                <a:lnTo>
                  <a:pt x="130" y="144"/>
                </a:lnTo>
                <a:lnTo>
                  <a:pt x="130" y="148"/>
                </a:lnTo>
                <a:lnTo>
                  <a:pt x="130" y="148"/>
                </a:lnTo>
                <a:lnTo>
                  <a:pt x="130" y="148"/>
                </a:lnTo>
                <a:lnTo>
                  <a:pt x="130" y="152"/>
                </a:lnTo>
                <a:lnTo>
                  <a:pt x="130" y="152"/>
                </a:lnTo>
                <a:lnTo>
                  <a:pt x="128" y="152"/>
                </a:lnTo>
                <a:lnTo>
                  <a:pt x="128" y="152"/>
                </a:lnTo>
                <a:lnTo>
                  <a:pt x="128" y="152"/>
                </a:lnTo>
                <a:lnTo>
                  <a:pt x="128" y="152"/>
                </a:lnTo>
                <a:lnTo>
                  <a:pt x="128" y="152"/>
                </a:lnTo>
                <a:lnTo>
                  <a:pt x="128" y="156"/>
                </a:lnTo>
                <a:lnTo>
                  <a:pt x="128" y="156"/>
                </a:lnTo>
                <a:lnTo>
                  <a:pt x="128" y="156"/>
                </a:lnTo>
                <a:lnTo>
                  <a:pt x="128" y="156"/>
                </a:lnTo>
                <a:lnTo>
                  <a:pt x="128" y="160"/>
                </a:lnTo>
                <a:lnTo>
                  <a:pt x="128" y="160"/>
                </a:lnTo>
                <a:lnTo>
                  <a:pt x="130" y="160"/>
                </a:lnTo>
                <a:lnTo>
                  <a:pt x="130" y="160"/>
                </a:lnTo>
                <a:lnTo>
                  <a:pt x="130" y="160"/>
                </a:lnTo>
                <a:lnTo>
                  <a:pt x="128" y="164"/>
                </a:lnTo>
                <a:lnTo>
                  <a:pt x="128" y="164"/>
                </a:lnTo>
                <a:lnTo>
                  <a:pt x="128" y="164"/>
                </a:lnTo>
                <a:lnTo>
                  <a:pt x="124" y="164"/>
                </a:lnTo>
                <a:lnTo>
                  <a:pt x="124" y="164"/>
                </a:lnTo>
                <a:lnTo>
                  <a:pt x="124" y="168"/>
                </a:lnTo>
                <a:lnTo>
                  <a:pt x="124" y="170"/>
                </a:lnTo>
                <a:lnTo>
                  <a:pt x="124" y="170"/>
                </a:lnTo>
                <a:lnTo>
                  <a:pt x="128" y="174"/>
                </a:lnTo>
                <a:lnTo>
                  <a:pt x="128" y="174"/>
                </a:lnTo>
                <a:lnTo>
                  <a:pt x="128" y="174"/>
                </a:lnTo>
                <a:lnTo>
                  <a:pt x="124" y="178"/>
                </a:lnTo>
                <a:lnTo>
                  <a:pt x="124" y="178"/>
                </a:lnTo>
                <a:lnTo>
                  <a:pt x="124" y="178"/>
                </a:lnTo>
                <a:lnTo>
                  <a:pt x="120" y="178"/>
                </a:lnTo>
                <a:lnTo>
                  <a:pt x="120" y="182"/>
                </a:lnTo>
                <a:lnTo>
                  <a:pt x="120" y="186"/>
                </a:lnTo>
                <a:lnTo>
                  <a:pt x="120" y="186"/>
                </a:lnTo>
                <a:lnTo>
                  <a:pt x="120" y="186"/>
                </a:lnTo>
                <a:lnTo>
                  <a:pt x="120" y="186"/>
                </a:lnTo>
                <a:lnTo>
                  <a:pt x="120" y="186"/>
                </a:lnTo>
                <a:lnTo>
                  <a:pt x="120" y="186"/>
                </a:lnTo>
                <a:lnTo>
                  <a:pt x="124" y="186"/>
                </a:lnTo>
                <a:lnTo>
                  <a:pt x="124" y="186"/>
                </a:lnTo>
                <a:lnTo>
                  <a:pt x="124" y="186"/>
                </a:lnTo>
                <a:lnTo>
                  <a:pt x="124" y="186"/>
                </a:lnTo>
                <a:lnTo>
                  <a:pt x="124" y="186"/>
                </a:lnTo>
                <a:lnTo>
                  <a:pt x="124" y="186"/>
                </a:lnTo>
                <a:lnTo>
                  <a:pt x="124" y="186"/>
                </a:lnTo>
                <a:lnTo>
                  <a:pt x="124" y="186"/>
                </a:lnTo>
                <a:lnTo>
                  <a:pt x="128" y="186"/>
                </a:lnTo>
                <a:lnTo>
                  <a:pt x="128" y="186"/>
                </a:lnTo>
                <a:lnTo>
                  <a:pt x="128" y="190"/>
                </a:lnTo>
                <a:lnTo>
                  <a:pt x="128" y="194"/>
                </a:lnTo>
                <a:lnTo>
                  <a:pt x="128" y="198"/>
                </a:lnTo>
                <a:lnTo>
                  <a:pt x="130" y="198"/>
                </a:lnTo>
                <a:lnTo>
                  <a:pt x="130" y="198"/>
                </a:lnTo>
                <a:lnTo>
                  <a:pt x="130" y="200"/>
                </a:lnTo>
                <a:lnTo>
                  <a:pt x="130" y="200"/>
                </a:lnTo>
                <a:lnTo>
                  <a:pt x="130" y="204"/>
                </a:lnTo>
                <a:lnTo>
                  <a:pt x="130" y="204"/>
                </a:lnTo>
                <a:lnTo>
                  <a:pt x="130" y="204"/>
                </a:lnTo>
                <a:lnTo>
                  <a:pt x="130" y="204"/>
                </a:lnTo>
                <a:lnTo>
                  <a:pt x="130" y="204"/>
                </a:lnTo>
                <a:lnTo>
                  <a:pt x="130" y="208"/>
                </a:lnTo>
                <a:lnTo>
                  <a:pt x="130" y="208"/>
                </a:lnTo>
                <a:lnTo>
                  <a:pt x="134" y="208"/>
                </a:lnTo>
                <a:lnTo>
                  <a:pt x="134" y="212"/>
                </a:lnTo>
                <a:lnTo>
                  <a:pt x="134" y="212"/>
                </a:lnTo>
                <a:lnTo>
                  <a:pt x="134" y="216"/>
                </a:lnTo>
                <a:lnTo>
                  <a:pt x="134" y="216"/>
                </a:lnTo>
                <a:lnTo>
                  <a:pt x="134" y="216"/>
                </a:lnTo>
                <a:lnTo>
                  <a:pt x="130" y="216"/>
                </a:lnTo>
                <a:lnTo>
                  <a:pt x="128" y="216"/>
                </a:lnTo>
                <a:lnTo>
                  <a:pt x="128" y="216"/>
                </a:lnTo>
                <a:lnTo>
                  <a:pt x="128" y="216"/>
                </a:lnTo>
                <a:lnTo>
                  <a:pt x="128" y="216"/>
                </a:lnTo>
                <a:lnTo>
                  <a:pt x="128" y="216"/>
                </a:lnTo>
                <a:lnTo>
                  <a:pt x="124" y="216"/>
                </a:lnTo>
                <a:lnTo>
                  <a:pt x="124" y="220"/>
                </a:lnTo>
                <a:lnTo>
                  <a:pt x="120" y="220"/>
                </a:lnTo>
                <a:lnTo>
                  <a:pt x="120" y="220"/>
                </a:lnTo>
                <a:lnTo>
                  <a:pt x="120" y="220"/>
                </a:lnTo>
                <a:lnTo>
                  <a:pt x="120" y="220"/>
                </a:lnTo>
                <a:lnTo>
                  <a:pt x="116" y="224"/>
                </a:lnTo>
                <a:lnTo>
                  <a:pt x="116" y="224"/>
                </a:lnTo>
                <a:lnTo>
                  <a:pt x="116" y="224"/>
                </a:lnTo>
                <a:lnTo>
                  <a:pt x="116" y="224"/>
                </a:lnTo>
                <a:lnTo>
                  <a:pt x="116" y="224"/>
                </a:lnTo>
                <a:lnTo>
                  <a:pt x="116" y="226"/>
                </a:lnTo>
                <a:lnTo>
                  <a:pt x="120" y="226"/>
                </a:lnTo>
                <a:lnTo>
                  <a:pt x="116" y="226"/>
                </a:lnTo>
                <a:lnTo>
                  <a:pt x="116" y="226"/>
                </a:lnTo>
                <a:lnTo>
                  <a:pt x="116" y="230"/>
                </a:lnTo>
                <a:lnTo>
                  <a:pt x="116" y="230"/>
                </a:lnTo>
                <a:lnTo>
                  <a:pt x="116" y="230"/>
                </a:lnTo>
                <a:lnTo>
                  <a:pt x="116" y="230"/>
                </a:lnTo>
                <a:lnTo>
                  <a:pt x="116" y="230"/>
                </a:lnTo>
                <a:lnTo>
                  <a:pt x="116" y="230"/>
                </a:lnTo>
                <a:lnTo>
                  <a:pt x="112" y="230"/>
                </a:lnTo>
                <a:lnTo>
                  <a:pt x="112" y="230"/>
                </a:lnTo>
                <a:lnTo>
                  <a:pt x="112" y="230"/>
                </a:lnTo>
                <a:lnTo>
                  <a:pt x="112" y="230"/>
                </a:lnTo>
                <a:lnTo>
                  <a:pt x="112" y="234"/>
                </a:lnTo>
                <a:lnTo>
                  <a:pt x="112" y="234"/>
                </a:lnTo>
                <a:lnTo>
                  <a:pt x="112" y="234"/>
                </a:lnTo>
                <a:lnTo>
                  <a:pt x="112" y="234"/>
                </a:lnTo>
                <a:lnTo>
                  <a:pt x="112" y="234"/>
                </a:lnTo>
                <a:lnTo>
                  <a:pt x="112" y="234"/>
                </a:lnTo>
                <a:lnTo>
                  <a:pt x="108" y="238"/>
                </a:lnTo>
                <a:lnTo>
                  <a:pt x="108" y="238"/>
                </a:lnTo>
                <a:lnTo>
                  <a:pt x="104" y="242"/>
                </a:lnTo>
                <a:lnTo>
                  <a:pt x="104" y="242"/>
                </a:lnTo>
                <a:lnTo>
                  <a:pt x="104" y="242"/>
                </a:lnTo>
                <a:lnTo>
                  <a:pt x="104" y="242"/>
                </a:lnTo>
                <a:lnTo>
                  <a:pt x="104" y="242"/>
                </a:lnTo>
                <a:lnTo>
                  <a:pt x="104" y="242"/>
                </a:lnTo>
                <a:lnTo>
                  <a:pt x="100" y="246"/>
                </a:lnTo>
                <a:lnTo>
                  <a:pt x="100" y="246"/>
                </a:lnTo>
                <a:lnTo>
                  <a:pt x="100" y="246"/>
                </a:lnTo>
                <a:lnTo>
                  <a:pt x="100" y="246"/>
                </a:lnTo>
                <a:lnTo>
                  <a:pt x="100" y="250"/>
                </a:lnTo>
                <a:lnTo>
                  <a:pt x="98" y="250"/>
                </a:lnTo>
                <a:lnTo>
                  <a:pt x="98" y="250"/>
                </a:lnTo>
                <a:lnTo>
                  <a:pt x="98" y="250"/>
                </a:lnTo>
                <a:lnTo>
                  <a:pt x="98" y="250"/>
                </a:lnTo>
                <a:lnTo>
                  <a:pt x="94" y="250"/>
                </a:lnTo>
                <a:lnTo>
                  <a:pt x="94" y="250"/>
                </a:lnTo>
                <a:lnTo>
                  <a:pt x="94" y="250"/>
                </a:lnTo>
                <a:lnTo>
                  <a:pt x="94" y="250"/>
                </a:lnTo>
                <a:lnTo>
                  <a:pt x="90" y="250"/>
                </a:lnTo>
                <a:lnTo>
                  <a:pt x="86" y="250"/>
                </a:lnTo>
                <a:lnTo>
                  <a:pt x="86" y="250"/>
                </a:lnTo>
                <a:lnTo>
                  <a:pt x="82" y="250"/>
                </a:lnTo>
                <a:lnTo>
                  <a:pt x="82" y="250"/>
                </a:lnTo>
                <a:lnTo>
                  <a:pt x="78" y="250"/>
                </a:lnTo>
                <a:lnTo>
                  <a:pt x="78" y="250"/>
                </a:lnTo>
                <a:lnTo>
                  <a:pt x="78" y="250"/>
                </a:lnTo>
                <a:lnTo>
                  <a:pt x="78" y="254"/>
                </a:lnTo>
                <a:lnTo>
                  <a:pt x="78" y="254"/>
                </a:lnTo>
                <a:lnTo>
                  <a:pt x="78" y="254"/>
                </a:lnTo>
                <a:lnTo>
                  <a:pt x="78" y="254"/>
                </a:lnTo>
                <a:lnTo>
                  <a:pt x="78" y="254"/>
                </a:lnTo>
                <a:lnTo>
                  <a:pt x="78" y="254"/>
                </a:lnTo>
                <a:lnTo>
                  <a:pt x="78" y="254"/>
                </a:lnTo>
                <a:lnTo>
                  <a:pt x="82" y="256"/>
                </a:lnTo>
                <a:lnTo>
                  <a:pt x="82" y="256"/>
                </a:lnTo>
                <a:lnTo>
                  <a:pt x="78" y="256"/>
                </a:lnTo>
                <a:lnTo>
                  <a:pt x="78" y="256"/>
                </a:lnTo>
                <a:lnTo>
                  <a:pt x="78" y="260"/>
                </a:lnTo>
                <a:lnTo>
                  <a:pt x="78" y="260"/>
                </a:lnTo>
                <a:lnTo>
                  <a:pt x="78" y="260"/>
                </a:lnTo>
                <a:lnTo>
                  <a:pt x="78" y="260"/>
                </a:lnTo>
                <a:lnTo>
                  <a:pt x="74" y="260"/>
                </a:lnTo>
                <a:lnTo>
                  <a:pt x="74" y="264"/>
                </a:lnTo>
                <a:lnTo>
                  <a:pt x="74" y="264"/>
                </a:lnTo>
                <a:lnTo>
                  <a:pt x="74" y="264"/>
                </a:lnTo>
                <a:lnTo>
                  <a:pt x="74" y="264"/>
                </a:lnTo>
                <a:lnTo>
                  <a:pt x="74" y="264"/>
                </a:lnTo>
                <a:lnTo>
                  <a:pt x="74" y="264"/>
                </a:lnTo>
                <a:lnTo>
                  <a:pt x="74" y="264"/>
                </a:lnTo>
                <a:lnTo>
                  <a:pt x="74" y="264"/>
                </a:lnTo>
                <a:lnTo>
                  <a:pt x="74" y="268"/>
                </a:lnTo>
                <a:lnTo>
                  <a:pt x="74" y="268"/>
                </a:lnTo>
                <a:lnTo>
                  <a:pt x="70" y="268"/>
                </a:lnTo>
                <a:lnTo>
                  <a:pt x="70" y="268"/>
                </a:lnTo>
                <a:lnTo>
                  <a:pt x="68" y="268"/>
                </a:lnTo>
                <a:lnTo>
                  <a:pt x="64" y="268"/>
                </a:lnTo>
                <a:lnTo>
                  <a:pt x="64" y="268"/>
                </a:lnTo>
                <a:lnTo>
                  <a:pt x="60" y="268"/>
                </a:lnTo>
                <a:lnTo>
                  <a:pt x="60" y="268"/>
                </a:lnTo>
                <a:lnTo>
                  <a:pt x="60" y="268"/>
                </a:lnTo>
                <a:lnTo>
                  <a:pt x="60" y="268"/>
                </a:lnTo>
                <a:lnTo>
                  <a:pt x="56" y="268"/>
                </a:lnTo>
                <a:lnTo>
                  <a:pt x="56" y="268"/>
                </a:lnTo>
                <a:lnTo>
                  <a:pt x="56" y="268"/>
                </a:lnTo>
                <a:lnTo>
                  <a:pt x="52" y="272"/>
                </a:lnTo>
                <a:lnTo>
                  <a:pt x="52" y="272"/>
                </a:lnTo>
                <a:lnTo>
                  <a:pt x="52" y="272"/>
                </a:lnTo>
                <a:lnTo>
                  <a:pt x="52" y="272"/>
                </a:lnTo>
                <a:lnTo>
                  <a:pt x="52" y="272"/>
                </a:lnTo>
                <a:lnTo>
                  <a:pt x="48" y="272"/>
                </a:lnTo>
                <a:lnTo>
                  <a:pt x="48" y="272"/>
                </a:lnTo>
                <a:lnTo>
                  <a:pt x="48" y="276"/>
                </a:lnTo>
                <a:lnTo>
                  <a:pt x="48" y="276"/>
                </a:lnTo>
                <a:lnTo>
                  <a:pt x="48" y="276"/>
                </a:lnTo>
                <a:lnTo>
                  <a:pt x="48" y="276"/>
                </a:lnTo>
                <a:lnTo>
                  <a:pt x="48" y="276"/>
                </a:lnTo>
                <a:lnTo>
                  <a:pt x="48" y="276"/>
                </a:lnTo>
                <a:lnTo>
                  <a:pt x="44" y="272"/>
                </a:lnTo>
                <a:lnTo>
                  <a:pt x="44" y="272"/>
                </a:lnTo>
                <a:lnTo>
                  <a:pt x="44" y="268"/>
                </a:lnTo>
                <a:lnTo>
                  <a:pt x="44" y="268"/>
                </a:lnTo>
                <a:lnTo>
                  <a:pt x="44" y="268"/>
                </a:lnTo>
                <a:lnTo>
                  <a:pt x="40" y="272"/>
                </a:lnTo>
                <a:lnTo>
                  <a:pt x="40" y="272"/>
                </a:lnTo>
                <a:lnTo>
                  <a:pt x="40" y="272"/>
                </a:lnTo>
                <a:lnTo>
                  <a:pt x="40" y="272"/>
                </a:lnTo>
                <a:lnTo>
                  <a:pt x="40" y="276"/>
                </a:lnTo>
                <a:lnTo>
                  <a:pt x="38" y="276"/>
                </a:lnTo>
                <a:lnTo>
                  <a:pt x="38" y="276"/>
                </a:lnTo>
                <a:lnTo>
                  <a:pt x="38" y="276"/>
                </a:lnTo>
                <a:lnTo>
                  <a:pt x="38" y="276"/>
                </a:lnTo>
                <a:lnTo>
                  <a:pt x="38" y="276"/>
                </a:lnTo>
                <a:lnTo>
                  <a:pt x="38" y="276"/>
                </a:lnTo>
                <a:lnTo>
                  <a:pt x="34" y="276"/>
                </a:lnTo>
                <a:lnTo>
                  <a:pt x="34" y="276"/>
                </a:lnTo>
                <a:lnTo>
                  <a:pt x="34" y="276"/>
                </a:lnTo>
                <a:lnTo>
                  <a:pt x="34" y="276"/>
                </a:lnTo>
                <a:lnTo>
                  <a:pt x="34" y="276"/>
                </a:lnTo>
                <a:lnTo>
                  <a:pt x="30" y="276"/>
                </a:lnTo>
                <a:lnTo>
                  <a:pt x="30" y="276"/>
                </a:lnTo>
                <a:lnTo>
                  <a:pt x="30" y="276"/>
                </a:lnTo>
                <a:lnTo>
                  <a:pt x="30" y="276"/>
                </a:lnTo>
                <a:lnTo>
                  <a:pt x="30" y="276"/>
                </a:lnTo>
                <a:lnTo>
                  <a:pt x="30" y="276"/>
                </a:lnTo>
                <a:lnTo>
                  <a:pt x="30" y="276"/>
                </a:lnTo>
                <a:lnTo>
                  <a:pt x="30" y="276"/>
                </a:lnTo>
                <a:lnTo>
                  <a:pt x="30" y="272"/>
                </a:lnTo>
                <a:lnTo>
                  <a:pt x="30" y="272"/>
                </a:lnTo>
                <a:lnTo>
                  <a:pt x="30" y="272"/>
                </a:lnTo>
                <a:lnTo>
                  <a:pt x="30" y="272"/>
                </a:lnTo>
                <a:lnTo>
                  <a:pt x="30" y="272"/>
                </a:lnTo>
                <a:lnTo>
                  <a:pt x="30" y="272"/>
                </a:lnTo>
                <a:lnTo>
                  <a:pt x="30" y="272"/>
                </a:lnTo>
                <a:lnTo>
                  <a:pt x="30" y="268"/>
                </a:lnTo>
                <a:lnTo>
                  <a:pt x="30" y="268"/>
                </a:lnTo>
                <a:lnTo>
                  <a:pt x="26" y="268"/>
                </a:lnTo>
                <a:lnTo>
                  <a:pt x="26" y="264"/>
                </a:lnTo>
                <a:lnTo>
                  <a:pt x="26" y="264"/>
                </a:lnTo>
                <a:lnTo>
                  <a:pt x="26" y="264"/>
                </a:lnTo>
                <a:lnTo>
                  <a:pt x="26" y="264"/>
                </a:lnTo>
                <a:lnTo>
                  <a:pt x="26" y="260"/>
                </a:lnTo>
                <a:lnTo>
                  <a:pt x="26" y="260"/>
                </a:lnTo>
                <a:lnTo>
                  <a:pt x="26" y="260"/>
                </a:lnTo>
                <a:lnTo>
                  <a:pt x="22" y="256"/>
                </a:lnTo>
                <a:lnTo>
                  <a:pt x="22" y="254"/>
                </a:lnTo>
                <a:lnTo>
                  <a:pt x="18" y="254"/>
                </a:lnTo>
                <a:lnTo>
                  <a:pt x="18" y="254"/>
                </a:lnTo>
                <a:lnTo>
                  <a:pt x="18" y="254"/>
                </a:lnTo>
                <a:lnTo>
                  <a:pt x="14" y="250"/>
                </a:lnTo>
                <a:lnTo>
                  <a:pt x="14" y="250"/>
                </a:lnTo>
                <a:lnTo>
                  <a:pt x="12" y="246"/>
                </a:lnTo>
                <a:lnTo>
                  <a:pt x="12" y="246"/>
                </a:lnTo>
                <a:lnTo>
                  <a:pt x="12" y="246"/>
                </a:lnTo>
                <a:lnTo>
                  <a:pt x="8" y="238"/>
                </a:lnTo>
                <a:lnTo>
                  <a:pt x="8" y="238"/>
                </a:lnTo>
                <a:lnTo>
                  <a:pt x="8" y="238"/>
                </a:lnTo>
                <a:lnTo>
                  <a:pt x="8" y="238"/>
                </a:lnTo>
                <a:lnTo>
                  <a:pt x="8" y="238"/>
                </a:lnTo>
                <a:lnTo>
                  <a:pt x="8" y="238"/>
                </a:lnTo>
                <a:lnTo>
                  <a:pt x="8" y="238"/>
                </a:lnTo>
                <a:lnTo>
                  <a:pt x="12" y="234"/>
                </a:lnTo>
                <a:lnTo>
                  <a:pt x="12" y="234"/>
                </a:lnTo>
                <a:lnTo>
                  <a:pt x="12" y="234"/>
                </a:lnTo>
                <a:lnTo>
                  <a:pt x="12" y="234"/>
                </a:lnTo>
                <a:lnTo>
                  <a:pt x="12" y="234"/>
                </a:lnTo>
                <a:lnTo>
                  <a:pt x="12" y="234"/>
                </a:lnTo>
                <a:lnTo>
                  <a:pt x="12" y="234"/>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30" name="Freeform 137"/>
          <p:cNvSpPr>
            <a:spLocks noEditPoints="1"/>
          </p:cNvSpPr>
          <p:nvPr/>
        </p:nvSpPr>
        <p:spPr bwMode="auto">
          <a:xfrm>
            <a:off x="4986338" y="3931443"/>
            <a:ext cx="21431" cy="16669"/>
          </a:xfrm>
          <a:custGeom>
            <a:avLst/>
            <a:gdLst>
              <a:gd name="T0" fmla="*/ 2 w 18"/>
              <a:gd name="T1" fmla="*/ 8 h 14"/>
              <a:gd name="T2" fmla="*/ 0 w 18"/>
              <a:gd name="T3" fmla="*/ 8 h 14"/>
              <a:gd name="T4" fmla="*/ 0 w 18"/>
              <a:gd name="T5" fmla="*/ 8 h 14"/>
              <a:gd name="T6" fmla="*/ 0 w 18"/>
              <a:gd name="T7" fmla="*/ 4 h 14"/>
              <a:gd name="T8" fmla="*/ 0 w 18"/>
              <a:gd name="T9" fmla="*/ 4 h 14"/>
              <a:gd name="T10" fmla="*/ 0 w 18"/>
              <a:gd name="T11" fmla="*/ 4 h 14"/>
              <a:gd name="T12" fmla="*/ 0 w 18"/>
              <a:gd name="T13" fmla="*/ 0 h 14"/>
              <a:gd name="T14" fmla="*/ 0 w 18"/>
              <a:gd name="T15" fmla="*/ 0 h 14"/>
              <a:gd name="T16" fmla="*/ 0 w 18"/>
              <a:gd name="T17" fmla="*/ 0 h 14"/>
              <a:gd name="T18" fmla="*/ 0 w 18"/>
              <a:gd name="T19" fmla="*/ 0 h 14"/>
              <a:gd name="T20" fmla="*/ 2 w 18"/>
              <a:gd name="T21" fmla="*/ 0 h 14"/>
              <a:gd name="T22" fmla="*/ 2 w 18"/>
              <a:gd name="T23" fmla="*/ 0 h 14"/>
              <a:gd name="T24" fmla="*/ 2 w 18"/>
              <a:gd name="T25" fmla="*/ 0 h 14"/>
              <a:gd name="T26" fmla="*/ 2 w 18"/>
              <a:gd name="T27" fmla="*/ 4 h 14"/>
              <a:gd name="T28" fmla="*/ 2 w 18"/>
              <a:gd name="T29" fmla="*/ 4 h 14"/>
              <a:gd name="T30" fmla="*/ 2 w 18"/>
              <a:gd name="T31" fmla="*/ 8 h 14"/>
              <a:gd name="T32" fmla="*/ 2 w 18"/>
              <a:gd name="T33" fmla="*/ 8 h 14"/>
              <a:gd name="T34" fmla="*/ 2 w 18"/>
              <a:gd name="T35" fmla="*/ 8 h 14"/>
              <a:gd name="T36" fmla="*/ 18 w 18"/>
              <a:gd name="T37" fmla="*/ 14 h 14"/>
              <a:gd name="T38" fmla="*/ 18 w 18"/>
              <a:gd name="T39" fmla="*/ 14 h 14"/>
              <a:gd name="T40" fmla="*/ 14 w 18"/>
              <a:gd name="T41" fmla="*/ 14 h 14"/>
              <a:gd name="T42" fmla="*/ 14 w 18"/>
              <a:gd name="T43" fmla="*/ 14 h 14"/>
              <a:gd name="T44" fmla="*/ 14 w 18"/>
              <a:gd name="T45" fmla="*/ 14 h 14"/>
              <a:gd name="T46" fmla="*/ 14 w 18"/>
              <a:gd name="T47" fmla="*/ 10 h 14"/>
              <a:gd name="T48" fmla="*/ 14 w 18"/>
              <a:gd name="T49" fmla="*/ 10 h 14"/>
              <a:gd name="T50" fmla="*/ 14 w 18"/>
              <a:gd name="T51" fmla="*/ 14 h 14"/>
              <a:gd name="T52" fmla="*/ 14 w 18"/>
              <a:gd name="T53" fmla="*/ 10 h 14"/>
              <a:gd name="T54" fmla="*/ 18 w 18"/>
              <a:gd name="T55" fmla="*/ 10 h 14"/>
              <a:gd name="T56" fmla="*/ 18 w 18"/>
              <a:gd name="T57" fmla="*/ 10 h 14"/>
              <a:gd name="T58" fmla="*/ 18 w 18"/>
              <a:gd name="T59" fmla="*/ 10 h 14"/>
              <a:gd name="T60" fmla="*/ 18 w 18"/>
              <a:gd name="T61" fmla="*/ 10 h 14"/>
              <a:gd name="T62" fmla="*/ 18 w 18"/>
              <a:gd name="T63" fmla="*/ 10 h 14"/>
              <a:gd name="T64" fmla="*/ 18 w 18"/>
              <a:gd name="T65" fmla="*/ 14 h 14"/>
              <a:gd name="T66" fmla="*/ 18 w 18"/>
              <a:gd name="T67" fmla="*/ 14 h 14"/>
              <a:gd name="T68" fmla="*/ 18 w 18"/>
              <a:gd name="T69" fmla="*/ 14 h 14"/>
              <a:gd name="T70" fmla="*/ 6 w 18"/>
              <a:gd name="T71" fmla="*/ 14 h 14"/>
              <a:gd name="T72" fmla="*/ 6 w 18"/>
              <a:gd name="T73" fmla="*/ 14 h 14"/>
              <a:gd name="T74" fmla="*/ 6 w 18"/>
              <a:gd name="T75" fmla="*/ 14 h 14"/>
              <a:gd name="T76" fmla="*/ 6 w 18"/>
              <a:gd name="T77" fmla="*/ 14 h 14"/>
              <a:gd name="T78" fmla="*/ 6 w 18"/>
              <a:gd name="T79" fmla="*/ 14 h 14"/>
              <a:gd name="T80" fmla="*/ 6 w 18"/>
              <a:gd name="T81" fmla="*/ 14 h 14"/>
              <a:gd name="T82" fmla="*/ 6 w 18"/>
              <a:gd name="T83" fmla="*/ 14 h 14"/>
              <a:gd name="T84" fmla="*/ 6 w 18"/>
              <a:gd name="T85" fmla="*/ 14 h 14"/>
              <a:gd name="T86" fmla="*/ 6 w 18"/>
              <a:gd name="T87" fmla="*/ 14 h 14"/>
              <a:gd name="T88" fmla="*/ 6 w 18"/>
              <a:gd name="T89" fmla="*/ 14 h 14"/>
              <a:gd name="T90" fmla="*/ 6 w 18"/>
              <a:gd name="T91"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 h="14">
                <a:moveTo>
                  <a:pt x="2" y="8"/>
                </a:moveTo>
                <a:lnTo>
                  <a:pt x="2" y="8"/>
                </a:lnTo>
                <a:lnTo>
                  <a:pt x="0" y="8"/>
                </a:lnTo>
                <a:lnTo>
                  <a:pt x="0" y="8"/>
                </a:lnTo>
                <a:lnTo>
                  <a:pt x="0" y="8"/>
                </a:lnTo>
                <a:lnTo>
                  <a:pt x="0" y="8"/>
                </a:lnTo>
                <a:lnTo>
                  <a:pt x="0" y="4"/>
                </a:lnTo>
                <a:lnTo>
                  <a:pt x="0" y="4"/>
                </a:lnTo>
                <a:lnTo>
                  <a:pt x="0" y="4"/>
                </a:lnTo>
                <a:lnTo>
                  <a:pt x="0" y="4"/>
                </a:lnTo>
                <a:lnTo>
                  <a:pt x="0" y="4"/>
                </a:lnTo>
                <a:lnTo>
                  <a:pt x="0" y="4"/>
                </a:lnTo>
                <a:lnTo>
                  <a:pt x="0" y="4"/>
                </a:lnTo>
                <a:lnTo>
                  <a:pt x="0" y="0"/>
                </a:lnTo>
                <a:lnTo>
                  <a:pt x="0" y="0"/>
                </a:lnTo>
                <a:lnTo>
                  <a:pt x="0" y="0"/>
                </a:lnTo>
                <a:lnTo>
                  <a:pt x="0" y="0"/>
                </a:lnTo>
                <a:lnTo>
                  <a:pt x="0" y="0"/>
                </a:lnTo>
                <a:lnTo>
                  <a:pt x="0" y="0"/>
                </a:lnTo>
                <a:lnTo>
                  <a:pt x="0" y="0"/>
                </a:lnTo>
                <a:lnTo>
                  <a:pt x="0" y="0"/>
                </a:lnTo>
                <a:lnTo>
                  <a:pt x="2" y="0"/>
                </a:lnTo>
                <a:lnTo>
                  <a:pt x="2" y="0"/>
                </a:lnTo>
                <a:lnTo>
                  <a:pt x="2" y="0"/>
                </a:lnTo>
                <a:lnTo>
                  <a:pt x="2" y="0"/>
                </a:lnTo>
                <a:lnTo>
                  <a:pt x="2" y="0"/>
                </a:lnTo>
                <a:lnTo>
                  <a:pt x="2" y="4"/>
                </a:lnTo>
                <a:lnTo>
                  <a:pt x="2" y="4"/>
                </a:lnTo>
                <a:lnTo>
                  <a:pt x="2" y="4"/>
                </a:lnTo>
                <a:lnTo>
                  <a:pt x="2" y="4"/>
                </a:lnTo>
                <a:lnTo>
                  <a:pt x="2" y="4"/>
                </a:lnTo>
                <a:lnTo>
                  <a:pt x="2" y="8"/>
                </a:lnTo>
                <a:lnTo>
                  <a:pt x="2" y="8"/>
                </a:lnTo>
                <a:lnTo>
                  <a:pt x="2" y="8"/>
                </a:lnTo>
                <a:lnTo>
                  <a:pt x="2" y="8"/>
                </a:lnTo>
                <a:lnTo>
                  <a:pt x="2" y="8"/>
                </a:lnTo>
                <a:lnTo>
                  <a:pt x="2" y="8"/>
                </a:lnTo>
                <a:close/>
                <a:moveTo>
                  <a:pt x="18" y="14"/>
                </a:moveTo>
                <a:lnTo>
                  <a:pt x="18" y="14"/>
                </a:lnTo>
                <a:lnTo>
                  <a:pt x="18" y="14"/>
                </a:lnTo>
                <a:lnTo>
                  <a:pt x="18" y="14"/>
                </a:lnTo>
                <a:lnTo>
                  <a:pt x="14" y="14"/>
                </a:lnTo>
                <a:lnTo>
                  <a:pt x="14" y="14"/>
                </a:lnTo>
                <a:lnTo>
                  <a:pt x="14" y="14"/>
                </a:lnTo>
                <a:lnTo>
                  <a:pt x="14" y="14"/>
                </a:lnTo>
                <a:lnTo>
                  <a:pt x="14" y="14"/>
                </a:lnTo>
                <a:lnTo>
                  <a:pt x="14" y="14"/>
                </a:lnTo>
                <a:lnTo>
                  <a:pt x="14" y="10"/>
                </a:lnTo>
                <a:lnTo>
                  <a:pt x="14" y="10"/>
                </a:lnTo>
                <a:lnTo>
                  <a:pt x="14" y="10"/>
                </a:lnTo>
                <a:lnTo>
                  <a:pt x="14" y="14"/>
                </a:lnTo>
                <a:lnTo>
                  <a:pt x="14" y="14"/>
                </a:lnTo>
                <a:lnTo>
                  <a:pt x="14" y="14"/>
                </a:lnTo>
                <a:lnTo>
                  <a:pt x="14" y="10"/>
                </a:lnTo>
                <a:lnTo>
                  <a:pt x="14" y="10"/>
                </a:lnTo>
                <a:lnTo>
                  <a:pt x="18" y="10"/>
                </a:lnTo>
                <a:lnTo>
                  <a:pt x="18" y="10"/>
                </a:lnTo>
                <a:lnTo>
                  <a:pt x="18" y="10"/>
                </a:lnTo>
                <a:lnTo>
                  <a:pt x="18" y="10"/>
                </a:lnTo>
                <a:lnTo>
                  <a:pt x="18" y="10"/>
                </a:lnTo>
                <a:lnTo>
                  <a:pt x="18" y="10"/>
                </a:lnTo>
                <a:lnTo>
                  <a:pt x="18" y="10"/>
                </a:lnTo>
                <a:lnTo>
                  <a:pt x="18" y="10"/>
                </a:lnTo>
                <a:lnTo>
                  <a:pt x="18" y="10"/>
                </a:lnTo>
                <a:lnTo>
                  <a:pt x="18" y="14"/>
                </a:lnTo>
                <a:lnTo>
                  <a:pt x="18" y="14"/>
                </a:lnTo>
                <a:lnTo>
                  <a:pt x="18" y="14"/>
                </a:lnTo>
                <a:lnTo>
                  <a:pt x="18" y="14"/>
                </a:lnTo>
                <a:lnTo>
                  <a:pt x="18" y="14"/>
                </a:lnTo>
                <a:lnTo>
                  <a:pt x="18" y="14"/>
                </a:lnTo>
                <a:lnTo>
                  <a:pt x="18" y="14"/>
                </a:lnTo>
                <a:close/>
                <a:moveTo>
                  <a:pt x="6" y="14"/>
                </a:move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31" name="Freeform 138"/>
          <p:cNvSpPr>
            <a:spLocks/>
          </p:cNvSpPr>
          <p:nvPr/>
        </p:nvSpPr>
        <p:spPr bwMode="auto">
          <a:xfrm>
            <a:off x="4443412" y="3619500"/>
            <a:ext cx="128588" cy="178594"/>
          </a:xfrm>
          <a:custGeom>
            <a:avLst/>
            <a:gdLst>
              <a:gd name="T0" fmla="*/ 64 w 108"/>
              <a:gd name="T1" fmla="*/ 138 h 150"/>
              <a:gd name="T2" fmla="*/ 56 w 108"/>
              <a:gd name="T3" fmla="*/ 146 h 150"/>
              <a:gd name="T4" fmla="*/ 48 w 108"/>
              <a:gd name="T5" fmla="*/ 150 h 150"/>
              <a:gd name="T6" fmla="*/ 48 w 108"/>
              <a:gd name="T7" fmla="*/ 138 h 150"/>
              <a:gd name="T8" fmla="*/ 38 w 108"/>
              <a:gd name="T9" fmla="*/ 142 h 150"/>
              <a:gd name="T10" fmla="*/ 34 w 108"/>
              <a:gd name="T11" fmla="*/ 150 h 150"/>
              <a:gd name="T12" fmla="*/ 30 w 108"/>
              <a:gd name="T13" fmla="*/ 146 h 150"/>
              <a:gd name="T14" fmla="*/ 22 w 108"/>
              <a:gd name="T15" fmla="*/ 142 h 150"/>
              <a:gd name="T16" fmla="*/ 16 w 108"/>
              <a:gd name="T17" fmla="*/ 150 h 150"/>
              <a:gd name="T18" fmla="*/ 12 w 108"/>
              <a:gd name="T19" fmla="*/ 142 h 150"/>
              <a:gd name="T20" fmla="*/ 4 w 108"/>
              <a:gd name="T21" fmla="*/ 138 h 150"/>
              <a:gd name="T22" fmla="*/ 0 w 108"/>
              <a:gd name="T23" fmla="*/ 130 h 150"/>
              <a:gd name="T24" fmla="*/ 12 w 108"/>
              <a:gd name="T25" fmla="*/ 128 h 150"/>
              <a:gd name="T26" fmla="*/ 8 w 108"/>
              <a:gd name="T27" fmla="*/ 120 h 150"/>
              <a:gd name="T28" fmla="*/ 8 w 108"/>
              <a:gd name="T29" fmla="*/ 116 h 150"/>
              <a:gd name="T30" fmla="*/ 8 w 108"/>
              <a:gd name="T31" fmla="*/ 106 h 150"/>
              <a:gd name="T32" fmla="*/ 16 w 108"/>
              <a:gd name="T33" fmla="*/ 106 h 150"/>
              <a:gd name="T34" fmla="*/ 18 w 108"/>
              <a:gd name="T35" fmla="*/ 102 h 150"/>
              <a:gd name="T36" fmla="*/ 26 w 108"/>
              <a:gd name="T37" fmla="*/ 98 h 150"/>
              <a:gd name="T38" fmla="*/ 30 w 108"/>
              <a:gd name="T39" fmla="*/ 106 h 150"/>
              <a:gd name="T40" fmla="*/ 38 w 108"/>
              <a:gd name="T41" fmla="*/ 106 h 150"/>
              <a:gd name="T42" fmla="*/ 42 w 108"/>
              <a:gd name="T43" fmla="*/ 110 h 150"/>
              <a:gd name="T44" fmla="*/ 46 w 108"/>
              <a:gd name="T45" fmla="*/ 102 h 150"/>
              <a:gd name="T46" fmla="*/ 48 w 108"/>
              <a:gd name="T47" fmla="*/ 94 h 150"/>
              <a:gd name="T48" fmla="*/ 48 w 108"/>
              <a:gd name="T49" fmla="*/ 84 h 150"/>
              <a:gd name="T50" fmla="*/ 46 w 108"/>
              <a:gd name="T51" fmla="*/ 76 h 150"/>
              <a:gd name="T52" fmla="*/ 42 w 108"/>
              <a:gd name="T53" fmla="*/ 68 h 150"/>
              <a:gd name="T54" fmla="*/ 42 w 108"/>
              <a:gd name="T55" fmla="*/ 58 h 150"/>
              <a:gd name="T56" fmla="*/ 48 w 108"/>
              <a:gd name="T57" fmla="*/ 50 h 150"/>
              <a:gd name="T58" fmla="*/ 42 w 108"/>
              <a:gd name="T59" fmla="*/ 42 h 150"/>
              <a:gd name="T60" fmla="*/ 34 w 108"/>
              <a:gd name="T61" fmla="*/ 46 h 150"/>
              <a:gd name="T62" fmla="*/ 30 w 108"/>
              <a:gd name="T63" fmla="*/ 38 h 150"/>
              <a:gd name="T64" fmla="*/ 38 w 108"/>
              <a:gd name="T65" fmla="*/ 30 h 150"/>
              <a:gd name="T66" fmla="*/ 52 w 108"/>
              <a:gd name="T67" fmla="*/ 30 h 150"/>
              <a:gd name="T68" fmla="*/ 64 w 108"/>
              <a:gd name="T69" fmla="*/ 30 h 150"/>
              <a:gd name="T70" fmla="*/ 72 w 108"/>
              <a:gd name="T71" fmla="*/ 34 h 150"/>
              <a:gd name="T72" fmla="*/ 72 w 108"/>
              <a:gd name="T73" fmla="*/ 30 h 150"/>
              <a:gd name="T74" fmla="*/ 74 w 108"/>
              <a:gd name="T75" fmla="*/ 24 h 150"/>
              <a:gd name="T76" fmla="*/ 78 w 108"/>
              <a:gd name="T77" fmla="*/ 16 h 150"/>
              <a:gd name="T78" fmla="*/ 78 w 108"/>
              <a:gd name="T79" fmla="*/ 8 h 150"/>
              <a:gd name="T80" fmla="*/ 86 w 108"/>
              <a:gd name="T81" fmla="*/ 4 h 150"/>
              <a:gd name="T82" fmla="*/ 90 w 108"/>
              <a:gd name="T83" fmla="*/ 4 h 150"/>
              <a:gd name="T84" fmla="*/ 102 w 108"/>
              <a:gd name="T85" fmla="*/ 4 h 150"/>
              <a:gd name="T86" fmla="*/ 104 w 108"/>
              <a:gd name="T87" fmla="*/ 4 h 150"/>
              <a:gd name="T88" fmla="*/ 108 w 108"/>
              <a:gd name="T89" fmla="*/ 12 h 150"/>
              <a:gd name="T90" fmla="*/ 104 w 108"/>
              <a:gd name="T91" fmla="*/ 20 h 150"/>
              <a:gd name="T92" fmla="*/ 102 w 108"/>
              <a:gd name="T93" fmla="*/ 28 h 150"/>
              <a:gd name="T94" fmla="*/ 102 w 108"/>
              <a:gd name="T95" fmla="*/ 38 h 150"/>
              <a:gd name="T96" fmla="*/ 98 w 108"/>
              <a:gd name="T97" fmla="*/ 54 h 150"/>
              <a:gd name="T98" fmla="*/ 98 w 108"/>
              <a:gd name="T99" fmla="*/ 64 h 150"/>
              <a:gd name="T100" fmla="*/ 94 w 108"/>
              <a:gd name="T101" fmla="*/ 72 h 150"/>
              <a:gd name="T102" fmla="*/ 90 w 108"/>
              <a:gd name="T103" fmla="*/ 84 h 150"/>
              <a:gd name="T104" fmla="*/ 82 w 108"/>
              <a:gd name="T105" fmla="*/ 90 h 150"/>
              <a:gd name="T106" fmla="*/ 78 w 108"/>
              <a:gd name="T107" fmla="*/ 98 h 150"/>
              <a:gd name="T108" fmla="*/ 72 w 108"/>
              <a:gd name="T109" fmla="*/ 102 h 150"/>
              <a:gd name="T110" fmla="*/ 74 w 108"/>
              <a:gd name="T111" fmla="*/ 114 h 150"/>
              <a:gd name="T112" fmla="*/ 72 w 108"/>
              <a:gd name="T113" fmla="*/ 120 h 150"/>
              <a:gd name="T114" fmla="*/ 72 w 108"/>
              <a:gd name="T115" fmla="*/ 128 h 150"/>
              <a:gd name="T116" fmla="*/ 68 w 108"/>
              <a:gd name="T117" fmla="*/ 134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8" h="150">
                <a:moveTo>
                  <a:pt x="68" y="134"/>
                </a:moveTo>
                <a:lnTo>
                  <a:pt x="64" y="134"/>
                </a:lnTo>
                <a:lnTo>
                  <a:pt x="64" y="138"/>
                </a:lnTo>
                <a:lnTo>
                  <a:pt x="60" y="138"/>
                </a:lnTo>
                <a:lnTo>
                  <a:pt x="56" y="142"/>
                </a:lnTo>
                <a:lnTo>
                  <a:pt x="56" y="146"/>
                </a:lnTo>
                <a:lnTo>
                  <a:pt x="52" y="146"/>
                </a:lnTo>
                <a:lnTo>
                  <a:pt x="52" y="150"/>
                </a:lnTo>
                <a:lnTo>
                  <a:pt x="48" y="150"/>
                </a:lnTo>
                <a:lnTo>
                  <a:pt x="48" y="146"/>
                </a:lnTo>
                <a:lnTo>
                  <a:pt x="48" y="142"/>
                </a:lnTo>
                <a:lnTo>
                  <a:pt x="48" y="138"/>
                </a:lnTo>
                <a:lnTo>
                  <a:pt x="46" y="138"/>
                </a:lnTo>
                <a:lnTo>
                  <a:pt x="42" y="142"/>
                </a:lnTo>
                <a:lnTo>
                  <a:pt x="38" y="142"/>
                </a:lnTo>
                <a:lnTo>
                  <a:pt x="38" y="146"/>
                </a:lnTo>
                <a:lnTo>
                  <a:pt x="34" y="146"/>
                </a:lnTo>
                <a:lnTo>
                  <a:pt x="34" y="150"/>
                </a:lnTo>
                <a:lnTo>
                  <a:pt x="30" y="146"/>
                </a:lnTo>
                <a:lnTo>
                  <a:pt x="30" y="142"/>
                </a:lnTo>
                <a:lnTo>
                  <a:pt x="30" y="146"/>
                </a:lnTo>
                <a:lnTo>
                  <a:pt x="26" y="146"/>
                </a:lnTo>
                <a:lnTo>
                  <a:pt x="26" y="142"/>
                </a:lnTo>
                <a:lnTo>
                  <a:pt x="22" y="142"/>
                </a:lnTo>
                <a:lnTo>
                  <a:pt x="18" y="146"/>
                </a:lnTo>
                <a:lnTo>
                  <a:pt x="16" y="146"/>
                </a:lnTo>
                <a:lnTo>
                  <a:pt x="16" y="150"/>
                </a:lnTo>
                <a:lnTo>
                  <a:pt x="12" y="150"/>
                </a:lnTo>
                <a:lnTo>
                  <a:pt x="12" y="146"/>
                </a:lnTo>
                <a:lnTo>
                  <a:pt x="12" y="142"/>
                </a:lnTo>
                <a:lnTo>
                  <a:pt x="8" y="142"/>
                </a:lnTo>
                <a:lnTo>
                  <a:pt x="8" y="138"/>
                </a:lnTo>
                <a:lnTo>
                  <a:pt x="4" y="138"/>
                </a:lnTo>
                <a:lnTo>
                  <a:pt x="4" y="134"/>
                </a:lnTo>
                <a:lnTo>
                  <a:pt x="0" y="134"/>
                </a:lnTo>
                <a:lnTo>
                  <a:pt x="0" y="130"/>
                </a:lnTo>
                <a:lnTo>
                  <a:pt x="4" y="128"/>
                </a:lnTo>
                <a:lnTo>
                  <a:pt x="8" y="128"/>
                </a:lnTo>
                <a:lnTo>
                  <a:pt x="12" y="128"/>
                </a:lnTo>
                <a:lnTo>
                  <a:pt x="12" y="124"/>
                </a:lnTo>
                <a:lnTo>
                  <a:pt x="12" y="120"/>
                </a:lnTo>
                <a:lnTo>
                  <a:pt x="8" y="120"/>
                </a:lnTo>
                <a:lnTo>
                  <a:pt x="12" y="116"/>
                </a:lnTo>
                <a:lnTo>
                  <a:pt x="8" y="114"/>
                </a:lnTo>
                <a:lnTo>
                  <a:pt x="8" y="116"/>
                </a:lnTo>
                <a:lnTo>
                  <a:pt x="8" y="114"/>
                </a:lnTo>
                <a:lnTo>
                  <a:pt x="8" y="110"/>
                </a:lnTo>
                <a:lnTo>
                  <a:pt x="8" y="106"/>
                </a:lnTo>
                <a:lnTo>
                  <a:pt x="12" y="110"/>
                </a:lnTo>
                <a:lnTo>
                  <a:pt x="12" y="106"/>
                </a:lnTo>
                <a:lnTo>
                  <a:pt x="16" y="106"/>
                </a:lnTo>
                <a:lnTo>
                  <a:pt x="16" y="110"/>
                </a:lnTo>
                <a:lnTo>
                  <a:pt x="18" y="106"/>
                </a:lnTo>
                <a:lnTo>
                  <a:pt x="18" y="102"/>
                </a:lnTo>
                <a:lnTo>
                  <a:pt x="18" y="98"/>
                </a:lnTo>
                <a:lnTo>
                  <a:pt x="22" y="98"/>
                </a:lnTo>
                <a:lnTo>
                  <a:pt x="26" y="98"/>
                </a:lnTo>
                <a:lnTo>
                  <a:pt x="26" y="102"/>
                </a:lnTo>
                <a:lnTo>
                  <a:pt x="26" y="106"/>
                </a:lnTo>
                <a:lnTo>
                  <a:pt x="30" y="106"/>
                </a:lnTo>
                <a:lnTo>
                  <a:pt x="34" y="110"/>
                </a:lnTo>
                <a:lnTo>
                  <a:pt x="34" y="106"/>
                </a:lnTo>
                <a:lnTo>
                  <a:pt x="38" y="106"/>
                </a:lnTo>
                <a:lnTo>
                  <a:pt x="38" y="102"/>
                </a:lnTo>
                <a:lnTo>
                  <a:pt x="42" y="106"/>
                </a:lnTo>
                <a:lnTo>
                  <a:pt x="42" y="110"/>
                </a:lnTo>
                <a:lnTo>
                  <a:pt x="46" y="110"/>
                </a:lnTo>
                <a:lnTo>
                  <a:pt x="46" y="106"/>
                </a:lnTo>
                <a:lnTo>
                  <a:pt x="46" y="102"/>
                </a:lnTo>
                <a:lnTo>
                  <a:pt x="46" y="98"/>
                </a:lnTo>
                <a:lnTo>
                  <a:pt x="48" y="98"/>
                </a:lnTo>
                <a:lnTo>
                  <a:pt x="48" y="94"/>
                </a:lnTo>
                <a:lnTo>
                  <a:pt x="48" y="90"/>
                </a:lnTo>
                <a:lnTo>
                  <a:pt x="48" y="86"/>
                </a:lnTo>
                <a:lnTo>
                  <a:pt x="48" y="84"/>
                </a:lnTo>
                <a:lnTo>
                  <a:pt x="48" y="80"/>
                </a:lnTo>
                <a:lnTo>
                  <a:pt x="48" y="76"/>
                </a:lnTo>
                <a:lnTo>
                  <a:pt x="46" y="76"/>
                </a:lnTo>
                <a:lnTo>
                  <a:pt x="46" y="72"/>
                </a:lnTo>
                <a:lnTo>
                  <a:pt x="42" y="72"/>
                </a:lnTo>
                <a:lnTo>
                  <a:pt x="42" y="68"/>
                </a:lnTo>
                <a:lnTo>
                  <a:pt x="42" y="64"/>
                </a:lnTo>
                <a:lnTo>
                  <a:pt x="42" y="60"/>
                </a:lnTo>
                <a:lnTo>
                  <a:pt x="42" y="58"/>
                </a:lnTo>
                <a:lnTo>
                  <a:pt x="46" y="58"/>
                </a:lnTo>
                <a:lnTo>
                  <a:pt x="48" y="54"/>
                </a:lnTo>
                <a:lnTo>
                  <a:pt x="48" y="50"/>
                </a:lnTo>
                <a:lnTo>
                  <a:pt x="46" y="46"/>
                </a:lnTo>
                <a:lnTo>
                  <a:pt x="46" y="42"/>
                </a:lnTo>
                <a:lnTo>
                  <a:pt x="42" y="42"/>
                </a:lnTo>
                <a:lnTo>
                  <a:pt x="38" y="42"/>
                </a:lnTo>
                <a:lnTo>
                  <a:pt x="38" y="46"/>
                </a:lnTo>
                <a:lnTo>
                  <a:pt x="34" y="46"/>
                </a:lnTo>
                <a:lnTo>
                  <a:pt x="30" y="46"/>
                </a:lnTo>
                <a:lnTo>
                  <a:pt x="30" y="42"/>
                </a:lnTo>
                <a:lnTo>
                  <a:pt x="30" y="38"/>
                </a:lnTo>
                <a:lnTo>
                  <a:pt x="30" y="34"/>
                </a:lnTo>
                <a:lnTo>
                  <a:pt x="30" y="30"/>
                </a:lnTo>
                <a:lnTo>
                  <a:pt x="38" y="30"/>
                </a:lnTo>
                <a:lnTo>
                  <a:pt x="46" y="30"/>
                </a:lnTo>
                <a:lnTo>
                  <a:pt x="48" y="30"/>
                </a:lnTo>
                <a:lnTo>
                  <a:pt x="52" y="30"/>
                </a:lnTo>
                <a:lnTo>
                  <a:pt x="56" y="30"/>
                </a:lnTo>
                <a:lnTo>
                  <a:pt x="60" y="30"/>
                </a:lnTo>
                <a:lnTo>
                  <a:pt x="64" y="30"/>
                </a:lnTo>
                <a:lnTo>
                  <a:pt x="64" y="34"/>
                </a:lnTo>
                <a:lnTo>
                  <a:pt x="68" y="34"/>
                </a:lnTo>
                <a:lnTo>
                  <a:pt x="72" y="34"/>
                </a:lnTo>
                <a:lnTo>
                  <a:pt x="72" y="38"/>
                </a:lnTo>
                <a:lnTo>
                  <a:pt x="72" y="34"/>
                </a:lnTo>
                <a:lnTo>
                  <a:pt x="72" y="30"/>
                </a:lnTo>
                <a:lnTo>
                  <a:pt x="72" y="28"/>
                </a:lnTo>
                <a:lnTo>
                  <a:pt x="74" y="28"/>
                </a:lnTo>
                <a:lnTo>
                  <a:pt x="74" y="24"/>
                </a:lnTo>
                <a:lnTo>
                  <a:pt x="74" y="20"/>
                </a:lnTo>
                <a:lnTo>
                  <a:pt x="78" y="20"/>
                </a:lnTo>
                <a:lnTo>
                  <a:pt x="78" y="16"/>
                </a:lnTo>
                <a:lnTo>
                  <a:pt x="74" y="16"/>
                </a:lnTo>
                <a:lnTo>
                  <a:pt x="78" y="12"/>
                </a:lnTo>
                <a:lnTo>
                  <a:pt x="78" y="8"/>
                </a:lnTo>
                <a:lnTo>
                  <a:pt x="78" y="4"/>
                </a:lnTo>
                <a:lnTo>
                  <a:pt x="82" y="4"/>
                </a:lnTo>
                <a:lnTo>
                  <a:pt x="86" y="4"/>
                </a:lnTo>
                <a:lnTo>
                  <a:pt x="90" y="4"/>
                </a:lnTo>
                <a:lnTo>
                  <a:pt x="90" y="0"/>
                </a:lnTo>
                <a:lnTo>
                  <a:pt x="90" y="4"/>
                </a:lnTo>
                <a:lnTo>
                  <a:pt x="94" y="4"/>
                </a:lnTo>
                <a:lnTo>
                  <a:pt x="98" y="4"/>
                </a:lnTo>
                <a:lnTo>
                  <a:pt x="102" y="4"/>
                </a:lnTo>
                <a:lnTo>
                  <a:pt x="102" y="8"/>
                </a:lnTo>
                <a:lnTo>
                  <a:pt x="102" y="4"/>
                </a:lnTo>
                <a:lnTo>
                  <a:pt x="104" y="4"/>
                </a:lnTo>
                <a:lnTo>
                  <a:pt x="108" y="4"/>
                </a:lnTo>
                <a:lnTo>
                  <a:pt x="108" y="8"/>
                </a:lnTo>
                <a:lnTo>
                  <a:pt x="108" y="12"/>
                </a:lnTo>
                <a:lnTo>
                  <a:pt x="104" y="12"/>
                </a:lnTo>
                <a:lnTo>
                  <a:pt x="104" y="16"/>
                </a:lnTo>
                <a:lnTo>
                  <a:pt x="104" y="20"/>
                </a:lnTo>
                <a:lnTo>
                  <a:pt x="104" y="24"/>
                </a:lnTo>
                <a:lnTo>
                  <a:pt x="102" y="24"/>
                </a:lnTo>
                <a:lnTo>
                  <a:pt x="102" y="28"/>
                </a:lnTo>
                <a:lnTo>
                  <a:pt x="102" y="30"/>
                </a:lnTo>
                <a:lnTo>
                  <a:pt x="102" y="34"/>
                </a:lnTo>
                <a:lnTo>
                  <a:pt x="102" y="38"/>
                </a:lnTo>
                <a:lnTo>
                  <a:pt x="98" y="46"/>
                </a:lnTo>
                <a:lnTo>
                  <a:pt x="98" y="50"/>
                </a:lnTo>
                <a:lnTo>
                  <a:pt x="98" y="54"/>
                </a:lnTo>
                <a:lnTo>
                  <a:pt x="98" y="58"/>
                </a:lnTo>
                <a:lnTo>
                  <a:pt x="98" y="60"/>
                </a:lnTo>
                <a:lnTo>
                  <a:pt x="98" y="64"/>
                </a:lnTo>
                <a:lnTo>
                  <a:pt x="94" y="64"/>
                </a:lnTo>
                <a:lnTo>
                  <a:pt x="94" y="68"/>
                </a:lnTo>
                <a:lnTo>
                  <a:pt x="94" y="72"/>
                </a:lnTo>
                <a:lnTo>
                  <a:pt x="94" y="76"/>
                </a:lnTo>
                <a:lnTo>
                  <a:pt x="94" y="80"/>
                </a:lnTo>
                <a:lnTo>
                  <a:pt x="90" y="84"/>
                </a:lnTo>
                <a:lnTo>
                  <a:pt x="86" y="84"/>
                </a:lnTo>
                <a:lnTo>
                  <a:pt x="82" y="86"/>
                </a:lnTo>
                <a:lnTo>
                  <a:pt x="82" y="90"/>
                </a:lnTo>
                <a:lnTo>
                  <a:pt x="78" y="90"/>
                </a:lnTo>
                <a:lnTo>
                  <a:pt x="78" y="94"/>
                </a:lnTo>
                <a:lnTo>
                  <a:pt x="78" y="98"/>
                </a:lnTo>
                <a:lnTo>
                  <a:pt x="74" y="98"/>
                </a:lnTo>
                <a:lnTo>
                  <a:pt x="74" y="102"/>
                </a:lnTo>
                <a:lnTo>
                  <a:pt x="72" y="102"/>
                </a:lnTo>
                <a:lnTo>
                  <a:pt x="72" y="106"/>
                </a:lnTo>
                <a:lnTo>
                  <a:pt x="74" y="110"/>
                </a:lnTo>
                <a:lnTo>
                  <a:pt x="74" y="114"/>
                </a:lnTo>
                <a:lnTo>
                  <a:pt x="72" y="114"/>
                </a:lnTo>
                <a:lnTo>
                  <a:pt x="72" y="116"/>
                </a:lnTo>
                <a:lnTo>
                  <a:pt x="72" y="120"/>
                </a:lnTo>
                <a:lnTo>
                  <a:pt x="74" y="124"/>
                </a:lnTo>
                <a:lnTo>
                  <a:pt x="72" y="124"/>
                </a:lnTo>
                <a:lnTo>
                  <a:pt x="72" y="128"/>
                </a:lnTo>
                <a:lnTo>
                  <a:pt x="72" y="130"/>
                </a:lnTo>
                <a:lnTo>
                  <a:pt x="68" y="130"/>
                </a:lnTo>
                <a:lnTo>
                  <a:pt x="68" y="134"/>
                </a:lnTo>
                <a:lnTo>
                  <a:pt x="68" y="134"/>
                </a:lnTo>
                <a:lnTo>
                  <a:pt x="68" y="134"/>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32" name="Freeform 139"/>
          <p:cNvSpPr>
            <a:spLocks/>
          </p:cNvSpPr>
          <p:nvPr/>
        </p:nvSpPr>
        <p:spPr bwMode="auto">
          <a:xfrm>
            <a:off x="4460081" y="3588544"/>
            <a:ext cx="326231" cy="383381"/>
          </a:xfrm>
          <a:custGeom>
            <a:avLst/>
            <a:gdLst>
              <a:gd name="T0" fmla="*/ 30 w 274"/>
              <a:gd name="T1" fmla="*/ 194 h 322"/>
              <a:gd name="T2" fmla="*/ 12 w 274"/>
              <a:gd name="T3" fmla="*/ 190 h 322"/>
              <a:gd name="T4" fmla="*/ 4 w 274"/>
              <a:gd name="T5" fmla="*/ 190 h 322"/>
              <a:gd name="T6" fmla="*/ 16 w 274"/>
              <a:gd name="T7" fmla="*/ 172 h 322"/>
              <a:gd name="T8" fmla="*/ 24 w 274"/>
              <a:gd name="T9" fmla="*/ 168 h 322"/>
              <a:gd name="T10" fmla="*/ 34 w 274"/>
              <a:gd name="T11" fmla="*/ 176 h 322"/>
              <a:gd name="T12" fmla="*/ 50 w 274"/>
              <a:gd name="T13" fmla="*/ 164 h 322"/>
              <a:gd name="T14" fmla="*/ 56 w 274"/>
              <a:gd name="T15" fmla="*/ 150 h 322"/>
              <a:gd name="T16" fmla="*/ 60 w 274"/>
              <a:gd name="T17" fmla="*/ 136 h 322"/>
              <a:gd name="T18" fmla="*/ 64 w 274"/>
              <a:gd name="T19" fmla="*/ 120 h 322"/>
              <a:gd name="T20" fmla="*/ 80 w 274"/>
              <a:gd name="T21" fmla="*/ 106 h 322"/>
              <a:gd name="T22" fmla="*/ 84 w 274"/>
              <a:gd name="T23" fmla="*/ 86 h 322"/>
              <a:gd name="T24" fmla="*/ 86 w 274"/>
              <a:gd name="T25" fmla="*/ 60 h 322"/>
              <a:gd name="T26" fmla="*/ 90 w 274"/>
              <a:gd name="T27" fmla="*/ 42 h 322"/>
              <a:gd name="T28" fmla="*/ 94 w 274"/>
              <a:gd name="T29" fmla="*/ 24 h 322"/>
              <a:gd name="T30" fmla="*/ 98 w 274"/>
              <a:gd name="T31" fmla="*/ 12 h 322"/>
              <a:gd name="T32" fmla="*/ 114 w 274"/>
              <a:gd name="T33" fmla="*/ 8 h 322"/>
              <a:gd name="T34" fmla="*/ 128 w 274"/>
              <a:gd name="T35" fmla="*/ 16 h 322"/>
              <a:gd name="T36" fmla="*/ 146 w 274"/>
              <a:gd name="T37" fmla="*/ 24 h 322"/>
              <a:gd name="T38" fmla="*/ 154 w 274"/>
              <a:gd name="T39" fmla="*/ 8 h 322"/>
              <a:gd name="T40" fmla="*/ 172 w 274"/>
              <a:gd name="T41" fmla="*/ 8 h 322"/>
              <a:gd name="T42" fmla="*/ 188 w 274"/>
              <a:gd name="T43" fmla="*/ 8 h 322"/>
              <a:gd name="T44" fmla="*/ 200 w 274"/>
              <a:gd name="T45" fmla="*/ 4 h 322"/>
              <a:gd name="T46" fmla="*/ 214 w 274"/>
              <a:gd name="T47" fmla="*/ 4 h 322"/>
              <a:gd name="T48" fmla="*/ 228 w 274"/>
              <a:gd name="T49" fmla="*/ 16 h 322"/>
              <a:gd name="T50" fmla="*/ 244 w 274"/>
              <a:gd name="T51" fmla="*/ 16 h 322"/>
              <a:gd name="T52" fmla="*/ 250 w 274"/>
              <a:gd name="T53" fmla="*/ 16 h 322"/>
              <a:gd name="T54" fmla="*/ 262 w 274"/>
              <a:gd name="T55" fmla="*/ 28 h 322"/>
              <a:gd name="T56" fmla="*/ 266 w 274"/>
              <a:gd name="T57" fmla="*/ 46 h 322"/>
              <a:gd name="T58" fmla="*/ 270 w 274"/>
              <a:gd name="T59" fmla="*/ 58 h 322"/>
              <a:gd name="T60" fmla="*/ 258 w 274"/>
              <a:gd name="T61" fmla="*/ 76 h 322"/>
              <a:gd name="T62" fmla="*/ 250 w 274"/>
              <a:gd name="T63" fmla="*/ 90 h 322"/>
              <a:gd name="T64" fmla="*/ 246 w 274"/>
              <a:gd name="T65" fmla="*/ 110 h 322"/>
              <a:gd name="T66" fmla="*/ 244 w 274"/>
              <a:gd name="T67" fmla="*/ 128 h 322"/>
              <a:gd name="T68" fmla="*/ 244 w 274"/>
              <a:gd name="T69" fmla="*/ 146 h 322"/>
              <a:gd name="T70" fmla="*/ 246 w 274"/>
              <a:gd name="T71" fmla="*/ 168 h 322"/>
              <a:gd name="T72" fmla="*/ 246 w 274"/>
              <a:gd name="T73" fmla="*/ 184 h 322"/>
              <a:gd name="T74" fmla="*/ 250 w 274"/>
              <a:gd name="T75" fmla="*/ 206 h 322"/>
              <a:gd name="T76" fmla="*/ 262 w 274"/>
              <a:gd name="T77" fmla="*/ 220 h 322"/>
              <a:gd name="T78" fmla="*/ 258 w 274"/>
              <a:gd name="T79" fmla="*/ 232 h 322"/>
              <a:gd name="T80" fmla="*/ 240 w 274"/>
              <a:gd name="T81" fmla="*/ 244 h 322"/>
              <a:gd name="T82" fmla="*/ 236 w 274"/>
              <a:gd name="T83" fmla="*/ 262 h 322"/>
              <a:gd name="T84" fmla="*/ 232 w 274"/>
              <a:gd name="T85" fmla="*/ 280 h 322"/>
              <a:gd name="T86" fmla="*/ 236 w 274"/>
              <a:gd name="T87" fmla="*/ 300 h 322"/>
              <a:gd name="T88" fmla="*/ 250 w 274"/>
              <a:gd name="T89" fmla="*/ 302 h 322"/>
              <a:gd name="T90" fmla="*/ 250 w 274"/>
              <a:gd name="T91" fmla="*/ 322 h 322"/>
              <a:gd name="T92" fmla="*/ 236 w 274"/>
              <a:gd name="T93" fmla="*/ 314 h 322"/>
              <a:gd name="T94" fmla="*/ 222 w 274"/>
              <a:gd name="T95" fmla="*/ 302 h 322"/>
              <a:gd name="T96" fmla="*/ 210 w 274"/>
              <a:gd name="T97" fmla="*/ 300 h 322"/>
              <a:gd name="T98" fmla="*/ 188 w 274"/>
              <a:gd name="T99" fmla="*/ 292 h 322"/>
              <a:gd name="T100" fmla="*/ 172 w 274"/>
              <a:gd name="T101" fmla="*/ 288 h 322"/>
              <a:gd name="T102" fmla="*/ 170 w 274"/>
              <a:gd name="T103" fmla="*/ 280 h 322"/>
              <a:gd name="T104" fmla="*/ 146 w 274"/>
              <a:gd name="T105" fmla="*/ 280 h 322"/>
              <a:gd name="T106" fmla="*/ 146 w 274"/>
              <a:gd name="T107" fmla="*/ 272 h 322"/>
              <a:gd name="T108" fmla="*/ 140 w 274"/>
              <a:gd name="T109" fmla="*/ 250 h 322"/>
              <a:gd name="T110" fmla="*/ 140 w 274"/>
              <a:gd name="T111" fmla="*/ 228 h 322"/>
              <a:gd name="T112" fmla="*/ 120 w 274"/>
              <a:gd name="T113" fmla="*/ 216 h 322"/>
              <a:gd name="T114" fmla="*/ 106 w 274"/>
              <a:gd name="T115" fmla="*/ 214 h 322"/>
              <a:gd name="T116" fmla="*/ 106 w 274"/>
              <a:gd name="T117" fmla="*/ 228 h 322"/>
              <a:gd name="T118" fmla="*/ 84 w 274"/>
              <a:gd name="T119" fmla="*/ 232 h 322"/>
              <a:gd name="T120" fmla="*/ 72 w 274"/>
              <a:gd name="T121" fmla="*/ 220 h 322"/>
              <a:gd name="T122" fmla="*/ 64 w 274"/>
              <a:gd name="T123" fmla="*/ 202 h 322"/>
              <a:gd name="T124" fmla="*/ 56 w 274"/>
              <a:gd name="T125" fmla="*/ 19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4" h="322">
                <a:moveTo>
                  <a:pt x="56" y="190"/>
                </a:moveTo>
                <a:lnTo>
                  <a:pt x="54" y="190"/>
                </a:lnTo>
                <a:lnTo>
                  <a:pt x="42" y="190"/>
                </a:lnTo>
                <a:lnTo>
                  <a:pt x="38" y="190"/>
                </a:lnTo>
                <a:lnTo>
                  <a:pt x="34" y="194"/>
                </a:lnTo>
                <a:lnTo>
                  <a:pt x="30" y="194"/>
                </a:lnTo>
                <a:lnTo>
                  <a:pt x="30" y="190"/>
                </a:lnTo>
                <a:lnTo>
                  <a:pt x="26" y="190"/>
                </a:lnTo>
                <a:lnTo>
                  <a:pt x="24" y="190"/>
                </a:lnTo>
                <a:lnTo>
                  <a:pt x="20" y="190"/>
                </a:lnTo>
                <a:lnTo>
                  <a:pt x="16" y="190"/>
                </a:lnTo>
                <a:lnTo>
                  <a:pt x="12" y="190"/>
                </a:lnTo>
                <a:lnTo>
                  <a:pt x="8" y="190"/>
                </a:lnTo>
                <a:lnTo>
                  <a:pt x="8" y="194"/>
                </a:lnTo>
                <a:lnTo>
                  <a:pt x="4" y="194"/>
                </a:lnTo>
                <a:lnTo>
                  <a:pt x="4" y="190"/>
                </a:lnTo>
                <a:lnTo>
                  <a:pt x="0" y="190"/>
                </a:lnTo>
                <a:lnTo>
                  <a:pt x="4" y="190"/>
                </a:lnTo>
                <a:lnTo>
                  <a:pt x="8" y="190"/>
                </a:lnTo>
                <a:lnTo>
                  <a:pt x="8" y="184"/>
                </a:lnTo>
                <a:lnTo>
                  <a:pt x="8" y="180"/>
                </a:lnTo>
                <a:lnTo>
                  <a:pt x="8" y="176"/>
                </a:lnTo>
                <a:lnTo>
                  <a:pt x="12" y="172"/>
                </a:lnTo>
                <a:lnTo>
                  <a:pt x="16" y="172"/>
                </a:lnTo>
                <a:lnTo>
                  <a:pt x="16" y="168"/>
                </a:lnTo>
                <a:lnTo>
                  <a:pt x="16" y="172"/>
                </a:lnTo>
                <a:lnTo>
                  <a:pt x="20" y="176"/>
                </a:lnTo>
                <a:lnTo>
                  <a:pt x="20" y="172"/>
                </a:lnTo>
                <a:lnTo>
                  <a:pt x="24" y="172"/>
                </a:lnTo>
                <a:lnTo>
                  <a:pt x="24" y="168"/>
                </a:lnTo>
                <a:lnTo>
                  <a:pt x="26" y="168"/>
                </a:lnTo>
                <a:lnTo>
                  <a:pt x="30" y="164"/>
                </a:lnTo>
                <a:lnTo>
                  <a:pt x="34" y="164"/>
                </a:lnTo>
                <a:lnTo>
                  <a:pt x="34" y="168"/>
                </a:lnTo>
                <a:lnTo>
                  <a:pt x="34" y="172"/>
                </a:lnTo>
                <a:lnTo>
                  <a:pt x="34" y="176"/>
                </a:lnTo>
                <a:lnTo>
                  <a:pt x="38" y="176"/>
                </a:lnTo>
                <a:lnTo>
                  <a:pt x="38" y="172"/>
                </a:lnTo>
                <a:lnTo>
                  <a:pt x="42" y="172"/>
                </a:lnTo>
                <a:lnTo>
                  <a:pt x="42" y="168"/>
                </a:lnTo>
                <a:lnTo>
                  <a:pt x="46" y="164"/>
                </a:lnTo>
                <a:lnTo>
                  <a:pt x="50" y="164"/>
                </a:lnTo>
                <a:lnTo>
                  <a:pt x="50" y="160"/>
                </a:lnTo>
                <a:lnTo>
                  <a:pt x="54" y="160"/>
                </a:lnTo>
                <a:lnTo>
                  <a:pt x="54" y="158"/>
                </a:lnTo>
                <a:lnTo>
                  <a:pt x="56" y="158"/>
                </a:lnTo>
                <a:lnTo>
                  <a:pt x="56" y="154"/>
                </a:lnTo>
                <a:lnTo>
                  <a:pt x="56" y="150"/>
                </a:lnTo>
                <a:lnTo>
                  <a:pt x="60" y="150"/>
                </a:lnTo>
                <a:lnTo>
                  <a:pt x="56" y="146"/>
                </a:lnTo>
                <a:lnTo>
                  <a:pt x="56" y="144"/>
                </a:lnTo>
                <a:lnTo>
                  <a:pt x="56" y="140"/>
                </a:lnTo>
                <a:lnTo>
                  <a:pt x="60" y="140"/>
                </a:lnTo>
                <a:lnTo>
                  <a:pt x="60" y="136"/>
                </a:lnTo>
                <a:lnTo>
                  <a:pt x="56" y="132"/>
                </a:lnTo>
                <a:lnTo>
                  <a:pt x="56" y="128"/>
                </a:lnTo>
                <a:lnTo>
                  <a:pt x="60" y="128"/>
                </a:lnTo>
                <a:lnTo>
                  <a:pt x="60" y="124"/>
                </a:lnTo>
                <a:lnTo>
                  <a:pt x="64" y="124"/>
                </a:lnTo>
                <a:lnTo>
                  <a:pt x="64" y="120"/>
                </a:lnTo>
                <a:lnTo>
                  <a:pt x="64" y="116"/>
                </a:lnTo>
                <a:lnTo>
                  <a:pt x="68" y="116"/>
                </a:lnTo>
                <a:lnTo>
                  <a:pt x="68" y="114"/>
                </a:lnTo>
                <a:lnTo>
                  <a:pt x="72" y="110"/>
                </a:lnTo>
                <a:lnTo>
                  <a:pt x="76" y="110"/>
                </a:lnTo>
                <a:lnTo>
                  <a:pt x="80" y="106"/>
                </a:lnTo>
                <a:lnTo>
                  <a:pt x="80" y="102"/>
                </a:lnTo>
                <a:lnTo>
                  <a:pt x="80" y="98"/>
                </a:lnTo>
                <a:lnTo>
                  <a:pt x="80" y="94"/>
                </a:lnTo>
                <a:lnTo>
                  <a:pt x="80" y="90"/>
                </a:lnTo>
                <a:lnTo>
                  <a:pt x="84" y="90"/>
                </a:lnTo>
                <a:lnTo>
                  <a:pt x="84" y="86"/>
                </a:lnTo>
                <a:lnTo>
                  <a:pt x="84" y="84"/>
                </a:lnTo>
                <a:lnTo>
                  <a:pt x="84" y="80"/>
                </a:lnTo>
                <a:lnTo>
                  <a:pt x="84" y="76"/>
                </a:lnTo>
                <a:lnTo>
                  <a:pt x="84" y="72"/>
                </a:lnTo>
                <a:lnTo>
                  <a:pt x="86" y="64"/>
                </a:lnTo>
                <a:lnTo>
                  <a:pt x="86" y="60"/>
                </a:lnTo>
                <a:lnTo>
                  <a:pt x="86" y="58"/>
                </a:lnTo>
                <a:lnTo>
                  <a:pt x="86" y="54"/>
                </a:lnTo>
                <a:lnTo>
                  <a:pt x="86" y="50"/>
                </a:lnTo>
                <a:lnTo>
                  <a:pt x="90" y="50"/>
                </a:lnTo>
                <a:lnTo>
                  <a:pt x="90" y="46"/>
                </a:lnTo>
                <a:lnTo>
                  <a:pt x="90" y="42"/>
                </a:lnTo>
                <a:lnTo>
                  <a:pt x="90" y="38"/>
                </a:lnTo>
                <a:lnTo>
                  <a:pt x="94" y="38"/>
                </a:lnTo>
                <a:lnTo>
                  <a:pt x="94" y="34"/>
                </a:lnTo>
                <a:lnTo>
                  <a:pt x="94" y="30"/>
                </a:lnTo>
                <a:lnTo>
                  <a:pt x="94" y="28"/>
                </a:lnTo>
                <a:lnTo>
                  <a:pt x="94" y="24"/>
                </a:lnTo>
                <a:lnTo>
                  <a:pt x="94" y="20"/>
                </a:lnTo>
                <a:lnTo>
                  <a:pt x="90" y="20"/>
                </a:lnTo>
                <a:lnTo>
                  <a:pt x="94" y="16"/>
                </a:lnTo>
                <a:lnTo>
                  <a:pt x="94" y="20"/>
                </a:lnTo>
                <a:lnTo>
                  <a:pt x="94" y="16"/>
                </a:lnTo>
                <a:lnTo>
                  <a:pt x="98" y="12"/>
                </a:lnTo>
                <a:lnTo>
                  <a:pt x="98" y="8"/>
                </a:lnTo>
                <a:lnTo>
                  <a:pt x="102" y="8"/>
                </a:lnTo>
                <a:lnTo>
                  <a:pt x="106" y="4"/>
                </a:lnTo>
                <a:lnTo>
                  <a:pt x="110" y="4"/>
                </a:lnTo>
                <a:lnTo>
                  <a:pt x="110" y="8"/>
                </a:lnTo>
                <a:lnTo>
                  <a:pt x="114" y="8"/>
                </a:lnTo>
                <a:lnTo>
                  <a:pt x="116" y="8"/>
                </a:lnTo>
                <a:lnTo>
                  <a:pt x="116" y="12"/>
                </a:lnTo>
                <a:lnTo>
                  <a:pt x="120" y="12"/>
                </a:lnTo>
                <a:lnTo>
                  <a:pt x="120" y="16"/>
                </a:lnTo>
                <a:lnTo>
                  <a:pt x="124" y="16"/>
                </a:lnTo>
                <a:lnTo>
                  <a:pt x="128" y="16"/>
                </a:lnTo>
                <a:lnTo>
                  <a:pt x="128" y="20"/>
                </a:lnTo>
                <a:lnTo>
                  <a:pt x="136" y="20"/>
                </a:lnTo>
                <a:lnTo>
                  <a:pt x="140" y="20"/>
                </a:lnTo>
                <a:lnTo>
                  <a:pt x="142" y="20"/>
                </a:lnTo>
                <a:lnTo>
                  <a:pt x="142" y="24"/>
                </a:lnTo>
                <a:lnTo>
                  <a:pt x="146" y="24"/>
                </a:lnTo>
                <a:lnTo>
                  <a:pt x="146" y="20"/>
                </a:lnTo>
                <a:lnTo>
                  <a:pt x="150" y="20"/>
                </a:lnTo>
                <a:lnTo>
                  <a:pt x="150" y="16"/>
                </a:lnTo>
                <a:lnTo>
                  <a:pt x="150" y="12"/>
                </a:lnTo>
                <a:lnTo>
                  <a:pt x="154" y="12"/>
                </a:lnTo>
                <a:lnTo>
                  <a:pt x="154" y="8"/>
                </a:lnTo>
                <a:lnTo>
                  <a:pt x="154" y="12"/>
                </a:lnTo>
                <a:lnTo>
                  <a:pt x="158" y="12"/>
                </a:lnTo>
                <a:lnTo>
                  <a:pt x="162" y="12"/>
                </a:lnTo>
                <a:lnTo>
                  <a:pt x="166" y="8"/>
                </a:lnTo>
                <a:lnTo>
                  <a:pt x="170" y="8"/>
                </a:lnTo>
                <a:lnTo>
                  <a:pt x="172" y="8"/>
                </a:lnTo>
                <a:lnTo>
                  <a:pt x="176" y="4"/>
                </a:lnTo>
                <a:lnTo>
                  <a:pt x="172" y="4"/>
                </a:lnTo>
                <a:lnTo>
                  <a:pt x="176" y="4"/>
                </a:lnTo>
                <a:lnTo>
                  <a:pt x="180" y="8"/>
                </a:lnTo>
                <a:lnTo>
                  <a:pt x="184" y="8"/>
                </a:lnTo>
                <a:lnTo>
                  <a:pt x="188" y="8"/>
                </a:lnTo>
                <a:lnTo>
                  <a:pt x="188" y="4"/>
                </a:lnTo>
                <a:lnTo>
                  <a:pt x="188" y="0"/>
                </a:lnTo>
                <a:lnTo>
                  <a:pt x="192" y="0"/>
                </a:lnTo>
                <a:lnTo>
                  <a:pt x="196" y="0"/>
                </a:lnTo>
                <a:lnTo>
                  <a:pt x="196" y="4"/>
                </a:lnTo>
                <a:lnTo>
                  <a:pt x="200" y="4"/>
                </a:lnTo>
                <a:lnTo>
                  <a:pt x="200" y="0"/>
                </a:lnTo>
                <a:lnTo>
                  <a:pt x="200" y="4"/>
                </a:lnTo>
                <a:lnTo>
                  <a:pt x="202" y="4"/>
                </a:lnTo>
                <a:lnTo>
                  <a:pt x="206" y="4"/>
                </a:lnTo>
                <a:lnTo>
                  <a:pt x="210" y="4"/>
                </a:lnTo>
                <a:lnTo>
                  <a:pt x="214" y="4"/>
                </a:lnTo>
                <a:lnTo>
                  <a:pt x="218" y="4"/>
                </a:lnTo>
                <a:lnTo>
                  <a:pt x="218" y="8"/>
                </a:lnTo>
                <a:lnTo>
                  <a:pt x="222" y="8"/>
                </a:lnTo>
                <a:lnTo>
                  <a:pt x="222" y="12"/>
                </a:lnTo>
                <a:lnTo>
                  <a:pt x="226" y="16"/>
                </a:lnTo>
                <a:lnTo>
                  <a:pt x="228" y="16"/>
                </a:lnTo>
                <a:lnTo>
                  <a:pt x="228" y="20"/>
                </a:lnTo>
                <a:lnTo>
                  <a:pt x="232" y="20"/>
                </a:lnTo>
                <a:lnTo>
                  <a:pt x="232" y="16"/>
                </a:lnTo>
                <a:lnTo>
                  <a:pt x="236" y="16"/>
                </a:lnTo>
                <a:lnTo>
                  <a:pt x="240" y="16"/>
                </a:lnTo>
                <a:lnTo>
                  <a:pt x="244" y="16"/>
                </a:lnTo>
                <a:lnTo>
                  <a:pt x="244" y="20"/>
                </a:lnTo>
                <a:lnTo>
                  <a:pt x="244" y="16"/>
                </a:lnTo>
                <a:lnTo>
                  <a:pt x="246" y="16"/>
                </a:lnTo>
                <a:lnTo>
                  <a:pt x="246" y="12"/>
                </a:lnTo>
                <a:lnTo>
                  <a:pt x="250" y="12"/>
                </a:lnTo>
                <a:lnTo>
                  <a:pt x="250" y="16"/>
                </a:lnTo>
                <a:lnTo>
                  <a:pt x="250" y="20"/>
                </a:lnTo>
                <a:lnTo>
                  <a:pt x="254" y="20"/>
                </a:lnTo>
                <a:lnTo>
                  <a:pt x="254" y="24"/>
                </a:lnTo>
                <a:lnTo>
                  <a:pt x="258" y="24"/>
                </a:lnTo>
                <a:lnTo>
                  <a:pt x="258" y="28"/>
                </a:lnTo>
                <a:lnTo>
                  <a:pt x="262" y="28"/>
                </a:lnTo>
                <a:lnTo>
                  <a:pt x="262" y="30"/>
                </a:lnTo>
                <a:lnTo>
                  <a:pt x="266" y="30"/>
                </a:lnTo>
                <a:lnTo>
                  <a:pt x="266" y="34"/>
                </a:lnTo>
                <a:lnTo>
                  <a:pt x="266" y="38"/>
                </a:lnTo>
                <a:lnTo>
                  <a:pt x="266" y="42"/>
                </a:lnTo>
                <a:lnTo>
                  <a:pt x="266" y="46"/>
                </a:lnTo>
                <a:lnTo>
                  <a:pt x="266" y="50"/>
                </a:lnTo>
                <a:lnTo>
                  <a:pt x="266" y="54"/>
                </a:lnTo>
                <a:lnTo>
                  <a:pt x="270" y="50"/>
                </a:lnTo>
                <a:lnTo>
                  <a:pt x="270" y="54"/>
                </a:lnTo>
                <a:lnTo>
                  <a:pt x="274" y="58"/>
                </a:lnTo>
                <a:lnTo>
                  <a:pt x="270" y="58"/>
                </a:lnTo>
                <a:lnTo>
                  <a:pt x="270" y="60"/>
                </a:lnTo>
                <a:lnTo>
                  <a:pt x="266" y="64"/>
                </a:lnTo>
                <a:lnTo>
                  <a:pt x="262" y="68"/>
                </a:lnTo>
                <a:lnTo>
                  <a:pt x="262" y="72"/>
                </a:lnTo>
                <a:lnTo>
                  <a:pt x="258" y="72"/>
                </a:lnTo>
                <a:lnTo>
                  <a:pt x="258" y="76"/>
                </a:lnTo>
                <a:lnTo>
                  <a:pt x="254" y="76"/>
                </a:lnTo>
                <a:lnTo>
                  <a:pt x="254" y="80"/>
                </a:lnTo>
                <a:lnTo>
                  <a:pt x="254" y="84"/>
                </a:lnTo>
                <a:lnTo>
                  <a:pt x="254" y="86"/>
                </a:lnTo>
                <a:lnTo>
                  <a:pt x="250" y="86"/>
                </a:lnTo>
                <a:lnTo>
                  <a:pt x="250" y="90"/>
                </a:lnTo>
                <a:lnTo>
                  <a:pt x="250" y="94"/>
                </a:lnTo>
                <a:lnTo>
                  <a:pt x="250" y="98"/>
                </a:lnTo>
                <a:lnTo>
                  <a:pt x="250" y="102"/>
                </a:lnTo>
                <a:lnTo>
                  <a:pt x="246" y="102"/>
                </a:lnTo>
                <a:lnTo>
                  <a:pt x="246" y="106"/>
                </a:lnTo>
                <a:lnTo>
                  <a:pt x="246" y="110"/>
                </a:lnTo>
                <a:lnTo>
                  <a:pt x="246" y="114"/>
                </a:lnTo>
                <a:lnTo>
                  <a:pt x="246" y="116"/>
                </a:lnTo>
                <a:lnTo>
                  <a:pt x="244" y="116"/>
                </a:lnTo>
                <a:lnTo>
                  <a:pt x="244" y="120"/>
                </a:lnTo>
                <a:lnTo>
                  <a:pt x="244" y="124"/>
                </a:lnTo>
                <a:lnTo>
                  <a:pt x="244" y="128"/>
                </a:lnTo>
                <a:lnTo>
                  <a:pt x="244" y="132"/>
                </a:lnTo>
                <a:lnTo>
                  <a:pt x="240" y="132"/>
                </a:lnTo>
                <a:lnTo>
                  <a:pt x="240" y="136"/>
                </a:lnTo>
                <a:lnTo>
                  <a:pt x="240" y="140"/>
                </a:lnTo>
                <a:lnTo>
                  <a:pt x="244" y="144"/>
                </a:lnTo>
                <a:lnTo>
                  <a:pt x="244" y="146"/>
                </a:lnTo>
                <a:lnTo>
                  <a:pt x="244" y="150"/>
                </a:lnTo>
                <a:lnTo>
                  <a:pt x="244" y="154"/>
                </a:lnTo>
                <a:lnTo>
                  <a:pt x="244" y="158"/>
                </a:lnTo>
                <a:lnTo>
                  <a:pt x="244" y="160"/>
                </a:lnTo>
                <a:lnTo>
                  <a:pt x="246" y="164"/>
                </a:lnTo>
                <a:lnTo>
                  <a:pt x="246" y="168"/>
                </a:lnTo>
                <a:lnTo>
                  <a:pt x="246" y="172"/>
                </a:lnTo>
                <a:lnTo>
                  <a:pt x="244" y="172"/>
                </a:lnTo>
                <a:lnTo>
                  <a:pt x="244" y="176"/>
                </a:lnTo>
                <a:lnTo>
                  <a:pt x="244" y="180"/>
                </a:lnTo>
                <a:lnTo>
                  <a:pt x="246" y="180"/>
                </a:lnTo>
                <a:lnTo>
                  <a:pt x="246" y="184"/>
                </a:lnTo>
                <a:lnTo>
                  <a:pt x="246" y="186"/>
                </a:lnTo>
                <a:lnTo>
                  <a:pt x="246" y="190"/>
                </a:lnTo>
                <a:lnTo>
                  <a:pt x="246" y="194"/>
                </a:lnTo>
                <a:lnTo>
                  <a:pt x="246" y="198"/>
                </a:lnTo>
                <a:lnTo>
                  <a:pt x="246" y="202"/>
                </a:lnTo>
                <a:lnTo>
                  <a:pt x="250" y="206"/>
                </a:lnTo>
                <a:lnTo>
                  <a:pt x="254" y="210"/>
                </a:lnTo>
                <a:lnTo>
                  <a:pt x="258" y="210"/>
                </a:lnTo>
                <a:lnTo>
                  <a:pt x="258" y="214"/>
                </a:lnTo>
                <a:lnTo>
                  <a:pt x="258" y="216"/>
                </a:lnTo>
                <a:lnTo>
                  <a:pt x="258" y="220"/>
                </a:lnTo>
                <a:lnTo>
                  <a:pt x="262" y="220"/>
                </a:lnTo>
                <a:lnTo>
                  <a:pt x="262" y="224"/>
                </a:lnTo>
                <a:lnTo>
                  <a:pt x="262" y="228"/>
                </a:lnTo>
                <a:lnTo>
                  <a:pt x="266" y="228"/>
                </a:lnTo>
                <a:lnTo>
                  <a:pt x="266" y="232"/>
                </a:lnTo>
                <a:lnTo>
                  <a:pt x="262" y="232"/>
                </a:lnTo>
                <a:lnTo>
                  <a:pt x="258" y="232"/>
                </a:lnTo>
                <a:lnTo>
                  <a:pt x="254" y="236"/>
                </a:lnTo>
                <a:lnTo>
                  <a:pt x="246" y="236"/>
                </a:lnTo>
                <a:lnTo>
                  <a:pt x="244" y="236"/>
                </a:lnTo>
                <a:lnTo>
                  <a:pt x="240" y="236"/>
                </a:lnTo>
                <a:lnTo>
                  <a:pt x="240" y="240"/>
                </a:lnTo>
                <a:lnTo>
                  <a:pt x="240" y="244"/>
                </a:lnTo>
                <a:lnTo>
                  <a:pt x="236" y="244"/>
                </a:lnTo>
                <a:lnTo>
                  <a:pt x="236" y="246"/>
                </a:lnTo>
                <a:lnTo>
                  <a:pt x="232" y="250"/>
                </a:lnTo>
                <a:lnTo>
                  <a:pt x="232" y="254"/>
                </a:lnTo>
                <a:lnTo>
                  <a:pt x="236" y="258"/>
                </a:lnTo>
                <a:lnTo>
                  <a:pt x="236" y="262"/>
                </a:lnTo>
                <a:lnTo>
                  <a:pt x="236" y="266"/>
                </a:lnTo>
                <a:lnTo>
                  <a:pt x="236" y="270"/>
                </a:lnTo>
                <a:lnTo>
                  <a:pt x="236" y="272"/>
                </a:lnTo>
                <a:lnTo>
                  <a:pt x="236" y="276"/>
                </a:lnTo>
                <a:lnTo>
                  <a:pt x="232" y="276"/>
                </a:lnTo>
                <a:lnTo>
                  <a:pt x="232" y="280"/>
                </a:lnTo>
                <a:lnTo>
                  <a:pt x="232" y="284"/>
                </a:lnTo>
                <a:lnTo>
                  <a:pt x="232" y="288"/>
                </a:lnTo>
                <a:lnTo>
                  <a:pt x="232" y="292"/>
                </a:lnTo>
                <a:lnTo>
                  <a:pt x="232" y="296"/>
                </a:lnTo>
                <a:lnTo>
                  <a:pt x="236" y="296"/>
                </a:lnTo>
                <a:lnTo>
                  <a:pt x="236" y="300"/>
                </a:lnTo>
                <a:lnTo>
                  <a:pt x="240" y="302"/>
                </a:lnTo>
                <a:lnTo>
                  <a:pt x="244" y="302"/>
                </a:lnTo>
                <a:lnTo>
                  <a:pt x="246" y="306"/>
                </a:lnTo>
                <a:lnTo>
                  <a:pt x="246" y="302"/>
                </a:lnTo>
                <a:lnTo>
                  <a:pt x="250" y="300"/>
                </a:lnTo>
                <a:lnTo>
                  <a:pt x="250" y="302"/>
                </a:lnTo>
                <a:lnTo>
                  <a:pt x="250" y="306"/>
                </a:lnTo>
                <a:lnTo>
                  <a:pt x="250" y="310"/>
                </a:lnTo>
                <a:lnTo>
                  <a:pt x="250" y="318"/>
                </a:lnTo>
                <a:lnTo>
                  <a:pt x="250" y="322"/>
                </a:lnTo>
                <a:lnTo>
                  <a:pt x="246" y="322"/>
                </a:lnTo>
                <a:lnTo>
                  <a:pt x="250" y="322"/>
                </a:lnTo>
                <a:lnTo>
                  <a:pt x="246" y="318"/>
                </a:lnTo>
                <a:lnTo>
                  <a:pt x="246" y="322"/>
                </a:lnTo>
                <a:lnTo>
                  <a:pt x="244" y="322"/>
                </a:lnTo>
                <a:lnTo>
                  <a:pt x="240" y="322"/>
                </a:lnTo>
                <a:lnTo>
                  <a:pt x="240" y="318"/>
                </a:lnTo>
                <a:lnTo>
                  <a:pt x="236" y="314"/>
                </a:lnTo>
                <a:lnTo>
                  <a:pt x="232" y="314"/>
                </a:lnTo>
                <a:lnTo>
                  <a:pt x="232" y="310"/>
                </a:lnTo>
                <a:lnTo>
                  <a:pt x="232" y="306"/>
                </a:lnTo>
                <a:lnTo>
                  <a:pt x="228" y="306"/>
                </a:lnTo>
                <a:lnTo>
                  <a:pt x="226" y="302"/>
                </a:lnTo>
                <a:lnTo>
                  <a:pt x="222" y="302"/>
                </a:lnTo>
                <a:lnTo>
                  <a:pt x="218" y="300"/>
                </a:lnTo>
                <a:lnTo>
                  <a:pt x="218" y="296"/>
                </a:lnTo>
                <a:lnTo>
                  <a:pt x="214" y="296"/>
                </a:lnTo>
                <a:lnTo>
                  <a:pt x="214" y="292"/>
                </a:lnTo>
                <a:lnTo>
                  <a:pt x="210" y="296"/>
                </a:lnTo>
                <a:lnTo>
                  <a:pt x="210" y="300"/>
                </a:lnTo>
                <a:lnTo>
                  <a:pt x="206" y="300"/>
                </a:lnTo>
                <a:lnTo>
                  <a:pt x="202" y="296"/>
                </a:lnTo>
                <a:lnTo>
                  <a:pt x="200" y="296"/>
                </a:lnTo>
                <a:lnTo>
                  <a:pt x="196" y="296"/>
                </a:lnTo>
                <a:lnTo>
                  <a:pt x="192" y="292"/>
                </a:lnTo>
                <a:lnTo>
                  <a:pt x="188" y="292"/>
                </a:lnTo>
                <a:lnTo>
                  <a:pt x="188" y="288"/>
                </a:lnTo>
                <a:lnTo>
                  <a:pt x="188" y="284"/>
                </a:lnTo>
                <a:lnTo>
                  <a:pt x="184" y="284"/>
                </a:lnTo>
                <a:lnTo>
                  <a:pt x="180" y="288"/>
                </a:lnTo>
                <a:lnTo>
                  <a:pt x="176" y="288"/>
                </a:lnTo>
                <a:lnTo>
                  <a:pt x="172" y="288"/>
                </a:lnTo>
                <a:lnTo>
                  <a:pt x="176" y="284"/>
                </a:lnTo>
                <a:lnTo>
                  <a:pt x="176" y="280"/>
                </a:lnTo>
                <a:lnTo>
                  <a:pt x="172" y="280"/>
                </a:lnTo>
                <a:lnTo>
                  <a:pt x="170" y="280"/>
                </a:lnTo>
                <a:lnTo>
                  <a:pt x="170" y="276"/>
                </a:lnTo>
                <a:lnTo>
                  <a:pt x="170" y="280"/>
                </a:lnTo>
                <a:lnTo>
                  <a:pt x="166" y="280"/>
                </a:lnTo>
                <a:lnTo>
                  <a:pt x="162" y="280"/>
                </a:lnTo>
                <a:lnTo>
                  <a:pt x="158" y="280"/>
                </a:lnTo>
                <a:lnTo>
                  <a:pt x="154" y="280"/>
                </a:lnTo>
                <a:lnTo>
                  <a:pt x="150" y="280"/>
                </a:lnTo>
                <a:lnTo>
                  <a:pt x="146" y="280"/>
                </a:lnTo>
                <a:lnTo>
                  <a:pt x="146" y="284"/>
                </a:lnTo>
                <a:lnTo>
                  <a:pt x="142" y="284"/>
                </a:lnTo>
                <a:lnTo>
                  <a:pt x="142" y="280"/>
                </a:lnTo>
                <a:lnTo>
                  <a:pt x="142" y="276"/>
                </a:lnTo>
                <a:lnTo>
                  <a:pt x="146" y="276"/>
                </a:lnTo>
                <a:lnTo>
                  <a:pt x="146" y="272"/>
                </a:lnTo>
                <a:lnTo>
                  <a:pt x="146" y="270"/>
                </a:lnTo>
                <a:lnTo>
                  <a:pt x="142" y="266"/>
                </a:lnTo>
                <a:lnTo>
                  <a:pt x="142" y="262"/>
                </a:lnTo>
                <a:lnTo>
                  <a:pt x="140" y="258"/>
                </a:lnTo>
                <a:lnTo>
                  <a:pt x="140" y="254"/>
                </a:lnTo>
                <a:lnTo>
                  <a:pt x="140" y="250"/>
                </a:lnTo>
                <a:lnTo>
                  <a:pt x="140" y="246"/>
                </a:lnTo>
                <a:lnTo>
                  <a:pt x="140" y="244"/>
                </a:lnTo>
                <a:lnTo>
                  <a:pt x="140" y="240"/>
                </a:lnTo>
                <a:lnTo>
                  <a:pt x="140" y="236"/>
                </a:lnTo>
                <a:lnTo>
                  <a:pt x="140" y="232"/>
                </a:lnTo>
                <a:lnTo>
                  <a:pt x="140" y="228"/>
                </a:lnTo>
                <a:lnTo>
                  <a:pt x="140" y="224"/>
                </a:lnTo>
                <a:lnTo>
                  <a:pt x="140" y="220"/>
                </a:lnTo>
                <a:lnTo>
                  <a:pt x="140" y="216"/>
                </a:lnTo>
                <a:lnTo>
                  <a:pt x="136" y="216"/>
                </a:lnTo>
                <a:lnTo>
                  <a:pt x="128" y="216"/>
                </a:lnTo>
                <a:lnTo>
                  <a:pt x="120" y="216"/>
                </a:lnTo>
                <a:lnTo>
                  <a:pt x="120" y="214"/>
                </a:lnTo>
                <a:lnTo>
                  <a:pt x="120" y="210"/>
                </a:lnTo>
                <a:lnTo>
                  <a:pt x="116" y="210"/>
                </a:lnTo>
                <a:lnTo>
                  <a:pt x="116" y="214"/>
                </a:lnTo>
                <a:lnTo>
                  <a:pt x="114" y="214"/>
                </a:lnTo>
                <a:lnTo>
                  <a:pt x="106" y="214"/>
                </a:lnTo>
                <a:lnTo>
                  <a:pt x="106" y="216"/>
                </a:lnTo>
                <a:lnTo>
                  <a:pt x="106" y="220"/>
                </a:lnTo>
                <a:lnTo>
                  <a:pt x="106" y="224"/>
                </a:lnTo>
                <a:lnTo>
                  <a:pt x="102" y="224"/>
                </a:lnTo>
                <a:lnTo>
                  <a:pt x="102" y="228"/>
                </a:lnTo>
                <a:lnTo>
                  <a:pt x="106" y="228"/>
                </a:lnTo>
                <a:lnTo>
                  <a:pt x="98" y="228"/>
                </a:lnTo>
                <a:lnTo>
                  <a:pt x="94" y="228"/>
                </a:lnTo>
                <a:lnTo>
                  <a:pt x="90" y="228"/>
                </a:lnTo>
                <a:lnTo>
                  <a:pt x="86" y="228"/>
                </a:lnTo>
                <a:lnTo>
                  <a:pt x="86" y="232"/>
                </a:lnTo>
                <a:lnTo>
                  <a:pt x="84" y="232"/>
                </a:lnTo>
                <a:lnTo>
                  <a:pt x="84" y="228"/>
                </a:lnTo>
                <a:lnTo>
                  <a:pt x="80" y="232"/>
                </a:lnTo>
                <a:lnTo>
                  <a:pt x="80" y="228"/>
                </a:lnTo>
                <a:lnTo>
                  <a:pt x="76" y="228"/>
                </a:lnTo>
                <a:lnTo>
                  <a:pt x="76" y="224"/>
                </a:lnTo>
                <a:lnTo>
                  <a:pt x="72" y="220"/>
                </a:lnTo>
                <a:lnTo>
                  <a:pt x="72" y="216"/>
                </a:lnTo>
                <a:lnTo>
                  <a:pt x="68" y="216"/>
                </a:lnTo>
                <a:lnTo>
                  <a:pt x="68" y="214"/>
                </a:lnTo>
                <a:lnTo>
                  <a:pt x="68" y="210"/>
                </a:lnTo>
                <a:lnTo>
                  <a:pt x="68" y="206"/>
                </a:lnTo>
                <a:lnTo>
                  <a:pt x="64" y="202"/>
                </a:lnTo>
                <a:lnTo>
                  <a:pt x="64" y="198"/>
                </a:lnTo>
                <a:lnTo>
                  <a:pt x="64" y="194"/>
                </a:lnTo>
                <a:lnTo>
                  <a:pt x="64" y="190"/>
                </a:lnTo>
                <a:lnTo>
                  <a:pt x="60" y="190"/>
                </a:lnTo>
                <a:lnTo>
                  <a:pt x="56" y="190"/>
                </a:lnTo>
                <a:lnTo>
                  <a:pt x="56" y="190"/>
                </a:lnTo>
                <a:lnTo>
                  <a:pt x="56" y="190"/>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33" name="Freeform 140"/>
          <p:cNvSpPr>
            <a:spLocks noEditPoints="1"/>
          </p:cNvSpPr>
          <p:nvPr/>
        </p:nvSpPr>
        <p:spPr bwMode="auto">
          <a:xfrm>
            <a:off x="4110038" y="3479006"/>
            <a:ext cx="107156" cy="133350"/>
          </a:xfrm>
          <a:custGeom>
            <a:avLst/>
            <a:gdLst>
              <a:gd name="T0" fmla="*/ 46 w 90"/>
              <a:gd name="T1" fmla="*/ 96 h 112"/>
              <a:gd name="T2" fmla="*/ 52 w 90"/>
              <a:gd name="T3" fmla="*/ 96 h 112"/>
              <a:gd name="T4" fmla="*/ 46 w 90"/>
              <a:gd name="T5" fmla="*/ 96 h 112"/>
              <a:gd name="T6" fmla="*/ 34 w 90"/>
              <a:gd name="T7" fmla="*/ 100 h 112"/>
              <a:gd name="T8" fmla="*/ 30 w 90"/>
              <a:gd name="T9" fmla="*/ 104 h 112"/>
              <a:gd name="T10" fmla="*/ 24 w 90"/>
              <a:gd name="T11" fmla="*/ 108 h 112"/>
              <a:gd name="T12" fmla="*/ 20 w 90"/>
              <a:gd name="T13" fmla="*/ 112 h 112"/>
              <a:gd name="T14" fmla="*/ 16 w 90"/>
              <a:gd name="T15" fmla="*/ 104 h 112"/>
              <a:gd name="T16" fmla="*/ 20 w 90"/>
              <a:gd name="T17" fmla="*/ 92 h 112"/>
              <a:gd name="T18" fmla="*/ 20 w 90"/>
              <a:gd name="T19" fmla="*/ 86 h 112"/>
              <a:gd name="T20" fmla="*/ 16 w 90"/>
              <a:gd name="T21" fmla="*/ 82 h 112"/>
              <a:gd name="T22" fmla="*/ 12 w 90"/>
              <a:gd name="T23" fmla="*/ 78 h 112"/>
              <a:gd name="T24" fmla="*/ 0 w 90"/>
              <a:gd name="T25" fmla="*/ 74 h 112"/>
              <a:gd name="T26" fmla="*/ 4 w 90"/>
              <a:gd name="T27" fmla="*/ 70 h 112"/>
              <a:gd name="T28" fmla="*/ 4 w 90"/>
              <a:gd name="T29" fmla="*/ 66 h 112"/>
              <a:gd name="T30" fmla="*/ 4 w 90"/>
              <a:gd name="T31" fmla="*/ 56 h 112"/>
              <a:gd name="T32" fmla="*/ 8 w 90"/>
              <a:gd name="T33" fmla="*/ 56 h 112"/>
              <a:gd name="T34" fmla="*/ 8 w 90"/>
              <a:gd name="T35" fmla="*/ 48 h 112"/>
              <a:gd name="T36" fmla="*/ 8 w 90"/>
              <a:gd name="T37" fmla="*/ 44 h 112"/>
              <a:gd name="T38" fmla="*/ 12 w 90"/>
              <a:gd name="T39" fmla="*/ 36 h 112"/>
              <a:gd name="T40" fmla="*/ 16 w 90"/>
              <a:gd name="T41" fmla="*/ 40 h 112"/>
              <a:gd name="T42" fmla="*/ 12 w 90"/>
              <a:gd name="T43" fmla="*/ 34 h 112"/>
              <a:gd name="T44" fmla="*/ 16 w 90"/>
              <a:gd name="T45" fmla="*/ 30 h 112"/>
              <a:gd name="T46" fmla="*/ 8 w 90"/>
              <a:gd name="T47" fmla="*/ 22 h 112"/>
              <a:gd name="T48" fmla="*/ 8 w 90"/>
              <a:gd name="T49" fmla="*/ 14 h 112"/>
              <a:gd name="T50" fmla="*/ 8 w 90"/>
              <a:gd name="T51" fmla="*/ 10 h 112"/>
              <a:gd name="T52" fmla="*/ 12 w 90"/>
              <a:gd name="T53" fmla="*/ 8 h 112"/>
              <a:gd name="T54" fmla="*/ 20 w 90"/>
              <a:gd name="T55" fmla="*/ 8 h 112"/>
              <a:gd name="T56" fmla="*/ 24 w 90"/>
              <a:gd name="T57" fmla="*/ 10 h 112"/>
              <a:gd name="T58" fmla="*/ 30 w 90"/>
              <a:gd name="T59" fmla="*/ 8 h 112"/>
              <a:gd name="T60" fmla="*/ 30 w 90"/>
              <a:gd name="T61" fmla="*/ 4 h 112"/>
              <a:gd name="T62" fmla="*/ 34 w 90"/>
              <a:gd name="T63" fmla="*/ 4 h 112"/>
              <a:gd name="T64" fmla="*/ 38 w 90"/>
              <a:gd name="T65" fmla="*/ 8 h 112"/>
              <a:gd name="T66" fmla="*/ 38 w 90"/>
              <a:gd name="T67" fmla="*/ 10 h 112"/>
              <a:gd name="T68" fmla="*/ 42 w 90"/>
              <a:gd name="T69" fmla="*/ 8 h 112"/>
              <a:gd name="T70" fmla="*/ 50 w 90"/>
              <a:gd name="T71" fmla="*/ 8 h 112"/>
              <a:gd name="T72" fmla="*/ 56 w 90"/>
              <a:gd name="T73" fmla="*/ 14 h 112"/>
              <a:gd name="T74" fmla="*/ 60 w 90"/>
              <a:gd name="T75" fmla="*/ 18 h 112"/>
              <a:gd name="T76" fmla="*/ 68 w 90"/>
              <a:gd name="T77" fmla="*/ 14 h 112"/>
              <a:gd name="T78" fmla="*/ 76 w 90"/>
              <a:gd name="T79" fmla="*/ 14 h 112"/>
              <a:gd name="T80" fmla="*/ 82 w 90"/>
              <a:gd name="T81" fmla="*/ 22 h 112"/>
              <a:gd name="T82" fmla="*/ 86 w 90"/>
              <a:gd name="T83" fmla="*/ 26 h 112"/>
              <a:gd name="T84" fmla="*/ 86 w 90"/>
              <a:gd name="T85" fmla="*/ 34 h 112"/>
              <a:gd name="T86" fmla="*/ 86 w 90"/>
              <a:gd name="T87" fmla="*/ 44 h 112"/>
              <a:gd name="T88" fmla="*/ 82 w 90"/>
              <a:gd name="T89" fmla="*/ 60 h 112"/>
              <a:gd name="T90" fmla="*/ 78 w 90"/>
              <a:gd name="T91" fmla="*/ 70 h 112"/>
              <a:gd name="T92" fmla="*/ 78 w 90"/>
              <a:gd name="T93" fmla="*/ 78 h 112"/>
              <a:gd name="T94" fmla="*/ 82 w 90"/>
              <a:gd name="T95" fmla="*/ 88 h 112"/>
              <a:gd name="T96" fmla="*/ 86 w 90"/>
              <a:gd name="T97" fmla="*/ 96 h 112"/>
              <a:gd name="T98" fmla="*/ 82 w 90"/>
              <a:gd name="T99" fmla="*/ 96 h 112"/>
              <a:gd name="T100" fmla="*/ 78 w 90"/>
              <a:gd name="T101" fmla="*/ 92 h 112"/>
              <a:gd name="T102" fmla="*/ 76 w 90"/>
              <a:gd name="T103" fmla="*/ 96 h 112"/>
              <a:gd name="T104" fmla="*/ 72 w 90"/>
              <a:gd name="T105" fmla="*/ 96 h 112"/>
              <a:gd name="T106" fmla="*/ 72 w 90"/>
              <a:gd name="T107" fmla="*/ 92 h 112"/>
              <a:gd name="T108" fmla="*/ 72 w 90"/>
              <a:gd name="T109" fmla="*/ 92 h 112"/>
              <a:gd name="T110" fmla="*/ 60 w 90"/>
              <a:gd name="T111" fmla="*/ 92 h 112"/>
              <a:gd name="T112" fmla="*/ 60 w 90"/>
              <a:gd name="T113" fmla="*/ 96 h 112"/>
              <a:gd name="T114" fmla="*/ 64 w 90"/>
              <a:gd name="T115" fmla="*/ 92 h 112"/>
              <a:gd name="T116" fmla="*/ 56 w 90"/>
              <a:gd name="T117" fmla="*/ 96 h 112"/>
              <a:gd name="T118" fmla="*/ 52 w 90"/>
              <a:gd name="T119" fmla="*/ 96 h 112"/>
              <a:gd name="T120" fmla="*/ 50 w 90"/>
              <a:gd name="T121" fmla="*/ 96 h 112"/>
              <a:gd name="T122" fmla="*/ 50 w 90"/>
              <a:gd name="T123" fmla="*/ 96 h 112"/>
              <a:gd name="T124" fmla="*/ 78 w 90"/>
              <a:gd name="T125" fmla="*/ 9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0" h="112">
                <a:moveTo>
                  <a:pt x="50" y="96"/>
                </a:moveTo>
                <a:lnTo>
                  <a:pt x="50" y="96"/>
                </a:lnTo>
                <a:lnTo>
                  <a:pt x="50" y="96"/>
                </a:lnTo>
                <a:lnTo>
                  <a:pt x="50" y="96"/>
                </a:lnTo>
                <a:lnTo>
                  <a:pt x="50" y="96"/>
                </a:lnTo>
                <a:lnTo>
                  <a:pt x="50" y="96"/>
                </a:lnTo>
                <a:lnTo>
                  <a:pt x="50" y="96"/>
                </a:lnTo>
                <a:lnTo>
                  <a:pt x="46" y="96"/>
                </a:lnTo>
                <a:lnTo>
                  <a:pt x="50" y="96"/>
                </a:lnTo>
                <a:lnTo>
                  <a:pt x="50" y="96"/>
                </a:lnTo>
                <a:lnTo>
                  <a:pt x="50" y="96"/>
                </a:lnTo>
                <a:lnTo>
                  <a:pt x="50" y="96"/>
                </a:lnTo>
                <a:lnTo>
                  <a:pt x="50" y="96"/>
                </a:lnTo>
                <a:lnTo>
                  <a:pt x="52" y="96"/>
                </a:lnTo>
                <a:lnTo>
                  <a:pt x="52" y="96"/>
                </a:lnTo>
                <a:lnTo>
                  <a:pt x="52" y="96"/>
                </a:lnTo>
                <a:lnTo>
                  <a:pt x="52" y="96"/>
                </a:lnTo>
                <a:lnTo>
                  <a:pt x="52" y="96"/>
                </a:lnTo>
                <a:lnTo>
                  <a:pt x="52" y="96"/>
                </a:lnTo>
                <a:lnTo>
                  <a:pt x="50" y="96"/>
                </a:lnTo>
                <a:lnTo>
                  <a:pt x="50" y="96"/>
                </a:lnTo>
                <a:lnTo>
                  <a:pt x="50" y="96"/>
                </a:lnTo>
                <a:lnTo>
                  <a:pt x="46" y="96"/>
                </a:lnTo>
                <a:lnTo>
                  <a:pt x="46" y="96"/>
                </a:lnTo>
                <a:lnTo>
                  <a:pt x="42" y="96"/>
                </a:lnTo>
                <a:lnTo>
                  <a:pt x="42" y="96"/>
                </a:lnTo>
                <a:lnTo>
                  <a:pt x="42" y="96"/>
                </a:lnTo>
                <a:lnTo>
                  <a:pt x="38" y="100"/>
                </a:lnTo>
                <a:lnTo>
                  <a:pt x="38" y="100"/>
                </a:lnTo>
                <a:lnTo>
                  <a:pt x="38" y="100"/>
                </a:lnTo>
                <a:lnTo>
                  <a:pt x="34" y="100"/>
                </a:lnTo>
                <a:lnTo>
                  <a:pt x="34" y="100"/>
                </a:lnTo>
                <a:lnTo>
                  <a:pt x="34" y="100"/>
                </a:lnTo>
                <a:lnTo>
                  <a:pt x="34" y="100"/>
                </a:lnTo>
                <a:lnTo>
                  <a:pt x="34" y="100"/>
                </a:lnTo>
                <a:lnTo>
                  <a:pt x="30" y="104"/>
                </a:lnTo>
                <a:lnTo>
                  <a:pt x="30" y="104"/>
                </a:lnTo>
                <a:lnTo>
                  <a:pt x="30" y="104"/>
                </a:lnTo>
                <a:lnTo>
                  <a:pt x="30" y="104"/>
                </a:lnTo>
                <a:lnTo>
                  <a:pt x="30" y="104"/>
                </a:lnTo>
                <a:lnTo>
                  <a:pt x="26" y="104"/>
                </a:lnTo>
                <a:lnTo>
                  <a:pt x="26" y="104"/>
                </a:lnTo>
                <a:lnTo>
                  <a:pt x="26" y="104"/>
                </a:lnTo>
                <a:lnTo>
                  <a:pt x="26" y="104"/>
                </a:lnTo>
                <a:lnTo>
                  <a:pt x="26" y="104"/>
                </a:lnTo>
                <a:lnTo>
                  <a:pt x="26" y="104"/>
                </a:lnTo>
                <a:lnTo>
                  <a:pt x="24" y="108"/>
                </a:lnTo>
                <a:lnTo>
                  <a:pt x="24" y="108"/>
                </a:lnTo>
                <a:lnTo>
                  <a:pt x="24" y="108"/>
                </a:lnTo>
                <a:lnTo>
                  <a:pt x="24" y="108"/>
                </a:lnTo>
                <a:lnTo>
                  <a:pt x="24" y="108"/>
                </a:lnTo>
                <a:lnTo>
                  <a:pt x="20" y="108"/>
                </a:lnTo>
                <a:lnTo>
                  <a:pt x="20" y="108"/>
                </a:lnTo>
                <a:lnTo>
                  <a:pt x="20" y="112"/>
                </a:lnTo>
                <a:lnTo>
                  <a:pt x="20" y="112"/>
                </a:lnTo>
                <a:lnTo>
                  <a:pt x="20" y="112"/>
                </a:lnTo>
                <a:lnTo>
                  <a:pt x="20" y="112"/>
                </a:lnTo>
                <a:lnTo>
                  <a:pt x="16" y="112"/>
                </a:lnTo>
                <a:lnTo>
                  <a:pt x="16" y="108"/>
                </a:lnTo>
                <a:lnTo>
                  <a:pt x="16" y="108"/>
                </a:lnTo>
                <a:lnTo>
                  <a:pt x="16" y="108"/>
                </a:lnTo>
                <a:lnTo>
                  <a:pt x="16" y="104"/>
                </a:lnTo>
                <a:lnTo>
                  <a:pt x="16" y="104"/>
                </a:lnTo>
                <a:lnTo>
                  <a:pt x="16" y="104"/>
                </a:lnTo>
                <a:lnTo>
                  <a:pt x="16" y="100"/>
                </a:lnTo>
                <a:lnTo>
                  <a:pt x="16" y="100"/>
                </a:lnTo>
                <a:lnTo>
                  <a:pt x="16" y="100"/>
                </a:lnTo>
                <a:lnTo>
                  <a:pt x="16" y="96"/>
                </a:lnTo>
                <a:lnTo>
                  <a:pt x="20" y="96"/>
                </a:lnTo>
                <a:lnTo>
                  <a:pt x="20" y="92"/>
                </a:lnTo>
                <a:lnTo>
                  <a:pt x="20" y="92"/>
                </a:lnTo>
                <a:lnTo>
                  <a:pt x="20" y="92"/>
                </a:lnTo>
                <a:lnTo>
                  <a:pt x="20" y="92"/>
                </a:lnTo>
                <a:lnTo>
                  <a:pt x="20" y="88"/>
                </a:lnTo>
                <a:lnTo>
                  <a:pt x="20" y="88"/>
                </a:lnTo>
                <a:lnTo>
                  <a:pt x="20" y="88"/>
                </a:lnTo>
                <a:lnTo>
                  <a:pt x="20" y="88"/>
                </a:lnTo>
                <a:lnTo>
                  <a:pt x="20" y="88"/>
                </a:lnTo>
                <a:lnTo>
                  <a:pt x="20" y="86"/>
                </a:lnTo>
                <a:lnTo>
                  <a:pt x="20" y="86"/>
                </a:lnTo>
                <a:lnTo>
                  <a:pt x="20" y="86"/>
                </a:lnTo>
                <a:lnTo>
                  <a:pt x="20" y="86"/>
                </a:lnTo>
                <a:lnTo>
                  <a:pt x="20" y="86"/>
                </a:lnTo>
                <a:lnTo>
                  <a:pt x="20" y="86"/>
                </a:lnTo>
                <a:lnTo>
                  <a:pt x="20" y="86"/>
                </a:lnTo>
                <a:lnTo>
                  <a:pt x="16" y="86"/>
                </a:lnTo>
                <a:lnTo>
                  <a:pt x="16" y="82"/>
                </a:lnTo>
                <a:lnTo>
                  <a:pt x="16" y="82"/>
                </a:lnTo>
                <a:lnTo>
                  <a:pt x="16" y="82"/>
                </a:lnTo>
                <a:lnTo>
                  <a:pt x="12" y="82"/>
                </a:lnTo>
                <a:lnTo>
                  <a:pt x="12" y="82"/>
                </a:lnTo>
                <a:lnTo>
                  <a:pt x="12" y="82"/>
                </a:lnTo>
                <a:lnTo>
                  <a:pt x="12" y="78"/>
                </a:lnTo>
                <a:lnTo>
                  <a:pt x="12" y="78"/>
                </a:lnTo>
                <a:lnTo>
                  <a:pt x="12" y="78"/>
                </a:lnTo>
                <a:lnTo>
                  <a:pt x="12" y="78"/>
                </a:lnTo>
                <a:lnTo>
                  <a:pt x="8" y="78"/>
                </a:lnTo>
                <a:lnTo>
                  <a:pt x="8" y="78"/>
                </a:lnTo>
                <a:lnTo>
                  <a:pt x="8" y="78"/>
                </a:lnTo>
                <a:lnTo>
                  <a:pt x="8" y="78"/>
                </a:lnTo>
                <a:lnTo>
                  <a:pt x="4" y="74"/>
                </a:lnTo>
                <a:lnTo>
                  <a:pt x="4" y="74"/>
                </a:lnTo>
                <a:lnTo>
                  <a:pt x="4" y="74"/>
                </a:lnTo>
                <a:lnTo>
                  <a:pt x="0" y="74"/>
                </a:lnTo>
                <a:lnTo>
                  <a:pt x="0" y="74"/>
                </a:lnTo>
                <a:lnTo>
                  <a:pt x="0" y="74"/>
                </a:lnTo>
                <a:lnTo>
                  <a:pt x="0" y="70"/>
                </a:lnTo>
                <a:lnTo>
                  <a:pt x="4" y="70"/>
                </a:lnTo>
                <a:lnTo>
                  <a:pt x="4" y="70"/>
                </a:lnTo>
                <a:lnTo>
                  <a:pt x="4" y="70"/>
                </a:lnTo>
                <a:lnTo>
                  <a:pt x="4" y="70"/>
                </a:lnTo>
                <a:lnTo>
                  <a:pt x="4" y="70"/>
                </a:lnTo>
                <a:lnTo>
                  <a:pt x="4" y="70"/>
                </a:lnTo>
                <a:lnTo>
                  <a:pt x="4" y="70"/>
                </a:lnTo>
                <a:lnTo>
                  <a:pt x="4" y="70"/>
                </a:lnTo>
                <a:lnTo>
                  <a:pt x="4" y="70"/>
                </a:lnTo>
                <a:lnTo>
                  <a:pt x="4" y="70"/>
                </a:lnTo>
                <a:lnTo>
                  <a:pt x="4" y="66"/>
                </a:lnTo>
                <a:lnTo>
                  <a:pt x="4" y="66"/>
                </a:lnTo>
                <a:lnTo>
                  <a:pt x="4" y="66"/>
                </a:lnTo>
                <a:lnTo>
                  <a:pt x="8" y="62"/>
                </a:lnTo>
                <a:lnTo>
                  <a:pt x="8" y="62"/>
                </a:lnTo>
                <a:lnTo>
                  <a:pt x="4" y="60"/>
                </a:lnTo>
                <a:lnTo>
                  <a:pt x="4" y="60"/>
                </a:lnTo>
                <a:lnTo>
                  <a:pt x="4" y="60"/>
                </a:lnTo>
                <a:lnTo>
                  <a:pt x="4" y="60"/>
                </a:lnTo>
                <a:lnTo>
                  <a:pt x="4" y="56"/>
                </a:lnTo>
                <a:lnTo>
                  <a:pt x="4" y="56"/>
                </a:lnTo>
                <a:lnTo>
                  <a:pt x="4" y="56"/>
                </a:lnTo>
                <a:lnTo>
                  <a:pt x="4" y="56"/>
                </a:lnTo>
                <a:lnTo>
                  <a:pt x="4" y="56"/>
                </a:lnTo>
                <a:lnTo>
                  <a:pt x="4" y="56"/>
                </a:lnTo>
                <a:lnTo>
                  <a:pt x="4" y="56"/>
                </a:lnTo>
                <a:lnTo>
                  <a:pt x="8" y="56"/>
                </a:lnTo>
                <a:lnTo>
                  <a:pt x="8" y="56"/>
                </a:lnTo>
                <a:lnTo>
                  <a:pt x="8" y="56"/>
                </a:lnTo>
                <a:lnTo>
                  <a:pt x="8" y="56"/>
                </a:lnTo>
                <a:lnTo>
                  <a:pt x="8" y="56"/>
                </a:lnTo>
                <a:lnTo>
                  <a:pt x="8" y="52"/>
                </a:lnTo>
                <a:lnTo>
                  <a:pt x="8" y="52"/>
                </a:lnTo>
                <a:lnTo>
                  <a:pt x="8" y="52"/>
                </a:lnTo>
                <a:lnTo>
                  <a:pt x="8" y="48"/>
                </a:lnTo>
                <a:lnTo>
                  <a:pt x="8" y="48"/>
                </a:lnTo>
                <a:lnTo>
                  <a:pt x="8" y="48"/>
                </a:lnTo>
                <a:lnTo>
                  <a:pt x="8" y="48"/>
                </a:lnTo>
                <a:lnTo>
                  <a:pt x="8" y="48"/>
                </a:lnTo>
                <a:lnTo>
                  <a:pt x="12" y="48"/>
                </a:lnTo>
                <a:lnTo>
                  <a:pt x="12" y="48"/>
                </a:lnTo>
                <a:lnTo>
                  <a:pt x="12" y="48"/>
                </a:lnTo>
                <a:lnTo>
                  <a:pt x="12" y="44"/>
                </a:lnTo>
                <a:lnTo>
                  <a:pt x="12" y="44"/>
                </a:lnTo>
                <a:lnTo>
                  <a:pt x="8" y="44"/>
                </a:lnTo>
                <a:lnTo>
                  <a:pt x="8" y="44"/>
                </a:lnTo>
                <a:lnTo>
                  <a:pt x="8" y="44"/>
                </a:lnTo>
                <a:lnTo>
                  <a:pt x="8" y="44"/>
                </a:lnTo>
                <a:lnTo>
                  <a:pt x="8" y="44"/>
                </a:lnTo>
                <a:lnTo>
                  <a:pt x="8" y="40"/>
                </a:lnTo>
                <a:lnTo>
                  <a:pt x="8" y="40"/>
                </a:lnTo>
                <a:lnTo>
                  <a:pt x="8" y="36"/>
                </a:lnTo>
                <a:lnTo>
                  <a:pt x="12" y="36"/>
                </a:lnTo>
                <a:lnTo>
                  <a:pt x="12" y="40"/>
                </a:lnTo>
                <a:lnTo>
                  <a:pt x="12" y="40"/>
                </a:lnTo>
                <a:lnTo>
                  <a:pt x="16" y="40"/>
                </a:lnTo>
                <a:lnTo>
                  <a:pt x="16" y="40"/>
                </a:lnTo>
                <a:lnTo>
                  <a:pt x="16" y="40"/>
                </a:lnTo>
                <a:lnTo>
                  <a:pt x="16" y="40"/>
                </a:lnTo>
                <a:lnTo>
                  <a:pt x="16" y="40"/>
                </a:lnTo>
                <a:lnTo>
                  <a:pt x="16" y="40"/>
                </a:lnTo>
                <a:lnTo>
                  <a:pt x="16" y="36"/>
                </a:lnTo>
                <a:lnTo>
                  <a:pt x="16" y="36"/>
                </a:lnTo>
                <a:lnTo>
                  <a:pt x="16" y="34"/>
                </a:lnTo>
                <a:lnTo>
                  <a:pt x="12" y="34"/>
                </a:lnTo>
                <a:lnTo>
                  <a:pt x="12" y="34"/>
                </a:lnTo>
                <a:lnTo>
                  <a:pt x="12" y="34"/>
                </a:lnTo>
                <a:lnTo>
                  <a:pt x="12" y="34"/>
                </a:lnTo>
                <a:lnTo>
                  <a:pt x="12" y="34"/>
                </a:lnTo>
                <a:lnTo>
                  <a:pt x="12" y="34"/>
                </a:lnTo>
                <a:lnTo>
                  <a:pt x="12" y="30"/>
                </a:lnTo>
                <a:lnTo>
                  <a:pt x="12" y="30"/>
                </a:lnTo>
                <a:lnTo>
                  <a:pt x="12" y="30"/>
                </a:lnTo>
                <a:lnTo>
                  <a:pt x="12" y="30"/>
                </a:lnTo>
                <a:lnTo>
                  <a:pt x="12" y="30"/>
                </a:lnTo>
                <a:lnTo>
                  <a:pt x="16" y="30"/>
                </a:lnTo>
                <a:lnTo>
                  <a:pt x="16" y="30"/>
                </a:lnTo>
                <a:lnTo>
                  <a:pt x="12" y="30"/>
                </a:lnTo>
                <a:lnTo>
                  <a:pt x="12" y="26"/>
                </a:lnTo>
                <a:lnTo>
                  <a:pt x="12" y="26"/>
                </a:lnTo>
                <a:lnTo>
                  <a:pt x="12" y="26"/>
                </a:lnTo>
                <a:lnTo>
                  <a:pt x="12" y="26"/>
                </a:lnTo>
                <a:lnTo>
                  <a:pt x="12" y="22"/>
                </a:lnTo>
                <a:lnTo>
                  <a:pt x="12" y="22"/>
                </a:lnTo>
                <a:lnTo>
                  <a:pt x="8" y="22"/>
                </a:lnTo>
                <a:lnTo>
                  <a:pt x="8" y="22"/>
                </a:lnTo>
                <a:lnTo>
                  <a:pt x="8" y="22"/>
                </a:lnTo>
                <a:lnTo>
                  <a:pt x="8" y="22"/>
                </a:lnTo>
                <a:lnTo>
                  <a:pt x="8" y="22"/>
                </a:lnTo>
                <a:lnTo>
                  <a:pt x="8" y="22"/>
                </a:lnTo>
                <a:lnTo>
                  <a:pt x="8" y="18"/>
                </a:lnTo>
                <a:lnTo>
                  <a:pt x="8" y="14"/>
                </a:lnTo>
                <a:lnTo>
                  <a:pt x="8" y="14"/>
                </a:lnTo>
                <a:lnTo>
                  <a:pt x="8" y="14"/>
                </a:lnTo>
                <a:lnTo>
                  <a:pt x="8" y="14"/>
                </a:lnTo>
                <a:lnTo>
                  <a:pt x="8" y="14"/>
                </a:lnTo>
                <a:lnTo>
                  <a:pt x="8" y="14"/>
                </a:lnTo>
                <a:lnTo>
                  <a:pt x="8" y="14"/>
                </a:lnTo>
                <a:lnTo>
                  <a:pt x="8" y="10"/>
                </a:lnTo>
                <a:lnTo>
                  <a:pt x="8" y="10"/>
                </a:lnTo>
                <a:lnTo>
                  <a:pt x="8" y="10"/>
                </a:lnTo>
                <a:lnTo>
                  <a:pt x="12" y="10"/>
                </a:lnTo>
                <a:lnTo>
                  <a:pt x="12" y="10"/>
                </a:lnTo>
                <a:lnTo>
                  <a:pt x="12" y="10"/>
                </a:lnTo>
                <a:lnTo>
                  <a:pt x="12" y="10"/>
                </a:lnTo>
                <a:lnTo>
                  <a:pt x="12" y="10"/>
                </a:lnTo>
                <a:lnTo>
                  <a:pt x="12" y="10"/>
                </a:lnTo>
                <a:lnTo>
                  <a:pt x="12" y="10"/>
                </a:lnTo>
                <a:lnTo>
                  <a:pt x="12" y="8"/>
                </a:lnTo>
                <a:lnTo>
                  <a:pt x="16" y="8"/>
                </a:lnTo>
                <a:lnTo>
                  <a:pt x="16" y="8"/>
                </a:lnTo>
                <a:lnTo>
                  <a:pt x="16" y="8"/>
                </a:lnTo>
                <a:lnTo>
                  <a:pt x="16" y="8"/>
                </a:lnTo>
                <a:lnTo>
                  <a:pt x="16" y="8"/>
                </a:lnTo>
                <a:lnTo>
                  <a:pt x="20" y="8"/>
                </a:lnTo>
                <a:lnTo>
                  <a:pt x="20" y="8"/>
                </a:lnTo>
                <a:lnTo>
                  <a:pt x="20" y="8"/>
                </a:lnTo>
                <a:lnTo>
                  <a:pt x="20" y="8"/>
                </a:lnTo>
                <a:lnTo>
                  <a:pt x="24" y="8"/>
                </a:lnTo>
                <a:lnTo>
                  <a:pt x="24" y="10"/>
                </a:lnTo>
                <a:lnTo>
                  <a:pt x="24" y="10"/>
                </a:lnTo>
                <a:lnTo>
                  <a:pt x="24" y="10"/>
                </a:lnTo>
                <a:lnTo>
                  <a:pt x="24" y="10"/>
                </a:lnTo>
                <a:lnTo>
                  <a:pt x="24" y="10"/>
                </a:lnTo>
                <a:lnTo>
                  <a:pt x="24" y="10"/>
                </a:lnTo>
                <a:lnTo>
                  <a:pt x="26" y="10"/>
                </a:lnTo>
                <a:lnTo>
                  <a:pt x="26" y="10"/>
                </a:lnTo>
                <a:lnTo>
                  <a:pt x="26" y="10"/>
                </a:lnTo>
                <a:lnTo>
                  <a:pt x="26" y="10"/>
                </a:lnTo>
                <a:lnTo>
                  <a:pt x="26" y="8"/>
                </a:lnTo>
                <a:lnTo>
                  <a:pt x="26" y="8"/>
                </a:lnTo>
                <a:lnTo>
                  <a:pt x="26" y="8"/>
                </a:lnTo>
                <a:lnTo>
                  <a:pt x="30" y="8"/>
                </a:lnTo>
                <a:lnTo>
                  <a:pt x="30" y="8"/>
                </a:lnTo>
                <a:lnTo>
                  <a:pt x="30" y="8"/>
                </a:lnTo>
                <a:lnTo>
                  <a:pt x="30" y="8"/>
                </a:lnTo>
                <a:lnTo>
                  <a:pt x="30" y="4"/>
                </a:lnTo>
                <a:lnTo>
                  <a:pt x="30" y="4"/>
                </a:lnTo>
                <a:lnTo>
                  <a:pt x="30" y="4"/>
                </a:lnTo>
                <a:lnTo>
                  <a:pt x="30" y="4"/>
                </a:lnTo>
                <a:lnTo>
                  <a:pt x="30" y="4"/>
                </a:lnTo>
                <a:lnTo>
                  <a:pt x="30" y="4"/>
                </a:lnTo>
                <a:lnTo>
                  <a:pt x="30" y="4"/>
                </a:lnTo>
                <a:lnTo>
                  <a:pt x="30" y="4"/>
                </a:lnTo>
                <a:lnTo>
                  <a:pt x="30" y="4"/>
                </a:lnTo>
                <a:lnTo>
                  <a:pt x="30" y="4"/>
                </a:lnTo>
                <a:lnTo>
                  <a:pt x="34" y="4"/>
                </a:lnTo>
                <a:lnTo>
                  <a:pt x="34" y="4"/>
                </a:lnTo>
                <a:lnTo>
                  <a:pt x="34" y="4"/>
                </a:lnTo>
                <a:lnTo>
                  <a:pt x="34" y="0"/>
                </a:lnTo>
                <a:lnTo>
                  <a:pt x="34" y="0"/>
                </a:lnTo>
                <a:lnTo>
                  <a:pt x="34" y="0"/>
                </a:lnTo>
                <a:lnTo>
                  <a:pt x="38" y="4"/>
                </a:lnTo>
                <a:lnTo>
                  <a:pt x="34" y="4"/>
                </a:lnTo>
                <a:lnTo>
                  <a:pt x="38" y="4"/>
                </a:lnTo>
                <a:lnTo>
                  <a:pt x="38" y="8"/>
                </a:lnTo>
                <a:lnTo>
                  <a:pt x="38" y="8"/>
                </a:lnTo>
                <a:lnTo>
                  <a:pt x="38" y="8"/>
                </a:lnTo>
                <a:lnTo>
                  <a:pt x="34" y="8"/>
                </a:lnTo>
                <a:lnTo>
                  <a:pt x="38" y="10"/>
                </a:lnTo>
                <a:lnTo>
                  <a:pt x="38" y="10"/>
                </a:lnTo>
                <a:lnTo>
                  <a:pt x="38" y="10"/>
                </a:lnTo>
                <a:lnTo>
                  <a:pt x="38" y="10"/>
                </a:lnTo>
                <a:lnTo>
                  <a:pt x="38" y="10"/>
                </a:lnTo>
                <a:lnTo>
                  <a:pt x="38" y="10"/>
                </a:lnTo>
                <a:lnTo>
                  <a:pt x="38" y="8"/>
                </a:lnTo>
                <a:lnTo>
                  <a:pt x="38" y="8"/>
                </a:lnTo>
                <a:lnTo>
                  <a:pt x="42" y="8"/>
                </a:lnTo>
                <a:lnTo>
                  <a:pt x="42" y="8"/>
                </a:lnTo>
                <a:lnTo>
                  <a:pt x="42" y="8"/>
                </a:lnTo>
                <a:lnTo>
                  <a:pt x="42" y="8"/>
                </a:lnTo>
                <a:lnTo>
                  <a:pt x="42" y="8"/>
                </a:lnTo>
                <a:lnTo>
                  <a:pt x="42" y="8"/>
                </a:lnTo>
                <a:lnTo>
                  <a:pt x="42" y="8"/>
                </a:lnTo>
                <a:lnTo>
                  <a:pt x="46" y="4"/>
                </a:lnTo>
                <a:lnTo>
                  <a:pt x="46" y="8"/>
                </a:lnTo>
                <a:lnTo>
                  <a:pt x="46" y="8"/>
                </a:lnTo>
                <a:lnTo>
                  <a:pt x="46" y="8"/>
                </a:lnTo>
                <a:lnTo>
                  <a:pt x="46" y="8"/>
                </a:lnTo>
                <a:lnTo>
                  <a:pt x="50" y="8"/>
                </a:lnTo>
                <a:lnTo>
                  <a:pt x="50" y="8"/>
                </a:lnTo>
                <a:lnTo>
                  <a:pt x="50" y="8"/>
                </a:lnTo>
                <a:lnTo>
                  <a:pt x="50" y="8"/>
                </a:lnTo>
                <a:lnTo>
                  <a:pt x="50" y="8"/>
                </a:lnTo>
                <a:lnTo>
                  <a:pt x="52" y="8"/>
                </a:lnTo>
                <a:lnTo>
                  <a:pt x="52" y="10"/>
                </a:lnTo>
                <a:lnTo>
                  <a:pt x="52" y="14"/>
                </a:lnTo>
                <a:lnTo>
                  <a:pt x="56" y="14"/>
                </a:lnTo>
                <a:lnTo>
                  <a:pt x="56" y="14"/>
                </a:lnTo>
                <a:lnTo>
                  <a:pt x="56" y="18"/>
                </a:lnTo>
                <a:lnTo>
                  <a:pt x="56" y="18"/>
                </a:lnTo>
                <a:lnTo>
                  <a:pt x="56" y="18"/>
                </a:lnTo>
                <a:lnTo>
                  <a:pt x="56" y="18"/>
                </a:lnTo>
                <a:lnTo>
                  <a:pt x="56" y="18"/>
                </a:lnTo>
                <a:lnTo>
                  <a:pt x="60" y="18"/>
                </a:lnTo>
                <a:lnTo>
                  <a:pt x="60" y="18"/>
                </a:lnTo>
                <a:lnTo>
                  <a:pt x="60" y="18"/>
                </a:lnTo>
                <a:lnTo>
                  <a:pt x="64" y="18"/>
                </a:lnTo>
                <a:lnTo>
                  <a:pt x="64" y="18"/>
                </a:lnTo>
                <a:lnTo>
                  <a:pt x="64" y="18"/>
                </a:lnTo>
                <a:lnTo>
                  <a:pt x="64" y="18"/>
                </a:lnTo>
                <a:lnTo>
                  <a:pt x="64" y="18"/>
                </a:lnTo>
                <a:lnTo>
                  <a:pt x="64" y="18"/>
                </a:lnTo>
                <a:lnTo>
                  <a:pt x="64" y="14"/>
                </a:lnTo>
                <a:lnTo>
                  <a:pt x="68" y="14"/>
                </a:lnTo>
                <a:lnTo>
                  <a:pt x="68" y="14"/>
                </a:lnTo>
                <a:lnTo>
                  <a:pt x="68" y="14"/>
                </a:lnTo>
                <a:lnTo>
                  <a:pt x="68" y="14"/>
                </a:lnTo>
                <a:lnTo>
                  <a:pt x="68" y="14"/>
                </a:lnTo>
                <a:lnTo>
                  <a:pt x="72" y="14"/>
                </a:lnTo>
                <a:lnTo>
                  <a:pt x="72" y="14"/>
                </a:lnTo>
                <a:lnTo>
                  <a:pt x="72" y="14"/>
                </a:lnTo>
                <a:lnTo>
                  <a:pt x="76" y="14"/>
                </a:lnTo>
                <a:lnTo>
                  <a:pt x="78" y="14"/>
                </a:lnTo>
                <a:lnTo>
                  <a:pt x="78" y="14"/>
                </a:lnTo>
                <a:lnTo>
                  <a:pt x="82" y="18"/>
                </a:lnTo>
                <a:lnTo>
                  <a:pt x="82" y="18"/>
                </a:lnTo>
                <a:lnTo>
                  <a:pt x="82" y="18"/>
                </a:lnTo>
                <a:lnTo>
                  <a:pt x="82" y="22"/>
                </a:lnTo>
                <a:lnTo>
                  <a:pt x="82" y="22"/>
                </a:lnTo>
                <a:lnTo>
                  <a:pt x="82" y="22"/>
                </a:lnTo>
                <a:lnTo>
                  <a:pt x="82" y="22"/>
                </a:lnTo>
                <a:lnTo>
                  <a:pt x="86" y="22"/>
                </a:lnTo>
                <a:lnTo>
                  <a:pt x="86" y="22"/>
                </a:lnTo>
                <a:lnTo>
                  <a:pt x="86" y="22"/>
                </a:lnTo>
                <a:lnTo>
                  <a:pt x="86" y="22"/>
                </a:lnTo>
                <a:lnTo>
                  <a:pt x="86" y="22"/>
                </a:lnTo>
                <a:lnTo>
                  <a:pt x="86" y="26"/>
                </a:lnTo>
                <a:lnTo>
                  <a:pt x="86" y="26"/>
                </a:lnTo>
                <a:lnTo>
                  <a:pt x="86" y="30"/>
                </a:lnTo>
                <a:lnTo>
                  <a:pt x="86" y="30"/>
                </a:lnTo>
                <a:lnTo>
                  <a:pt x="86" y="30"/>
                </a:lnTo>
                <a:lnTo>
                  <a:pt x="86" y="30"/>
                </a:lnTo>
                <a:lnTo>
                  <a:pt x="86" y="34"/>
                </a:lnTo>
                <a:lnTo>
                  <a:pt x="86" y="34"/>
                </a:lnTo>
                <a:lnTo>
                  <a:pt x="86" y="34"/>
                </a:lnTo>
                <a:lnTo>
                  <a:pt x="86" y="34"/>
                </a:lnTo>
                <a:lnTo>
                  <a:pt x="86" y="34"/>
                </a:lnTo>
                <a:lnTo>
                  <a:pt x="86" y="34"/>
                </a:lnTo>
                <a:lnTo>
                  <a:pt x="86" y="36"/>
                </a:lnTo>
                <a:lnTo>
                  <a:pt x="86" y="36"/>
                </a:lnTo>
                <a:lnTo>
                  <a:pt x="90" y="44"/>
                </a:lnTo>
                <a:lnTo>
                  <a:pt x="90" y="44"/>
                </a:lnTo>
                <a:lnTo>
                  <a:pt x="86" y="44"/>
                </a:lnTo>
                <a:lnTo>
                  <a:pt x="86" y="44"/>
                </a:lnTo>
                <a:lnTo>
                  <a:pt x="86" y="48"/>
                </a:lnTo>
                <a:lnTo>
                  <a:pt x="82" y="48"/>
                </a:lnTo>
                <a:lnTo>
                  <a:pt x="82" y="48"/>
                </a:lnTo>
                <a:lnTo>
                  <a:pt x="82" y="52"/>
                </a:lnTo>
                <a:lnTo>
                  <a:pt x="82" y="52"/>
                </a:lnTo>
                <a:lnTo>
                  <a:pt x="82" y="56"/>
                </a:lnTo>
                <a:lnTo>
                  <a:pt x="82" y="56"/>
                </a:lnTo>
                <a:lnTo>
                  <a:pt x="82" y="60"/>
                </a:lnTo>
                <a:lnTo>
                  <a:pt x="82" y="62"/>
                </a:lnTo>
                <a:lnTo>
                  <a:pt x="78" y="62"/>
                </a:lnTo>
                <a:lnTo>
                  <a:pt x="78" y="62"/>
                </a:lnTo>
                <a:lnTo>
                  <a:pt x="78" y="66"/>
                </a:lnTo>
                <a:lnTo>
                  <a:pt x="78" y="70"/>
                </a:lnTo>
                <a:lnTo>
                  <a:pt x="78" y="70"/>
                </a:lnTo>
                <a:lnTo>
                  <a:pt x="78" y="70"/>
                </a:lnTo>
                <a:lnTo>
                  <a:pt x="78" y="70"/>
                </a:lnTo>
                <a:lnTo>
                  <a:pt x="78" y="70"/>
                </a:lnTo>
                <a:lnTo>
                  <a:pt x="78" y="74"/>
                </a:lnTo>
                <a:lnTo>
                  <a:pt x="78" y="78"/>
                </a:lnTo>
                <a:lnTo>
                  <a:pt x="78" y="78"/>
                </a:lnTo>
                <a:lnTo>
                  <a:pt x="78" y="78"/>
                </a:lnTo>
                <a:lnTo>
                  <a:pt x="78" y="78"/>
                </a:lnTo>
                <a:lnTo>
                  <a:pt x="78" y="78"/>
                </a:lnTo>
                <a:lnTo>
                  <a:pt x="78" y="78"/>
                </a:lnTo>
                <a:lnTo>
                  <a:pt x="78" y="82"/>
                </a:lnTo>
                <a:lnTo>
                  <a:pt x="82" y="86"/>
                </a:lnTo>
                <a:lnTo>
                  <a:pt x="82" y="86"/>
                </a:lnTo>
                <a:lnTo>
                  <a:pt x="82" y="88"/>
                </a:lnTo>
                <a:lnTo>
                  <a:pt x="82" y="88"/>
                </a:lnTo>
                <a:lnTo>
                  <a:pt x="82" y="88"/>
                </a:lnTo>
                <a:lnTo>
                  <a:pt x="82" y="88"/>
                </a:lnTo>
                <a:lnTo>
                  <a:pt x="82" y="88"/>
                </a:lnTo>
                <a:lnTo>
                  <a:pt x="82" y="88"/>
                </a:lnTo>
                <a:lnTo>
                  <a:pt x="86" y="88"/>
                </a:lnTo>
                <a:lnTo>
                  <a:pt x="86" y="92"/>
                </a:lnTo>
                <a:lnTo>
                  <a:pt x="82" y="92"/>
                </a:lnTo>
                <a:lnTo>
                  <a:pt x="82" y="92"/>
                </a:lnTo>
                <a:lnTo>
                  <a:pt x="86" y="96"/>
                </a:lnTo>
                <a:lnTo>
                  <a:pt x="86" y="96"/>
                </a:lnTo>
                <a:lnTo>
                  <a:pt x="86" y="96"/>
                </a:lnTo>
                <a:lnTo>
                  <a:pt x="86" y="96"/>
                </a:lnTo>
                <a:lnTo>
                  <a:pt x="86" y="96"/>
                </a:lnTo>
                <a:lnTo>
                  <a:pt x="82" y="96"/>
                </a:lnTo>
                <a:lnTo>
                  <a:pt x="82" y="96"/>
                </a:lnTo>
                <a:lnTo>
                  <a:pt x="82" y="96"/>
                </a:lnTo>
                <a:lnTo>
                  <a:pt x="82" y="96"/>
                </a:lnTo>
                <a:lnTo>
                  <a:pt x="82" y="96"/>
                </a:lnTo>
                <a:lnTo>
                  <a:pt x="82" y="96"/>
                </a:lnTo>
                <a:lnTo>
                  <a:pt x="82" y="96"/>
                </a:lnTo>
                <a:lnTo>
                  <a:pt x="82" y="96"/>
                </a:lnTo>
                <a:lnTo>
                  <a:pt x="78" y="96"/>
                </a:lnTo>
                <a:lnTo>
                  <a:pt x="78" y="96"/>
                </a:lnTo>
                <a:lnTo>
                  <a:pt x="78" y="96"/>
                </a:lnTo>
                <a:lnTo>
                  <a:pt x="78" y="92"/>
                </a:lnTo>
                <a:lnTo>
                  <a:pt x="78" y="92"/>
                </a:lnTo>
                <a:lnTo>
                  <a:pt x="78" y="92"/>
                </a:lnTo>
                <a:lnTo>
                  <a:pt x="78" y="92"/>
                </a:lnTo>
                <a:lnTo>
                  <a:pt x="78" y="92"/>
                </a:lnTo>
                <a:lnTo>
                  <a:pt x="78" y="92"/>
                </a:lnTo>
                <a:lnTo>
                  <a:pt x="78" y="92"/>
                </a:lnTo>
                <a:lnTo>
                  <a:pt x="78" y="96"/>
                </a:lnTo>
                <a:lnTo>
                  <a:pt x="78" y="96"/>
                </a:lnTo>
                <a:lnTo>
                  <a:pt x="76" y="96"/>
                </a:lnTo>
                <a:lnTo>
                  <a:pt x="76" y="96"/>
                </a:lnTo>
                <a:lnTo>
                  <a:pt x="76" y="96"/>
                </a:lnTo>
                <a:lnTo>
                  <a:pt x="76" y="96"/>
                </a:lnTo>
                <a:lnTo>
                  <a:pt x="76" y="96"/>
                </a:lnTo>
                <a:lnTo>
                  <a:pt x="76" y="96"/>
                </a:lnTo>
                <a:lnTo>
                  <a:pt x="76" y="96"/>
                </a:lnTo>
                <a:lnTo>
                  <a:pt x="72" y="96"/>
                </a:lnTo>
                <a:lnTo>
                  <a:pt x="72" y="96"/>
                </a:lnTo>
                <a:lnTo>
                  <a:pt x="72" y="96"/>
                </a:lnTo>
                <a:lnTo>
                  <a:pt x="68" y="96"/>
                </a:lnTo>
                <a:lnTo>
                  <a:pt x="68" y="92"/>
                </a:lnTo>
                <a:lnTo>
                  <a:pt x="68" y="92"/>
                </a:lnTo>
                <a:lnTo>
                  <a:pt x="68" y="92"/>
                </a:lnTo>
                <a:lnTo>
                  <a:pt x="68" y="92"/>
                </a:lnTo>
                <a:lnTo>
                  <a:pt x="68" y="92"/>
                </a:lnTo>
                <a:lnTo>
                  <a:pt x="72" y="92"/>
                </a:lnTo>
                <a:lnTo>
                  <a:pt x="72" y="92"/>
                </a:lnTo>
                <a:lnTo>
                  <a:pt x="72" y="92"/>
                </a:lnTo>
                <a:lnTo>
                  <a:pt x="72" y="92"/>
                </a:lnTo>
                <a:lnTo>
                  <a:pt x="72" y="92"/>
                </a:lnTo>
                <a:lnTo>
                  <a:pt x="72" y="92"/>
                </a:lnTo>
                <a:lnTo>
                  <a:pt x="72" y="92"/>
                </a:lnTo>
                <a:lnTo>
                  <a:pt x="72" y="92"/>
                </a:lnTo>
                <a:lnTo>
                  <a:pt x="72" y="92"/>
                </a:lnTo>
                <a:lnTo>
                  <a:pt x="72" y="92"/>
                </a:lnTo>
                <a:lnTo>
                  <a:pt x="68" y="92"/>
                </a:lnTo>
                <a:lnTo>
                  <a:pt x="68" y="92"/>
                </a:lnTo>
                <a:lnTo>
                  <a:pt x="68" y="92"/>
                </a:lnTo>
                <a:lnTo>
                  <a:pt x="64" y="92"/>
                </a:lnTo>
                <a:lnTo>
                  <a:pt x="60" y="92"/>
                </a:lnTo>
                <a:lnTo>
                  <a:pt x="60" y="92"/>
                </a:lnTo>
                <a:lnTo>
                  <a:pt x="60" y="92"/>
                </a:lnTo>
                <a:lnTo>
                  <a:pt x="60" y="92"/>
                </a:lnTo>
                <a:lnTo>
                  <a:pt x="56" y="96"/>
                </a:lnTo>
                <a:lnTo>
                  <a:pt x="56" y="96"/>
                </a:lnTo>
                <a:lnTo>
                  <a:pt x="56" y="96"/>
                </a:lnTo>
                <a:lnTo>
                  <a:pt x="56" y="96"/>
                </a:lnTo>
                <a:lnTo>
                  <a:pt x="56" y="96"/>
                </a:lnTo>
                <a:lnTo>
                  <a:pt x="56" y="96"/>
                </a:lnTo>
                <a:lnTo>
                  <a:pt x="56" y="96"/>
                </a:lnTo>
                <a:lnTo>
                  <a:pt x="60" y="96"/>
                </a:lnTo>
                <a:lnTo>
                  <a:pt x="60" y="96"/>
                </a:lnTo>
                <a:lnTo>
                  <a:pt x="60" y="96"/>
                </a:lnTo>
                <a:lnTo>
                  <a:pt x="60" y="96"/>
                </a:lnTo>
                <a:lnTo>
                  <a:pt x="60" y="96"/>
                </a:lnTo>
                <a:lnTo>
                  <a:pt x="64" y="92"/>
                </a:lnTo>
                <a:lnTo>
                  <a:pt x="64" y="92"/>
                </a:lnTo>
                <a:lnTo>
                  <a:pt x="64" y="92"/>
                </a:lnTo>
                <a:lnTo>
                  <a:pt x="64" y="92"/>
                </a:lnTo>
                <a:lnTo>
                  <a:pt x="64" y="92"/>
                </a:lnTo>
                <a:lnTo>
                  <a:pt x="68" y="92"/>
                </a:lnTo>
                <a:lnTo>
                  <a:pt x="68" y="96"/>
                </a:lnTo>
                <a:lnTo>
                  <a:pt x="64" y="96"/>
                </a:lnTo>
                <a:lnTo>
                  <a:pt x="64" y="96"/>
                </a:lnTo>
                <a:lnTo>
                  <a:pt x="64" y="96"/>
                </a:lnTo>
                <a:lnTo>
                  <a:pt x="60" y="96"/>
                </a:lnTo>
                <a:lnTo>
                  <a:pt x="56" y="96"/>
                </a:lnTo>
                <a:lnTo>
                  <a:pt x="56" y="96"/>
                </a:lnTo>
                <a:lnTo>
                  <a:pt x="56" y="96"/>
                </a:lnTo>
                <a:lnTo>
                  <a:pt x="56" y="96"/>
                </a:lnTo>
                <a:lnTo>
                  <a:pt x="56" y="96"/>
                </a:lnTo>
                <a:lnTo>
                  <a:pt x="56" y="96"/>
                </a:lnTo>
                <a:lnTo>
                  <a:pt x="56" y="96"/>
                </a:lnTo>
                <a:lnTo>
                  <a:pt x="56" y="96"/>
                </a:lnTo>
                <a:lnTo>
                  <a:pt x="52" y="96"/>
                </a:lnTo>
                <a:lnTo>
                  <a:pt x="52" y="96"/>
                </a:lnTo>
                <a:lnTo>
                  <a:pt x="52" y="96"/>
                </a:lnTo>
                <a:lnTo>
                  <a:pt x="52" y="96"/>
                </a:lnTo>
                <a:lnTo>
                  <a:pt x="52" y="96"/>
                </a:lnTo>
                <a:lnTo>
                  <a:pt x="52" y="96"/>
                </a:lnTo>
                <a:lnTo>
                  <a:pt x="52" y="96"/>
                </a:lnTo>
                <a:lnTo>
                  <a:pt x="52" y="96"/>
                </a:lnTo>
                <a:lnTo>
                  <a:pt x="50" y="96"/>
                </a:lnTo>
                <a:lnTo>
                  <a:pt x="50" y="96"/>
                </a:lnTo>
                <a:lnTo>
                  <a:pt x="50" y="96"/>
                </a:lnTo>
                <a:lnTo>
                  <a:pt x="50" y="96"/>
                </a:lnTo>
                <a:lnTo>
                  <a:pt x="50" y="96"/>
                </a:lnTo>
                <a:lnTo>
                  <a:pt x="50" y="96"/>
                </a:lnTo>
                <a:lnTo>
                  <a:pt x="50" y="96"/>
                </a:lnTo>
                <a:lnTo>
                  <a:pt x="50" y="96"/>
                </a:lnTo>
                <a:lnTo>
                  <a:pt x="50" y="96"/>
                </a:lnTo>
                <a:lnTo>
                  <a:pt x="50" y="96"/>
                </a:lnTo>
                <a:close/>
                <a:moveTo>
                  <a:pt x="78" y="96"/>
                </a:moveTo>
                <a:lnTo>
                  <a:pt x="78" y="96"/>
                </a:lnTo>
                <a:lnTo>
                  <a:pt x="78" y="96"/>
                </a:lnTo>
                <a:lnTo>
                  <a:pt x="78" y="96"/>
                </a:lnTo>
                <a:lnTo>
                  <a:pt x="78" y="96"/>
                </a:lnTo>
                <a:lnTo>
                  <a:pt x="78" y="96"/>
                </a:lnTo>
                <a:lnTo>
                  <a:pt x="78" y="96"/>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34" name="Freeform 141"/>
          <p:cNvSpPr>
            <a:spLocks/>
          </p:cNvSpPr>
          <p:nvPr/>
        </p:nvSpPr>
        <p:spPr bwMode="auto">
          <a:xfrm>
            <a:off x="4957762" y="3438525"/>
            <a:ext cx="33338" cy="35719"/>
          </a:xfrm>
          <a:custGeom>
            <a:avLst/>
            <a:gdLst>
              <a:gd name="T0" fmla="*/ 24 w 28"/>
              <a:gd name="T1" fmla="*/ 4 h 30"/>
              <a:gd name="T2" fmla="*/ 28 w 28"/>
              <a:gd name="T3" fmla="*/ 8 h 30"/>
              <a:gd name="T4" fmla="*/ 28 w 28"/>
              <a:gd name="T5" fmla="*/ 12 h 30"/>
              <a:gd name="T6" fmla="*/ 28 w 28"/>
              <a:gd name="T7" fmla="*/ 12 h 30"/>
              <a:gd name="T8" fmla="*/ 24 w 28"/>
              <a:gd name="T9" fmla="*/ 12 h 30"/>
              <a:gd name="T10" fmla="*/ 24 w 28"/>
              <a:gd name="T11" fmla="*/ 16 h 30"/>
              <a:gd name="T12" fmla="*/ 24 w 28"/>
              <a:gd name="T13" fmla="*/ 16 h 30"/>
              <a:gd name="T14" fmla="*/ 20 w 28"/>
              <a:gd name="T15" fmla="*/ 16 h 30"/>
              <a:gd name="T16" fmla="*/ 20 w 28"/>
              <a:gd name="T17" fmla="*/ 16 h 30"/>
              <a:gd name="T18" fmla="*/ 20 w 28"/>
              <a:gd name="T19" fmla="*/ 16 h 30"/>
              <a:gd name="T20" fmla="*/ 16 w 28"/>
              <a:gd name="T21" fmla="*/ 18 h 30"/>
              <a:gd name="T22" fmla="*/ 16 w 28"/>
              <a:gd name="T23" fmla="*/ 18 h 30"/>
              <a:gd name="T24" fmla="*/ 16 w 28"/>
              <a:gd name="T25" fmla="*/ 18 h 30"/>
              <a:gd name="T26" fmla="*/ 12 w 28"/>
              <a:gd name="T27" fmla="*/ 18 h 30"/>
              <a:gd name="T28" fmla="*/ 12 w 28"/>
              <a:gd name="T29" fmla="*/ 18 h 30"/>
              <a:gd name="T30" fmla="*/ 16 w 28"/>
              <a:gd name="T31" fmla="*/ 22 h 30"/>
              <a:gd name="T32" fmla="*/ 16 w 28"/>
              <a:gd name="T33" fmla="*/ 22 h 30"/>
              <a:gd name="T34" fmla="*/ 16 w 28"/>
              <a:gd name="T35" fmla="*/ 18 h 30"/>
              <a:gd name="T36" fmla="*/ 20 w 28"/>
              <a:gd name="T37" fmla="*/ 18 h 30"/>
              <a:gd name="T38" fmla="*/ 20 w 28"/>
              <a:gd name="T39" fmla="*/ 18 h 30"/>
              <a:gd name="T40" fmla="*/ 20 w 28"/>
              <a:gd name="T41" fmla="*/ 18 h 30"/>
              <a:gd name="T42" fmla="*/ 20 w 28"/>
              <a:gd name="T43" fmla="*/ 18 h 30"/>
              <a:gd name="T44" fmla="*/ 24 w 28"/>
              <a:gd name="T45" fmla="*/ 18 h 30"/>
              <a:gd name="T46" fmla="*/ 24 w 28"/>
              <a:gd name="T47" fmla="*/ 22 h 30"/>
              <a:gd name="T48" fmla="*/ 24 w 28"/>
              <a:gd name="T49" fmla="*/ 22 h 30"/>
              <a:gd name="T50" fmla="*/ 24 w 28"/>
              <a:gd name="T51" fmla="*/ 26 h 30"/>
              <a:gd name="T52" fmla="*/ 20 w 28"/>
              <a:gd name="T53" fmla="*/ 30 h 30"/>
              <a:gd name="T54" fmla="*/ 20 w 28"/>
              <a:gd name="T55" fmla="*/ 30 h 30"/>
              <a:gd name="T56" fmla="*/ 16 w 28"/>
              <a:gd name="T57" fmla="*/ 30 h 30"/>
              <a:gd name="T58" fmla="*/ 16 w 28"/>
              <a:gd name="T59" fmla="*/ 30 h 30"/>
              <a:gd name="T60" fmla="*/ 16 w 28"/>
              <a:gd name="T61" fmla="*/ 30 h 30"/>
              <a:gd name="T62" fmla="*/ 16 w 28"/>
              <a:gd name="T63" fmla="*/ 30 h 30"/>
              <a:gd name="T64" fmla="*/ 12 w 28"/>
              <a:gd name="T65" fmla="*/ 30 h 30"/>
              <a:gd name="T66" fmla="*/ 8 w 28"/>
              <a:gd name="T67" fmla="*/ 30 h 30"/>
              <a:gd name="T68" fmla="*/ 8 w 28"/>
              <a:gd name="T69" fmla="*/ 30 h 30"/>
              <a:gd name="T70" fmla="*/ 4 w 28"/>
              <a:gd name="T71" fmla="*/ 30 h 30"/>
              <a:gd name="T72" fmla="*/ 4 w 28"/>
              <a:gd name="T73" fmla="*/ 30 h 30"/>
              <a:gd name="T74" fmla="*/ 4 w 28"/>
              <a:gd name="T75" fmla="*/ 30 h 30"/>
              <a:gd name="T76" fmla="*/ 4 w 28"/>
              <a:gd name="T77" fmla="*/ 30 h 30"/>
              <a:gd name="T78" fmla="*/ 4 w 28"/>
              <a:gd name="T79" fmla="*/ 26 h 30"/>
              <a:gd name="T80" fmla="*/ 4 w 28"/>
              <a:gd name="T81" fmla="*/ 26 h 30"/>
              <a:gd name="T82" fmla="*/ 0 w 28"/>
              <a:gd name="T83" fmla="*/ 22 h 30"/>
              <a:gd name="T84" fmla="*/ 4 w 28"/>
              <a:gd name="T85" fmla="*/ 18 h 30"/>
              <a:gd name="T86" fmla="*/ 4 w 28"/>
              <a:gd name="T87" fmla="*/ 16 h 30"/>
              <a:gd name="T88" fmla="*/ 8 w 28"/>
              <a:gd name="T89" fmla="*/ 12 h 30"/>
              <a:gd name="T90" fmla="*/ 8 w 28"/>
              <a:gd name="T91" fmla="*/ 12 h 30"/>
              <a:gd name="T92" fmla="*/ 8 w 28"/>
              <a:gd name="T93" fmla="*/ 8 h 30"/>
              <a:gd name="T94" fmla="*/ 12 w 28"/>
              <a:gd name="T95" fmla="*/ 8 h 30"/>
              <a:gd name="T96" fmla="*/ 12 w 28"/>
              <a:gd name="T97" fmla="*/ 4 h 30"/>
              <a:gd name="T98" fmla="*/ 12 w 28"/>
              <a:gd name="T99" fmla="*/ 4 h 30"/>
              <a:gd name="T100" fmla="*/ 12 w 28"/>
              <a:gd name="T101" fmla="*/ 4 h 30"/>
              <a:gd name="T102" fmla="*/ 16 w 28"/>
              <a:gd name="T103" fmla="*/ 4 h 30"/>
              <a:gd name="T104" fmla="*/ 16 w 28"/>
              <a:gd name="T105" fmla="*/ 4 h 30"/>
              <a:gd name="T106" fmla="*/ 16 w 28"/>
              <a:gd name="T107" fmla="*/ 8 h 30"/>
              <a:gd name="T108" fmla="*/ 16 w 28"/>
              <a:gd name="T109" fmla="*/ 4 h 30"/>
              <a:gd name="T110" fmla="*/ 20 w 28"/>
              <a:gd name="T111" fmla="*/ 0 h 30"/>
              <a:gd name="T112" fmla="*/ 24 w 28"/>
              <a:gd name="T113" fmla="*/ 0 h 30"/>
              <a:gd name="T114" fmla="*/ 24 w 28"/>
              <a:gd name="T115" fmla="*/ 4 h 30"/>
              <a:gd name="T116" fmla="*/ 24 w 28"/>
              <a:gd name="T117" fmla="*/ 4 h 30"/>
              <a:gd name="T118" fmla="*/ 24 w 28"/>
              <a:gd name="T119" fmla="*/ 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8" h="30">
                <a:moveTo>
                  <a:pt x="24" y="4"/>
                </a:moveTo>
                <a:lnTo>
                  <a:pt x="24" y="4"/>
                </a:lnTo>
                <a:lnTo>
                  <a:pt x="28" y="8"/>
                </a:lnTo>
                <a:lnTo>
                  <a:pt x="28" y="8"/>
                </a:lnTo>
                <a:lnTo>
                  <a:pt x="28" y="8"/>
                </a:lnTo>
                <a:lnTo>
                  <a:pt x="28" y="12"/>
                </a:lnTo>
                <a:lnTo>
                  <a:pt x="28" y="12"/>
                </a:lnTo>
                <a:lnTo>
                  <a:pt x="28" y="12"/>
                </a:lnTo>
                <a:lnTo>
                  <a:pt x="28" y="12"/>
                </a:lnTo>
                <a:lnTo>
                  <a:pt x="24" y="12"/>
                </a:lnTo>
                <a:lnTo>
                  <a:pt x="24" y="16"/>
                </a:lnTo>
                <a:lnTo>
                  <a:pt x="24" y="16"/>
                </a:lnTo>
                <a:lnTo>
                  <a:pt x="24" y="16"/>
                </a:lnTo>
                <a:lnTo>
                  <a:pt x="24" y="16"/>
                </a:lnTo>
                <a:lnTo>
                  <a:pt x="24" y="16"/>
                </a:lnTo>
                <a:lnTo>
                  <a:pt x="20" y="16"/>
                </a:lnTo>
                <a:lnTo>
                  <a:pt x="20" y="16"/>
                </a:lnTo>
                <a:lnTo>
                  <a:pt x="20" y="16"/>
                </a:lnTo>
                <a:lnTo>
                  <a:pt x="20" y="16"/>
                </a:lnTo>
                <a:lnTo>
                  <a:pt x="20" y="16"/>
                </a:lnTo>
                <a:lnTo>
                  <a:pt x="16" y="18"/>
                </a:lnTo>
                <a:lnTo>
                  <a:pt x="16" y="18"/>
                </a:lnTo>
                <a:lnTo>
                  <a:pt x="16" y="18"/>
                </a:lnTo>
                <a:lnTo>
                  <a:pt x="16" y="18"/>
                </a:lnTo>
                <a:lnTo>
                  <a:pt x="16" y="18"/>
                </a:lnTo>
                <a:lnTo>
                  <a:pt x="16" y="18"/>
                </a:lnTo>
                <a:lnTo>
                  <a:pt x="16" y="18"/>
                </a:lnTo>
                <a:lnTo>
                  <a:pt x="12" y="18"/>
                </a:lnTo>
                <a:lnTo>
                  <a:pt x="12" y="18"/>
                </a:lnTo>
                <a:lnTo>
                  <a:pt x="12" y="18"/>
                </a:lnTo>
                <a:lnTo>
                  <a:pt x="12" y="22"/>
                </a:lnTo>
                <a:lnTo>
                  <a:pt x="16" y="22"/>
                </a:lnTo>
                <a:lnTo>
                  <a:pt x="16" y="22"/>
                </a:lnTo>
                <a:lnTo>
                  <a:pt x="16" y="22"/>
                </a:lnTo>
                <a:lnTo>
                  <a:pt x="16" y="22"/>
                </a:lnTo>
                <a:lnTo>
                  <a:pt x="16" y="18"/>
                </a:lnTo>
                <a:lnTo>
                  <a:pt x="16" y="18"/>
                </a:lnTo>
                <a:lnTo>
                  <a:pt x="20" y="18"/>
                </a:lnTo>
                <a:lnTo>
                  <a:pt x="20" y="18"/>
                </a:lnTo>
                <a:lnTo>
                  <a:pt x="20" y="18"/>
                </a:lnTo>
                <a:lnTo>
                  <a:pt x="20" y="18"/>
                </a:lnTo>
                <a:lnTo>
                  <a:pt x="20" y="18"/>
                </a:lnTo>
                <a:lnTo>
                  <a:pt x="20" y="18"/>
                </a:lnTo>
                <a:lnTo>
                  <a:pt x="20" y="18"/>
                </a:lnTo>
                <a:lnTo>
                  <a:pt x="24" y="18"/>
                </a:lnTo>
                <a:lnTo>
                  <a:pt x="24" y="18"/>
                </a:lnTo>
                <a:lnTo>
                  <a:pt x="24" y="22"/>
                </a:lnTo>
                <a:lnTo>
                  <a:pt x="24" y="22"/>
                </a:lnTo>
                <a:lnTo>
                  <a:pt x="24" y="22"/>
                </a:lnTo>
                <a:lnTo>
                  <a:pt x="24" y="22"/>
                </a:lnTo>
                <a:lnTo>
                  <a:pt x="24" y="22"/>
                </a:lnTo>
                <a:lnTo>
                  <a:pt x="24" y="26"/>
                </a:lnTo>
                <a:lnTo>
                  <a:pt x="20" y="26"/>
                </a:lnTo>
                <a:lnTo>
                  <a:pt x="20" y="30"/>
                </a:lnTo>
                <a:lnTo>
                  <a:pt x="20" y="30"/>
                </a:lnTo>
                <a:lnTo>
                  <a:pt x="20" y="30"/>
                </a:lnTo>
                <a:lnTo>
                  <a:pt x="20" y="30"/>
                </a:lnTo>
                <a:lnTo>
                  <a:pt x="16" y="30"/>
                </a:lnTo>
                <a:lnTo>
                  <a:pt x="16" y="30"/>
                </a:lnTo>
                <a:lnTo>
                  <a:pt x="16" y="30"/>
                </a:lnTo>
                <a:lnTo>
                  <a:pt x="16" y="30"/>
                </a:lnTo>
                <a:lnTo>
                  <a:pt x="16" y="30"/>
                </a:lnTo>
                <a:lnTo>
                  <a:pt x="16" y="30"/>
                </a:lnTo>
                <a:lnTo>
                  <a:pt x="16" y="30"/>
                </a:lnTo>
                <a:lnTo>
                  <a:pt x="12" y="30"/>
                </a:lnTo>
                <a:lnTo>
                  <a:pt x="12" y="30"/>
                </a:lnTo>
                <a:lnTo>
                  <a:pt x="12" y="30"/>
                </a:lnTo>
                <a:lnTo>
                  <a:pt x="8" y="30"/>
                </a:lnTo>
                <a:lnTo>
                  <a:pt x="8" y="30"/>
                </a:lnTo>
                <a:lnTo>
                  <a:pt x="8" y="30"/>
                </a:lnTo>
                <a:lnTo>
                  <a:pt x="4" y="30"/>
                </a:lnTo>
                <a:lnTo>
                  <a:pt x="4" y="30"/>
                </a:lnTo>
                <a:lnTo>
                  <a:pt x="4" y="30"/>
                </a:lnTo>
                <a:lnTo>
                  <a:pt x="4" y="30"/>
                </a:lnTo>
                <a:lnTo>
                  <a:pt x="4" y="30"/>
                </a:lnTo>
                <a:lnTo>
                  <a:pt x="4" y="30"/>
                </a:lnTo>
                <a:lnTo>
                  <a:pt x="4" y="30"/>
                </a:lnTo>
                <a:lnTo>
                  <a:pt x="4" y="30"/>
                </a:lnTo>
                <a:lnTo>
                  <a:pt x="4" y="30"/>
                </a:lnTo>
                <a:lnTo>
                  <a:pt x="4" y="26"/>
                </a:lnTo>
                <a:lnTo>
                  <a:pt x="4" y="26"/>
                </a:lnTo>
                <a:lnTo>
                  <a:pt x="4" y="26"/>
                </a:lnTo>
                <a:lnTo>
                  <a:pt x="4" y="22"/>
                </a:lnTo>
                <a:lnTo>
                  <a:pt x="0" y="22"/>
                </a:lnTo>
                <a:lnTo>
                  <a:pt x="4" y="18"/>
                </a:lnTo>
                <a:lnTo>
                  <a:pt x="4" y="18"/>
                </a:lnTo>
                <a:lnTo>
                  <a:pt x="4" y="16"/>
                </a:lnTo>
                <a:lnTo>
                  <a:pt x="4" y="16"/>
                </a:lnTo>
                <a:lnTo>
                  <a:pt x="4" y="16"/>
                </a:lnTo>
                <a:lnTo>
                  <a:pt x="8" y="12"/>
                </a:lnTo>
                <a:lnTo>
                  <a:pt x="8" y="12"/>
                </a:lnTo>
                <a:lnTo>
                  <a:pt x="8" y="12"/>
                </a:lnTo>
                <a:lnTo>
                  <a:pt x="8" y="8"/>
                </a:lnTo>
                <a:lnTo>
                  <a:pt x="8" y="8"/>
                </a:lnTo>
                <a:lnTo>
                  <a:pt x="12" y="8"/>
                </a:lnTo>
                <a:lnTo>
                  <a:pt x="12" y="8"/>
                </a:lnTo>
                <a:lnTo>
                  <a:pt x="12" y="4"/>
                </a:lnTo>
                <a:lnTo>
                  <a:pt x="12" y="4"/>
                </a:lnTo>
                <a:lnTo>
                  <a:pt x="12" y="4"/>
                </a:lnTo>
                <a:lnTo>
                  <a:pt x="12" y="4"/>
                </a:lnTo>
                <a:lnTo>
                  <a:pt x="12" y="4"/>
                </a:lnTo>
                <a:lnTo>
                  <a:pt x="12" y="4"/>
                </a:lnTo>
                <a:lnTo>
                  <a:pt x="12" y="4"/>
                </a:lnTo>
                <a:lnTo>
                  <a:pt x="16" y="4"/>
                </a:lnTo>
                <a:lnTo>
                  <a:pt x="16" y="4"/>
                </a:lnTo>
                <a:lnTo>
                  <a:pt x="16" y="4"/>
                </a:lnTo>
                <a:lnTo>
                  <a:pt x="16" y="8"/>
                </a:lnTo>
                <a:lnTo>
                  <a:pt x="16" y="8"/>
                </a:lnTo>
                <a:lnTo>
                  <a:pt x="16" y="4"/>
                </a:lnTo>
                <a:lnTo>
                  <a:pt x="16" y="4"/>
                </a:lnTo>
                <a:lnTo>
                  <a:pt x="16" y="4"/>
                </a:lnTo>
                <a:lnTo>
                  <a:pt x="20" y="0"/>
                </a:lnTo>
                <a:lnTo>
                  <a:pt x="24" y="0"/>
                </a:lnTo>
                <a:lnTo>
                  <a:pt x="24" y="0"/>
                </a:lnTo>
                <a:lnTo>
                  <a:pt x="24" y="0"/>
                </a:lnTo>
                <a:lnTo>
                  <a:pt x="24" y="4"/>
                </a:lnTo>
                <a:lnTo>
                  <a:pt x="24" y="4"/>
                </a:lnTo>
                <a:lnTo>
                  <a:pt x="24" y="4"/>
                </a:lnTo>
                <a:lnTo>
                  <a:pt x="24" y="4"/>
                </a:lnTo>
                <a:lnTo>
                  <a:pt x="24" y="4"/>
                </a:lnTo>
                <a:lnTo>
                  <a:pt x="24" y="4"/>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35" name="Freeform 142"/>
          <p:cNvSpPr>
            <a:spLocks/>
          </p:cNvSpPr>
          <p:nvPr/>
        </p:nvSpPr>
        <p:spPr bwMode="auto">
          <a:xfrm>
            <a:off x="4674394" y="3038474"/>
            <a:ext cx="202406" cy="204788"/>
          </a:xfrm>
          <a:custGeom>
            <a:avLst/>
            <a:gdLst>
              <a:gd name="T0" fmla="*/ 108 w 170"/>
              <a:gd name="T1" fmla="*/ 8 h 172"/>
              <a:gd name="T2" fmla="*/ 118 w 170"/>
              <a:gd name="T3" fmla="*/ 12 h 172"/>
              <a:gd name="T4" fmla="*/ 130 w 170"/>
              <a:gd name="T5" fmla="*/ 8 h 172"/>
              <a:gd name="T6" fmla="*/ 138 w 170"/>
              <a:gd name="T7" fmla="*/ 18 h 172"/>
              <a:gd name="T8" fmla="*/ 142 w 170"/>
              <a:gd name="T9" fmla="*/ 34 h 172"/>
              <a:gd name="T10" fmla="*/ 142 w 170"/>
              <a:gd name="T11" fmla="*/ 48 h 172"/>
              <a:gd name="T12" fmla="*/ 138 w 170"/>
              <a:gd name="T13" fmla="*/ 64 h 172"/>
              <a:gd name="T14" fmla="*/ 130 w 170"/>
              <a:gd name="T15" fmla="*/ 68 h 172"/>
              <a:gd name="T16" fmla="*/ 122 w 170"/>
              <a:gd name="T17" fmla="*/ 60 h 172"/>
              <a:gd name="T18" fmla="*/ 114 w 170"/>
              <a:gd name="T19" fmla="*/ 46 h 172"/>
              <a:gd name="T20" fmla="*/ 112 w 170"/>
              <a:gd name="T21" fmla="*/ 30 h 172"/>
              <a:gd name="T22" fmla="*/ 112 w 170"/>
              <a:gd name="T23" fmla="*/ 42 h 172"/>
              <a:gd name="T24" fmla="*/ 114 w 170"/>
              <a:gd name="T25" fmla="*/ 52 h 172"/>
              <a:gd name="T26" fmla="*/ 122 w 170"/>
              <a:gd name="T27" fmla="*/ 64 h 172"/>
              <a:gd name="T28" fmla="*/ 122 w 170"/>
              <a:gd name="T29" fmla="*/ 72 h 172"/>
              <a:gd name="T30" fmla="*/ 126 w 170"/>
              <a:gd name="T31" fmla="*/ 82 h 172"/>
              <a:gd name="T32" fmla="*/ 134 w 170"/>
              <a:gd name="T33" fmla="*/ 98 h 172"/>
              <a:gd name="T34" fmla="*/ 142 w 170"/>
              <a:gd name="T35" fmla="*/ 112 h 172"/>
              <a:gd name="T36" fmla="*/ 144 w 170"/>
              <a:gd name="T37" fmla="*/ 124 h 172"/>
              <a:gd name="T38" fmla="*/ 152 w 170"/>
              <a:gd name="T39" fmla="*/ 134 h 172"/>
              <a:gd name="T40" fmla="*/ 152 w 170"/>
              <a:gd name="T41" fmla="*/ 142 h 172"/>
              <a:gd name="T42" fmla="*/ 152 w 170"/>
              <a:gd name="T43" fmla="*/ 158 h 172"/>
              <a:gd name="T44" fmla="*/ 164 w 170"/>
              <a:gd name="T45" fmla="*/ 164 h 172"/>
              <a:gd name="T46" fmla="*/ 170 w 170"/>
              <a:gd name="T47" fmla="*/ 172 h 172"/>
              <a:gd name="T48" fmla="*/ 156 w 170"/>
              <a:gd name="T49" fmla="*/ 172 h 172"/>
              <a:gd name="T50" fmla="*/ 142 w 170"/>
              <a:gd name="T51" fmla="*/ 172 h 172"/>
              <a:gd name="T52" fmla="*/ 122 w 170"/>
              <a:gd name="T53" fmla="*/ 172 h 172"/>
              <a:gd name="T54" fmla="*/ 100 w 170"/>
              <a:gd name="T55" fmla="*/ 172 h 172"/>
              <a:gd name="T56" fmla="*/ 92 w 170"/>
              <a:gd name="T57" fmla="*/ 168 h 172"/>
              <a:gd name="T58" fmla="*/ 82 w 170"/>
              <a:gd name="T59" fmla="*/ 172 h 172"/>
              <a:gd name="T60" fmla="*/ 62 w 170"/>
              <a:gd name="T61" fmla="*/ 172 h 172"/>
              <a:gd name="T62" fmla="*/ 42 w 170"/>
              <a:gd name="T63" fmla="*/ 172 h 172"/>
              <a:gd name="T64" fmla="*/ 26 w 170"/>
              <a:gd name="T65" fmla="*/ 172 h 172"/>
              <a:gd name="T66" fmla="*/ 4 w 170"/>
              <a:gd name="T67" fmla="*/ 172 h 172"/>
              <a:gd name="T68" fmla="*/ 4 w 170"/>
              <a:gd name="T69" fmla="*/ 130 h 172"/>
              <a:gd name="T70" fmla="*/ 4 w 170"/>
              <a:gd name="T71" fmla="*/ 102 h 172"/>
              <a:gd name="T72" fmla="*/ 4 w 170"/>
              <a:gd name="T73" fmla="*/ 82 h 172"/>
              <a:gd name="T74" fmla="*/ 4 w 170"/>
              <a:gd name="T75" fmla="*/ 64 h 172"/>
              <a:gd name="T76" fmla="*/ 4 w 170"/>
              <a:gd name="T77" fmla="*/ 42 h 172"/>
              <a:gd name="T78" fmla="*/ 0 w 170"/>
              <a:gd name="T79" fmla="*/ 26 h 172"/>
              <a:gd name="T80" fmla="*/ 4 w 170"/>
              <a:gd name="T81" fmla="*/ 12 h 172"/>
              <a:gd name="T82" fmla="*/ 4 w 170"/>
              <a:gd name="T83" fmla="*/ 0 h 172"/>
              <a:gd name="T84" fmla="*/ 18 w 170"/>
              <a:gd name="T85" fmla="*/ 0 h 172"/>
              <a:gd name="T86" fmla="*/ 30 w 170"/>
              <a:gd name="T87" fmla="*/ 4 h 172"/>
              <a:gd name="T88" fmla="*/ 42 w 170"/>
              <a:gd name="T89" fmla="*/ 8 h 172"/>
              <a:gd name="T90" fmla="*/ 56 w 170"/>
              <a:gd name="T91" fmla="*/ 12 h 172"/>
              <a:gd name="T92" fmla="*/ 70 w 170"/>
              <a:gd name="T93" fmla="*/ 12 h 172"/>
              <a:gd name="T94" fmla="*/ 74 w 170"/>
              <a:gd name="T95" fmla="*/ 8 h 172"/>
              <a:gd name="T96" fmla="*/ 78 w 170"/>
              <a:gd name="T97" fmla="*/ 4 h 172"/>
              <a:gd name="T98" fmla="*/ 86 w 170"/>
              <a:gd name="T99" fmla="*/ 4 h 172"/>
              <a:gd name="T100" fmla="*/ 88 w 170"/>
              <a:gd name="T101" fmla="*/ 0 h 172"/>
              <a:gd name="T102" fmla="*/ 100 w 170"/>
              <a:gd name="T103" fmla="*/ 4 h 172"/>
              <a:gd name="T104" fmla="*/ 100 w 170"/>
              <a:gd name="T105" fmla="*/ 4 h 172"/>
              <a:gd name="T106" fmla="*/ 104 w 170"/>
              <a:gd name="T107" fmla="*/ 1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0" h="172">
                <a:moveTo>
                  <a:pt x="104" y="8"/>
                </a:moveTo>
                <a:lnTo>
                  <a:pt x="108" y="8"/>
                </a:lnTo>
                <a:lnTo>
                  <a:pt x="104" y="8"/>
                </a:lnTo>
                <a:lnTo>
                  <a:pt x="108" y="8"/>
                </a:lnTo>
                <a:lnTo>
                  <a:pt x="112" y="12"/>
                </a:lnTo>
                <a:lnTo>
                  <a:pt x="114" y="8"/>
                </a:lnTo>
                <a:lnTo>
                  <a:pt x="118" y="8"/>
                </a:lnTo>
                <a:lnTo>
                  <a:pt x="118" y="12"/>
                </a:lnTo>
                <a:lnTo>
                  <a:pt x="118" y="8"/>
                </a:lnTo>
                <a:lnTo>
                  <a:pt x="122" y="8"/>
                </a:lnTo>
                <a:lnTo>
                  <a:pt x="126" y="8"/>
                </a:lnTo>
                <a:lnTo>
                  <a:pt x="130" y="8"/>
                </a:lnTo>
                <a:lnTo>
                  <a:pt x="134" y="4"/>
                </a:lnTo>
                <a:lnTo>
                  <a:pt x="134" y="8"/>
                </a:lnTo>
                <a:lnTo>
                  <a:pt x="138" y="16"/>
                </a:lnTo>
                <a:lnTo>
                  <a:pt x="138" y="18"/>
                </a:lnTo>
                <a:lnTo>
                  <a:pt x="138" y="22"/>
                </a:lnTo>
                <a:lnTo>
                  <a:pt x="142" y="26"/>
                </a:lnTo>
                <a:lnTo>
                  <a:pt x="142" y="30"/>
                </a:lnTo>
                <a:lnTo>
                  <a:pt x="142" y="34"/>
                </a:lnTo>
                <a:lnTo>
                  <a:pt x="142" y="38"/>
                </a:lnTo>
                <a:lnTo>
                  <a:pt x="142" y="42"/>
                </a:lnTo>
                <a:lnTo>
                  <a:pt x="142" y="46"/>
                </a:lnTo>
                <a:lnTo>
                  <a:pt x="142" y="48"/>
                </a:lnTo>
                <a:lnTo>
                  <a:pt x="138" y="52"/>
                </a:lnTo>
                <a:lnTo>
                  <a:pt x="138" y="56"/>
                </a:lnTo>
                <a:lnTo>
                  <a:pt x="138" y="60"/>
                </a:lnTo>
                <a:lnTo>
                  <a:pt x="138" y="64"/>
                </a:lnTo>
                <a:lnTo>
                  <a:pt x="138" y="68"/>
                </a:lnTo>
                <a:lnTo>
                  <a:pt x="134" y="68"/>
                </a:lnTo>
                <a:lnTo>
                  <a:pt x="134" y="72"/>
                </a:lnTo>
                <a:lnTo>
                  <a:pt x="130" y="68"/>
                </a:lnTo>
                <a:lnTo>
                  <a:pt x="126" y="68"/>
                </a:lnTo>
                <a:lnTo>
                  <a:pt x="126" y="64"/>
                </a:lnTo>
                <a:lnTo>
                  <a:pt x="126" y="60"/>
                </a:lnTo>
                <a:lnTo>
                  <a:pt x="122" y="60"/>
                </a:lnTo>
                <a:lnTo>
                  <a:pt x="118" y="56"/>
                </a:lnTo>
                <a:lnTo>
                  <a:pt x="118" y="52"/>
                </a:lnTo>
                <a:lnTo>
                  <a:pt x="118" y="48"/>
                </a:lnTo>
                <a:lnTo>
                  <a:pt x="114" y="46"/>
                </a:lnTo>
                <a:lnTo>
                  <a:pt x="112" y="42"/>
                </a:lnTo>
                <a:lnTo>
                  <a:pt x="112" y="38"/>
                </a:lnTo>
                <a:lnTo>
                  <a:pt x="112" y="34"/>
                </a:lnTo>
                <a:lnTo>
                  <a:pt x="112" y="30"/>
                </a:lnTo>
                <a:lnTo>
                  <a:pt x="108" y="30"/>
                </a:lnTo>
                <a:lnTo>
                  <a:pt x="108" y="34"/>
                </a:lnTo>
                <a:lnTo>
                  <a:pt x="108" y="38"/>
                </a:lnTo>
                <a:lnTo>
                  <a:pt x="112" y="42"/>
                </a:lnTo>
                <a:lnTo>
                  <a:pt x="112" y="46"/>
                </a:lnTo>
                <a:lnTo>
                  <a:pt x="112" y="48"/>
                </a:lnTo>
                <a:lnTo>
                  <a:pt x="112" y="52"/>
                </a:lnTo>
                <a:lnTo>
                  <a:pt x="114" y="52"/>
                </a:lnTo>
                <a:lnTo>
                  <a:pt x="114" y="56"/>
                </a:lnTo>
                <a:lnTo>
                  <a:pt x="118" y="60"/>
                </a:lnTo>
                <a:lnTo>
                  <a:pt x="118" y="64"/>
                </a:lnTo>
                <a:lnTo>
                  <a:pt x="122" y="64"/>
                </a:lnTo>
                <a:lnTo>
                  <a:pt x="122" y="68"/>
                </a:lnTo>
                <a:lnTo>
                  <a:pt x="122" y="72"/>
                </a:lnTo>
                <a:lnTo>
                  <a:pt x="122" y="68"/>
                </a:lnTo>
                <a:lnTo>
                  <a:pt x="122" y="72"/>
                </a:lnTo>
                <a:lnTo>
                  <a:pt x="122" y="74"/>
                </a:lnTo>
                <a:lnTo>
                  <a:pt x="126" y="74"/>
                </a:lnTo>
                <a:lnTo>
                  <a:pt x="126" y="78"/>
                </a:lnTo>
                <a:lnTo>
                  <a:pt x="126" y="82"/>
                </a:lnTo>
                <a:lnTo>
                  <a:pt x="130" y="86"/>
                </a:lnTo>
                <a:lnTo>
                  <a:pt x="130" y="90"/>
                </a:lnTo>
                <a:lnTo>
                  <a:pt x="130" y="94"/>
                </a:lnTo>
                <a:lnTo>
                  <a:pt x="134" y="98"/>
                </a:lnTo>
                <a:lnTo>
                  <a:pt x="134" y="102"/>
                </a:lnTo>
                <a:lnTo>
                  <a:pt x="138" y="104"/>
                </a:lnTo>
                <a:lnTo>
                  <a:pt x="138" y="108"/>
                </a:lnTo>
                <a:lnTo>
                  <a:pt x="142" y="112"/>
                </a:lnTo>
                <a:lnTo>
                  <a:pt x="142" y="116"/>
                </a:lnTo>
                <a:lnTo>
                  <a:pt x="142" y="120"/>
                </a:lnTo>
                <a:lnTo>
                  <a:pt x="144" y="120"/>
                </a:lnTo>
                <a:lnTo>
                  <a:pt x="144" y="124"/>
                </a:lnTo>
                <a:lnTo>
                  <a:pt x="144" y="128"/>
                </a:lnTo>
                <a:lnTo>
                  <a:pt x="148" y="130"/>
                </a:lnTo>
                <a:lnTo>
                  <a:pt x="148" y="134"/>
                </a:lnTo>
                <a:lnTo>
                  <a:pt x="152" y="134"/>
                </a:lnTo>
                <a:lnTo>
                  <a:pt x="152" y="138"/>
                </a:lnTo>
                <a:lnTo>
                  <a:pt x="156" y="138"/>
                </a:lnTo>
                <a:lnTo>
                  <a:pt x="152" y="138"/>
                </a:lnTo>
                <a:lnTo>
                  <a:pt x="152" y="142"/>
                </a:lnTo>
                <a:lnTo>
                  <a:pt x="152" y="146"/>
                </a:lnTo>
                <a:lnTo>
                  <a:pt x="152" y="150"/>
                </a:lnTo>
                <a:lnTo>
                  <a:pt x="152" y="154"/>
                </a:lnTo>
                <a:lnTo>
                  <a:pt x="152" y="158"/>
                </a:lnTo>
                <a:lnTo>
                  <a:pt x="156" y="158"/>
                </a:lnTo>
                <a:lnTo>
                  <a:pt x="156" y="160"/>
                </a:lnTo>
                <a:lnTo>
                  <a:pt x="160" y="160"/>
                </a:lnTo>
                <a:lnTo>
                  <a:pt x="164" y="164"/>
                </a:lnTo>
                <a:lnTo>
                  <a:pt x="164" y="168"/>
                </a:lnTo>
                <a:lnTo>
                  <a:pt x="168" y="168"/>
                </a:lnTo>
                <a:lnTo>
                  <a:pt x="168" y="172"/>
                </a:lnTo>
                <a:lnTo>
                  <a:pt x="170" y="172"/>
                </a:lnTo>
                <a:lnTo>
                  <a:pt x="168" y="172"/>
                </a:lnTo>
                <a:lnTo>
                  <a:pt x="164" y="172"/>
                </a:lnTo>
                <a:lnTo>
                  <a:pt x="160" y="172"/>
                </a:lnTo>
                <a:lnTo>
                  <a:pt x="156" y="172"/>
                </a:lnTo>
                <a:lnTo>
                  <a:pt x="152" y="172"/>
                </a:lnTo>
                <a:lnTo>
                  <a:pt x="148" y="172"/>
                </a:lnTo>
                <a:lnTo>
                  <a:pt x="144" y="172"/>
                </a:lnTo>
                <a:lnTo>
                  <a:pt x="142" y="172"/>
                </a:lnTo>
                <a:lnTo>
                  <a:pt x="134" y="172"/>
                </a:lnTo>
                <a:lnTo>
                  <a:pt x="130" y="172"/>
                </a:lnTo>
                <a:lnTo>
                  <a:pt x="126" y="172"/>
                </a:lnTo>
                <a:lnTo>
                  <a:pt x="122" y="172"/>
                </a:lnTo>
                <a:lnTo>
                  <a:pt x="118" y="172"/>
                </a:lnTo>
                <a:lnTo>
                  <a:pt x="112" y="172"/>
                </a:lnTo>
                <a:lnTo>
                  <a:pt x="108" y="172"/>
                </a:lnTo>
                <a:lnTo>
                  <a:pt x="100" y="172"/>
                </a:lnTo>
                <a:lnTo>
                  <a:pt x="96" y="172"/>
                </a:lnTo>
                <a:lnTo>
                  <a:pt x="92" y="172"/>
                </a:lnTo>
                <a:lnTo>
                  <a:pt x="96" y="172"/>
                </a:lnTo>
                <a:lnTo>
                  <a:pt x="92" y="168"/>
                </a:lnTo>
                <a:lnTo>
                  <a:pt x="92" y="172"/>
                </a:lnTo>
                <a:lnTo>
                  <a:pt x="88" y="172"/>
                </a:lnTo>
                <a:lnTo>
                  <a:pt x="86" y="172"/>
                </a:lnTo>
                <a:lnTo>
                  <a:pt x="82" y="172"/>
                </a:lnTo>
                <a:lnTo>
                  <a:pt x="78" y="172"/>
                </a:lnTo>
                <a:lnTo>
                  <a:pt x="74" y="172"/>
                </a:lnTo>
                <a:lnTo>
                  <a:pt x="66" y="172"/>
                </a:lnTo>
                <a:lnTo>
                  <a:pt x="62" y="172"/>
                </a:lnTo>
                <a:lnTo>
                  <a:pt x="58" y="172"/>
                </a:lnTo>
                <a:lnTo>
                  <a:pt x="56" y="172"/>
                </a:lnTo>
                <a:lnTo>
                  <a:pt x="48" y="172"/>
                </a:lnTo>
                <a:lnTo>
                  <a:pt x="42" y="172"/>
                </a:lnTo>
                <a:lnTo>
                  <a:pt x="38" y="172"/>
                </a:lnTo>
                <a:lnTo>
                  <a:pt x="34" y="172"/>
                </a:lnTo>
                <a:lnTo>
                  <a:pt x="30" y="172"/>
                </a:lnTo>
                <a:lnTo>
                  <a:pt x="26" y="172"/>
                </a:lnTo>
                <a:lnTo>
                  <a:pt x="22" y="172"/>
                </a:lnTo>
                <a:lnTo>
                  <a:pt x="16" y="172"/>
                </a:lnTo>
                <a:lnTo>
                  <a:pt x="8" y="172"/>
                </a:lnTo>
                <a:lnTo>
                  <a:pt x="4" y="172"/>
                </a:lnTo>
                <a:lnTo>
                  <a:pt x="4" y="168"/>
                </a:lnTo>
                <a:lnTo>
                  <a:pt x="4" y="146"/>
                </a:lnTo>
                <a:lnTo>
                  <a:pt x="4" y="138"/>
                </a:lnTo>
                <a:lnTo>
                  <a:pt x="4" y="130"/>
                </a:lnTo>
                <a:lnTo>
                  <a:pt x="4" y="124"/>
                </a:lnTo>
                <a:lnTo>
                  <a:pt x="4" y="120"/>
                </a:lnTo>
                <a:lnTo>
                  <a:pt x="4" y="112"/>
                </a:lnTo>
                <a:lnTo>
                  <a:pt x="4" y="102"/>
                </a:lnTo>
                <a:lnTo>
                  <a:pt x="4" y="94"/>
                </a:lnTo>
                <a:lnTo>
                  <a:pt x="4" y="90"/>
                </a:lnTo>
                <a:lnTo>
                  <a:pt x="4" y="86"/>
                </a:lnTo>
                <a:lnTo>
                  <a:pt x="4" y="82"/>
                </a:lnTo>
                <a:lnTo>
                  <a:pt x="4" y="74"/>
                </a:lnTo>
                <a:lnTo>
                  <a:pt x="4" y="72"/>
                </a:lnTo>
                <a:lnTo>
                  <a:pt x="4" y="68"/>
                </a:lnTo>
                <a:lnTo>
                  <a:pt x="4" y="64"/>
                </a:lnTo>
                <a:lnTo>
                  <a:pt x="4" y="60"/>
                </a:lnTo>
                <a:lnTo>
                  <a:pt x="4" y="48"/>
                </a:lnTo>
                <a:lnTo>
                  <a:pt x="4" y="46"/>
                </a:lnTo>
                <a:lnTo>
                  <a:pt x="4" y="42"/>
                </a:lnTo>
                <a:lnTo>
                  <a:pt x="0" y="38"/>
                </a:lnTo>
                <a:lnTo>
                  <a:pt x="0" y="34"/>
                </a:lnTo>
                <a:lnTo>
                  <a:pt x="0" y="30"/>
                </a:lnTo>
                <a:lnTo>
                  <a:pt x="0" y="26"/>
                </a:lnTo>
                <a:lnTo>
                  <a:pt x="0" y="22"/>
                </a:lnTo>
                <a:lnTo>
                  <a:pt x="4" y="18"/>
                </a:lnTo>
                <a:lnTo>
                  <a:pt x="4" y="16"/>
                </a:lnTo>
                <a:lnTo>
                  <a:pt x="4" y="12"/>
                </a:lnTo>
                <a:lnTo>
                  <a:pt x="0" y="8"/>
                </a:lnTo>
                <a:lnTo>
                  <a:pt x="0" y="4"/>
                </a:lnTo>
                <a:lnTo>
                  <a:pt x="4" y="4"/>
                </a:lnTo>
                <a:lnTo>
                  <a:pt x="4" y="0"/>
                </a:lnTo>
                <a:lnTo>
                  <a:pt x="8" y="0"/>
                </a:lnTo>
                <a:lnTo>
                  <a:pt x="12" y="0"/>
                </a:lnTo>
                <a:lnTo>
                  <a:pt x="16" y="0"/>
                </a:lnTo>
                <a:lnTo>
                  <a:pt x="18" y="0"/>
                </a:lnTo>
                <a:lnTo>
                  <a:pt x="22" y="0"/>
                </a:lnTo>
                <a:lnTo>
                  <a:pt x="26" y="0"/>
                </a:lnTo>
                <a:lnTo>
                  <a:pt x="26" y="4"/>
                </a:lnTo>
                <a:lnTo>
                  <a:pt x="30" y="4"/>
                </a:lnTo>
                <a:lnTo>
                  <a:pt x="34" y="4"/>
                </a:lnTo>
                <a:lnTo>
                  <a:pt x="38" y="4"/>
                </a:lnTo>
                <a:lnTo>
                  <a:pt x="38" y="8"/>
                </a:lnTo>
                <a:lnTo>
                  <a:pt x="42" y="8"/>
                </a:lnTo>
                <a:lnTo>
                  <a:pt x="44" y="8"/>
                </a:lnTo>
                <a:lnTo>
                  <a:pt x="48" y="12"/>
                </a:lnTo>
                <a:lnTo>
                  <a:pt x="52" y="12"/>
                </a:lnTo>
                <a:lnTo>
                  <a:pt x="56" y="12"/>
                </a:lnTo>
                <a:lnTo>
                  <a:pt x="58" y="16"/>
                </a:lnTo>
                <a:lnTo>
                  <a:pt x="62" y="16"/>
                </a:lnTo>
                <a:lnTo>
                  <a:pt x="66" y="12"/>
                </a:lnTo>
                <a:lnTo>
                  <a:pt x="70" y="12"/>
                </a:lnTo>
                <a:lnTo>
                  <a:pt x="70" y="8"/>
                </a:lnTo>
                <a:lnTo>
                  <a:pt x="74" y="8"/>
                </a:lnTo>
                <a:lnTo>
                  <a:pt x="74" y="4"/>
                </a:lnTo>
                <a:lnTo>
                  <a:pt x="74" y="8"/>
                </a:lnTo>
                <a:lnTo>
                  <a:pt x="78" y="8"/>
                </a:lnTo>
                <a:lnTo>
                  <a:pt x="78" y="4"/>
                </a:lnTo>
                <a:lnTo>
                  <a:pt x="78" y="0"/>
                </a:lnTo>
                <a:lnTo>
                  <a:pt x="78" y="4"/>
                </a:lnTo>
                <a:lnTo>
                  <a:pt x="82" y="4"/>
                </a:lnTo>
                <a:lnTo>
                  <a:pt x="82" y="0"/>
                </a:lnTo>
                <a:lnTo>
                  <a:pt x="86" y="0"/>
                </a:lnTo>
                <a:lnTo>
                  <a:pt x="86" y="4"/>
                </a:lnTo>
                <a:lnTo>
                  <a:pt x="82" y="4"/>
                </a:lnTo>
                <a:lnTo>
                  <a:pt x="86" y="4"/>
                </a:lnTo>
                <a:lnTo>
                  <a:pt x="88" y="4"/>
                </a:lnTo>
                <a:lnTo>
                  <a:pt x="88" y="0"/>
                </a:lnTo>
                <a:lnTo>
                  <a:pt x="92" y="0"/>
                </a:lnTo>
                <a:lnTo>
                  <a:pt x="92" y="4"/>
                </a:lnTo>
                <a:lnTo>
                  <a:pt x="96" y="4"/>
                </a:lnTo>
                <a:lnTo>
                  <a:pt x="100" y="4"/>
                </a:lnTo>
                <a:lnTo>
                  <a:pt x="100" y="0"/>
                </a:lnTo>
                <a:lnTo>
                  <a:pt x="100" y="4"/>
                </a:lnTo>
                <a:lnTo>
                  <a:pt x="104" y="4"/>
                </a:lnTo>
                <a:lnTo>
                  <a:pt x="100" y="4"/>
                </a:lnTo>
                <a:lnTo>
                  <a:pt x="100" y="0"/>
                </a:lnTo>
                <a:lnTo>
                  <a:pt x="100" y="8"/>
                </a:lnTo>
                <a:lnTo>
                  <a:pt x="104" y="8"/>
                </a:lnTo>
                <a:lnTo>
                  <a:pt x="104" y="12"/>
                </a:lnTo>
                <a:lnTo>
                  <a:pt x="104" y="8"/>
                </a:lnTo>
                <a:lnTo>
                  <a:pt x="104" y="8"/>
                </a:lnTo>
                <a:lnTo>
                  <a:pt x="104" y="8"/>
                </a:lnTo>
                <a:close/>
              </a:path>
            </a:pathLst>
          </a:custGeom>
          <a:solidFill>
            <a:srgbClr val="A0DCFF"/>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36" name="Freeform 143"/>
          <p:cNvSpPr>
            <a:spLocks noEditPoints="1"/>
          </p:cNvSpPr>
          <p:nvPr/>
        </p:nvSpPr>
        <p:spPr bwMode="auto">
          <a:xfrm>
            <a:off x="4398169" y="3619500"/>
            <a:ext cx="50006" cy="59531"/>
          </a:xfrm>
          <a:custGeom>
            <a:avLst/>
            <a:gdLst>
              <a:gd name="T0" fmla="*/ 28 w 42"/>
              <a:gd name="T1" fmla="*/ 50 h 50"/>
              <a:gd name="T2" fmla="*/ 24 w 42"/>
              <a:gd name="T3" fmla="*/ 50 h 50"/>
              <a:gd name="T4" fmla="*/ 24 w 42"/>
              <a:gd name="T5" fmla="*/ 50 h 50"/>
              <a:gd name="T6" fmla="*/ 20 w 42"/>
              <a:gd name="T7" fmla="*/ 50 h 50"/>
              <a:gd name="T8" fmla="*/ 20 w 42"/>
              <a:gd name="T9" fmla="*/ 50 h 50"/>
              <a:gd name="T10" fmla="*/ 20 w 42"/>
              <a:gd name="T11" fmla="*/ 46 h 50"/>
              <a:gd name="T12" fmla="*/ 16 w 42"/>
              <a:gd name="T13" fmla="*/ 50 h 50"/>
              <a:gd name="T14" fmla="*/ 16 w 42"/>
              <a:gd name="T15" fmla="*/ 46 h 50"/>
              <a:gd name="T16" fmla="*/ 16 w 42"/>
              <a:gd name="T17" fmla="*/ 46 h 50"/>
              <a:gd name="T18" fmla="*/ 16 w 42"/>
              <a:gd name="T19" fmla="*/ 42 h 50"/>
              <a:gd name="T20" fmla="*/ 16 w 42"/>
              <a:gd name="T21" fmla="*/ 38 h 50"/>
              <a:gd name="T22" fmla="*/ 20 w 42"/>
              <a:gd name="T23" fmla="*/ 38 h 50"/>
              <a:gd name="T24" fmla="*/ 20 w 42"/>
              <a:gd name="T25" fmla="*/ 34 h 50"/>
              <a:gd name="T26" fmla="*/ 20 w 42"/>
              <a:gd name="T27" fmla="*/ 28 h 50"/>
              <a:gd name="T28" fmla="*/ 20 w 42"/>
              <a:gd name="T29" fmla="*/ 28 h 50"/>
              <a:gd name="T30" fmla="*/ 24 w 42"/>
              <a:gd name="T31" fmla="*/ 32 h 50"/>
              <a:gd name="T32" fmla="*/ 28 w 42"/>
              <a:gd name="T33" fmla="*/ 32 h 50"/>
              <a:gd name="T34" fmla="*/ 30 w 42"/>
              <a:gd name="T35" fmla="*/ 32 h 50"/>
              <a:gd name="T36" fmla="*/ 30 w 42"/>
              <a:gd name="T37" fmla="*/ 32 h 50"/>
              <a:gd name="T38" fmla="*/ 38 w 42"/>
              <a:gd name="T39" fmla="*/ 32 h 50"/>
              <a:gd name="T40" fmla="*/ 42 w 42"/>
              <a:gd name="T41" fmla="*/ 32 h 50"/>
              <a:gd name="T42" fmla="*/ 42 w 42"/>
              <a:gd name="T43" fmla="*/ 34 h 50"/>
              <a:gd name="T44" fmla="*/ 42 w 42"/>
              <a:gd name="T45" fmla="*/ 38 h 50"/>
              <a:gd name="T46" fmla="*/ 42 w 42"/>
              <a:gd name="T47" fmla="*/ 50 h 50"/>
              <a:gd name="T48" fmla="*/ 34 w 42"/>
              <a:gd name="T49" fmla="*/ 50 h 50"/>
              <a:gd name="T50" fmla="*/ 30 w 42"/>
              <a:gd name="T51" fmla="*/ 50 h 50"/>
              <a:gd name="T52" fmla="*/ 30 w 42"/>
              <a:gd name="T53" fmla="*/ 50 h 50"/>
              <a:gd name="T54" fmla="*/ 4 w 42"/>
              <a:gd name="T55" fmla="*/ 8 h 50"/>
              <a:gd name="T56" fmla="*/ 4 w 42"/>
              <a:gd name="T57" fmla="*/ 8 h 50"/>
              <a:gd name="T58" fmla="*/ 0 w 42"/>
              <a:gd name="T59" fmla="*/ 12 h 50"/>
              <a:gd name="T60" fmla="*/ 0 w 42"/>
              <a:gd name="T61" fmla="*/ 8 h 50"/>
              <a:gd name="T62" fmla="*/ 0 w 42"/>
              <a:gd name="T63" fmla="*/ 8 h 50"/>
              <a:gd name="T64" fmla="*/ 0 w 42"/>
              <a:gd name="T65" fmla="*/ 8 h 50"/>
              <a:gd name="T66" fmla="*/ 0 w 42"/>
              <a:gd name="T67" fmla="*/ 8 h 50"/>
              <a:gd name="T68" fmla="*/ 0 w 42"/>
              <a:gd name="T69" fmla="*/ 8 h 50"/>
              <a:gd name="T70" fmla="*/ 4 w 42"/>
              <a:gd name="T71" fmla="*/ 8 h 50"/>
              <a:gd name="T72" fmla="*/ 4 w 42"/>
              <a:gd name="T73" fmla="*/ 4 h 50"/>
              <a:gd name="T74" fmla="*/ 4 w 42"/>
              <a:gd name="T75" fmla="*/ 4 h 50"/>
              <a:gd name="T76" fmla="*/ 8 w 42"/>
              <a:gd name="T77" fmla="*/ 0 h 50"/>
              <a:gd name="T78" fmla="*/ 8 w 42"/>
              <a:gd name="T79" fmla="*/ 4 h 50"/>
              <a:gd name="T80" fmla="*/ 8 w 42"/>
              <a:gd name="T81" fmla="*/ 4 h 50"/>
              <a:gd name="T82" fmla="*/ 8 w 42"/>
              <a:gd name="T83" fmla="*/ 4 h 50"/>
              <a:gd name="T84" fmla="*/ 8 w 42"/>
              <a:gd name="T85" fmla="*/ 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2" h="50">
                <a:moveTo>
                  <a:pt x="30" y="50"/>
                </a:moveTo>
                <a:lnTo>
                  <a:pt x="28" y="50"/>
                </a:lnTo>
                <a:lnTo>
                  <a:pt x="28" y="50"/>
                </a:lnTo>
                <a:lnTo>
                  <a:pt x="28" y="50"/>
                </a:lnTo>
                <a:lnTo>
                  <a:pt x="28" y="50"/>
                </a:lnTo>
                <a:lnTo>
                  <a:pt x="24" y="50"/>
                </a:lnTo>
                <a:lnTo>
                  <a:pt x="24" y="50"/>
                </a:lnTo>
                <a:lnTo>
                  <a:pt x="24" y="50"/>
                </a:lnTo>
                <a:lnTo>
                  <a:pt x="24" y="50"/>
                </a:lnTo>
                <a:lnTo>
                  <a:pt x="24" y="50"/>
                </a:lnTo>
                <a:lnTo>
                  <a:pt x="24" y="50"/>
                </a:lnTo>
                <a:lnTo>
                  <a:pt x="20" y="50"/>
                </a:lnTo>
                <a:lnTo>
                  <a:pt x="20" y="50"/>
                </a:lnTo>
                <a:lnTo>
                  <a:pt x="20" y="50"/>
                </a:lnTo>
                <a:lnTo>
                  <a:pt x="20" y="50"/>
                </a:lnTo>
                <a:lnTo>
                  <a:pt x="20" y="50"/>
                </a:lnTo>
                <a:lnTo>
                  <a:pt x="20" y="46"/>
                </a:lnTo>
                <a:lnTo>
                  <a:pt x="20" y="46"/>
                </a:lnTo>
                <a:lnTo>
                  <a:pt x="20" y="46"/>
                </a:lnTo>
                <a:lnTo>
                  <a:pt x="20" y="50"/>
                </a:lnTo>
                <a:lnTo>
                  <a:pt x="16" y="50"/>
                </a:lnTo>
                <a:lnTo>
                  <a:pt x="16" y="46"/>
                </a:lnTo>
                <a:lnTo>
                  <a:pt x="16" y="46"/>
                </a:lnTo>
                <a:lnTo>
                  <a:pt x="16" y="46"/>
                </a:lnTo>
                <a:lnTo>
                  <a:pt x="16" y="46"/>
                </a:lnTo>
                <a:lnTo>
                  <a:pt x="16" y="46"/>
                </a:lnTo>
                <a:lnTo>
                  <a:pt x="16" y="46"/>
                </a:lnTo>
                <a:lnTo>
                  <a:pt x="16" y="46"/>
                </a:lnTo>
                <a:lnTo>
                  <a:pt x="16" y="42"/>
                </a:lnTo>
                <a:lnTo>
                  <a:pt x="16" y="42"/>
                </a:lnTo>
                <a:lnTo>
                  <a:pt x="16" y="42"/>
                </a:lnTo>
                <a:lnTo>
                  <a:pt x="20" y="38"/>
                </a:lnTo>
                <a:lnTo>
                  <a:pt x="16" y="38"/>
                </a:lnTo>
                <a:lnTo>
                  <a:pt x="16" y="38"/>
                </a:lnTo>
                <a:lnTo>
                  <a:pt x="20" y="38"/>
                </a:lnTo>
                <a:lnTo>
                  <a:pt x="20" y="38"/>
                </a:lnTo>
                <a:lnTo>
                  <a:pt x="20" y="34"/>
                </a:lnTo>
                <a:lnTo>
                  <a:pt x="20" y="34"/>
                </a:lnTo>
                <a:lnTo>
                  <a:pt x="20" y="34"/>
                </a:lnTo>
                <a:lnTo>
                  <a:pt x="20" y="32"/>
                </a:lnTo>
                <a:lnTo>
                  <a:pt x="20" y="32"/>
                </a:lnTo>
                <a:lnTo>
                  <a:pt x="20" y="28"/>
                </a:lnTo>
                <a:lnTo>
                  <a:pt x="20" y="28"/>
                </a:lnTo>
                <a:lnTo>
                  <a:pt x="20" y="28"/>
                </a:lnTo>
                <a:lnTo>
                  <a:pt x="20" y="28"/>
                </a:lnTo>
                <a:lnTo>
                  <a:pt x="24" y="28"/>
                </a:lnTo>
                <a:lnTo>
                  <a:pt x="24" y="28"/>
                </a:lnTo>
                <a:lnTo>
                  <a:pt x="24" y="32"/>
                </a:lnTo>
                <a:lnTo>
                  <a:pt x="24" y="32"/>
                </a:lnTo>
                <a:lnTo>
                  <a:pt x="24" y="32"/>
                </a:lnTo>
                <a:lnTo>
                  <a:pt x="28" y="32"/>
                </a:lnTo>
                <a:lnTo>
                  <a:pt x="28" y="32"/>
                </a:lnTo>
                <a:lnTo>
                  <a:pt x="28" y="32"/>
                </a:lnTo>
                <a:lnTo>
                  <a:pt x="30" y="32"/>
                </a:lnTo>
                <a:lnTo>
                  <a:pt x="30" y="32"/>
                </a:lnTo>
                <a:lnTo>
                  <a:pt x="30" y="32"/>
                </a:lnTo>
                <a:lnTo>
                  <a:pt x="30" y="32"/>
                </a:lnTo>
                <a:lnTo>
                  <a:pt x="30" y="32"/>
                </a:lnTo>
                <a:lnTo>
                  <a:pt x="30" y="32"/>
                </a:lnTo>
                <a:lnTo>
                  <a:pt x="38" y="32"/>
                </a:lnTo>
                <a:lnTo>
                  <a:pt x="42" y="32"/>
                </a:lnTo>
                <a:lnTo>
                  <a:pt x="42" y="32"/>
                </a:lnTo>
                <a:lnTo>
                  <a:pt x="42" y="32"/>
                </a:lnTo>
                <a:lnTo>
                  <a:pt x="42" y="32"/>
                </a:lnTo>
                <a:lnTo>
                  <a:pt x="42" y="32"/>
                </a:lnTo>
                <a:lnTo>
                  <a:pt x="42" y="34"/>
                </a:lnTo>
                <a:lnTo>
                  <a:pt x="42" y="34"/>
                </a:lnTo>
                <a:lnTo>
                  <a:pt x="42" y="38"/>
                </a:lnTo>
                <a:lnTo>
                  <a:pt x="42" y="38"/>
                </a:lnTo>
                <a:lnTo>
                  <a:pt x="42" y="38"/>
                </a:lnTo>
                <a:lnTo>
                  <a:pt x="42" y="42"/>
                </a:lnTo>
                <a:lnTo>
                  <a:pt x="42" y="50"/>
                </a:lnTo>
                <a:lnTo>
                  <a:pt x="42" y="50"/>
                </a:lnTo>
                <a:lnTo>
                  <a:pt x="38" y="50"/>
                </a:lnTo>
                <a:lnTo>
                  <a:pt x="34" y="50"/>
                </a:lnTo>
                <a:lnTo>
                  <a:pt x="34" y="50"/>
                </a:lnTo>
                <a:lnTo>
                  <a:pt x="30" y="50"/>
                </a:lnTo>
                <a:lnTo>
                  <a:pt x="30" y="50"/>
                </a:lnTo>
                <a:lnTo>
                  <a:pt x="30" y="50"/>
                </a:lnTo>
                <a:lnTo>
                  <a:pt x="30" y="50"/>
                </a:lnTo>
                <a:lnTo>
                  <a:pt x="30" y="50"/>
                </a:lnTo>
                <a:close/>
                <a:moveTo>
                  <a:pt x="8" y="4"/>
                </a:moveTo>
                <a:lnTo>
                  <a:pt x="8" y="4"/>
                </a:lnTo>
                <a:lnTo>
                  <a:pt x="4" y="8"/>
                </a:lnTo>
                <a:lnTo>
                  <a:pt x="4" y="8"/>
                </a:lnTo>
                <a:lnTo>
                  <a:pt x="4" y="8"/>
                </a:lnTo>
                <a:lnTo>
                  <a:pt x="4" y="8"/>
                </a:lnTo>
                <a:lnTo>
                  <a:pt x="4" y="12"/>
                </a:lnTo>
                <a:lnTo>
                  <a:pt x="4" y="12"/>
                </a:lnTo>
                <a:lnTo>
                  <a:pt x="0" y="12"/>
                </a:lnTo>
                <a:lnTo>
                  <a:pt x="0" y="12"/>
                </a:lnTo>
                <a:lnTo>
                  <a:pt x="0" y="12"/>
                </a:lnTo>
                <a:lnTo>
                  <a:pt x="0" y="8"/>
                </a:lnTo>
                <a:lnTo>
                  <a:pt x="0" y="8"/>
                </a:lnTo>
                <a:lnTo>
                  <a:pt x="0" y="8"/>
                </a:lnTo>
                <a:lnTo>
                  <a:pt x="0" y="8"/>
                </a:lnTo>
                <a:lnTo>
                  <a:pt x="0" y="8"/>
                </a:lnTo>
                <a:lnTo>
                  <a:pt x="0" y="8"/>
                </a:lnTo>
                <a:lnTo>
                  <a:pt x="0" y="8"/>
                </a:lnTo>
                <a:lnTo>
                  <a:pt x="0" y="8"/>
                </a:lnTo>
                <a:lnTo>
                  <a:pt x="0" y="8"/>
                </a:lnTo>
                <a:lnTo>
                  <a:pt x="0" y="8"/>
                </a:lnTo>
                <a:lnTo>
                  <a:pt x="0" y="8"/>
                </a:lnTo>
                <a:lnTo>
                  <a:pt x="0" y="8"/>
                </a:lnTo>
                <a:lnTo>
                  <a:pt x="0" y="8"/>
                </a:lnTo>
                <a:lnTo>
                  <a:pt x="0" y="8"/>
                </a:lnTo>
                <a:lnTo>
                  <a:pt x="4" y="8"/>
                </a:lnTo>
                <a:lnTo>
                  <a:pt x="4" y="8"/>
                </a:lnTo>
                <a:lnTo>
                  <a:pt x="4" y="8"/>
                </a:lnTo>
                <a:lnTo>
                  <a:pt x="4" y="4"/>
                </a:lnTo>
                <a:lnTo>
                  <a:pt x="4" y="4"/>
                </a:lnTo>
                <a:lnTo>
                  <a:pt x="4" y="4"/>
                </a:lnTo>
                <a:lnTo>
                  <a:pt x="4" y="4"/>
                </a:lnTo>
                <a:lnTo>
                  <a:pt x="4" y="4"/>
                </a:lnTo>
                <a:lnTo>
                  <a:pt x="4" y="0"/>
                </a:lnTo>
                <a:lnTo>
                  <a:pt x="4" y="0"/>
                </a:lnTo>
                <a:lnTo>
                  <a:pt x="8" y="0"/>
                </a:lnTo>
                <a:lnTo>
                  <a:pt x="8" y="0"/>
                </a:lnTo>
                <a:lnTo>
                  <a:pt x="8" y="0"/>
                </a:lnTo>
                <a:lnTo>
                  <a:pt x="8" y="4"/>
                </a:lnTo>
                <a:lnTo>
                  <a:pt x="8" y="4"/>
                </a:lnTo>
                <a:lnTo>
                  <a:pt x="8" y="4"/>
                </a:lnTo>
                <a:lnTo>
                  <a:pt x="8" y="4"/>
                </a:lnTo>
                <a:lnTo>
                  <a:pt x="8" y="4"/>
                </a:lnTo>
                <a:lnTo>
                  <a:pt x="8" y="4"/>
                </a:lnTo>
                <a:lnTo>
                  <a:pt x="8" y="4"/>
                </a:lnTo>
                <a:lnTo>
                  <a:pt x="8" y="4"/>
                </a:lnTo>
                <a:lnTo>
                  <a:pt x="8" y="4"/>
                </a:lnTo>
                <a:lnTo>
                  <a:pt x="8" y="4"/>
                </a:lnTo>
                <a:lnTo>
                  <a:pt x="8" y="4"/>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37" name="Freeform 144"/>
          <p:cNvSpPr>
            <a:spLocks noEditPoints="1"/>
          </p:cNvSpPr>
          <p:nvPr/>
        </p:nvSpPr>
        <p:spPr bwMode="auto">
          <a:xfrm>
            <a:off x="4869656" y="3326605"/>
            <a:ext cx="116681" cy="119063"/>
          </a:xfrm>
          <a:custGeom>
            <a:avLst/>
            <a:gdLst>
              <a:gd name="T0" fmla="*/ 42 w 98"/>
              <a:gd name="T1" fmla="*/ 34 h 100"/>
              <a:gd name="T2" fmla="*/ 46 w 98"/>
              <a:gd name="T3" fmla="*/ 44 h 100"/>
              <a:gd name="T4" fmla="*/ 46 w 98"/>
              <a:gd name="T5" fmla="*/ 44 h 100"/>
              <a:gd name="T6" fmla="*/ 48 w 98"/>
              <a:gd name="T7" fmla="*/ 52 h 100"/>
              <a:gd name="T8" fmla="*/ 48 w 98"/>
              <a:gd name="T9" fmla="*/ 48 h 100"/>
              <a:gd name="T10" fmla="*/ 48 w 98"/>
              <a:gd name="T11" fmla="*/ 44 h 100"/>
              <a:gd name="T12" fmla="*/ 52 w 98"/>
              <a:gd name="T13" fmla="*/ 52 h 100"/>
              <a:gd name="T14" fmla="*/ 56 w 98"/>
              <a:gd name="T15" fmla="*/ 52 h 100"/>
              <a:gd name="T16" fmla="*/ 64 w 98"/>
              <a:gd name="T17" fmla="*/ 60 h 100"/>
              <a:gd name="T18" fmla="*/ 72 w 98"/>
              <a:gd name="T19" fmla="*/ 68 h 100"/>
              <a:gd name="T20" fmla="*/ 74 w 98"/>
              <a:gd name="T21" fmla="*/ 72 h 100"/>
              <a:gd name="T22" fmla="*/ 82 w 98"/>
              <a:gd name="T23" fmla="*/ 74 h 100"/>
              <a:gd name="T24" fmla="*/ 82 w 98"/>
              <a:gd name="T25" fmla="*/ 78 h 100"/>
              <a:gd name="T26" fmla="*/ 86 w 98"/>
              <a:gd name="T27" fmla="*/ 82 h 100"/>
              <a:gd name="T28" fmla="*/ 90 w 98"/>
              <a:gd name="T29" fmla="*/ 86 h 100"/>
              <a:gd name="T30" fmla="*/ 94 w 98"/>
              <a:gd name="T31" fmla="*/ 94 h 100"/>
              <a:gd name="T32" fmla="*/ 98 w 98"/>
              <a:gd name="T33" fmla="*/ 94 h 100"/>
              <a:gd name="T34" fmla="*/ 90 w 98"/>
              <a:gd name="T35" fmla="*/ 100 h 100"/>
              <a:gd name="T36" fmla="*/ 86 w 98"/>
              <a:gd name="T37" fmla="*/ 98 h 100"/>
              <a:gd name="T38" fmla="*/ 86 w 98"/>
              <a:gd name="T39" fmla="*/ 98 h 100"/>
              <a:gd name="T40" fmla="*/ 82 w 98"/>
              <a:gd name="T41" fmla="*/ 94 h 100"/>
              <a:gd name="T42" fmla="*/ 78 w 98"/>
              <a:gd name="T43" fmla="*/ 90 h 100"/>
              <a:gd name="T44" fmla="*/ 78 w 98"/>
              <a:gd name="T45" fmla="*/ 86 h 100"/>
              <a:gd name="T46" fmla="*/ 74 w 98"/>
              <a:gd name="T47" fmla="*/ 82 h 100"/>
              <a:gd name="T48" fmla="*/ 68 w 98"/>
              <a:gd name="T49" fmla="*/ 78 h 100"/>
              <a:gd name="T50" fmla="*/ 68 w 98"/>
              <a:gd name="T51" fmla="*/ 74 h 100"/>
              <a:gd name="T52" fmla="*/ 64 w 98"/>
              <a:gd name="T53" fmla="*/ 68 h 100"/>
              <a:gd name="T54" fmla="*/ 60 w 98"/>
              <a:gd name="T55" fmla="*/ 68 h 100"/>
              <a:gd name="T56" fmla="*/ 56 w 98"/>
              <a:gd name="T57" fmla="*/ 64 h 100"/>
              <a:gd name="T58" fmla="*/ 52 w 98"/>
              <a:gd name="T59" fmla="*/ 64 h 100"/>
              <a:gd name="T60" fmla="*/ 48 w 98"/>
              <a:gd name="T61" fmla="*/ 64 h 100"/>
              <a:gd name="T62" fmla="*/ 42 w 98"/>
              <a:gd name="T63" fmla="*/ 64 h 100"/>
              <a:gd name="T64" fmla="*/ 38 w 98"/>
              <a:gd name="T65" fmla="*/ 60 h 100"/>
              <a:gd name="T66" fmla="*/ 34 w 98"/>
              <a:gd name="T67" fmla="*/ 64 h 100"/>
              <a:gd name="T68" fmla="*/ 26 w 98"/>
              <a:gd name="T69" fmla="*/ 60 h 100"/>
              <a:gd name="T70" fmla="*/ 22 w 98"/>
              <a:gd name="T71" fmla="*/ 56 h 100"/>
              <a:gd name="T72" fmla="*/ 18 w 98"/>
              <a:gd name="T73" fmla="*/ 72 h 100"/>
              <a:gd name="T74" fmla="*/ 12 w 98"/>
              <a:gd name="T75" fmla="*/ 64 h 100"/>
              <a:gd name="T76" fmla="*/ 12 w 98"/>
              <a:gd name="T77" fmla="*/ 68 h 100"/>
              <a:gd name="T78" fmla="*/ 4 w 98"/>
              <a:gd name="T79" fmla="*/ 68 h 100"/>
              <a:gd name="T80" fmla="*/ 0 w 98"/>
              <a:gd name="T81" fmla="*/ 52 h 100"/>
              <a:gd name="T82" fmla="*/ 4 w 98"/>
              <a:gd name="T83" fmla="*/ 42 h 100"/>
              <a:gd name="T84" fmla="*/ 8 w 98"/>
              <a:gd name="T85" fmla="*/ 34 h 100"/>
              <a:gd name="T86" fmla="*/ 8 w 98"/>
              <a:gd name="T87" fmla="*/ 26 h 100"/>
              <a:gd name="T88" fmla="*/ 8 w 98"/>
              <a:gd name="T89" fmla="*/ 18 h 100"/>
              <a:gd name="T90" fmla="*/ 16 w 98"/>
              <a:gd name="T91" fmla="*/ 18 h 100"/>
              <a:gd name="T92" fmla="*/ 16 w 98"/>
              <a:gd name="T93" fmla="*/ 16 h 100"/>
              <a:gd name="T94" fmla="*/ 22 w 98"/>
              <a:gd name="T95" fmla="*/ 12 h 100"/>
              <a:gd name="T96" fmla="*/ 30 w 98"/>
              <a:gd name="T97" fmla="*/ 8 h 100"/>
              <a:gd name="T98" fmla="*/ 34 w 98"/>
              <a:gd name="T99" fmla="*/ 4 h 100"/>
              <a:gd name="T100" fmla="*/ 38 w 98"/>
              <a:gd name="T101" fmla="*/ 16 h 100"/>
              <a:gd name="T102" fmla="*/ 42 w 98"/>
              <a:gd name="T103" fmla="*/ 26 h 100"/>
              <a:gd name="T104" fmla="*/ 42 w 98"/>
              <a:gd name="T105" fmla="*/ 30 h 100"/>
              <a:gd name="T106" fmla="*/ 52 w 98"/>
              <a:gd name="T107" fmla="*/ 42 h 100"/>
              <a:gd name="T108" fmla="*/ 52 w 98"/>
              <a:gd name="T109" fmla="*/ 42 h 100"/>
              <a:gd name="T110" fmla="*/ 56 w 98"/>
              <a:gd name="T111" fmla="*/ 42 h 100"/>
              <a:gd name="T112" fmla="*/ 56 w 98"/>
              <a:gd name="T113" fmla="*/ 42 h 100"/>
              <a:gd name="T114" fmla="*/ 56 w 98"/>
              <a:gd name="T115" fmla="*/ 44 h 100"/>
              <a:gd name="T116" fmla="*/ 52 w 98"/>
              <a:gd name="T117" fmla="*/ 42 h 100"/>
              <a:gd name="T118" fmla="*/ 52 w 98"/>
              <a:gd name="T119" fmla="*/ 42 h 100"/>
              <a:gd name="T120" fmla="*/ 52 w 98"/>
              <a:gd name="T121" fmla="*/ 42 h 100"/>
              <a:gd name="T122" fmla="*/ 52 w 98"/>
              <a:gd name="T123" fmla="*/ 38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8" h="100">
                <a:moveTo>
                  <a:pt x="42" y="30"/>
                </a:moveTo>
                <a:lnTo>
                  <a:pt x="42" y="30"/>
                </a:lnTo>
                <a:lnTo>
                  <a:pt x="42" y="30"/>
                </a:lnTo>
                <a:lnTo>
                  <a:pt x="42" y="34"/>
                </a:lnTo>
                <a:lnTo>
                  <a:pt x="42" y="34"/>
                </a:lnTo>
                <a:lnTo>
                  <a:pt x="42" y="34"/>
                </a:lnTo>
                <a:lnTo>
                  <a:pt x="42" y="38"/>
                </a:lnTo>
                <a:lnTo>
                  <a:pt x="42" y="38"/>
                </a:lnTo>
                <a:lnTo>
                  <a:pt x="42" y="38"/>
                </a:lnTo>
                <a:lnTo>
                  <a:pt x="46" y="42"/>
                </a:lnTo>
                <a:lnTo>
                  <a:pt x="46" y="42"/>
                </a:lnTo>
                <a:lnTo>
                  <a:pt x="46" y="44"/>
                </a:lnTo>
                <a:lnTo>
                  <a:pt x="46" y="44"/>
                </a:lnTo>
                <a:lnTo>
                  <a:pt x="46" y="44"/>
                </a:lnTo>
                <a:lnTo>
                  <a:pt x="46" y="44"/>
                </a:lnTo>
                <a:lnTo>
                  <a:pt x="46" y="44"/>
                </a:lnTo>
                <a:lnTo>
                  <a:pt x="46" y="44"/>
                </a:lnTo>
                <a:lnTo>
                  <a:pt x="46" y="44"/>
                </a:lnTo>
                <a:lnTo>
                  <a:pt x="46" y="44"/>
                </a:lnTo>
                <a:lnTo>
                  <a:pt x="48" y="48"/>
                </a:lnTo>
                <a:lnTo>
                  <a:pt x="48" y="48"/>
                </a:lnTo>
                <a:lnTo>
                  <a:pt x="48" y="48"/>
                </a:lnTo>
                <a:lnTo>
                  <a:pt x="48" y="52"/>
                </a:lnTo>
                <a:lnTo>
                  <a:pt x="48" y="52"/>
                </a:lnTo>
                <a:lnTo>
                  <a:pt x="48" y="52"/>
                </a:lnTo>
                <a:lnTo>
                  <a:pt x="48" y="52"/>
                </a:lnTo>
                <a:lnTo>
                  <a:pt x="48" y="52"/>
                </a:lnTo>
                <a:lnTo>
                  <a:pt x="48" y="52"/>
                </a:lnTo>
                <a:lnTo>
                  <a:pt x="48" y="52"/>
                </a:lnTo>
                <a:lnTo>
                  <a:pt x="48" y="48"/>
                </a:lnTo>
                <a:lnTo>
                  <a:pt x="48" y="48"/>
                </a:lnTo>
                <a:lnTo>
                  <a:pt x="48" y="48"/>
                </a:lnTo>
                <a:lnTo>
                  <a:pt x="48" y="48"/>
                </a:lnTo>
                <a:lnTo>
                  <a:pt x="48" y="44"/>
                </a:lnTo>
                <a:lnTo>
                  <a:pt x="48" y="44"/>
                </a:lnTo>
                <a:lnTo>
                  <a:pt x="48" y="44"/>
                </a:lnTo>
                <a:lnTo>
                  <a:pt x="52" y="48"/>
                </a:lnTo>
                <a:lnTo>
                  <a:pt x="52" y="48"/>
                </a:lnTo>
                <a:lnTo>
                  <a:pt x="52" y="48"/>
                </a:lnTo>
                <a:lnTo>
                  <a:pt x="52" y="48"/>
                </a:lnTo>
                <a:lnTo>
                  <a:pt x="52" y="52"/>
                </a:lnTo>
                <a:lnTo>
                  <a:pt x="52" y="52"/>
                </a:lnTo>
                <a:lnTo>
                  <a:pt x="52" y="52"/>
                </a:lnTo>
                <a:lnTo>
                  <a:pt x="52" y="56"/>
                </a:lnTo>
                <a:lnTo>
                  <a:pt x="56" y="56"/>
                </a:lnTo>
                <a:lnTo>
                  <a:pt x="56" y="56"/>
                </a:lnTo>
                <a:lnTo>
                  <a:pt x="56" y="56"/>
                </a:lnTo>
                <a:lnTo>
                  <a:pt x="56" y="52"/>
                </a:lnTo>
                <a:lnTo>
                  <a:pt x="60" y="52"/>
                </a:lnTo>
                <a:lnTo>
                  <a:pt x="60" y="56"/>
                </a:lnTo>
                <a:lnTo>
                  <a:pt x="60" y="56"/>
                </a:lnTo>
                <a:lnTo>
                  <a:pt x="64" y="56"/>
                </a:lnTo>
                <a:lnTo>
                  <a:pt x="64" y="56"/>
                </a:lnTo>
                <a:lnTo>
                  <a:pt x="64" y="60"/>
                </a:lnTo>
                <a:lnTo>
                  <a:pt x="64" y="60"/>
                </a:lnTo>
                <a:lnTo>
                  <a:pt x="64" y="60"/>
                </a:lnTo>
                <a:lnTo>
                  <a:pt x="68" y="60"/>
                </a:lnTo>
                <a:lnTo>
                  <a:pt x="72" y="64"/>
                </a:lnTo>
                <a:lnTo>
                  <a:pt x="72" y="64"/>
                </a:lnTo>
                <a:lnTo>
                  <a:pt x="72" y="68"/>
                </a:lnTo>
                <a:lnTo>
                  <a:pt x="74" y="68"/>
                </a:lnTo>
                <a:lnTo>
                  <a:pt x="74" y="72"/>
                </a:lnTo>
                <a:lnTo>
                  <a:pt x="74" y="72"/>
                </a:lnTo>
                <a:lnTo>
                  <a:pt x="74" y="72"/>
                </a:lnTo>
                <a:lnTo>
                  <a:pt x="74" y="72"/>
                </a:lnTo>
                <a:lnTo>
                  <a:pt x="74" y="72"/>
                </a:lnTo>
                <a:lnTo>
                  <a:pt x="78" y="74"/>
                </a:lnTo>
                <a:lnTo>
                  <a:pt x="78" y="74"/>
                </a:lnTo>
                <a:lnTo>
                  <a:pt x="78" y="74"/>
                </a:lnTo>
                <a:lnTo>
                  <a:pt x="78" y="74"/>
                </a:lnTo>
                <a:lnTo>
                  <a:pt x="82" y="74"/>
                </a:lnTo>
                <a:lnTo>
                  <a:pt x="82" y="74"/>
                </a:lnTo>
                <a:lnTo>
                  <a:pt x="82" y="78"/>
                </a:lnTo>
                <a:lnTo>
                  <a:pt x="82" y="78"/>
                </a:lnTo>
                <a:lnTo>
                  <a:pt x="82" y="78"/>
                </a:lnTo>
                <a:lnTo>
                  <a:pt x="82" y="78"/>
                </a:lnTo>
                <a:lnTo>
                  <a:pt x="82" y="78"/>
                </a:lnTo>
                <a:lnTo>
                  <a:pt x="82" y="78"/>
                </a:lnTo>
                <a:lnTo>
                  <a:pt x="82" y="78"/>
                </a:lnTo>
                <a:lnTo>
                  <a:pt x="82" y="78"/>
                </a:lnTo>
                <a:lnTo>
                  <a:pt x="82" y="78"/>
                </a:lnTo>
                <a:lnTo>
                  <a:pt x="86" y="78"/>
                </a:lnTo>
                <a:lnTo>
                  <a:pt x="86" y="82"/>
                </a:lnTo>
                <a:lnTo>
                  <a:pt x="86" y="82"/>
                </a:lnTo>
                <a:lnTo>
                  <a:pt x="86" y="82"/>
                </a:lnTo>
                <a:lnTo>
                  <a:pt x="86" y="86"/>
                </a:lnTo>
                <a:lnTo>
                  <a:pt x="86" y="86"/>
                </a:lnTo>
                <a:lnTo>
                  <a:pt x="86" y="86"/>
                </a:lnTo>
                <a:lnTo>
                  <a:pt x="90" y="86"/>
                </a:lnTo>
                <a:lnTo>
                  <a:pt x="90" y="86"/>
                </a:lnTo>
                <a:lnTo>
                  <a:pt x="90" y="90"/>
                </a:lnTo>
                <a:lnTo>
                  <a:pt x="90" y="90"/>
                </a:lnTo>
                <a:lnTo>
                  <a:pt x="90" y="90"/>
                </a:lnTo>
                <a:lnTo>
                  <a:pt x="90" y="90"/>
                </a:lnTo>
                <a:lnTo>
                  <a:pt x="94" y="94"/>
                </a:lnTo>
                <a:lnTo>
                  <a:pt x="94" y="94"/>
                </a:lnTo>
                <a:lnTo>
                  <a:pt x="94" y="94"/>
                </a:lnTo>
                <a:lnTo>
                  <a:pt x="94" y="90"/>
                </a:lnTo>
                <a:lnTo>
                  <a:pt x="94" y="90"/>
                </a:lnTo>
                <a:lnTo>
                  <a:pt x="94" y="90"/>
                </a:lnTo>
                <a:lnTo>
                  <a:pt x="98" y="94"/>
                </a:lnTo>
                <a:lnTo>
                  <a:pt x="98" y="94"/>
                </a:lnTo>
                <a:lnTo>
                  <a:pt x="98" y="94"/>
                </a:lnTo>
                <a:lnTo>
                  <a:pt x="94" y="94"/>
                </a:lnTo>
                <a:lnTo>
                  <a:pt x="90" y="98"/>
                </a:lnTo>
                <a:lnTo>
                  <a:pt x="90" y="98"/>
                </a:lnTo>
                <a:lnTo>
                  <a:pt x="90" y="98"/>
                </a:lnTo>
                <a:lnTo>
                  <a:pt x="90" y="100"/>
                </a:lnTo>
                <a:lnTo>
                  <a:pt x="90" y="100"/>
                </a:lnTo>
                <a:lnTo>
                  <a:pt x="90" y="98"/>
                </a:lnTo>
                <a:lnTo>
                  <a:pt x="90" y="98"/>
                </a:lnTo>
                <a:lnTo>
                  <a:pt x="90" y="98"/>
                </a:lnTo>
                <a:lnTo>
                  <a:pt x="86" y="98"/>
                </a:lnTo>
                <a:lnTo>
                  <a:pt x="86" y="98"/>
                </a:lnTo>
                <a:lnTo>
                  <a:pt x="86" y="98"/>
                </a:lnTo>
                <a:lnTo>
                  <a:pt x="86" y="98"/>
                </a:lnTo>
                <a:lnTo>
                  <a:pt x="86" y="98"/>
                </a:lnTo>
                <a:lnTo>
                  <a:pt x="86" y="98"/>
                </a:lnTo>
                <a:lnTo>
                  <a:pt x="86" y="98"/>
                </a:lnTo>
                <a:lnTo>
                  <a:pt x="86" y="98"/>
                </a:lnTo>
                <a:lnTo>
                  <a:pt x="86" y="98"/>
                </a:lnTo>
                <a:lnTo>
                  <a:pt x="82" y="98"/>
                </a:lnTo>
                <a:lnTo>
                  <a:pt x="82" y="94"/>
                </a:lnTo>
                <a:lnTo>
                  <a:pt x="82" y="94"/>
                </a:lnTo>
                <a:lnTo>
                  <a:pt x="82" y="94"/>
                </a:lnTo>
                <a:lnTo>
                  <a:pt x="82" y="94"/>
                </a:lnTo>
                <a:lnTo>
                  <a:pt x="82" y="94"/>
                </a:lnTo>
                <a:lnTo>
                  <a:pt x="82" y="94"/>
                </a:lnTo>
                <a:lnTo>
                  <a:pt x="82" y="94"/>
                </a:lnTo>
                <a:lnTo>
                  <a:pt x="82" y="90"/>
                </a:lnTo>
                <a:lnTo>
                  <a:pt x="78" y="90"/>
                </a:lnTo>
                <a:lnTo>
                  <a:pt x="78" y="90"/>
                </a:lnTo>
                <a:lnTo>
                  <a:pt x="78" y="90"/>
                </a:lnTo>
                <a:lnTo>
                  <a:pt x="78" y="90"/>
                </a:lnTo>
                <a:lnTo>
                  <a:pt x="78" y="90"/>
                </a:lnTo>
                <a:lnTo>
                  <a:pt x="78" y="90"/>
                </a:lnTo>
                <a:lnTo>
                  <a:pt x="78" y="86"/>
                </a:lnTo>
                <a:lnTo>
                  <a:pt x="78" y="86"/>
                </a:lnTo>
                <a:lnTo>
                  <a:pt x="78" y="86"/>
                </a:lnTo>
                <a:lnTo>
                  <a:pt x="78" y="86"/>
                </a:lnTo>
                <a:lnTo>
                  <a:pt x="78" y="86"/>
                </a:lnTo>
                <a:lnTo>
                  <a:pt x="74" y="86"/>
                </a:lnTo>
                <a:lnTo>
                  <a:pt x="74" y="82"/>
                </a:lnTo>
                <a:lnTo>
                  <a:pt x="74" y="82"/>
                </a:lnTo>
                <a:lnTo>
                  <a:pt x="74" y="82"/>
                </a:lnTo>
                <a:lnTo>
                  <a:pt x="74" y="82"/>
                </a:lnTo>
                <a:lnTo>
                  <a:pt x="74" y="82"/>
                </a:lnTo>
                <a:lnTo>
                  <a:pt x="72" y="82"/>
                </a:lnTo>
                <a:lnTo>
                  <a:pt x="68" y="78"/>
                </a:lnTo>
                <a:lnTo>
                  <a:pt x="68" y="78"/>
                </a:lnTo>
                <a:lnTo>
                  <a:pt x="68" y="78"/>
                </a:lnTo>
                <a:lnTo>
                  <a:pt x="68" y="74"/>
                </a:lnTo>
                <a:lnTo>
                  <a:pt x="68" y="74"/>
                </a:lnTo>
                <a:lnTo>
                  <a:pt x="68" y="74"/>
                </a:lnTo>
                <a:lnTo>
                  <a:pt x="68" y="74"/>
                </a:lnTo>
                <a:lnTo>
                  <a:pt x="68" y="74"/>
                </a:lnTo>
                <a:lnTo>
                  <a:pt x="68" y="72"/>
                </a:lnTo>
                <a:lnTo>
                  <a:pt x="64" y="72"/>
                </a:lnTo>
                <a:lnTo>
                  <a:pt x="64" y="72"/>
                </a:lnTo>
                <a:lnTo>
                  <a:pt x="64" y="68"/>
                </a:lnTo>
                <a:lnTo>
                  <a:pt x="64" y="68"/>
                </a:lnTo>
                <a:lnTo>
                  <a:pt x="64" y="68"/>
                </a:lnTo>
                <a:lnTo>
                  <a:pt x="60" y="68"/>
                </a:lnTo>
                <a:lnTo>
                  <a:pt x="60" y="68"/>
                </a:lnTo>
                <a:lnTo>
                  <a:pt x="60" y="68"/>
                </a:lnTo>
                <a:lnTo>
                  <a:pt x="60" y="68"/>
                </a:lnTo>
                <a:lnTo>
                  <a:pt x="60" y="68"/>
                </a:lnTo>
                <a:lnTo>
                  <a:pt x="60" y="68"/>
                </a:lnTo>
                <a:lnTo>
                  <a:pt x="56" y="68"/>
                </a:lnTo>
                <a:lnTo>
                  <a:pt x="56" y="68"/>
                </a:lnTo>
                <a:lnTo>
                  <a:pt x="56" y="64"/>
                </a:lnTo>
                <a:lnTo>
                  <a:pt x="56" y="64"/>
                </a:lnTo>
                <a:lnTo>
                  <a:pt x="56" y="64"/>
                </a:lnTo>
                <a:lnTo>
                  <a:pt x="56" y="64"/>
                </a:lnTo>
                <a:lnTo>
                  <a:pt x="56" y="64"/>
                </a:lnTo>
                <a:lnTo>
                  <a:pt x="52" y="64"/>
                </a:lnTo>
                <a:lnTo>
                  <a:pt x="52" y="64"/>
                </a:lnTo>
                <a:lnTo>
                  <a:pt x="52" y="64"/>
                </a:lnTo>
                <a:lnTo>
                  <a:pt x="52" y="64"/>
                </a:lnTo>
                <a:lnTo>
                  <a:pt x="52" y="64"/>
                </a:lnTo>
                <a:lnTo>
                  <a:pt x="48" y="64"/>
                </a:lnTo>
                <a:lnTo>
                  <a:pt x="48" y="64"/>
                </a:lnTo>
                <a:lnTo>
                  <a:pt x="48" y="64"/>
                </a:lnTo>
                <a:lnTo>
                  <a:pt x="48" y="64"/>
                </a:lnTo>
                <a:lnTo>
                  <a:pt x="48" y="64"/>
                </a:lnTo>
                <a:lnTo>
                  <a:pt x="48" y="64"/>
                </a:lnTo>
                <a:lnTo>
                  <a:pt x="48" y="64"/>
                </a:lnTo>
                <a:lnTo>
                  <a:pt x="46" y="64"/>
                </a:lnTo>
                <a:lnTo>
                  <a:pt x="46" y="60"/>
                </a:lnTo>
                <a:lnTo>
                  <a:pt x="46" y="64"/>
                </a:lnTo>
                <a:lnTo>
                  <a:pt x="42" y="64"/>
                </a:lnTo>
                <a:lnTo>
                  <a:pt x="42" y="64"/>
                </a:lnTo>
                <a:lnTo>
                  <a:pt x="42" y="64"/>
                </a:lnTo>
                <a:lnTo>
                  <a:pt x="42" y="64"/>
                </a:lnTo>
                <a:lnTo>
                  <a:pt x="42" y="60"/>
                </a:lnTo>
                <a:lnTo>
                  <a:pt x="42" y="60"/>
                </a:lnTo>
                <a:lnTo>
                  <a:pt x="42" y="60"/>
                </a:lnTo>
                <a:lnTo>
                  <a:pt x="38" y="60"/>
                </a:lnTo>
                <a:lnTo>
                  <a:pt x="38" y="60"/>
                </a:lnTo>
                <a:lnTo>
                  <a:pt x="38" y="60"/>
                </a:lnTo>
                <a:lnTo>
                  <a:pt x="38" y="60"/>
                </a:lnTo>
                <a:lnTo>
                  <a:pt x="38" y="64"/>
                </a:lnTo>
                <a:lnTo>
                  <a:pt x="38" y="64"/>
                </a:lnTo>
                <a:lnTo>
                  <a:pt x="34" y="64"/>
                </a:lnTo>
                <a:lnTo>
                  <a:pt x="30" y="64"/>
                </a:lnTo>
                <a:lnTo>
                  <a:pt x="30" y="64"/>
                </a:lnTo>
                <a:lnTo>
                  <a:pt x="26" y="64"/>
                </a:lnTo>
                <a:lnTo>
                  <a:pt x="26" y="60"/>
                </a:lnTo>
                <a:lnTo>
                  <a:pt x="26" y="60"/>
                </a:lnTo>
                <a:lnTo>
                  <a:pt x="26" y="60"/>
                </a:lnTo>
                <a:lnTo>
                  <a:pt x="26" y="60"/>
                </a:lnTo>
                <a:lnTo>
                  <a:pt x="26" y="60"/>
                </a:lnTo>
                <a:lnTo>
                  <a:pt x="22" y="60"/>
                </a:lnTo>
                <a:lnTo>
                  <a:pt x="22" y="60"/>
                </a:lnTo>
                <a:lnTo>
                  <a:pt x="22" y="56"/>
                </a:lnTo>
                <a:lnTo>
                  <a:pt x="22" y="56"/>
                </a:lnTo>
                <a:lnTo>
                  <a:pt x="22" y="56"/>
                </a:lnTo>
                <a:lnTo>
                  <a:pt x="22" y="56"/>
                </a:lnTo>
                <a:lnTo>
                  <a:pt x="22" y="56"/>
                </a:lnTo>
                <a:lnTo>
                  <a:pt x="22" y="60"/>
                </a:lnTo>
                <a:lnTo>
                  <a:pt x="18" y="64"/>
                </a:lnTo>
                <a:lnTo>
                  <a:pt x="18" y="72"/>
                </a:lnTo>
                <a:lnTo>
                  <a:pt x="16" y="72"/>
                </a:lnTo>
                <a:lnTo>
                  <a:pt x="16" y="68"/>
                </a:lnTo>
                <a:lnTo>
                  <a:pt x="16" y="64"/>
                </a:lnTo>
                <a:lnTo>
                  <a:pt x="16" y="64"/>
                </a:lnTo>
                <a:lnTo>
                  <a:pt x="16" y="64"/>
                </a:lnTo>
                <a:lnTo>
                  <a:pt x="12" y="64"/>
                </a:lnTo>
                <a:lnTo>
                  <a:pt x="12" y="64"/>
                </a:lnTo>
                <a:lnTo>
                  <a:pt x="12" y="64"/>
                </a:lnTo>
                <a:lnTo>
                  <a:pt x="12" y="64"/>
                </a:lnTo>
                <a:lnTo>
                  <a:pt x="12" y="64"/>
                </a:lnTo>
                <a:lnTo>
                  <a:pt x="12" y="68"/>
                </a:lnTo>
                <a:lnTo>
                  <a:pt x="12" y="68"/>
                </a:lnTo>
                <a:lnTo>
                  <a:pt x="8" y="68"/>
                </a:lnTo>
                <a:lnTo>
                  <a:pt x="8" y="68"/>
                </a:lnTo>
                <a:lnTo>
                  <a:pt x="8" y="68"/>
                </a:lnTo>
                <a:lnTo>
                  <a:pt x="8" y="68"/>
                </a:lnTo>
                <a:lnTo>
                  <a:pt x="4" y="68"/>
                </a:lnTo>
                <a:lnTo>
                  <a:pt x="4" y="68"/>
                </a:lnTo>
                <a:lnTo>
                  <a:pt x="4" y="68"/>
                </a:lnTo>
                <a:lnTo>
                  <a:pt x="4" y="68"/>
                </a:lnTo>
                <a:lnTo>
                  <a:pt x="4" y="68"/>
                </a:lnTo>
                <a:lnTo>
                  <a:pt x="4" y="64"/>
                </a:lnTo>
                <a:lnTo>
                  <a:pt x="0" y="52"/>
                </a:lnTo>
                <a:lnTo>
                  <a:pt x="0" y="52"/>
                </a:lnTo>
                <a:lnTo>
                  <a:pt x="0" y="52"/>
                </a:lnTo>
                <a:lnTo>
                  <a:pt x="4" y="48"/>
                </a:lnTo>
                <a:lnTo>
                  <a:pt x="4" y="48"/>
                </a:lnTo>
                <a:lnTo>
                  <a:pt x="4" y="44"/>
                </a:lnTo>
                <a:lnTo>
                  <a:pt x="4" y="44"/>
                </a:lnTo>
                <a:lnTo>
                  <a:pt x="4" y="42"/>
                </a:lnTo>
                <a:lnTo>
                  <a:pt x="4" y="42"/>
                </a:lnTo>
                <a:lnTo>
                  <a:pt x="8" y="42"/>
                </a:lnTo>
                <a:lnTo>
                  <a:pt x="8" y="38"/>
                </a:lnTo>
                <a:lnTo>
                  <a:pt x="8" y="34"/>
                </a:lnTo>
                <a:lnTo>
                  <a:pt x="8" y="34"/>
                </a:lnTo>
                <a:lnTo>
                  <a:pt x="8" y="34"/>
                </a:lnTo>
                <a:lnTo>
                  <a:pt x="8" y="30"/>
                </a:lnTo>
                <a:lnTo>
                  <a:pt x="8" y="30"/>
                </a:lnTo>
                <a:lnTo>
                  <a:pt x="8" y="30"/>
                </a:lnTo>
                <a:lnTo>
                  <a:pt x="8" y="26"/>
                </a:lnTo>
                <a:lnTo>
                  <a:pt x="8" y="26"/>
                </a:lnTo>
                <a:lnTo>
                  <a:pt x="8" y="26"/>
                </a:lnTo>
                <a:lnTo>
                  <a:pt x="8" y="26"/>
                </a:lnTo>
                <a:lnTo>
                  <a:pt x="8" y="26"/>
                </a:lnTo>
                <a:lnTo>
                  <a:pt x="8" y="22"/>
                </a:lnTo>
                <a:lnTo>
                  <a:pt x="8" y="22"/>
                </a:lnTo>
                <a:lnTo>
                  <a:pt x="8" y="22"/>
                </a:lnTo>
                <a:lnTo>
                  <a:pt x="8" y="18"/>
                </a:lnTo>
                <a:lnTo>
                  <a:pt x="8" y="18"/>
                </a:lnTo>
                <a:lnTo>
                  <a:pt x="12" y="18"/>
                </a:lnTo>
                <a:lnTo>
                  <a:pt x="12" y="18"/>
                </a:lnTo>
                <a:lnTo>
                  <a:pt x="12" y="18"/>
                </a:lnTo>
                <a:lnTo>
                  <a:pt x="12" y="18"/>
                </a:lnTo>
                <a:lnTo>
                  <a:pt x="16" y="18"/>
                </a:lnTo>
                <a:lnTo>
                  <a:pt x="16" y="18"/>
                </a:lnTo>
                <a:lnTo>
                  <a:pt x="16" y="18"/>
                </a:lnTo>
                <a:lnTo>
                  <a:pt x="16" y="16"/>
                </a:lnTo>
                <a:lnTo>
                  <a:pt x="16" y="16"/>
                </a:lnTo>
                <a:lnTo>
                  <a:pt x="16" y="16"/>
                </a:lnTo>
                <a:lnTo>
                  <a:pt x="16" y="16"/>
                </a:lnTo>
                <a:lnTo>
                  <a:pt x="18" y="12"/>
                </a:lnTo>
                <a:lnTo>
                  <a:pt x="18" y="12"/>
                </a:lnTo>
                <a:lnTo>
                  <a:pt x="18" y="12"/>
                </a:lnTo>
                <a:lnTo>
                  <a:pt x="22" y="12"/>
                </a:lnTo>
                <a:lnTo>
                  <a:pt x="22" y="12"/>
                </a:lnTo>
                <a:lnTo>
                  <a:pt x="22" y="12"/>
                </a:lnTo>
                <a:lnTo>
                  <a:pt x="22" y="12"/>
                </a:lnTo>
                <a:lnTo>
                  <a:pt x="22" y="8"/>
                </a:lnTo>
                <a:lnTo>
                  <a:pt x="26" y="12"/>
                </a:lnTo>
                <a:lnTo>
                  <a:pt x="26" y="12"/>
                </a:lnTo>
                <a:lnTo>
                  <a:pt x="26" y="12"/>
                </a:lnTo>
                <a:lnTo>
                  <a:pt x="30" y="8"/>
                </a:lnTo>
                <a:lnTo>
                  <a:pt x="30" y="4"/>
                </a:lnTo>
                <a:lnTo>
                  <a:pt x="30" y="4"/>
                </a:lnTo>
                <a:lnTo>
                  <a:pt x="30" y="4"/>
                </a:lnTo>
                <a:lnTo>
                  <a:pt x="30" y="0"/>
                </a:lnTo>
                <a:lnTo>
                  <a:pt x="34" y="4"/>
                </a:lnTo>
                <a:lnTo>
                  <a:pt x="34" y="4"/>
                </a:lnTo>
                <a:lnTo>
                  <a:pt x="34" y="4"/>
                </a:lnTo>
                <a:lnTo>
                  <a:pt x="34" y="8"/>
                </a:lnTo>
                <a:lnTo>
                  <a:pt x="34" y="8"/>
                </a:lnTo>
                <a:lnTo>
                  <a:pt x="38" y="12"/>
                </a:lnTo>
                <a:lnTo>
                  <a:pt x="38" y="12"/>
                </a:lnTo>
                <a:lnTo>
                  <a:pt x="38" y="16"/>
                </a:lnTo>
                <a:lnTo>
                  <a:pt x="38" y="18"/>
                </a:lnTo>
                <a:lnTo>
                  <a:pt x="38" y="22"/>
                </a:lnTo>
                <a:lnTo>
                  <a:pt x="38" y="22"/>
                </a:lnTo>
                <a:lnTo>
                  <a:pt x="42" y="22"/>
                </a:lnTo>
                <a:lnTo>
                  <a:pt x="42" y="26"/>
                </a:lnTo>
                <a:lnTo>
                  <a:pt x="42" y="26"/>
                </a:lnTo>
                <a:lnTo>
                  <a:pt x="42" y="26"/>
                </a:lnTo>
                <a:lnTo>
                  <a:pt x="42" y="26"/>
                </a:lnTo>
                <a:lnTo>
                  <a:pt x="42" y="26"/>
                </a:lnTo>
                <a:lnTo>
                  <a:pt x="42" y="30"/>
                </a:lnTo>
                <a:lnTo>
                  <a:pt x="42" y="30"/>
                </a:lnTo>
                <a:lnTo>
                  <a:pt x="42" y="30"/>
                </a:lnTo>
                <a:lnTo>
                  <a:pt x="42" y="30"/>
                </a:lnTo>
                <a:lnTo>
                  <a:pt x="42" y="30"/>
                </a:lnTo>
                <a:close/>
                <a:moveTo>
                  <a:pt x="52" y="38"/>
                </a:moveTo>
                <a:lnTo>
                  <a:pt x="52" y="38"/>
                </a:lnTo>
                <a:lnTo>
                  <a:pt x="52" y="38"/>
                </a:lnTo>
                <a:lnTo>
                  <a:pt x="52" y="42"/>
                </a:lnTo>
                <a:lnTo>
                  <a:pt x="52" y="42"/>
                </a:lnTo>
                <a:lnTo>
                  <a:pt x="52" y="42"/>
                </a:lnTo>
                <a:lnTo>
                  <a:pt x="52" y="42"/>
                </a:lnTo>
                <a:lnTo>
                  <a:pt x="52" y="42"/>
                </a:lnTo>
                <a:lnTo>
                  <a:pt x="52" y="42"/>
                </a:lnTo>
                <a:lnTo>
                  <a:pt x="52" y="42"/>
                </a:lnTo>
                <a:lnTo>
                  <a:pt x="52" y="42"/>
                </a:lnTo>
                <a:lnTo>
                  <a:pt x="56" y="42"/>
                </a:lnTo>
                <a:lnTo>
                  <a:pt x="56" y="42"/>
                </a:lnTo>
                <a:lnTo>
                  <a:pt x="56" y="42"/>
                </a:lnTo>
                <a:lnTo>
                  <a:pt x="56" y="42"/>
                </a:lnTo>
                <a:lnTo>
                  <a:pt x="56" y="42"/>
                </a:lnTo>
                <a:lnTo>
                  <a:pt x="56" y="42"/>
                </a:lnTo>
                <a:lnTo>
                  <a:pt x="56" y="42"/>
                </a:lnTo>
                <a:lnTo>
                  <a:pt x="56" y="42"/>
                </a:lnTo>
                <a:lnTo>
                  <a:pt x="56" y="42"/>
                </a:lnTo>
                <a:lnTo>
                  <a:pt x="56" y="42"/>
                </a:lnTo>
                <a:lnTo>
                  <a:pt x="56" y="42"/>
                </a:lnTo>
                <a:lnTo>
                  <a:pt x="56" y="42"/>
                </a:lnTo>
                <a:lnTo>
                  <a:pt x="56" y="44"/>
                </a:lnTo>
                <a:lnTo>
                  <a:pt x="56" y="44"/>
                </a:lnTo>
                <a:lnTo>
                  <a:pt x="56" y="44"/>
                </a:lnTo>
                <a:lnTo>
                  <a:pt x="56" y="44"/>
                </a:lnTo>
                <a:lnTo>
                  <a:pt x="56" y="44"/>
                </a:lnTo>
                <a:lnTo>
                  <a:pt x="52" y="44"/>
                </a:lnTo>
                <a:lnTo>
                  <a:pt x="52" y="44"/>
                </a:lnTo>
                <a:lnTo>
                  <a:pt x="52" y="44"/>
                </a:lnTo>
                <a:lnTo>
                  <a:pt x="52" y="44"/>
                </a:lnTo>
                <a:lnTo>
                  <a:pt x="52" y="44"/>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38"/>
                </a:lnTo>
                <a:lnTo>
                  <a:pt x="52" y="38"/>
                </a:lnTo>
                <a:lnTo>
                  <a:pt x="52" y="38"/>
                </a:lnTo>
                <a:lnTo>
                  <a:pt x="52" y="38"/>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38" name="Freeform 145"/>
          <p:cNvSpPr>
            <a:spLocks/>
          </p:cNvSpPr>
          <p:nvPr/>
        </p:nvSpPr>
        <p:spPr bwMode="auto">
          <a:xfrm>
            <a:off x="4812506" y="3393281"/>
            <a:ext cx="252413" cy="235744"/>
          </a:xfrm>
          <a:custGeom>
            <a:avLst/>
            <a:gdLst>
              <a:gd name="T0" fmla="*/ 172 w 212"/>
              <a:gd name="T1" fmla="*/ 172 h 198"/>
              <a:gd name="T2" fmla="*/ 152 w 212"/>
              <a:gd name="T3" fmla="*/ 172 h 198"/>
              <a:gd name="T4" fmla="*/ 142 w 212"/>
              <a:gd name="T5" fmla="*/ 176 h 198"/>
              <a:gd name="T6" fmla="*/ 134 w 212"/>
              <a:gd name="T7" fmla="*/ 184 h 198"/>
              <a:gd name="T8" fmla="*/ 122 w 212"/>
              <a:gd name="T9" fmla="*/ 188 h 198"/>
              <a:gd name="T10" fmla="*/ 108 w 212"/>
              <a:gd name="T11" fmla="*/ 184 h 198"/>
              <a:gd name="T12" fmla="*/ 96 w 212"/>
              <a:gd name="T13" fmla="*/ 194 h 198"/>
              <a:gd name="T14" fmla="*/ 90 w 212"/>
              <a:gd name="T15" fmla="*/ 194 h 198"/>
              <a:gd name="T16" fmla="*/ 78 w 212"/>
              <a:gd name="T17" fmla="*/ 194 h 198"/>
              <a:gd name="T18" fmla="*/ 60 w 212"/>
              <a:gd name="T19" fmla="*/ 184 h 198"/>
              <a:gd name="T20" fmla="*/ 48 w 212"/>
              <a:gd name="T21" fmla="*/ 180 h 198"/>
              <a:gd name="T22" fmla="*/ 40 w 212"/>
              <a:gd name="T23" fmla="*/ 168 h 198"/>
              <a:gd name="T24" fmla="*/ 32 w 212"/>
              <a:gd name="T25" fmla="*/ 162 h 198"/>
              <a:gd name="T26" fmla="*/ 30 w 212"/>
              <a:gd name="T27" fmla="*/ 150 h 198"/>
              <a:gd name="T28" fmla="*/ 22 w 212"/>
              <a:gd name="T29" fmla="*/ 142 h 198"/>
              <a:gd name="T30" fmla="*/ 14 w 212"/>
              <a:gd name="T31" fmla="*/ 132 h 198"/>
              <a:gd name="T32" fmla="*/ 4 w 212"/>
              <a:gd name="T33" fmla="*/ 124 h 198"/>
              <a:gd name="T34" fmla="*/ 4 w 212"/>
              <a:gd name="T35" fmla="*/ 112 h 198"/>
              <a:gd name="T36" fmla="*/ 14 w 212"/>
              <a:gd name="T37" fmla="*/ 110 h 198"/>
              <a:gd name="T38" fmla="*/ 18 w 212"/>
              <a:gd name="T39" fmla="*/ 90 h 198"/>
              <a:gd name="T40" fmla="*/ 18 w 212"/>
              <a:gd name="T41" fmla="*/ 76 h 198"/>
              <a:gd name="T42" fmla="*/ 30 w 212"/>
              <a:gd name="T43" fmla="*/ 72 h 198"/>
              <a:gd name="T44" fmla="*/ 30 w 212"/>
              <a:gd name="T45" fmla="*/ 56 h 198"/>
              <a:gd name="T46" fmla="*/ 36 w 212"/>
              <a:gd name="T47" fmla="*/ 42 h 198"/>
              <a:gd name="T48" fmla="*/ 44 w 212"/>
              <a:gd name="T49" fmla="*/ 34 h 198"/>
              <a:gd name="T50" fmla="*/ 48 w 212"/>
              <a:gd name="T51" fmla="*/ 16 h 198"/>
              <a:gd name="T52" fmla="*/ 60 w 212"/>
              <a:gd name="T53" fmla="*/ 8 h 198"/>
              <a:gd name="T54" fmla="*/ 66 w 212"/>
              <a:gd name="T55" fmla="*/ 16 h 198"/>
              <a:gd name="T56" fmla="*/ 70 w 212"/>
              <a:gd name="T57" fmla="*/ 4 h 198"/>
              <a:gd name="T58" fmla="*/ 82 w 212"/>
              <a:gd name="T59" fmla="*/ 8 h 198"/>
              <a:gd name="T60" fmla="*/ 90 w 212"/>
              <a:gd name="T61" fmla="*/ 8 h 198"/>
              <a:gd name="T62" fmla="*/ 96 w 212"/>
              <a:gd name="T63" fmla="*/ 8 h 198"/>
              <a:gd name="T64" fmla="*/ 108 w 212"/>
              <a:gd name="T65" fmla="*/ 12 h 198"/>
              <a:gd name="T66" fmla="*/ 116 w 212"/>
              <a:gd name="T67" fmla="*/ 20 h 198"/>
              <a:gd name="T68" fmla="*/ 122 w 212"/>
              <a:gd name="T69" fmla="*/ 30 h 198"/>
              <a:gd name="T70" fmla="*/ 130 w 212"/>
              <a:gd name="T71" fmla="*/ 38 h 198"/>
              <a:gd name="T72" fmla="*/ 130 w 212"/>
              <a:gd name="T73" fmla="*/ 46 h 198"/>
              <a:gd name="T74" fmla="*/ 122 w 212"/>
              <a:gd name="T75" fmla="*/ 60 h 198"/>
              <a:gd name="T76" fmla="*/ 130 w 212"/>
              <a:gd name="T77" fmla="*/ 68 h 198"/>
              <a:gd name="T78" fmla="*/ 142 w 212"/>
              <a:gd name="T79" fmla="*/ 72 h 198"/>
              <a:gd name="T80" fmla="*/ 142 w 212"/>
              <a:gd name="T81" fmla="*/ 82 h 198"/>
              <a:gd name="T82" fmla="*/ 148 w 212"/>
              <a:gd name="T83" fmla="*/ 94 h 198"/>
              <a:gd name="T84" fmla="*/ 164 w 212"/>
              <a:gd name="T85" fmla="*/ 106 h 198"/>
              <a:gd name="T86" fmla="*/ 186 w 212"/>
              <a:gd name="T87" fmla="*/ 112 h 198"/>
              <a:gd name="T88" fmla="*/ 198 w 212"/>
              <a:gd name="T89" fmla="*/ 120 h 198"/>
              <a:gd name="T90" fmla="*/ 208 w 212"/>
              <a:gd name="T91" fmla="*/ 124 h 198"/>
              <a:gd name="T92" fmla="*/ 186 w 212"/>
              <a:gd name="T93" fmla="*/ 150 h 198"/>
              <a:gd name="T94" fmla="*/ 178 w 212"/>
              <a:gd name="T95" fmla="*/ 162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2" h="198">
                <a:moveTo>
                  <a:pt x="178" y="162"/>
                </a:moveTo>
                <a:lnTo>
                  <a:pt x="176" y="164"/>
                </a:lnTo>
                <a:lnTo>
                  <a:pt x="172" y="168"/>
                </a:lnTo>
                <a:lnTo>
                  <a:pt x="172" y="172"/>
                </a:lnTo>
                <a:lnTo>
                  <a:pt x="164" y="172"/>
                </a:lnTo>
                <a:lnTo>
                  <a:pt x="160" y="172"/>
                </a:lnTo>
                <a:lnTo>
                  <a:pt x="156" y="172"/>
                </a:lnTo>
                <a:lnTo>
                  <a:pt x="152" y="172"/>
                </a:lnTo>
                <a:lnTo>
                  <a:pt x="148" y="172"/>
                </a:lnTo>
                <a:lnTo>
                  <a:pt x="148" y="176"/>
                </a:lnTo>
                <a:lnTo>
                  <a:pt x="146" y="176"/>
                </a:lnTo>
                <a:lnTo>
                  <a:pt x="142" y="176"/>
                </a:lnTo>
                <a:lnTo>
                  <a:pt x="142" y="180"/>
                </a:lnTo>
                <a:lnTo>
                  <a:pt x="142" y="184"/>
                </a:lnTo>
                <a:lnTo>
                  <a:pt x="138" y="184"/>
                </a:lnTo>
                <a:lnTo>
                  <a:pt x="134" y="184"/>
                </a:lnTo>
                <a:lnTo>
                  <a:pt x="130" y="184"/>
                </a:lnTo>
                <a:lnTo>
                  <a:pt x="130" y="188"/>
                </a:lnTo>
                <a:lnTo>
                  <a:pt x="126" y="188"/>
                </a:lnTo>
                <a:lnTo>
                  <a:pt x="122" y="188"/>
                </a:lnTo>
                <a:lnTo>
                  <a:pt x="118" y="188"/>
                </a:lnTo>
                <a:lnTo>
                  <a:pt x="116" y="188"/>
                </a:lnTo>
                <a:lnTo>
                  <a:pt x="112" y="184"/>
                </a:lnTo>
                <a:lnTo>
                  <a:pt x="108" y="184"/>
                </a:lnTo>
                <a:lnTo>
                  <a:pt x="104" y="188"/>
                </a:lnTo>
                <a:lnTo>
                  <a:pt x="100" y="188"/>
                </a:lnTo>
                <a:lnTo>
                  <a:pt x="96" y="192"/>
                </a:lnTo>
                <a:lnTo>
                  <a:pt x="96" y="194"/>
                </a:lnTo>
                <a:lnTo>
                  <a:pt x="92" y="194"/>
                </a:lnTo>
                <a:lnTo>
                  <a:pt x="92" y="198"/>
                </a:lnTo>
                <a:lnTo>
                  <a:pt x="90" y="198"/>
                </a:lnTo>
                <a:lnTo>
                  <a:pt x="90" y="194"/>
                </a:lnTo>
                <a:lnTo>
                  <a:pt x="90" y="198"/>
                </a:lnTo>
                <a:lnTo>
                  <a:pt x="86" y="194"/>
                </a:lnTo>
                <a:lnTo>
                  <a:pt x="82" y="194"/>
                </a:lnTo>
                <a:lnTo>
                  <a:pt x="78" y="194"/>
                </a:lnTo>
                <a:lnTo>
                  <a:pt x="74" y="194"/>
                </a:lnTo>
                <a:lnTo>
                  <a:pt x="70" y="194"/>
                </a:lnTo>
                <a:lnTo>
                  <a:pt x="70" y="192"/>
                </a:lnTo>
                <a:lnTo>
                  <a:pt x="60" y="184"/>
                </a:lnTo>
                <a:lnTo>
                  <a:pt x="60" y="180"/>
                </a:lnTo>
                <a:lnTo>
                  <a:pt x="56" y="180"/>
                </a:lnTo>
                <a:lnTo>
                  <a:pt x="52" y="180"/>
                </a:lnTo>
                <a:lnTo>
                  <a:pt x="48" y="180"/>
                </a:lnTo>
                <a:lnTo>
                  <a:pt x="44" y="180"/>
                </a:lnTo>
                <a:lnTo>
                  <a:pt x="40" y="180"/>
                </a:lnTo>
                <a:lnTo>
                  <a:pt x="40" y="176"/>
                </a:lnTo>
                <a:lnTo>
                  <a:pt x="40" y="168"/>
                </a:lnTo>
                <a:lnTo>
                  <a:pt x="40" y="164"/>
                </a:lnTo>
                <a:lnTo>
                  <a:pt x="36" y="164"/>
                </a:lnTo>
                <a:lnTo>
                  <a:pt x="32" y="164"/>
                </a:lnTo>
                <a:lnTo>
                  <a:pt x="32" y="162"/>
                </a:lnTo>
                <a:lnTo>
                  <a:pt x="30" y="162"/>
                </a:lnTo>
                <a:lnTo>
                  <a:pt x="30" y="158"/>
                </a:lnTo>
                <a:lnTo>
                  <a:pt x="30" y="154"/>
                </a:lnTo>
                <a:lnTo>
                  <a:pt x="30" y="150"/>
                </a:lnTo>
                <a:lnTo>
                  <a:pt x="26" y="150"/>
                </a:lnTo>
                <a:lnTo>
                  <a:pt x="26" y="146"/>
                </a:lnTo>
                <a:lnTo>
                  <a:pt x="26" y="142"/>
                </a:lnTo>
                <a:lnTo>
                  <a:pt x="22" y="142"/>
                </a:lnTo>
                <a:lnTo>
                  <a:pt x="22" y="138"/>
                </a:lnTo>
                <a:lnTo>
                  <a:pt x="18" y="138"/>
                </a:lnTo>
                <a:lnTo>
                  <a:pt x="18" y="136"/>
                </a:lnTo>
                <a:lnTo>
                  <a:pt x="14" y="132"/>
                </a:lnTo>
                <a:lnTo>
                  <a:pt x="14" y="128"/>
                </a:lnTo>
                <a:lnTo>
                  <a:pt x="10" y="124"/>
                </a:lnTo>
                <a:lnTo>
                  <a:pt x="6" y="124"/>
                </a:lnTo>
                <a:lnTo>
                  <a:pt x="4" y="124"/>
                </a:lnTo>
                <a:lnTo>
                  <a:pt x="0" y="124"/>
                </a:lnTo>
                <a:lnTo>
                  <a:pt x="0" y="120"/>
                </a:lnTo>
                <a:lnTo>
                  <a:pt x="4" y="116"/>
                </a:lnTo>
                <a:lnTo>
                  <a:pt x="4" y="112"/>
                </a:lnTo>
                <a:lnTo>
                  <a:pt x="6" y="112"/>
                </a:lnTo>
                <a:lnTo>
                  <a:pt x="10" y="112"/>
                </a:lnTo>
                <a:lnTo>
                  <a:pt x="14" y="112"/>
                </a:lnTo>
                <a:lnTo>
                  <a:pt x="14" y="110"/>
                </a:lnTo>
                <a:lnTo>
                  <a:pt x="18" y="106"/>
                </a:lnTo>
                <a:lnTo>
                  <a:pt x="18" y="102"/>
                </a:lnTo>
                <a:lnTo>
                  <a:pt x="14" y="94"/>
                </a:lnTo>
                <a:lnTo>
                  <a:pt x="18" y="90"/>
                </a:lnTo>
                <a:lnTo>
                  <a:pt x="18" y="86"/>
                </a:lnTo>
                <a:lnTo>
                  <a:pt x="18" y="82"/>
                </a:lnTo>
                <a:lnTo>
                  <a:pt x="18" y="80"/>
                </a:lnTo>
                <a:lnTo>
                  <a:pt x="18" y="76"/>
                </a:lnTo>
                <a:lnTo>
                  <a:pt x="22" y="72"/>
                </a:lnTo>
                <a:lnTo>
                  <a:pt x="22" y="68"/>
                </a:lnTo>
                <a:lnTo>
                  <a:pt x="26" y="72"/>
                </a:lnTo>
                <a:lnTo>
                  <a:pt x="30" y="72"/>
                </a:lnTo>
                <a:lnTo>
                  <a:pt x="30" y="68"/>
                </a:lnTo>
                <a:lnTo>
                  <a:pt x="30" y="64"/>
                </a:lnTo>
                <a:lnTo>
                  <a:pt x="30" y="60"/>
                </a:lnTo>
                <a:lnTo>
                  <a:pt x="30" y="56"/>
                </a:lnTo>
                <a:lnTo>
                  <a:pt x="30" y="54"/>
                </a:lnTo>
                <a:lnTo>
                  <a:pt x="32" y="54"/>
                </a:lnTo>
                <a:lnTo>
                  <a:pt x="32" y="50"/>
                </a:lnTo>
                <a:lnTo>
                  <a:pt x="36" y="42"/>
                </a:lnTo>
                <a:lnTo>
                  <a:pt x="36" y="38"/>
                </a:lnTo>
                <a:lnTo>
                  <a:pt x="40" y="38"/>
                </a:lnTo>
                <a:lnTo>
                  <a:pt x="44" y="38"/>
                </a:lnTo>
                <a:lnTo>
                  <a:pt x="44" y="34"/>
                </a:lnTo>
                <a:lnTo>
                  <a:pt x="48" y="26"/>
                </a:lnTo>
                <a:lnTo>
                  <a:pt x="48" y="24"/>
                </a:lnTo>
                <a:lnTo>
                  <a:pt x="48" y="20"/>
                </a:lnTo>
                <a:lnTo>
                  <a:pt x="48" y="16"/>
                </a:lnTo>
                <a:lnTo>
                  <a:pt x="52" y="12"/>
                </a:lnTo>
                <a:lnTo>
                  <a:pt x="56" y="12"/>
                </a:lnTo>
                <a:lnTo>
                  <a:pt x="60" y="12"/>
                </a:lnTo>
                <a:lnTo>
                  <a:pt x="60" y="8"/>
                </a:lnTo>
                <a:lnTo>
                  <a:pt x="62" y="8"/>
                </a:lnTo>
                <a:lnTo>
                  <a:pt x="62" y="12"/>
                </a:lnTo>
                <a:lnTo>
                  <a:pt x="62" y="16"/>
                </a:lnTo>
                <a:lnTo>
                  <a:pt x="66" y="16"/>
                </a:lnTo>
                <a:lnTo>
                  <a:pt x="66" y="8"/>
                </a:lnTo>
                <a:lnTo>
                  <a:pt x="70" y="4"/>
                </a:lnTo>
                <a:lnTo>
                  <a:pt x="70" y="0"/>
                </a:lnTo>
                <a:lnTo>
                  <a:pt x="70" y="4"/>
                </a:lnTo>
                <a:lnTo>
                  <a:pt x="74" y="4"/>
                </a:lnTo>
                <a:lnTo>
                  <a:pt x="74" y="8"/>
                </a:lnTo>
                <a:lnTo>
                  <a:pt x="78" y="8"/>
                </a:lnTo>
                <a:lnTo>
                  <a:pt x="82" y="8"/>
                </a:lnTo>
                <a:lnTo>
                  <a:pt x="86" y="8"/>
                </a:lnTo>
                <a:lnTo>
                  <a:pt x="86" y="4"/>
                </a:lnTo>
                <a:lnTo>
                  <a:pt x="90" y="4"/>
                </a:lnTo>
                <a:lnTo>
                  <a:pt x="90" y="8"/>
                </a:lnTo>
                <a:lnTo>
                  <a:pt x="92" y="8"/>
                </a:lnTo>
                <a:lnTo>
                  <a:pt x="92" y="4"/>
                </a:lnTo>
                <a:lnTo>
                  <a:pt x="92" y="8"/>
                </a:lnTo>
                <a:lnTo>
                  <a:pt x="96" y="8"/>
                </a:lnTo>
                <a:lnTo>
                  <a:pt x="100" y="8"/>
                </a:lnTo>
                <a:lnTo>
                  <a:pt x="104" y="8"/>
                </a:lnTo>
                <a:lnTo>
                  <a:pt x="104" y="12"/>
                </a:lnTo>
                <a:lnTo>
                  <a:pt x="108" y="12"/>
                </a:lnTo>
                <a:lnTo>
                  <a:pt x="112" y="12"/>
                </a:lnTo>
                <a:lnTo>
                  <a:pt x="112" y="16"/>
                </a:lnTo>
                <a:lnTo>
                  <a:pt x="116" y="16"/>
                </a:lnTo>
                <a:lnTo>
                  <a:pt x="116" y="20"/>
                </a:lnTo>
                <a:lnTo>
                  <a:pt x="116" y="24"/>
                </a:lnTo>
                <a:lnTo>
                  <a:pt x="118" y="26"/>
                </a:lnTo>
                <a:lnTo>
                  <a:pt x="122" y="26"/>
                </a:lnTo>
                <a:lnTo>
                  <a:pt x="122" y="30"/>
                </a:lnTo>
                <a:lnTo>
                  <a:pt x="126" y="30"/>
                </a:lnTo>
                <a:lnTo>
                  <a:pt x="126" y="34"/>
                </a:lnTo>
                <a:lnTo>
                  <a:pt x="130" y="34"/>
                </a:lnTo>
                <a:lnTo>
                  <a:pt x="130" y="38"/>
                </a:lnTo>
                <a:lnTo>
                  <a:pt x="130" y="42"/>
                </a:lnTo>
                <a:lnTo>
                  <a:pt x="134" y="42"/>
                </a:lnTo>
                <a:lnTo>
                  <a:pt x="134" y="46"/>
                </a:lnTo>
                <a:lnTo>
                  <a:pt x="130" y="46"/>
                </a:lnTo>
                <a:lnTo>
                  <a:pt x="130" y="50"/>
                </a:lnTo>
                <a:lnTo>
                  <a:pt x="126" y="54"/>
                </a:lnTo>
                <a:lnTo>
                  <a:pt x="126" y="56"/>
                </a:lnTo>
                <a:lnTo>
                  <a:pt x="122" y="60"/>
                </a:lnTo>
                <a:lnTo>
                  <a:pt x="126" y="60"/>
                </a:lnTo>
                <a:lnTo>
                  <a:pt x="126" y="64"/>
                </a:lnTo>
                <a:lnTo>
                  <a:pt x="126" y="68"/>
                </a:lnTo>
                <a:lnTo>
                  <a:pt x="130" y="68"/>
                </a:lnTo>
                <a:lnTo>
                  <a:pt x="134" y="68"/>
                </a:lnTo>
                <a:lnTo>
                  <a:pt x="138" y="68"/>
                </a:lnTo>
                <a:lnTo>
                  <a:pt x="142" y="68"/>
                </a:lnTo>
                <a:lnTo>
                  <a:pt x="142" y="72"/>
                </a:lnTo>
                <a:lnTo>
                  <a:pt x="138" y="72"/>
                </a:lnTo>
                <a:lnTo>
                  <a:pt x="138" y="76"/>
                </a:lnTo>
                <a:lnTo>
                  <a:pt x="138" y="80"/>
                </a:lnTo>
                <a:lnTo>
                  <a:pt x="142" y="82"/>
                </a:lnTo>
                <a:lnTo>
                  <a:pt x="142" y="86"/>
                </a:lnTo>
                <a:lnTo>
                  <a:pt x="146" y="86"/>
                </a:lnTo>
                <a:lnTo>
                  <a:pt x="146" y="90"/>
                </a:lnTo>
                <a:lnTo>
                  <a:pt x="148" y="94"/>
                </a:lnTo>
                <a:lnTo>
                  <a:pt x="148" y="98"/>
                </a:lnTo>
                <a:lnTo>
                  <a:pt x="152" y="98"/>
                </a:lnTo>
                <a:lnTo>
                  <a:pt x="156" y="102"/>
                </a:lnTo>
                <a:lnTo>
                  <a:pt x="164" y="106"/>
                </a:lnTo>
                <a:lnTo>
                  <a:pt x="172" y="110"/>
                </a:lnTo>
                <a:lnTo>
                  <a:pt x="176" y="110"/>
                </a:lnTo>
                <a:lnTo>
                  <a:pt x="178" y="112"/>
                </a:lnTo>
                <a:lnTo>
                  <a:pt x="186" y="112"/>
                </a:lnTo>
                <a:lnTo>
                  <a:pt x="190" y="116"/>
                </a:lnTo>
                <a:lnTo>
                  <a:pt x="194" y="116"/>
                </a:lnTo>
                <a:lnTo>
                  <a:pt x="198" y="116"/>
                </a:lnTo>
                <a:lnTo>
                  <a:pt x="198" y="120"/>
                </a:lnTo>
                <a:lnTo>
                  <a:pt x="202" y="120"/>
                </a:lnTo>
                <a:lnTo>
                  <a:pt x="208" y="120"/>
                </a:lnTo>
                <a:lnTo>
                  <a:pt x="212" y="120"/>
                </a:lnTo>
                <a:lnTo>
                  <a:pt x="208" y="124"/>
                </a:lnTo>
                <a:lnTo>
                  <a:pt x="204" y="128"/>
                </a:lnTo>
                <a:lnTo>
                  <a:pt x="198" y="136"/>
                </a:lnTo>
                <a:lnTo>
                  <a:pt x="194" y="142"/>
                </a:lnTo>
                <a:lnTo>
                  <a:pt x="186" y="150"/>
                </a:lnTo>
                <a:lnTo>
                  <a:pt x="186" y="154"/>
                </a:lnTo>
                <a:lnTo>
                  <a:pt x="182" y="154"/>
                </a:lnTo>
                <a:lnTo>
                  <a:pt x="178" y="158"/>
                </a:lnTo>
                <a:lnTo>
                  <a:pt x="178" y="162"/>
                </a:lnTo>
                <a:lnTo>
                  <a:pt x="178" y="162"/>
                </a:lnTo>
                <a:lnTo>
                  <a:pt x="178" y="162"/>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39" name="Freeform 146"/>
          <p:cNvSpPr>
            <a:spLocks noEditPoints="1"/>
          </p:cNvSpPr>
          <p:nvPr/>
        </p:nvSpPr>
        <p:spPr bwMode="auto">
          <a:xfrm>
            <a:off x="4402931" y="3652837"/>
            <a:ext cx="100013" cy="123825"/>
          </a:xfrm>
          <a:custGeom>
            <a:avLst/>
            <a:gdLst>
              <a:gd name="T0" fmla="*/ 46 w 84"/>
              <a:gd name="T1" fmla="*/ 90 h 104"/>
              <a:gd name="T2" fmla="*/ 46 w 84"/>
              <a:gd name="T3" fmla="*/ 96 h 104"/>
              <a:gd name="T4" fmla="*/ 46 w 84"/>
              <a:gd name="T5" fmla="*/ 100 h 104"/>
              <a:gd name="T6" fmla="*/ 42 w 84"/>
              <a:gd name="T7" fmla="*/ 100 h 104"/>
              <a:gd name="T8" fmla="*/ 34 w 84"/>
              <a:gd name="T9" fmla="*/ 104 h 104"/>
              <a:gd name="T10" fmla="*/ 30 w 84"/>
              <a:gd name="T11" fmla="*/ 100 h 104"/>
              <a:gd name="T12" fmla="*/ 26 w 84"/>
              <a:gd name="T13" fmla="*/ 92 h 104"/>
              <a:gd name="T14" fmla="*/ 20 w 84"/>
              <a:gd name="T15" fmla="*/ 86 h 104"/>
              <a:gd name="T16" fmla="*/ 16 w 84"/>
              <a:gd name="T17" fmla="*/ 82 h 104"/>
              <a:gd name="T18" fmla="*/ 20 w 84"/>
              <a:gd name="T19" fmla="*/ 82 h 104"/>
              <a:gd name="T20" fmla="*/ 16 w 84"/>
              <a:gd name="T21" fmla="*/ 82 h 104"/>
              <a:gd name="T22" fmla="*/ 12 w 84"/>
              <a:gd name="T23" fmla="*/ 74 h 104"/>
              <a:gd name="T24" fmla="*/ 12 w 84"/>
              <a:gd name="T25" fmla="*/ 74 h 104"/>
              <a:gd name="T26" fmla="*/ 8 w 84"/>
              <a:gd name="T27" fmla="*/ 70 h 104"/>
              <a:gd name="T28" fmla="*/ 8 w 84"/>
              <a:gd name="T29" fmla="*/ 68 h 104"/>
              <a:gd name="T30" fmla="*/ 4 w 84"/>
              <a:gd name="T31" fmla="*/ 60 h 104"/>
              <a:gd name="T32" fmla="*/ 12 w 84"/>
              <a:gd name="T33" fmla="*/ 68 h 104"/>
              <a:gd name="T34" fmla="*/ 12 w 84"/>
              <a:gd name="T35" fmla="*/ 68 h 104"/>
              <a:gd name="T36" fmla="*/ 8 w 84"/>
              <a:gd name="T37" fmla="*/ 64 h 104"/>
              <a:gd name="T38" fmla="*/ 4 w 84"/>
              <a:gd name="T39" fmla="*/ 64 h 104"/>
              <a:gd name="T40" fmla="*/ 0 w 84"/>
              <a:gd name="T41" fmla="*/ 48 h 104"/>
              <a:gd name="T42" fmla="*/ 4 w 84"/>
              <a:gd name="T43" fmla="*/ 52 h 104"/>
              <a:gd name="T44" fmla="*/ 8 w 84"/>
              <a:gd name="T45" fmla="*/ 44 h 104"/>
              <a:gd name="T46" fmla="*/ 8 w 84"/>
              <a:gd name="T47" fmla="*/ 40 h 104"/>
              <a:gd name="T48" fmla="*/ 8 w 84"/>
              <a:gd name="T49" fmla="*/ 38 h 104"/>
              <a:gd name="T50" fmla="*/ 12 w 84"/>
              <a:gd name="T51" fmla="*/ 38 h 104"/>
              <a:gd name="T52" fmla="*/ 16 w 84"/>
              <a:gd name="T53" fmla="*/ 38 h 104"/>
              <a:gd name="T54" fmla="*/ 12 w 84"/>
              <a:gd name="T55" fmla="*/ 30 h 104"/>
              <a:gd name="T56" fmla="*/ 12 w 84"/>
              <a:gd name="T57" fmla="*/ 30 h 104"/>
              <a:gd name="T58" fmla="*/ 16 w 84"/>
              <a:gd name="T59" fmla="*/ 26 h 104"/>
              <a:gd name="T60" fmla="*/ 16 w 84"/>
              <a:gd name="T61" fmla="*/ 22 h 104"/>
              <a:gd name="T62" fmla="*/ 20 w 84"/>
              <a:gd name="T63" fmla="*/ 22 h 104"/>
              <a:gd name="T64" fmla="*/ 26 w 84"/>
              <a:gd name="T65" fmla="*/ 22 h 104"/>
              <a:gd name="T66" fmla="*/ 38 w 84"/>
              <a:gd name="T67" fmla="*/ 10 h 104"/>
              <a:gd name="T68" fmla="*/ 38 w 84"/>
              <a:gd name="T69" fmla="*/ 0 h 104"/>
              <a:gd name="T70" fmla="*/ 54 w 84"/>
              <a:gd name="T71" fmla="*/ 0 h 104"/>
              <a:gd name="T72" fmla="*/ 64 w 84"/>
              <a:gd name="T73" fmla="*/ 0 h 104"/>
              <a:gd name="T74" fmla="*/ 64 w 84"/>
              <a:gd name="T75" fmla="*/ 4 h 104"/>
              <a:gd name="T76" fmla="*/ 64 w 84"/>
              <a:gd name="T77" fmla="*/ 10 h 104"/>
              <a:gd name="T78" fmla="*/ 64 w 84"/>
              <a:gd name="T79" fmla="*/ 18 h 104"/>
              <a:gd name="T80" fmla="*/ 72 w 84"/>
              <a:gd name="T81" fmla="*/ 14 h 104"/>
              <a:gd name="T82" fmla="*/ 80 w 84"/>
              <a:gd name="T83" fmla="*/ 14 h 104"/>
              <a:gd name="T84" fmla="*/ 84 w 84"/>
              <a:gd name="T85" fmla="*/ 22 h 104"/>
              <a:gd name="T86" fmla="*/ 76 w 84"/>
              <a:gd name="T87" fmla="*/ 30 h 104"/>
              <a:gd name="T88" fmla="*/ 76 w 84"/>
              <a:gd name="T89" fmla="*/ 40 h 104"/>
              <a:gd name="T90" fmla="*/ 80 w 84"/>
              <a:gd name="T91" fmla="*/ 44 h 104"/>
              <a:gd name="T92" fmla="*/ 84 w 84"/>
              <a:gd name="T93" fmla="*/ 48 h 104"/>
              <a:gd name="T94" fmla="*/ 84 w 84"/>
              <a:gd name="T95" fmla="*/ 60 h 104"/>
              <a:gd name="T96" fmla="*/ 84 w 84"/>
              <a:gd name="T97" fmla="*/ 70 h 104"/>
              <a:gd name="T98" fmla="*/ 80 w 84"/>
              <a:gd name="T99" fmla="*/ 74 h 104"/>
              <a:gd name="T100" fmla="*/ 76 w 84"/>
              <a:gd name="T101" fmla="*/ 82 h 104"/>
              <a:gd name="T102" fmla="*/ 72 w 84"/>
              <a:gd name="T103" fmla="*/ 78 h 104"/>
              <a:gd name="T104" fmla="*/ 64 w 84"/>
              <a:gd name="T105" fmla="*/ 78 h 104"/>
              <a:gd name="T106" fmla="*/ 60 w 84"/>
              <a:gd name="T107" fmla="*/ 78 h 104"/>
              <a:gd name="T108" fmla="*/ 56 w 84"/>
              <a:gd name="T109" fmla="*/ 70 h 104"/>
              <a:gd name="T110" fmla="*/ 54 w 84"/>
              <a:gd name="T111" fmla="*/ 74 h 104"/>
              <a:gd name="T112" fmla="*/ 50 w 84"/>
              <a:gd name="T113" fmla="*/ 78 h 104"/>
              <a:gd name="T114" fmla="*/ 42 w 84"/>
              <a:gd name="T115" fmla="*/ 78 h 104"/>
              <a:gd name="T116" fmla="*/ 42 w 84"/>
              <a:gd name="T117" fmla="*/ 86 h 104"/>
              <a:gd name="T118" fmla="*/ 4 w 84"/>
              <a:gd name="T119" fmla="*/ 52 h 104"/>
              <a:gd name="T120" fmla="*/ 4 w 84"/>
              <a:gd name="T121" fmla="*/ 5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4" h="104">
                <a:moveTo>
                  <a:pt x="42" y="86"/>
                </a:moveTo>
                <a:lnTo>
                  <a:pt x="42" y="86"/>
                </a:lnTo>
                <a:lnTo>
                  <a:pt x="42" y="90"/>
                </a:lnTo>
                <a:lnTo>
                  <a:pt x="42" y="90"/>
                </a:lnTo>
                <a:lnTo>
                  <a:pt x="42" y="86"/>
                </a:lnTo>
                <a:lnTo>
                  <a:pt x="46" y="90"/>
                </a:lnTo>
                <a:lnTo>
                  <a:pt x="46" y="90"/>
                </a:lnTo>
                <a:lnTo>
                  <a:pt x="46" y="90"/>
                </a:lnTo>
                <a:lnTo>
                  <a:pt x="46" y="90"/>
                </a:lnTo>
                <a:lnTo>
                  <a:pt x="42" y="92"/>
                </a:lnTo>
                <a:lnTo>
                  <a:pt x="42" y="92"/>
                </a:lnTo>
                <a:lnTo>
                  <a:pt x="42" y="92"/>
                </a:lnTo>
                <a:lnTo>
                  <a:pt x="46" y="92"/>
                </a:lnTo>
                <a:lnTo>
                  <a:pt x="46" y="92"/>
                </a:lnTo>
                <a:lnTo>
                  <a:pt x="46" y="92"/>
                </a:lnTo>
                <a:lnTo>
                  <a:pt x="46" y="96"/>
                </a:lnTo>
                <a:lnTo>
                  <a:pt x="46" y="96"/>
                </a:lnTo>
                <a:lnTo>
                  <a:pt x="46" y="96"/>
                </a:lnTo>
                <a:lnTo>
                  <a:pt x="46" y="96"/>
                </a:lnTo>
                <a:lnTo>
                  <a:pt x="46" y="96"/>
                </a:lnTo>
                <a:lnTo>
                  <a:pt x="46" y="96"/>
                </a:lnTo>
                <a:lnTo>
                  <a:pt x="46" y="100"/>
                </a:lnTo>
                <a:lnTo>
                  <a:pt x="46" y="100"/>
                </a:lnTo>
                <a:lnTo>
                  <a:pt x="46" y="100"/>
                </a:lnTo>
                <a:lnTo>
                  <a:pt x="46" y="100"/>
                </a:lnTo>
                <a:lnTo>
                  <a:pt x="46" y="100"/>
                </a:lnTo>
                <a:lnTo>
                  <a:pt x="46" y="100"/>
                </a:lnTo>
                <a:lnTo>
                  <a:pt x="46" y="100"/>
                </a:lnTo>
                <a:lnTo>
                  <a:pt x="46" y="100"/>
                </a:lnTo>
                <a:lnTo>
                  <a:pt x="46" y="100"/>
                </a:lnTo>
                <a:lnTo>
                  <a:pt x="42" y="100"/>
                </a:lnTo>
                <a:lnTo>
                  <a:pt x="42" y="100"/>
                </a:lnTo>
                <a:lnTo>
                  <a:pt x="42" y="100"/>
                </a:lnTo>
                <a:lnTo>
                  <a:pt x="42" y="100"/>
                </a:lnTo>
                <a:lnTo>
                  <a:pt x="42" y="100"/>
                </a:lnTo>
                <a:lnTo>
                  <a:pt x="42" y="100"/>
                </a:lnTo>
                <a:lnTo>
                  <a:pt x="38" y="100"/>
                </a:lnTo>
                <a:lnTo>
                  <a:pt x="38" y="100"/>
                </a:lnTo>
                <a:lnTo>
                  <a:pt x="34" y="104"/>
                </a:lnTo>
                <a:lnTo>
                  <a:pt x="34" y="104"/>
                </a:lnTo>
                <a:lnTo>
                  <a:pt x="34" y="104"/>
                </a:lnTo>
                <a:lnTo>
                  <a:pt x="34" y="104"/>
                </a:lnTo>
                <a:lnTo>
                  <a:pt x="34" y="104"/>
                </a:lnTo>
                <a:lnTo>
                  <a:pt x="34" y="104"/>
                </a:lnTo>
                <a:lnTo>
                  <a:pt x="34" y="104"/>
                </a:lnTo>
                <a:lnTo>
                  <a:pt x="34" y="100"/>
                </a:lnTo>
                <a:lnTo>
                  <a:pt x="34" y="100"/>
                </a:lnTo>
                <a:lnTo>
                  <a:pt x="30" y="100"/>
                </a:lnTo>
                <a:lnTo>
                  <a:pt x="30" y="100"/>
                </a:lnTo>
                <a:lnTo>
                  <a:pt x="30" y="100"/>
                </a:lnTo>
                <a:lnTo>
                  <a:pt x="30" y="100"/>
                </a:lnTo>
                <a:lnTo>
                  <a:pt x="30" y="96"/>
                </a:lnTo>
                <a:lnTo>
                  <a:pt x="26" y="96"/>
                </a:lnTo>
                <a:lnTo>
                  <a:pt x="26" y="96"/>
                </a:lnTo>
                <a:lnTo>
                  <a:pt x="26" y="96"/>
                </a:lnTo>
                <a:lnTo>
                  <a:pt x="26" y="92"/>
                </a:lnTo>
                <a:lnTo>
                  <a:pt x="26" y="92"/>
                </a:lnTo>
                <a:lnTo>
                  <a:pt x="24" y="90"/>
                </a:lnTo>
                <a:lnTo>
                  <a:pt x="24" y="90"/>
                </a:lnTo>
                <a:lnTo>
                  <a:pt x="24" y="90"/>
                </a:lnTo>
                <a:lnTo>
                  <a:pt x="20" y="86"/>
                </a:lnTo>
                <a:lnTo>
                  <a:pt x="20" y="86"/>
                </a:lnTo>
                <a:lnTo>
                  <a:pt x="20" y="86"/>
                </a:lnTo>
                <a:lnTo>
                  <a:pt x="20" y="86"/>
                </a:lnTo>
                <a:lnTo>
                  <a:pt x="20" y="86"/>
                </a:lnTo>
                <a:lnTo>
                  <a:pt x="20" y="86"/>
                </a:lnTo>
                <a:lnTo>
                  <a:pt x="16" y="82"/>
                </a:lnTo>
                <a:lnTo>
                  <a:pt x="16" y="82"/>
                </a:lnTo>
                <a:lnTo>
                  <a:pt x="16" y="82"/>
                </a:lnTo>
                <a:lnTo>
                  <a:pt x="16" y="82"/>
                </a:lnTo>
                <a:lnTo>
                  <a:pt x="16" y="82"/>
                </a:lnTo>
                <a:lnTo>
                  <a:pt x="16" y="82"/>
                </a:lnTo>
                <a:lnTo>
                  <a:pt x="20" y="82"/>
                </a:lnTo>
                <a:lnTo>
                  <a:pt x="20" y="82"/>
                </a:lnTo>
                <a:lnTo>
                  <a:pt x="20" y="86"/>
                </a:lnTo>
                <a:lnTo>
                  <a:pt x="24" y="82"/>
                </a:lnTo>
                <a:lnTo>
                  <a:pt x="20" y="82"/>
                </a:lnTo>
                <a:lnTo>
                  <a:pt x="20" y="82"/>
                </a:lnTo>
                <a:lnTo>
                  <a:pt x="20" y="82"/>
                </a:lnTo>
                <a:lnTo>
                  <a:pt x="20" y="82"/>
                </a:lnTo>
                <a:lnTo>
                  <a:pt x="20" y="82"/>
                </a:lnTo>
                <a:lnTo>
                  <a:pt x="20" y="82"/>
                </a:lnTo>
                <a:lnTo>
                  <a:pt x="16" y="82"/>
                </a:lnTo>
                <a:lnTo>
                  <a:pt x="16" y="82"/>
                </a:lnTo>
                <a:lnTo>
                  <a:pt x="16" y="82"/>
                </a:lnTo>
                <a:lnTo>
                  <a:pt x="16" y="82"/>
                </a:lnTo>
                <a:lnTo>
                  <a:pt x="16" y="82"/>
                </a:lnTo>
                <a:lnTo>
                  <a:pt x="16" y="82"/>
                </a:lnTo>
                <a:lnTo>
                  <a:pt x="16" y="78"/>
                </a:lnTo>
                <a:lnTo>
                  <a:pt x="12" y="78"/>
                </a:lnTo>
                <a:lnTo>
                  <a:pt x="12" y="78"/>
                </a:lnTo>
                <a:lnTo>
                  <a:pt x="12" y="78"/>
                </a:lnTo>
                <a:lnTo>
                  <a:pt x="12" y="78"/>
                </a:lnTo>
                <a:lnTo>
                  <a:pt x="12" y="78"/>
                </a:lnTo>
                <a:lnTo>
                  <a:pt x="12" y="78"/>
                </a:lnTo>
                <a:lnTo>
                  <a:pt x="12" y="74"/>
                </a:lnTo>
                <a:lnTo>
                  <a:pt x="12" y="74"/>
                </a:lnTo>
                <a:lnTo>
                  <a:pt x="12" y="74"/>
                </a:lnTo>
                <a:lnTo>
                  <a:pt x="12" y="74"/>
                </a:lnTo>
                <a:lnTo>
                  <a:pt x="12" y="74"/>
                </a:lnTo>
                <a:lnTo>
                  <a:pt x="8" y="70"/>
                </a:lnTo>
                <a:lnTo>
                  <a:pt x="8" y="70"/>
                </a:lnTo>
                <a:lnTo>
                  <a:pt x="12" y="70"/>
                </a:lnTo>
                <a:lnTo>
                  <a:pt x="12" y="74"/>
                </a:lnTo>
                <a:lnTo>
                  <a:pt x="12" y="74"/>
                </a:lnTo>
                <a:lnTo>
                  <a:pt x="12" y="74"/>
                </a:lnTo>
                <a:lnTo>
                  <a:pt x="12" y="74"/>
                </a:lnTo>
                <a:lnTo>
                  <a:pt x="12" y="74"/>
                </a:lnTo>
                <a:lnTo>
                  <a:pt x="12" y="70"/>
                </a:lnTo>
                <a:lnTo>
                  <a:pt x="12" y="70"/>
                </a:lnTo>
                <a:lnTo>
                  <a:pt x="12" y="70"/>
                </a:lnTo>
                <a:lnTo>
                  <a:pt x="8" y="70"/>
                </a:lnTo>
                <a:lnTo>
                  <a:pt x="8" y="70"/>
                </a:lnTo>
                <a:lnTo>
                  <a:pt x="8" y="70"/>
                </a:lnTo>
                <a:lnTo>
                  <a:pt x="8" y="70"/>
                </a:lnTo>
                <a:lnTo>
                  <a:pt x="8" y="70"/>
                </a:lnTo>
                <a:lnTo>
                  <a:pt x="8" y="68"/>
                </a:lnTo>
                <a:lnTo>
                  <a:pt x="8" y="68"/>
                </a:lnTo>
                <a:lnTo>
                  <a:pt x="8" y="68"/>
                </a:lnTo>
                <a:lnTo>
                  <a:pt x="8" y="68"/>
                </a:lnTo>
                <a:lnTo>
                  <a:pt x="8" y="68"/>
                </a:lnTo>
                <a:lnTo>
                  <a:pt x="8" y="64"/>
                </a:lnTo>
                <a:lnTo>
                  <a:pt x="4" y="64"/>
                </a:lnTo>
                <a:lnTo>
                  <a:pt x="4" y="64"/>
                </a:lnTo>
                <a:lnTo>
                  <a:pt x="4" y="64"/>
                </a:lnTo>
                <a:lnTo>
                  <a:pt x="4" y="60"/>
                </a:lnTo>
                <a:lnTo>
                  <a:pt x="4" y="60"/>
                </a:lnTo>
                <a:lnTo>
                  <a:pt x="4" y="60"/>
                </a:lnTo>
                <a:lnTo>
                  <a:pt x="4" y="60"/>
                </a:lnTo>
                <a:lnTo>
                  <a:pt x="4" y="64"/>
                </a:lnTo>
                <a:lnTo>
                  <a:pt x="4" y="64"/>
                </a:lnTo>
                <a:lnTo>
                  <a:pt x="8" y="64"/>
                </a:lnTo>
                <a:lnTo>
                  <a:pt x="8" y="68"/>
                </a:lnTo>
                <a:lnTo>
                  <a:pt x="8" y="68"/>
                </a:lnTo>
                <a:lnTo>
                  <a:pt x="12" y="68"/>
                </a:lnTo>
                <a:lnTo>
                  <a:pt x="12" y="68"/>
                </a:lnTo>
                <a:lnTo>
                  <a:pt x="12" y="68"/>
                </a:lnTo>
                <a:lnTo>
                  <a:pt x="12" y="68"/>
                </a:lnTo>
                <a:lnTo>
                  <a:pt x="12" y="68"/>
                </a:lnTo>
                <a:lnTo>
                  <a:pt x="12" y="68"/>
                </a:lnTo>
                <a:lnTo>
                  <a:pt x="12" y="68"/>
                </a:lnTo>
                <a:lnTo>
                  <a:pt x="12" y="68"/>
                </a:lnTo>
                <a:lnTo>
                  <a:pt x="12" y="64"/>
                </a:lnTo>
                <a:lnTo>
                  <a:pt x="12" y="68"/>
                </a:lnTo>
                <a:lnTo>
                  <a:pt x="8" y="68"/>
                </a:lnTo>
                <a:lnTo>
                  <a:pt x="8" y="68"/>
                </a:lnTo>
                <a:lnTo>
                  <a:pt x="8" y="68"/>
                </a:lnTo>
                <a:lnTo>
                  <a:pt x="8" y="64"/>
                </a:lnTo>
                <a:lnTo>
                  <a:pt x="8" y="64"/>
                </a:lnTo>
                <a:lnTo>
                  <a:pt x="8" y="64"/>
                </a:lnTo>
                <a:lnTo>
                  <a:pt x="8" y="64"/>
                </a:lnTo>
                <a:lnTo>
                  <a:pt x="8" y="64"/>
                </a:lnTo>
                <a:lnTo>
                  <a:pt x="8" y="60"/>
                </a:lnTo>
                <a:lnTo>
                  <a:pt x="8" y="60"/>
                </a:lnTo>
                <a:lnTo>
                  <a:pt x="8" y="64"/>
                </a:lnTo>
                <a:lnTo>
                  <a:pt x="8" y="64"/>
                </a:lnTo>
                <a:lnTo>
                  <a:pt x="8" y="64"/>
                </a:lnTo>
                <a:lnTo>
                  <a:pt x="8" y="64"/>
                </a:lnTo>
                <a:lnTo>
                  <a:pt x="8" y="64"/>
                </a:lnTo>
                <a:lnTo>
                  <a:pt x="4" y="64"/>
                </a:lnTo>
                <a:lnTo>
                  <a:pt x="4" y="60"/>
                </a:lnTo>
                <a:lnTo>
                  <a:pt x="4" y="60"/>
                </a:lnTo>
                <a:lnTo>
                  <a:pt x="4" y="60"/>
                </a:lnTo>
                <a:lnTo>
                  <a:pt x="4" y="60"/>
                </a:lnTo>
                <a:lnTo>
                  <a:pt x="4" y="56"/>
                </a:lnTo>
                <a:lnTo>
                  <a:pt x="0" y="52"/>
                </a:lnTo>
                <a:lnTo>
                  <a:pt x="0" y="52"/>
                </a:lnTo>
                <a:lnTo>
                  <a:pt x="0" y="48"/>
                </a:lnTo>
                <a:lnTo>
                  <a:pt x="0" y="48"/>
                </a:lnTo>
                <a:lnTo>
                  <a:pt x="0" y="48"/>
                </a:lnTo>
                <a:lnTo>
                  <a:pt x="0" y="48"/>
                </a:lnTo>
                <a:lnTo>
                  <a:pt x="0" y="48"/>
                </a:lnTo>
                <a:lnTo>
                  <a:pt x="0" y="52"/>
                </a:lnTo>
                <a:lnTo>
                  <a:pt x="4" y="52"/>
                </a:lnTo>
                <a:lnTo>
                  <a:pt x="4" y="52"/>
                </a:lnTo>
                <a:lnTo>
                  <a:pt x="4" y="52"/>
                </a:lnTo>
                <a:lnTo>
                  <a:pt x="4" y="52"/>
                </a:lnTo>
                <a:lnTo>
                  <a:pt x="4" y="48"/>
                </a:lnTo>
                <a:lnTo>
                  <a:pt x="8" y="48"/>
                </a:lnTo>
                <a:lnTo>
                  <a:pt x="8" y="48"/>
                </a:lnTo>
                <a:lnTo>
                  <a:pt x="8" y="48"/>
                </a:lnTo>
                <a:lnTo>
                  <a:pt x="8" y="48"/>
                </a:lnTo>
                <a:lnTo>
                  <a:pt x="8" y="48"/>
                </a:lnTo>
                <a:lnTo>
                  <a:pt x="8" y="44"/>
                </a:lnTo>
                <a:lnTo>
                  <a:pt x="8" y="44"/>
                </a:lnTo>
                <a:lnTo>
                  <a:pt x="8" y="44"/>
                </a:lnTo>
                <a:lnTo>
                  <a:pt x="8" y="44"/>
                </a:lnTo>
                <a:lnTo>
                  <a:pt x="8" y="44"/>
                </a:lnTo>
                <a:lnTo>
                  <a:pt x="8" y="44"/>
                </a:lnTo>
                <a:lnTo>
                  <a:pt x="8" y="40"/>
                </a:lnTo>
                <a:lnTo>
                  <a:pt x="8" y="40"/>
                </a:lnTo>
                <a:lnTo>
                  <a:pt x="8" y="40"/>
                </a:lnTo>
                <a:lnTo>
                  <a:pt x="8" y="40"/>
                </a:lnTo>
                <a:lnTo>
                  <a:pt x="8" y="40"/>
                </a:lnTo>
                <a:lnTo>
                  <a:pt x="8" y="40"/>
                </a:lnTo>
                <a:lnTo>
                  <a:pt x="8" y="40"/>
                </a:lnTo>
                <a:lnTo>
                  <a:pt x="8" y="38"/>
                </a:lnTo>
                <a:lnTo>
                  <a:pt x="8" y="38"/>
                </a:lnTo>
                <a:lnTo>
                  <a:pt x="8" y="38"/>
                </a:lnTo>
                <a:lnTo>
                  <a:pt x="8" y="38"/>
                </a:lnTo>
                <a:lnTo>
                  <a:pt x="8" y="34"/>
                </a:lnTo>
                <a:lnTo>
                  <a:pt x="8" y="34"/>
                </a:lnTo>
                <a:lnTo>
                  <a:pt x="8" y="34"/>
                </a:lnTo>
                <a:lnTo>
                  <a:pt x="12" y="34"/>
                </a:lnTo>
                <a:lnTo>
                  <a:pt x="12" y="38"/>
                </a:lnTo>
                <a:lnTo>
                  <a:pt x="12" y="38"/>
                </a:lnTo>
                <a:lnTo>
                  <a:pt x="12" y="38"/>
                </a:lnTo>
                <a:lnTo>
                  <a:pt x="12" y="38"/>
                </a:lnTo>
                <a:lnTo>
                  <a:pt x="16" y="38"/>
                </a:lnTo>
                <a:lnTo>
                  <a:pt x="16" y="38"/>
                </a:lnTo>
                <a:lnTo>
                  <a:pt x="16" y="38"/>
                </a:lnTo>
                <a:lnTo>
                  <a:pt x="20" y="38"/>
                </a:lnTo>
                <a:lnTo>
                  <a:pt x="16" y="38"/>
                </a:lnTo>
                <a:lnTo>
                  <a:pt x="16" y="38"/>
                </a:lnTo>
                <a:lnTo>
                  <a:pt x="16" y="38"/>
                </a:lnTo>
                <a:lnTo>
                  <a:pt x="16" y="38"/>
                </a:lnTo>
                <a:lnTo>
                  <a:pt x="16" y="34"/>
                </a:lnTo>
                <a:lnTo>
                  <a:pt x="12" y="34"/>
                </a:lnTo>
                <a:lnTo>
                  <a:pt x="12" y="34"/>
                </a:lnTo>
                <a:lnTo>
                  <a:pt x="12" y="34"/>
                </a:lnTo>
                <a:lnTo>
                  <a:pt x="12" y="34"/>
                </a:lnTo>
                <a:lnTo>
                  <a:pt x="12" y="34"/>
                </a:lnTo>
                <a:lnTo>
                  <a:pt x="12" y="30"/>
                </a:lnTo>
                <a:lnTo>
                  <a:pt x="12" y="30"/>
                </a:lnTo>
                <a:lnTo>
                  <a:pt x="8" y="30"/>
                </a:lnTo>
                <a:lnTo>
                  <a:pt x="8" y="30"/>
                </a:lnTo>
                <a:lnTo>
                  <a:pt x="8" y="30"/>
                </a:lnTo>
                <a:lnTo>
                  <a:pt x="8" y="30"/>
                </a:lnTo>
                <a:lnTo>
                  <a:pt x="8" y="30"/>
                </a:lnTo>
                <a:lnTo>
                  <a:pt x="12" y="26"/>
                </a:lnTo>
                <a:lnTo>
                  <a:pt x="12" y="26"/>
                </a:lnTo>
                <a:lnTo>
                  <a:pt x="12" y="30"/>
                </a:lnTo>
                <a:lnTo>
                  <a:pt x="12" y="30"/>
                </a:lnTo>
                <a:lnTo>
                  <a:pt x="12" y="30"/>
                </a:lnTo>
                <a:lnTo>
                  <a:pt x="12" y="30"/>
                </a:lnTo>
                <a:lnTo>
                  <a:pt x="12" y="30"/>
                </a:lnTo>
                <a:lnTo>
                  <a:pt x="12" y="30"/>
                </a:lnTo>
                <a:lnTo>
                  <a:pt x="16" y="30"/>
                </a:lnTo>
                <a:lnTo>
                  <a:pt x="16" y="30"/>
                </a:lnTo>
                <a:lnTo>
                  <a:pt x="16" y="26"/>
                </a:lnTo>
                <a:lnTo>
                  <a:pt x="12" y="26"/>
                </a:lnTo>
                <a:lnTo>
                  <a:pt x="12" y="26"/>
                </a:lnTo>
                <a:lnTo>
                  <a:pt x="12" y="22"/>
                </a:lnTo>
                <a:lnTo>
                  <a:pt x="12" y="22"/>
                </a:lnTo>
                <a:lnTo>
                  <a:pt x="12" y="22"/>
                </a:lnTo>
                <a:lnTo>
                  <a:pt x="16" y="22"/>
                </a:lnTo>
                <a:lnTo>
                  <a:pt x="16" y="22"/>
                </a:lnTo>
                <a:lnTo>
                  <a:pt x="16" y="22"/>
                </a:lnTo>
                <a:lnTo>
                  <a:pt x="16" y="22"/>
                </a:lnTo>
                <a:lnTo>
                  <a:pt x="16" y="22"/>
                </a:lnTo>
                <a:lnTo>
                  <a:pt x="16" y="22"/>
                </a:lnTo>
                <a:lnTo>
                  <a:pt x="20" y="22"/>
                </a:lnTo>
                <a:lnTo>
                  <a:pt x="20" y="22"/>
                </a:lnTo>
                <a:lnTo>
                  <a:pt x="20" y="22"/>
                </a:lnTo>
                <a:lnTo>
                  <a:pt x="20" y="22"/>
                </a:lnTo>
                <a:lnTo>
                  <a:pt x="20" y="22"/>
                </a:lnTo>
                <a:lnTo>
                  <a:pt x="20" y="22"/>
                </a:lnTo>
                <a:lnTo>
                  <a:pt x="24" y="22"/>
                </a:lnTo>
                <a:lnTo>
                  <a:pt x="24" y="22"/>
                </a:lnTo>
                <a:lnTo>
                  <a:pt x="24" y="22"/>
                </a:lnTo>
                <a:lnTo>
                  <a:pt x="24" y="22"/>
                </a:lnTo>
                <a:lnTo>
                  <a:pt x="26" y="22"/>
                </a:lnTo>
                <a:lnTo>
                  <a:pt x="26" y="22"/>
                </a:lnTo>
                <a:lnTo>
                  <a:pt x="26" y="22"/>
                </a:lnTo>
                <a:lnTo>
                  <a:pt x="30" y="22"/>
                </a:lnTo>
                <a:lnTo>
                  <a:pt x="30" y="22"/>
                </a:lnTo>
                <a:lnTo>
                  <a:pt x="34" y="22"/>
                </a:lnTo>
                <a:lnTo>
                  <a:pt x="38" y="22"/>
                </a:lnTo>
                <a:lnTo>
                  <a:pt x="38" y="22"/>
                </a:lnTo>
                <a:lnTo>
                  <a:pt x="38" y="14"/>
                </a:lnTo>
                <a:lnTo>
                  <a:pt x="38" y="10"/>
                </a:lnTo>
                <a:lnTo>
                  <a:pt x="38" y="10"/>
                </a:lnTo>
                <a:lnTo>
                  <a:pt x="38" y="10"/>
                </a:lnTo>
                <a:lnTo>
                  <a:pt x="38" y="8"/>
                </a:lnTo>
                <a:lnTo>
                  <a:pt x="38" y="8"/>
                </a:lnTo>
                <a:lnTo>
                  <a:pt x="38" y="4"/>
                </a:lnTo>
                <a:lnTo>
                  <a:pt x="38" y="4"/>
                </a:lnTo>
                <a:lnTo>
                  <a:pt x="38" y="4"/>
                </a:lnTo>
                <a:lnTo>
                  <a:pt x="38" y="4"/>
                </a:lnTo>
                <a:lnTo>
                  <a:pt x="38" y="0"/>
                </a:lnTo>
                <a:lnTo>
                  <a:pt x="38" y="0"/>
                </a:lnTo>
                <a:lnTo>
                  <a:pt x="42" y="0"/>
                </a:lnTo>
                <a:lnTo>
                  <a:pt x="42" y="0"/>
                </a:lnTo>
                <a:lnTo>
                  <a:pt x="46" y="0"/>
                </a:lnTo>
                <a:lnTo>
                  <a:pt x="50" y="0"/>
                </a:lnTo>
                <a:lnTo>
                  <a:pt x="54" y="0"/>
                </a:lnTo>
                <a:lnTo>
                  <a:pt x="54" y="0"/>
                </a:lnTo>
                <a:lnTo>
                  <a:pt x="54" y="0"/>
                </a:lnTo>
                <a:lnTo>
                  <a:pt x="54" y="0"/>
                </a:lnTo>
                <a:lnTo>
                  <a:pt x="56" y="0"/>
                </a:lnTo>
                <a:lnTo>
                  <a:pt x="56" y="0"/>
                </a:lnTo>
                <a:lnTo>
                  <a:pt x="56" y="0"/>
                </a:lnTo>
                <a:lnTo>
                  <a:pt x="56" y="0"/>
                </a:lnTo>
                <a:lnTo>
                  <a:pt x="60" y="0"/>
                </a:lnTo>
                <a:lnTo>
                  <a:pt x="60" y="0"/>
                </a:lnTo>
                <a:lnTo>
                  <a:pt x="64" y="0"/>
                </a:lnTo>
                <a:lnTo>
                  <a:pt x="64" y="0"/>
                </a:lnTo>
                <a:lnTo>
                  <a:pt x="64" y="0"/>
                </a:lnTo>
                <a:lnTo>
                  <a:pt x="64" y="0"/>
                </a:lnTo>
                <a:lnTo>
                  <a:pt x="64" y="4"/>
                </a:lnTo>
                <a:lnTo>
                  <a:pt x="64" y="4"/>
                </a:lnTo>
                <a:lnTo>
                  <a:pt x="64" y="4"/>
                </a:lnTo>
                <a:lnTo>
                  <a:pt x="64" y="4"/>
                </a:lnTo>
                <a:lnTo>
                  <a:pt x="64" y="4"/>
                </a:lnTo>
                <a:lnTo>
                  <a:pt x="64" y="8"/>
                </a:lnTo>
                <a:lnTo>
                  <a:pt x="64" y="8"/>
                </a:lnTo>
                <a:lnTo>
                  <a:pt x="64" y="8"/>
                </a:lnTo>
                <a:lnTo>
                  <a:pt x="64" y="8"/>
                </a:lnTo>
                <a:lnTo>
                  <a:pt x="64" y="8"/>
                </a:lnTo>
                <a:lnTo>
                  <a:pt x="64" y="10"/>
                </a:lnTo>
                <a:lnTo>
                  <a:pt x="64" y="10"/>
                </a:lnTo>
                <a:lnTo>
                  <a:pt x="64" y="10"/>
                </a:lnTo>
                <a:lnTo>
                  <a:pt x="64" y="14"/>
                </a:lnTo>
                <a:lnTo>
                  <a:pt x="64" y="14"/>
                </a:lnTo>
                <a:lnTo>
                  <a:pt x="64" y="14"/>
                </a:lnTo>
                <a:lnTo>
                  <a:pt x="64" y="14"/>
                </a:lnTo>
                <a:lnTo>
                  <a:pt x="64" y="14"/>
                </a:lnTo>
                <a:lnTo>
                  <a:pt x="64" y="18"/>
                </a:lnTo>
                <a:lnTo>
                  <a:pt x="64" y="18"/>
                </a:lnTo>
                <a:lnTo>
                  <a:pt x="64" y="18"/>
                </a:lnTo>
                <a:lnTo>
                  <a:pt x="64" y="18"/>
                </a:lnTo>
                <a:lnTo>
                  <a:pt x="64" y="18"/>
                </a:lnTo>
                <a:lnTo>
                  <a:pt x="64" y="18"/>
                </a:lnTo>
                <a:lnTo>
                  <a:pt x="64" y="18"/>
                </a:lnTo>
                <a:lnTo>
                  <a:pt x="68" y="18"/>
                </a:lnTo>
                <a:lnTo>
                  <a:pt x="68" y="18"/>
                </a:lnTo>
                <a:lnTo>
                  <a:pt x="72" y="18"/>
                </a:lnTo>
                <a:lnTo>
                  <a:pt x="72" y="14"/>
                </a:lnTo>
                <a:lnTo>
                  <a:pt x="72" y="14"/>
                </a:lnTo>
                <a:lnTo>
                  <a:pt x="76" y="14"/>
                </a:lnTo>
                <a:lnTo>
                  <a:pt x="76" y="14"/>
                </a:lnTo>
                <a:lnTo>
                  <a:pt x="76" y="14"/>
                </a:lnTo>
                <a:lnTo>
                  <a:pt x="80" y="14"/>
                </a:lnTo>
                <a:lnTo>
                  <a:pt x="80" y="14"/>
                </a:lnTo>
                <a:lnTo>
                  <a:pt x="80" y="14"/>
                </a:lnTo>
                <a:lnTo>
                  <a:pt x="80" y="14"/>
                </a:lnTo>
                <a:lnTo>
                  <a:pt x="80" y="14"/>
                </a:lnTo>
                <a:lnTo>
                  <a:pt x="80" y="14"/>
                </a:lnTo>
                <a:lnTo>
                  <a:pt x="80" y="18"/>
                </a:lnTo>
                <a:lnTo>
                  <a:pt x="80" y="18"/>
                </a:lnTo>
                <a:lnTo>
                  <a:pt x="80" y="18"/>
                </a:lnTo>
                <a:lnTo>
                  <a:pt x="84" y="22"/>
                </a:lnTo>
                <a:lnTo>
                  <a:pt x="84" y="22"/>
                </a:lnTo>
                <a:lnTo>
                  <a:pt x="84" y="22"/>
                </a:lnTo>
                <a:lnTo>
                  <a:pt x="84" y="26"/>
                </a:lnTo>
                <a:lnTo>
                  <a:pt x="80" y="30"/>
                </a:lnTo>
                <a:lnTo>
                  <a:pt x="80" y="30"/>
                </a:lnTo>
                <a:lnTo>
                  <a:pt x="80" y="30"/>
                </a:lnTo>
                <a:lnTo>
                  <a:pt x="80" y="30"/>
                </a:lnTo>
                <a:lnTo>
                  <a:pt x="80" y="30"/>
                </a:lnTo>
                <a:lnTo>
                  <a:pt x="80" y="30"/>
                </a:lnTo>
                <a:lnTo>
                  <a:pt x="76" y="30"/>
                </a:lnTo>
                <a:lnTo>
                  <a:pt x="76" y="34"/>
                </a:lnTo>
                <a:lnTo>
                  <a:pt x="76" y="34"/>
                </a:lnTo>
                <a:lnTo>
                  <a:pt x="76" y="38"/>
                </a:lnTo>
                <a:lnTo>
                  <a:pt x="76" y="38"/>
                </a:lnTo>
                <a:lnTo>
                  <a:pt x="76" y="38"/>
                </a:lnTo>
                <a:lnTo>
                  <a:pt x="76" y="40"/>
                </a:lnTo>
                <a:lnTo>
                  <a:pt x="76" y="40"/>
                </a:lnTo>
                <a:lnTo>
                  <a:pt x="76" y="40"/>
                </a:lnTo>
                <a:lnTo>
                  <a:pt x="76" y="40"/>
                </a:lnTo>
                <a:lnTo>
                  <a:pt x="76" y="40"/>
                </a:lnTo>
                <a:lnTo>
                  <a:pt x="76" y="44"/>
                </a:lnTo>
                <a:lnTo>
                  <a:pt x="76" y="44"/>
                </a:lnTo>
                <a:lnTo>
                  <a:pt x="76" y="44"/>
                </a:lnTo>
                <a:lnTo>
                  <a:pt x="76" y="44"/>
                </a:lnTo>
                <a:lnTo>
                  <a:pt x="80" y="44"/>
                </a:lnTo>
                <a:lnTo>
                  <a:pt x="80" y="44"/>
                </a:lnTo>
                <a:lnTo>
                  <a:pt x="80" y="44"/>
                </a:lnTo>
                <a:lnTo>
                  <a:pt x="80" y="44"/>
                </a:lnTo>
                <a:lnTo>
                  <a:pt x="80" y="48"/>
                </a:lnTo>
                <a:lnTo>
                  <a:pt x="80" y="48"/>
                </a:lnTo>
                <a:lnTo>
                  <a:pt x="80" y="48"/>
                </a:lnTo>
                <a:lnTo>
                  <a:pt x="84" y="48"/>
                </a:lnTo>
                <a:lnTo>
                  <a:pt x="84" y="48"/>
                </a:lnTo>
                <a:lnTo>
                  <a:pt x="84" y="48"/>
                </a:lnTo>
                <a:lnTo>
                  <a:pt x="84" y="48"/>
                </a:lnTo>
                <a:lnTo>
                  <a:pt x="84" y="52"/>
                </a:lnTo>
                <a:lnTo>
                  <a:pt x="84" y="52"/>
                </a:lnTo>
                <a:lnTo>
                  <a:pt x="84" y="52"/>
                </a:lnTo>
                <a:lnTo>
                  <a:pt x="84" y="56"/>
                </a:lnTo>
                <a:lnTo>
                  <a:pt x="84" y="56"/>
                </a:lnTo>
                <a:lnTo>
                  <a:pt x="84" y="56"/>
                </a:lnTo>
                <a:lnTo>
                  <a:pt x="84" y="60"/>
                </a:lnTo>
                <a:lnTo>
                  <a:pt x="84" y="60"/>
                </a:lnTo>
                <a:lnTo>
                  <a:pt x="84" y="60"/>
                </a:lnTo>
                <a:lnTo>
                  <a:pt x="84" y="64"/>
                </a:lnTo>
                <a:lnTo>
                  <a:pt x="84" y="68"/>
                </a:lnTo>
                <a:lnTo>
                  <a:pt x="84" y="68"/>
                </a:lnTo>
                <a:lnTo>
                  <a:pt x="84" y="68"/>
                </a:lnTo>
                <a:lnTo>
                  <a:pt x="84" y="70"/>
                </a:lnTo>
                <a:lnTo>
                  <a:pt x="84" y="70"/>
                </a:lnTo>
                <a:lnTo>
                  <a:pt x="84" y="70"/>
                </a:lnTo>
                <a:lnTo>
                  <a:pt x="84" y="70"/>
                </a:lnTo>
                <a:lnTo>
                  <a:pt x="84" y="70"/>
                </a:lnTo>
                <a:lnTo>
                  <a:pt x="80" y="70"/>
                </a:lnTo>
                <a:lnTo>
                  <a:pt x="80" y="70"/>
                </a:lnTo>
                <a:lnTo>
                  <a:pt x="80" y="74"/>
                </a:lnTo>
                <a:lnTo>
                  <a:pt x="80" y="74"/>
                </a:lnTo>
                <a:lnTo>
                  <a:pt x="80" y="74"/>
                </a:lnTo>
                <a:lnTo>
                  <a:pt x="80" y="74"/>
                </a:lnTo>
                <a:lnTo>
                  <a:pt x="80" y="78"/>
                </a:lnTo>
                <a:lnTo>
                  <a:pt x="80" y="78"/>
                </a:lnTo>
                <a:lnTo>
                  <a:pt x="80" y="78"/>
                </a:lnTo>
                <a:lnTo>
                  <a:pt x="80" y="78"/>
                </a:lnTo>
                <a:lnTo>
                  <a:pt x="80" y="82"/>
                </a:lnTo>
                <a:lnTo>
                  <a:pt x="80" y="82"/>
                </a:lnTo>
                <a:lnTo>
                  <a:pt x="76" y="82"/>
                </a:lnTo>
                <a:lnTo>
                  <a:pt x="76" y="82"/>
                </a:lnTo>
                <a:lnTo>
                  <a:pt x="76" y="82"/>
                </a:lnTo>
                <a:lnTo>
                  <a:pt x="76" y="82"/>
                </a:lnTo>
                <a:lnTo>
                  <a:pt x="76" y="78"/>
                </a:lnTo>
                <a:lnTo>
                  <a:pt x="72" y="74"/>
                </a:lnTo>
                <a:lnTo>
                  <a:pt x="72" y="74"/>
                </a:lnTo>
                <a:lnTo>
                  <a:pt x="72" y="74"/>
                </a:lnTo>
                <a:lnTo>
                  <a:pt x="72" y="78"/>
                </a:lnTo>
                <a:lnTo>
                  <a:pt x="72" y="78"/>
                </a:lnTo>
                <a:lnTo>
                  <a:pt x="72" y="78"/>
                </a:lnTo>
                <a:lnTo>
                  <a:pt x="68" y="78"/>
                </a:lnTo>
                <a:lnTo>
                  <a:pt x="68" y="78"/>
                </a:lnTo>
                <a:lnTo>
                  <a:pt x="68" y="82"/>
                </a:lnTo>
                <a:lnTo>
                  <a:pt x="68" y="82"/>
                </a:lnTo>
                <a:lnTo>
                  <a:pt x="68" y="82"/>
                </a:lnTo>
                <a:lnTo>
                  <a:pt x="64" y="78"/>
                </a:lnTo>
                <a:lnTo>
                  <a:pt x="64" y="78"/>
                </a:lnTo>
                <a:lnTo>
                  <a:pt x="60" y="78"/>
                </a:lnTo>
                <a:lnTo>
                  <a:pt x="60" y="78"/>
                </a:lnTo>
                <a:lnTo>
                  <a:pt x="60" y="78"/>
                </a:lnTo>
                <a:lnTo>
                  <a:pt x="60" y="78"/>
                </a:lnTo>
                <a:lnTo>
                  <a:pt x="60" y="78"/>
                </a:lnTo>
                <a:lnTo>
                  <a:pt x="60" y="78"/>
                </a:lnTo>
                <a:lnTo>
                  <a:pt x="60" y="78"/>
                </a:lnTo>
                <a:lnTo>
                  <a:pt x="60" y="74"/>
                </a:lnTo>
                <a:lnTo>
                  <a:pt x="60" y="74"/>
                </a:lnTo>
                <a:lnTo>
                  <a:pt x="60" y="70"/>
                </a:lnTo>
                <a:lnTo>
                  <a:pt x="60" y="70"/>
                </a:lnTo>
                <a:lnTo>
                  <a:pt x="60" y="70"/>
                </a:lnTo>
                <a:lnTo>
                  <a:pt x="56" y="70"/>
                </a:lnTo>
                <a:lnTo>
                  <a:pt x="56" y="70"/>
                </a:lnTo>
                <a:lnTo>
                  <a:pt x="56" y="70"/>
                </a:lnTo>
                <a:lnTo>
                  <a:pt x="56" y="70"/>
                </a:lnTo>
                <a:lnTo>
                  <a:pt x="56" y="70"/>
                </a:lnTo>
                <a:lnTo>
                  <a:pt x="54" y="70"/>
                </a:lnTo>
                <a:lnTo>
                  <a:pt x="54" y="70"/>
                </a:lnTo>
                <a:lnTo>
                  <a:pt x="54" y="70"/>
                </a:lnTo>
                <a:lnTo>
                  <a:pt x="54" y="70"/>
                </a:lnTo>
                <a:lnTo>
                  <a:pt x="54" y="70"/>
                </a:lnTo>
                <a:lnTo>
                  <a:pt x="54" y="74"/>
                </a:lnTo>
                <a:lnTo>
                  <a:pt x="54" y="74"/>
                </a:lnTo>
                <a:lnTo>
                  <a:pt x="54" y="74"/>
                </a:lnTo>
                <a:lnTo>
                  <a:pt x="54" y="78"/>
                </a:lnTo>
                <a:lnTo>
                  <a:pt x="54" y="78"/>
                </a:lnTo>
                <a:lnTo>
                  <a:pt x="50" y="82"/>
                </a:lnTo>
                <a:lnTo>
                  <a:pt x="50" y="82"/>
                </a:lnTo>
                <a:lnTo>
                  <a:pt x="50" y="78"/>
                </a:lnTo>
                <a:lnTo>
                  <a:pt x="50" y="78"/>
                </a:lnTo>
                <a:lnTo>
                  <a:pt x="46" y="78"/>
                </a:lnTo>
                <a:lnTo>
                  <a:pt x="46" y="78"/>
                </a:lnTo>
                <a:lnTo>
                  <a:pt x="46" y="78"/>
                </a:lnTo>
                <a:lnTo>
                  <a:pt x="46" y="82"/>
                </a:lnTo>
                <a:lnTo>
                  <a:pt x="46" y="82"/>
                </a:lnTo>
                <a:lnTo>
                  <a:pt x="42" y="78"/>
                </a:lnTo>
                <a:lnTo>
                  <a:pt x="42" y="78"/>
                </a:lnTo>
                <a:lnTo>
                  <a:pt x="42" y="78"/>
                </a:lnTo>
                <a:lnTo>
                  <a:pt x="42" y="78"/>
                </a:lnTo>
                <a:lnTo>
                  <a:pt x="42" y="82"/>
                </a:lnTo>
                <a:lnTo>
                  <a:pt x="42" y="82"/>
                </a:lnTo>
                <a:lnTo>
                  <a:pt x="42" y="82"/>
                </a:lnTo>
                <a:lnTo>
                  <a:pt x="42" y="86"/>
                </a:lnTo>
                <a:lnTo>
                  <a:pt x="42" y="86"/>
                </a:lnTo>
                <a:lnTo>
                  <a:pt x="42" y="86"/>
                </a:lnTo>
                <a:lnTo>
                  <a:pt x="42" y="86"/>
                </a:lnTo>
                <a:lnTo>
                  <a:pt x="42" y="86"/>
                </a:lnTo>
                <a:lnTo>
                  <a:pt x="42" y="86"/>
                </a:lnTo>
                <a:lnTo>
                  <a:pt x="42" y="86"/>
                </a:lnTo>
                <a:lnTo>
                  <a:pt x="42" y="86"/>
                </a:lnTo>
                <a:close/>
                <a:moveTo>
                  <a:pt x="4" y="52"/>
                </a:moveTo>
                <a:lnTo>
                  <a:pt x="4" y="52"/>
                </a:lnTo>
                <a:lnTo>
                  <a:pt x="4" y="52"/>
                </a:lnTo>
                <a:lnTo>
                  <a:pt x="4" y="52"/>
                </a:lnTo>
                <a:lnTo>
                  <a:pt x="4" y="52"/>
                </a:lnTo>
                <a:lnTo>
                  <a:pt x="4" y="52"/>
                </a:lnTo>
                <a:lnTo>
                  <a:pt x="4" y="52"/>
                </a:lnTo>
                <a:lnTo>
                  <a:pt x="4" y="48"/>
                </a:lnTo>
                <a:lnTo>
                  <a:pt x="4" y="48"/>
                </a:lnTo>
                <a:lnTo>
                  <a:pt x="4" y="48"/>
                </a:lnTo>
                <a:lnTo>
                  <a:pt x="4" y="52"/>
                </a:lnTo>
                <a:lnTo>
                  <a:pt x="4" y="52"/>
                </a:lnTo>
                <a:lnTo>
                  <a:pt x="4" y="52"/>
                </a:lnTo>
                <a:lnTo>
                  <a:pt x="4" y="52"/>
                </a:lnTo>
                <a:lnTo>
                  <a:pt x="4" y="52"/>
                </a:lnTo>
                <a:lnTo>
                  <a:pt x="4" y="52"/>
                </a:lnTo>
                <a:lnTo>
                  <a:pt x="4" y="52"/>
                </a:lnTo>
                <a:lnTo>
                  <a:pt x="4" y="52"/>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40" name="Freeform 147"/>
          <p:cNvSpPr>
            <a:spLocks/>
          </p:cNvSpPr>
          <p:nvPr/>
        </p:nvSpPr>
        <p:spPr bwMode="auto">
          <a:xfrm>
            <a:off x="4205287" y="3469481"/>
            <a:ext cx="73819" cy="133350"/>
          </a:xfrm>
          <a:custGeom>
            <a:avLst/>
            <a:gdLst>
              <a:gd name="T0" fmla="*/ 0 w 62"/>
              <a:gd name="T1" fmla="*/ 78 h 112"/>
              <a:gd name="T2" fmla="*/ 0 w 62"/>
              <a:gd name="T3" fmla="*/ 72 h 112"/>
              <a:gd name="T4" fmla="*/ 4 w 62"/>
              <a:gd name="T5" fmla="*/ 60 h 112"/>
              <a:gd name="T6" fmla="*/ 10 w 62"/>
              <a:gd name="T7" fmla="*/ 52 h 112"/>
              <a:gd name="T8" fmla="*/ 6 w 62"/>
              <a:gd name="T9" fmla="*/ 42 h 112"/>
              <a:gd name="T10" fmla="*/ 6 w 62"/>
              <a:gd name="T11" fmla="*/ 38 h 112"/>
              <a:gd name="T12" fmla="*/ 6 w 62"/>
              <a:gd name="T13" fmla="*/ 30 h 112"/>
              <a:gd name="T14" fmla="*/ 6 w 62"/>
              <a:gd name="T15" fmla="*/ 26 h 112"/>
              <a:gd name="T16" fmla="*/ 4 w 62"/>
              <a:gd name="T17" fmla="*/ 22 h 112"/>
              <a:gd name="T18" fmla="*/ 4 w 62"/>
              <a:gd name="T19" fmla="*/ 12 h 112"/>
              <a:gd name="T20" fmla="*/ 4 w 62"/>
              <a:gd name="T21" fmla="*/ 4 h 112"/>
              <a:gd name="T22" fmla="*/ 22 w 62"/>
              <a:gd name="T23" fmla="*/ 4 h 112"/>
              <a:gd name="T24" fmla="*/ 34 w 62"/>
              <a:gd name="T25" fmla="*/ 4 h 112"/>
              <a:gd name="T26" fmla="*/ 40 w 62"/>
              <a:gd name="T27" fmla="*/ 4 h 112"/>
              <a:gd name="T28" fmla="*/ 44 w 62"/>
              <a:gd name="T29" fmla="*/ 4 h 112"/>
              <a:gd name="T30" fmla="*/ 44 w 62"/>
              <a:gd name="T31" fmla="*/ 8 h 112"/>
              <a:gd name="T32" fmla="*/ 44 w 62"/>
              <a:gd name="T33" fmla="*/ 12 h 112"/>
              <a:gd name="T34" fmla="*/ 48 w 62"/>
              <a:gd name="T35" fmla="*/ 16 h 112"/>
              <a:gd name="T36" fmla="*/ 52 w 62"/>
              <a:gd name="T37" fmla="*/ 18 h 112"/>
              <a:gd name="T38" fmla="*/ 48 w 62"/>
              <a:gd name="T39" fmla="*/ 30 h 112"/>
              <a:gd name="T40" fmla="*/ 52 w 62"/>
              <a:gd name="T41" fmla="*/ 30 h 112"/>
              <a:gd name="T42" fmla="*/ 52 w 62"/>
              <a:gd name="T43" fmla="*/ 34 h 112"/>
              <a:gd name="T44" fmla="*/ 52 w 62"/>
              <a:gd name="T45" fmla="*/ 42 h 112"/>
              <a:gd name="T46" fmla="*/ 52 w 62"/>
              <a:gd name="T47" fmla="*/ 46 h 112"/>
              <a:gd name="T48" fmla="*/ 56 w 62"/>
              <a:gd name="T49" fmla="*/ 52 h 112"/>
              <a:gd name="T50" fmla="*/ 52 w 62"/>
              <a:gd name="T51" fmla="*/ 60 h 112"/>
              <a:gd name="T52" fmla="*/ 52 w 62"/>
              <a:gd name="T53" fmla="*/ 68 h 112"/>
              <a:gd name="T54" fmla="*/ 52 w 62"/>
              <a:gd name="T55" fmla="*/ 72 h 112"/>
              <a:gd name="T56" fmla="*/ 52 w 62"/>
              <a:gd name="T57" fmla="*/ 78 h 112"/>
              <a:gd name="T58" fmla="*/ 56 w 62"/>
              <a:gd name="T59" fmla="*/ 82 h 112"/>
              <a:gd name="T60" fmla="*/ 60 w 62"/>
              <a:gd name="T61" fmla="*/ 82 h 112"/>
              <a:gd name="T62" fmla="*/ 62 w 62"/>
              <a:gd name="T63" fmla="*/ 90 h 112"/>
              <a:gd name="T64" fmla="*/ 60 w 62"/>
              <a:gd name="T65" fmla="*/ 90 h 112"/>
              <a:gd name="T66" fmla="*/ 56 w 62"/>
              <a:gd name="T67" fmla="*/ 94 h 112"/>
              <a:gd name="T68" fmla="*/ 52 w 62"/>
              <a:gd name="T69" fmla="*/ 94 h 112"/>
              <a:gd name="T70" fmla="*/ 52 w 62"/>
              <a:gd name="T71" fmla="*/ 90 h 112"/>
              <a:gd name="T72" fmla="*/ 48 w 62"/>
              <a:gd name="T73" fmla="*/ 90 h 112"/>
              <a:gd name="T74" fmla="*/ 48 w 62"/>
              <a:gd name="T75" fmla="*/ 90 h 112"/>
              <a:gd name="T76" fmla="*/ 52 w 62"/>
              <a:gd name="T77" fmla="*/ 90 h 112"/>
              <a:gd name="T78" fmla="*/ 52 w 62"/>
              <a:gd name="T79" fmla="*/ 94 h 112"/>
              <a:gd name="T80" fmla="*/ 48 w 62"/>
              <a:gd name="T81" fmla="*/ 94 h 112"/>
              <a:gd name="T82" fmla="*/ 40 w 62"/>
              <a:gd name="T83" fmla="*/ 98 h 112"/>
              <a:gd name="T84" fmla="*/ 36 w 62"/>
              <a:gd name="T85" fmla="*/ 102 h 112"/>
              <a:gd name="T86" fmla="*/ 34 w 62"/>
              <a:gd name="T87" fmla="*/ 104 h 112"/>
              <a:gd name="T88" fmla="*/ 30 w 62"/>
              <a:gd name="T89" fmla="*/ 104 h 112"/>
              <a:gd name="T90" fmla="*/ 22 w 62"/>
              <a:gd name="T91" fmla="*/ 104 h 112"/>
              <a:gd name="T92" fmla="*/ 18 w 62"/>
              <a:gd name="T93" fmla="*/ 112 h 112"/>
              <a:gd name="T94" fmla="*/ 10 w 62"/>
              <a:gd name="T95" fmla="*/ 108 h 112"/>
              <a:gd name="T96" fmla="*/ 6 w 62"/>
              <a:gd name="T97" fmla="*/ 108 h 112"/>
              <a:gd name="T98" fmla="*/ 0 w 62"/>
              <a:gd name="T99" fmla="*/ 104 h 112"/>
              <a:gd name="T100" fmla="*/ 6 w 62"/>
              <a:gd name="T101" fmla="*/ 104 h 112"/>
              <a:gd name="T102" fmla="*/ 4 w 62"/>
              <a:gd name="T103" fmla="*/ 102 h 112"/>
              <a:gd name="T104" fmla="*/ 4 w 62"/>
              <a:gd name="T105" fmla="*/ 98 h 112"/>
              <a:gd name="T106" fmla="*/ 0 w 62"/>
              <a:gd name="T107" fmla="*/ 8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2" h="112">
                <a:moveTo>
                  <a:pt x="0" y="86"/>
                </a:moveTo>
                <a:lnTo>
                  <a:pt x="0" y="86"/>
                </a:lnTo>
                <a:lnTo>
                  <a:pt x="0" y="86"/>
                </a:lnTo>
                <a:lnTo>
                  <a:pt x="0" y="82"/>
                </a:lnTo>
                <a:lnTo>
                  <a:pt x="0" y="78"/>
                </a:lnTo>
                <a:lnTo>
                  <a:pt x="0" y="78"/>
                </a:lnTo>
                <a:lnTo>
                  <a:pt x="0" y="78"/>
                </a:lnTo>
                <a:lnTo>
                  <a:pt x="0" y="78"/>
                </a:lnTo>
                <a:lnTo>
                  <a:pt x="0" y="78"/>
                </a:lnTo>
                <a:lnTo>
                  <a:pt x="0" y="76"/>
                </a:lnTo>
                <a:lnTo>
                  <a:pt x="0" y="72"/>
                </a:lnTo>
                <a:lnTo>
                  <a:pt x="0" y="72"/>
                </a:lnTo>
                <a:lnTo>
                  <a:pt x="4" y="72"/>
                </a:lnTo>
                <a:lnTo>
                  <a:pt x="4" y="68"/>
                </a:lnTo>
                <a:lnTo>
                  <a:pt x="4" y="64"/>
                </a:lnTo>
                <a:lnTo>
                  <a:pt x="4" y="64"/>
                </a:lnTo>
                <a:lnTo>
                  <a:pt x="4" y="60"/>
                </a:lnTo>
                <a:lnTo>
                  <a:pt x="4" y="60"/>
                </a:lnTo>
                <a:lnTo>
                  <a:pt x="4" y="56"/>
                </a:lnTo>
                <a:lnTo>
                  <a:pt x="4" y="56"/>
                </a:lnTo>
                <a:lnTo>
                  <a:pt x="6" y="56"/>
                </a:lnTo>
                <a:lnTo>
                  <a:pt x="6" y="52"/>
                </a:lnTo>
                <a:lnTo>
                  <a:pt x="6" y="52"/>
                </a:lnTo>
                <a:lnTo>
                  <a:pt x="10" y="52"/>
                </a:lnTo>
                <a:lnTo>
                  <a:pt x="10" y="52"/>
                </a:lnTo>
                <a:lnTo>
                  <a:pt x="6" y="46"/>
                </a:lnTo>
                <a:lnTo>
                  <a:pt x="6" y="46"/>
                </a:lnTo>
                <a:lnTo>
                  <a:pt x="6" y="42"/>
                </a:lnTo>
                <a:lnTo>
                  <a:pt x="6" y="42"/>
                </a:lnTo>
                <a:lnTo>
                  <a:pt x="6" y="42"/>
                </a:lnTo>
                <a:lnTo>
                  <a:pt x="6" y="42"/>
                </a:lnTo>
                <a:lnTo>
                  <a:pt x="6" y="42"/>
                </a:lnTo>
                <a:lnTo>
                  <a:pt x="6" y="42"/>
                </a:lnTo>
                <a:lnTo>
                  <a:pt x="6" y="38"/>
                </a:lnTo>
                <a:lnTo>
                  <a:pt x="6" y="38"/>
                </a:lnTo>
                <a:lnTo>
                  <a:pt x="6" y="38"/>
                </a:lnTo>
                <a:lnTo>
                  <a:pt x="6" y="38"/>
                </a:lnTo>
                <a:lnTo>
                  <a:pt x="6" y="34"/>
                </a:lnTo>
                <a:lnTo>
                  <a:pt x="6" y="34"/>
                </a:lnTo>
                <a:lnTo>
                  <a:pt x="6" y="30"/>
                </a:lnTo>
                <a:lnTo>
                  <a:pt x="6" y="30"/>
                </a:lnTo>
                <a:lnTo>
                  <a:pt x="6" y="30"/>
                </a:lnTo>
                <a:lnTo>
                  <a:pt x="6" y="30"/>
                </a:lnTo>
                <a:lnTo>
                  <a:pt x="6" y="30"/>
                </a:lnTo>
                <a:lnTo>
                  <a:pt x="6" y="30"/>
                </a:lnTo>
                <a:lnTo>
                  <a:pt x="4" y="30"/>
                </a:lnTo>
                <a:lnTo>
                  <a:pt x="4" y="26"/>
                </a:lnTo>
                <a:lnTo>
                  <a:pt x="6" y="26"/>
                </a:lnTo>
                <a:lnTo>
                  <a:pt x="6" y="26"/>
                </a:lnTo>
                <a:lnTo>
                  <a:pt x="6" y="26"/>
                </a:lnTo>
                <a:lnTo>
                  <a:pt x="4" y="26"/>
                </a:lnTo>
                <a:lnTo>
                  <a:pt x="4" y="26"/>
                </a:lnTo>
                <a:lnTo>
                  <a:pt x="6" y="22"/>
                </a:lnTo>
                <a:lnTo>
                  <a:pt x="4" y="22"/>
                </a:lnTo>
                <a:lnTo>
                  <a:pt x="4" y="18"/>
                </a:lnTo>
                <a:lnTo>
                  <a:pt x="4" y="18"/>
                </a:lnTo>
                <a:lnTo>
                  <a:pt x="4" y="18"/>
                </a:lnTo>
                <a:lnTo>
                  <a:pt x="4" y="16"/>
                </a:lnTo>
                <a:lnTo>
                  <a:pt x="4" y="16"/>
                </a:lnTo>
                <a:lnTo>
                  <a:pt x="4" y="12"/>
                </a:lnTo>
                <a:lnTo>
                  <a:pt x="4" y="12"/>
                </a:lnTo>
                <a:lnTo>
                  <a:pt x="4" y="12"/>
                </a:lnTo>
                <a:lnTo>
                  <a:pt x="4" y="8"/>
                </a:lnTo>
                <a:lnTo>
                  <a:pt x="4" y="8"/>
                </a:lnTo>
                <a:lnTo>
                  <a:pt x="4" y="4"/>
                </a:lnTo>
                <a:lnTo>
                  <a:pt x="4" y="4"/>
                </a:lnTo>
                <a:lnTo>
                  <a:pt x="4" y="4"/>
                </a:lnTo>
                <a:lnTo>
                  <a:pt x="6" y="4"/>
                </a:lnTo>
                <a:lnTo>
                  <a:pt x="10" y="4"/>
                </a:lnTo>
                <a:lnTo>
                  <a:pt x="14" y="4"/>
                </a:lnTo>
                <a:lnTo>
                  <a:pt x="18" y="4"/>
                </a:lnTo>
                <a:lnTo>
                  <a:pt x="22" y="4"/>
                </a:lnTo>
                <a:lnTo>
                  <a:pt x="22" y="4"/>
                </a:lnTo>
                <a:lnTo>
                  <a:pt x="26" y="4"/>
                </a:lnTo>
                <a:lnTo>
                  <a:pt x="26" y="4"/>
                </a:lnTo>
                <a:lnTo>
                  <a:pt x="30" y="4"/>
                </a:lnTo>
                <a:lnTo>
                  <a:pt x="30" y="4"/>
                </a:lnTo>
                <a:lnTo>
                  <a:pt x="34" y="4"/>
                </a:lnTo>
                <a:lnTo>
                  <a:pt x="34" y="4"/>
                </a:lnTo>
                <a:lnTo>
                  <a:pt x="34" y="4"/>
                </a:lnTo>
                <a:lnTo>
                  <a:pt x="34" y="4"/>
                </a:lnTo>
                <a:lnTo>
                  <a:pt x="34" y="4"/>
                </a:lnTo>
                <a:lnTo>
                  <a:pt x="36" y="4"/>
                </a:lnTo>
                <a:lnTo>
                  <a:pt x="40" y="4"/>
                </a:lnTo>
                <a:lnTo>
                  <a:pt x="40" y="0"/>
                </a:lnTo>
                <a:lnTo>
                  <a:pt x="40" y="0"/>
                </a:lnTo>
                <a:lnTo>
                  <a:pt x="40" y="0"/>
                </a:lnTo>
                <a:lnTo>
                  <a:pt x="40" y="0"/>
                </a:lnTo>
                <a:lnTo>
                  <a:pt x="44" y="4"/>
                </a:lnTo>
                <a:lnTo>
                  <a:pt x="44" y="4"/>
                </a:lnTo>
                <a:lnTo>
                  <a:pt x="44" y="0"/>
                </a:lnTo>
                <a:lnTo>
                  <a:pt x="44" y="0"/>
                </a:lnTo>
                <a:lnTo>
                  <a:pt x="44" y="4"/>
                </a:lnTo>
                <a:lnTo>
                  <a:pt x="44" y="4"/>
                </a:lnTo>
                <a:lnTo>
                  <a:pt x="44" y="4"/>
                </a:lnTo>
                <a:lnTo>
                  <a:pt x="44" y="8"/>
                </a:lnTo>
                <a:lnTo>
                  <a:pt x="44" y="8"/>
                </a:lnTo>
                <a:lnTo>
                  <a:pt x="44" y="8"/>
                </a:lnTo>
                <a:lnTo>
                  <a:pt x="44" y="8"/>
                </a:lnTo>
                <a:lnTo>
                  <a:pt x="44" y="12"/>
                </a:lnTo>
                <a:lnTo>
                  <a:pt x="44" y="12"/>
                </a:lnTo>
                <a:lnTo>
                  <a:pt x="44" y="12"/>
                </a:lnTo>
                <a:lnTo>
                  <a:pt x="44" y="12"/>
                </a:lnTo>
                <a:lnTo>
                  <a:pt x="44" y="12"/>
                </a:lnTo>
                <a:lnTo>
                  <a:pt x="48" y="16"/>
                </a:lnTo>
                <a:lnTo>
                  <a:pt x="48" y="16"/>
                </a:lnTo>
                <a:lnTo>
                  <a:pt x="48" y="16"/>
                </a:lnTo>
                <a:lnTo>
                  <a:pt x="48" y="16"/>
                </a:lnTo>
                <a:lnTo>
                  <a:pt x="48" y="18"/>
                </a:lnTo>
                <a:lnTo>
                  <a:pt x="48" y="18"/>
                </a:lnTo>
                <a:lnTo>
                  <a:pt x="48" y="18"/>
                </a:lnTo>
                <a:lnTo>
                  <a:pt x="48" y="18"/>
                </a:lnTo>
                <a:lnTo>
                  <a:pt x="52" y="18"/>
                </a:lnTo>
                <a:lnTo>
                  <a:pt x="52" y="18"/>
                </a:lnTo>
                <a:lnTo>
                  <a:pt x="48" y="18"/>
                </a:lnTo>
                <a:lnTo>
                  <a:pt x="48" y="26"/>
                </a:lnTo>
                <a:lnTo>
                  <a:pt x="48" y="26"/>
                </a:lnTo>
                <a:lnTo>
                  <a:pt x="48" y="30"/>
                </a:lnTo>
                <a:lnTo>
                  <a:pt x="48" y="30"/>
                </a:lnTo>
                <a:lnTo>
                  <a:pt x="48" y="30"/>
                </a:lnTo>
                <a:lnTo>
                  <a:pt x="48" y="30"/>
                </a:lnTo>
                <a:lnTo>
                  <a:pt x="48" y="30"/>
                </a:lnTo>
                <a:lnTo>
                  <a:pt x="48" y="30"/>
                </a:lnTo>
                <a:lnTo>
                  <a:pt x="48" y="30"/>
                </a:lnTo>
                <a:lnTo>
                  <a:pt x="52" y="30"/>
                </a:lnTo>
                <a:lnTo>
                  <a:pt x="52" y="30"/>
                </a:lnTo>
                <a:lnTo>
                  <a:pt x="52" y="30"/>
                </a:lnTo>
                <a:lnTo>
                  <a:pt x="52" y="30"/>
                </a:lnTo>
                <a:lnTo>
                  <a:pt x="52" y="30"/>
                </a:lnTo>
                <a:lnTo>
                  <a:pt x="52" y="34"/>
                </a:lnTo>
                <a:lnTo>
                  <a:pt x="52" y="34"/>
                </a:lnTo>
                <a:lnTo>
                  <a:pt x="52" y="34"/>
                </a:lnTo>
                <a:lnTo>
                  <a:pt x="52" y="38"/>
                </a:lnTo>
                <a:lnTo>
                  <a:pt x="52" y="38"/>
                </a:lnTo>
                <a:lnTo>
                  <a:pt x="52" y="42"/>
                </a:lnTo>
                <a:lnTo>
                  <a:pt x="52" y="42"/>
                </a:lnTo>
                <a:lnTo>
                  <a:pt x="52" y="42"/>
                </a:lnTo>
                <a:lnTo>
                  <a:pt x="52" y="42"/>
                </a:lnTo>
                <a:lnTo>
                  <a:pt x="52" y="42"/>
                </a:lnTo>
                <a:lnTo>
                  <a:pt x="48" y="42"/>
                </a:lnTo>
                <a:lnTo>
                  <a:pt x="48" y="42"/>
                </a:lnTo>
                <a:lnTo>
                  <a:pt x="52" y="46"/>
                </a:lnTo>
                <a:lnTo>
                  <a:pt x="52" y="46"/>
                </a:lnTo>
                <a:lnTo>
                  <a:pt x="52" y="46"/>
                </a:lnTo>
                <a:lnTo>
                  <a:pt x="52" y="48"/>
                </a:lnTo>
                <a:lnTo>
                  <a:pt x="52" y="48"/>
                </a:lnTo>
                <a:lnTo>
                  <a:pt x="56" y="48"/>
                </a:lnTo>
                <a:lnTo>
                  <a:pt x="56" y="48"/>
                </a:lnTo>
                <a:lnTo>
                  <a:pt x="56" y="48"/>
                </a:lnTo>
                <a:lnTo>
                  <a:pt x="56" y="52"/>
                </a:lnTo>
                <a:lnTo>
                  <a:pt x="56" y="52"/>
                </a:lnTo>
                <a:lnTo>
                  <a:pt x="52" y="52"/>
                </a:lnTo>
                <a:lnTo>
                  <a:pt x="52" y="52"/>
                </a:lnTo>
                <a:lnTo>
                  <a:pt x="52" y="52"/>
                </a:lnTo>
                <a:lnTo>
                  <a:pt x="52" y="56"/>
                </a:lnTo>
                <a:lnTo>
                  <a:pt x="52" y="60"/>
                </a:lnTo>
                <a:lnTo>
                  <a:pt x="52" y="64"/>
                </a:lnTo>
                <a:lnTo>
                  <a:pt x="52" y="64"/>
                </a:lnTo>
                <a:lnTo>
                  <a:pt x="52" y="64"/>
                </a:lnTo>
                <a:lnTo>
                  <a:pt x="52" y="64"/>
                </a:lnTo>
                <a:lnTo>
                  <a:pt x="52" y="64"/>
                </a:lnTo>
                <a:lnTo>
                  <a:pt x="52" y="68"/>
                </a:lnTo>
                <a:lnTo>
                  <a:pt x="52" y="68"/>
                </a:lnTo>
                <a:lnTo>
                  <a:pt x="52" y="68"/>
                </a:lnTo>
                <a:lnTo>
                  <a:pt x="52" y="68"/>
                </a:lnTo>
                <a:lnTo>
                  <a:pt x="52" y="68"/>
                </a:lnTo>
                <a:lnTo>
                  <a:pt x="52" y="68"/>
                </a:lnTo>
                <a:lnTo>
                  <a:pt x="52" y="72"/>
                </a:lnTo>
                <a:lnTo>
                  <a:pt x="52" y="72"/>
                </a:lnTo>
                <a:lnTo>
                  <a:pt x="52" y="76"/>
                </a:lnTo>
                <a:lnTo>
                  <a:pt x="52" y="76"/>
                </a:lnTo>
                <a:lnTo>
                  <a:pt x="52" y="78"/>
                </a:lnTo>
                <a:lnTo>
                  <a:pt x="52" y="78"/>
                </a:lnTo>
                <a:lnTo>
                  <a:pt x="52" y="78"/>
                </a:lnTo>
                <a:lnTo>
                  <a:pt x="52" y="78"/>
                </a:lnTo>
                <a:lnTo>
                  <a:pt x="56" y="78"/>
                </a:lnTo>
                <a:lnTo>
                  <a:pt x="56" y="78"/>
                </a:lnTo>
                <a:lnTo>
                  <a:pt x="56" y="78"/>
                </a:lnTo>
                <a:lnTo>
                  <a:pt x="56" y="78"/>
                </a:lnTo>
                <a:lnTo>
                  <a:pt x="56" y="82"/>
                </a:lnTo>
                <a:lnTo>
                  <a:pt x="56" y="82"/>
                </a:lnTo>
                <a:lnTo>
                  <a:pt x="56" y="82"/>
                </a:lnTo>
                <a:lnTo>
                  <a:pt x="56" y="82"/>
                </a:lnTo>
                <a:lnTo>
                  <a:pt x="56" y="82"/>
                </a:lnTo>
                <a:lnTo>
                  <a:pt x="56" y="82"/>
                </a:lnTo>
                <a:lnTo>
                  <a:pt x="60" y="82"/>
                </a:lnTo>
                <a:lnTo>
                  <a:pt x="60" y="86"/>
                </a:lnTo>
                <a:lnTo>
                  <a:pt x="60" y="86"/>
                </a:lnTo>
                <a:lnTo>
                  <a:pt x="60" y="86"/>
                </a:lnTo>
                <a:lnTo>
                  <a:pt x="62" y="86"/>
                </a:lnTo>
                <a:lnTo>
                  <a:pt x="62" y="86"/>
                </a:lnTo>
                <a:lnTo>
                  <a:pt x="62" y="90"/>
                </a:lnTo>
                <a:lnTo>
                  <a:pt x="60" y="90"/>
                </a:lnTo>
                <a:lnTo>
                  <a:pt x="60" y="90"/>
                </a:lnTo>
                <a:lnTo>
                  <a:pt x="60" y="90"/>
                </a:lnTo>
                <a:lnTo>
                  <a:pt x="60" y="90"/>
                </a:lnTo>
                <a:lnTo>
                  <a:pt x="60" y="90"/>
                </a:lnTo>
                <a:lnTo>
                  <a:pt x="60" y="90"/>
                </a:lnTo>
                <a:lnTo>
                  <a:pt x="60" y="94"/>
                </a:lnTo>
                <a:lnTo>
                  <a:pt x="60" y="94"/>
                </a:lnTo>
                <a:lnTo>
                  <a:pt x="60" y="94"/>
                </a:lnTo>
                <a:lnTo>
                  <a:pt x="60" y="94"/>
                </a:lnTo>
                <a:lnTo>
                  <a:pt x="60" y="94"/>
                </a:lnTo>
                <a:lnTo>
                  <a:pt x="56" y="94"/>
                </a:lnTo>
                <a:lnTo>
                  <a:pt x="56" y="94"/>
                </a:lnTo>
                <a:lnTo>
                  <a:pt x="56" y="94"/>
                </a:lnTo>
                <a:lnTo>
                  <a:pt x="56" y="94"/>
                </a:lnTo>
                <a:lnTo>
                  <a:pt x="56" y="94"/>
                </a:lnTo>
                <a:lnTo>
                  <a:pt x="52" y="94"/>
                </a:lnTo>
                <a:lnTo>
                  <a:pt x="52" y="94"/>
                </a:lnTo>
                <a:lnTo>
                  <a:pt x="52" y="94"/>
                </a:lnTo>
                <a:lnTo>
                  <a:pt x="52" y="90"/>
                </a:lnTo>
                <a:lnTo>
                  <a:pt x="52" y="90"/>
                </a:lnTo>
                <a:lnTo>
                  <a:pt x="52" y="90"/>
                </a:lnTo>
                <a:lnTo>
                  <a:pt x="52" y="90"/>
                </a:lnTo>
                <a:lnTo>
                  <a:pt x="52" y="90"/>
                </a:lnTo>
                <a:lnTo>
                  <a:pt x="52" y="90"/>
                </a:lnTo>
                <a:lnTo>
                  <a:pt x="48" y="90"/>
                </a:lnTo>
                <a:lnTo>
                  <a:pt x="48" y="90"/>
                </a:lnTo>
                <a:lnTo>
                  <a:pt x="48" y="90"/>
                </a:lnTo>
                <a:lnTo>
                  <a:pt x="48" y="90"/>
                </a:lnTo>
                <a:lnTo>
                  <a:pt x="48" y="90"/>
                </a:lnTo>
                <a:lnTo>
                  <a:pt x="48" y="90"/>
                </a:lnTo>
                <a:lnTo>
                  <a:pt x="48" y="90"/>
                </a:lnTo>
                <a:lnTo>
                  <a:pt x="48" y="90"/>
                </a:lnTo>
                <a:lnTo>
                  <a:pt x="48" y="90"/>
                </a:lnTo>
                <a:lnTo>
                  <a:pt x="48" y="90"/>
                </a:lnTo>
                <a:lnTo>
                  <a:pt x="48" y="90"/>
                </a:lnTo>
                <a:lnTo>
                  <a:pt x="48" y="90"/>
                </a:lnTo>
                <a:lnTo>
                  <a:pt x="48" y="90"/>
                </a:lnTo>
                <a:lnTo>
                  <a:pt x="48" y="90"/>
                </a:lnTo>
                <a:lnTo>
                  <a:pt x="52" y="90"/>
                </a:lnTo>
                <a:lnTo>
                  <a:pt x="52" y="90"/>
                </a:lnTo>
                <a:lnTo>
                  <a:pt x="52" y="90"/>
                </a:lnTo>
                <a:lnTo>
                  <a:pt x="52" y="90"/>
                </a:lnTo>
                <a:lnTo>
                  <a:pt x="52" y="90"/>
                </a:lnTo>
                <a:lnTo>
                  <a:pt x="52" y="90"/>
                </a:lnTo>
                <a:lnTo>
                  <a:pt x="52" y="90"/>
                </a:lnTo>
                <a:lnTo>
                  <a:pt x="52" y="94"/>
                </a:lnTo>
                <a:lnTo>
                  <a:pt x="52" y="94"/>
                </a:lnTo>
                <a:lnTo>
                  <a:pt x="56" y="94"/>
                </a:lnTo>
                <a:lnTo>
                  <a:pt x="52" y="94"/>
                </a:lnTo>
                <a:lnTo>
                  <a:pt x="52" y="94"/>
                </a:lnTo>
                <a:lnTo>
                  <a:pt x="48" y="94"/>
                </a:lnTo>
                <a:lnTo>
                  <a:pt x="48" y="94"/>
                </a:lnTo>
                <a:lnTo>
                  <a:pt x="48" y="94"/>
                </a:lnTo>
                <a:lnTo>
                  <a:pt x="48" y="94"/>
                </a:lnTo>
                <a:lnTo>
                  <a:pt x="48" y="94"/>
                </a:lnTo>
                <a:lnTo>
                  <a:pt x="44" y="98"/>
                </a:lnTo>
                <a:lnTo>
                  <a:pt x="44" y="98"/>
                </a:lnTo>
                <a:lnTo>
                  <a:pt x="44" y="98"/>
                </a:lnTo>
                <a:lnTo>
                  <a:pt x="40" y="98"/>
                </a:lnTo>
                <a:lnTo>
                  <a:pt x="40" y="98"/>
                </a:lnTo>
                <a:lnTo>
                  <a:pt x="40" y="98"/>
                </a:lnTo>
                <a:lnTo>
                  <a:pt x="40" y="98"/>
                </a:lnTo>
                <a:lnTo>
                  <a:pt x="36" y="102"/>
                </a:lnTo>
                <a:lnTo>
                  <a:pt x="36" y="102"/>
                </a:lnTo>
                <a:lnTo>
                  <a:pt x="36" y="102"/>
                </a:lnTo>
                <a:lnTo>
                  <a:pt x="36" y="102"/>
                </a:lnTo>
                <a:lnTo>
                  <a:pt x="36" y="102"/>
                </a:lnTo>
                <a:lnTo>
                  <a:pt x="34" y="102"/>
                </a:lnTo>
                <a:lnTo>
                  <a:pt x="34" y="102"/>
                </a:lnTo>
                <a:lnTo>
                  <a:pt x="34" y="102"/>
                </a:lnTo>
                <a:lnTo>
                  <a:pt x="34" y="104"/>
                </a:lnTo>
                <a:lnTo>
                  <a:pt x="34" y="104"/>
                </a:lnTo>
                <a:lnTo>
                  <a:pt x="30" y="104"/>
                </a:lnTo>
                <a:lnTo>
                  <a:pt x="30" y="104"/>
                </a:lnTo>
                <a:lnTo>
                  <a:pt x="30" y="104"/>
                </a:lnTo>
                <a:lnTo>
                  <a:pt x="30" y="104"/>
                </a:lnTo>
                <a:lnTo>
                  <a:pt x="30" y="104"/>
                </a:lnTo>
                <a:lnTo>
                  <a:pt x="30" y="104"/>
                </a:lnTo>
                <a:lnTo>
                  <a:pt x="26" y="104"/>
                </a:lnTo>
                <a:lnTo>
                  <a:pt x="26" y="104"/>
                </a:lnTo>
                <a:lnTo>
                  <a:pt x="26" y="104"/>
                </a:lnTo>
                <a:lnTo>
                  <a:pt x="26" y="104"/>
                </a:lnTo>
                <a:lnTo>
                  <a:pt x="22" y="104"/>
                </a:lnTo>
                <a:lnTo>
                  <a:pt x="22" y="104"/>
                </a:lnTo>
                <a:lnTo>
                  <a:pt x="22" y="104"/>
                </a:lnTo>
                <a:lnTo>
                  <a:pt x="22" y="108"/>
                </a:lnTo>
                <a:lnTo>
                  <a:pt x="22" y="108"/>
                </a:lnTo>
                <a:lnTo>
                  <a:pt x="18" y="108"/>
                </a:lnTo>
                <a:lnTo>
                  <a:pt x="18" y="112"/>
                </a:lnTo>
                <a:lnTo>
                  <a:pt x="14" y="112"/>
                </a:lnTo>
                <a:lnTo>
                  <a:pt x="14" y="112"/>
                </a:lnTo>
                <a:lnTo>
                  <a:pt x="14" y="112"/>
                </a:lnTo>
                <a:lnTo>
                  <a:pt x="10" y="108"/>
                </a:lnTo>
                <a:lnTo>
                  <a:pt x="10" y="108"/>
                </a:lnTo>
                <a:lnTo>
                  <a:pt x="10" y="108"/>
                </a:lnTo>
                <a:lnTo>
                  <a:pt x="10" y="108"/>
                </a:lnTo>
                <a:lnTo>
                  <a:pt x="10" y="108"/>
                </a:lnTo>
                <a:lnTo>
                  <a:pt x="10" y="108"/>
                </a:lnTo>
                <a:lnTo>
                  <a:pt x="10" y="108"/>
                </a:lnTo>
                <a:lnTo>
                  <a:pt x="6" y="108"/>
                </a:lnTo>
                <a:lnTo>
                  <a:pt x="6" y="108"/>
                </a:lnTo>
                <a:lnTo>
                  <a:pt x="6" y="108"/>
                </a:lnTo>
                <a:lnTo>
                  <a:pt x="4" y="104"/>
                </a:lnTo>
                <a:lnTo>
                  <a:pt x="4" y="104"/>
                </a:lnTo>
                <a:lnTo>
                  <a:pt x="4" y="104"/>
                </a:lnTo>
                <a:lnTo>
                  <a:pt x="0" y="104"/>
                </a:lnTo>
                <a:lnTo>
                  <a:pt x="0" y="104"/>
                </a:lnTo>
                <a:lnTo>
                  <a:pt x="0" y="104"/>
                </a:lnTo>
                <a:lnTo>
                  <a:pt x="0" y="104"/>
                </a:lnTo>
                <a:lnTo>
                  <a:pt x="0" y="104"/>
                </a:lnTo>
                <a:lnTo>
                  <a:pt x="4" y="104"/>
                </a:lnTo>
                <a:lnTo>
                  <a:pt x="4" y="104"/>
                </a:lnTo>
                <a:lnTo>
                  <a:pt x="6" y="104"/>
                </a:lnTo>
                <a:lnTo>
                  <a:pt x="6" y="104"/>
                </a:lnTo>
                <a:lnTo>
                  <a:pt x="6" y="104"/>
                </a:lnTo>
                <a:lnTo>
                  <a:pt x="6" y="104"/>
                </a:lnTo>
                <a:lnTo>
                  <a:pt x="6" y="104"/>
                </a:lnTo>
                <a:lnTo>
                  <a:pt x="4" y="102"/>
                </a:lnTo>
                <a:lnTo>
                  <a:pt x="4" y="102"/>
                </a:lnTo>
                <a:lnTo>
                  <a:pt x="6" y="102"/>
                </a:lnTo>
                <a:lnTo>
                  <a:pt x="6" y="98"/>
                </a:lnTo>
                <a:lnTo>
                  <a:pt x="4" y="98"/>
                </a:lnTo>
                <a:lnTo>
                  <a:pt x="4" y="98"/>
                </a:lnTo>
                <a:lnTo>
                  <a:pt x="4" y="98"/>
                </a:lnTo>
                <a:lnTo>
                  <a:pt x="4" y="98"/>
                </a:lnTo>
                <a:lnTo>
                  <a:pt x="4" y="98"/>
                </a:lnTo>
                <a:lnTo>
                  <a:pt x="4" y="98"/>
                </a:lnTo>
                <a:lnTo>
                  <a:pt x="4" y="94"/>
                </a:lnTo>
                <a:lnTo>
                  <a:pt x="4" y="94"/>
                </a:lnTo>
                <a:lnTo>
                  <a:pt x="0" y="90"/>
                </a:lnTo>
                <a:lnTo>
                  <a:pt x="0" y="86"/>
                </a:lnTo>
                <a:lnTo>
                  <a:pt x="0" y="86"/>
                </a:lnTo>
                <a:lnTo>
                  <a:pt x="0" y="86"/>
                </a:lnTo>
                <a:lnTo>
                  <a:pt x="0" y="86"/>
                </a:lnTo>
                <a:lnTo>
                  <a:pt x="0" y="86"/>
                </a:lnTo>
                <a:lnTo>
                  <a:pt x="0" y="86"/>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41" name="Freeform 148"/>
          <p:cNvSpPr>
            <a:spLocks/>
          </p:cNvSpPr>
          <p:nvPr/>
        </p:nvSpPr>
        <p:spPr bwMode="auto">
          <a:xfrm>
            <a:off x="4005262" y="3438525"/>
            <a:ext cx="123825" cy="116681"/>
          </a:xfrm>
          <a:custGeom>
            <a:avLst/>
            <a:gdLst>
              <a:gd name="T0" fmla="*/ 96 w 104"/>
              <a:gd name="T1" fmla="*/ 86 h 98"/>
              <a:gd name="T2" fmla="*/ 92 w 104"/>
              <a:gd name="T3" fmla="*/ 90 h 98"/>
              <a:gd name="T4" fmla="*/ 90 w 104"/>
              <a:gd name="T5" fmla="*/ 86 h 98"/>
              <a:gd name="T6" fmla="*/ 86 w 104"/>
              <a:gd name="T7" fmla="*/ 94 h 98"/>
              <a:gd name="T8" fmla="*/ 82 w 104"/>
              <a:gd name="T9" fmla="*/ 94 h 98"/>
              <a:gd name="T10" fmla="*/ 78 w 104"/>
              <a:gd name="T11" fmla="*/ 90 h 98"/>
              <a:gd name="T12" fmla="*/ 78 w 104"/>
              <a:gd name="T13" fmla="*/ 86 h 98"/>
              <a:gd name="T14" fmla="*/ 74 w 104"/>
              <a:gd name="T15" fmla="*/ 74 h 98"/>
              <a:gd name="T16" fmla="*/ 66 w 104"/>
              <a:gd name="T17" fmla="*/ 74 h 98"/>
              <a:gd name="T18" fmla="*/ 60 w 104"/>
              <a:gd name="T19" fmla="*/ 74 h 98"/>
              <a:gd name="T20" fmla="*/ 64 w 104"/>
              <a:gd name="T21" fmla="*/ 64 h 98"/>
              <a:gd name="T22" fmla="*/ 60 w 104"/>
              <a:gd name="T23" fmla="*/ 60 h 98"/>
              <a:gd name="T24" fmla="*/ 56 w 104"/>
              <a:gd name="T25" fmla="*/ 52 h 98"/>
              <a:gd name="T26" fmla="*/ 48 w 104"/>
              <a:gd name="T27" fmla="*/ 48 h 98"/>
              <a:gd name="T28" fmla="*/ 40 w 104"/>
              <a:gd name="T29" fmla="*/ 48 h 98"/>
              <a:gd name="T30" fmla="*/ 34 w 104"/>
              <a:gd name="T31" fmla="*/ 52 h 98"/>
              <a:gd name="T32" fmla="*/ 30 w 104"/>
              <a:gd name="T33" fmla="*/ 60 h 98"/>
              <a:gd name="T34" fmla="*/ 26 w 104"/>
              <a:gd name="T35" fmla="*/ 64 h 98"/>
              <a:gd name="T36" fmla="*/ 22 w 104"/>
              <a:gd name="T37" fmla="*/ 60 h 98"/>
              <a:gd name="T38" fmla="*/ 18 w 104"/>
              <a:gd name="T39" fmla="*/ 56 h 98"/>
              <a:gd name="T40" fmla="*/ 18 w 104"/>
              <a:gd name="T41" fmla="*/ 52 h 98"/>
              <a:gd name="T42" fmla="*/ 18 w 104"/>
              <a:gd name="T43" fmla="*/ 48 h 98"/>
              <a:gd name="T44" fmla="*/ 14 w 104"/>
              <a:gd name="T45" fmla="*/ 44 h 98"/>
              <a:gd name="T46" fmla="*/ 8 w 104"/>
              <a:gd name="T47" fmla="*/ 38 h 98"/>
              <a:gd name="T48" fmla="*/ 8 w 104"/>
              <a:gd name="T49" fmla="*/ 34 h 98"/>
              <a:gd name="T50" fmla="*/ 4 w 104"/>
              <a:gd name="T51" fmla="*/ 30 h 98"/>
              <a:gd name="T52" fmla="*/ 0 w 104"/>
              <a:gd name="T53" fmla="*/ 30 h 98"/>
              <a:gd name="T54" fmla="*/ 0 w 104"/>
              <a:gd name="T55" fmla="*/ 30 h 98"/>
              <a:gd name="T56" fmla="*/ 4 w 104"/>
              <a:gd name="T57" fmla="*/ 22 h 98"/>
              <a:gd name="T58" fmla="*/ 8 w 104"/>
              <a:gd name="T59" fmla="*/ 22 h 98"/>
              <a:gd name="T60" fmla="*/ 14 w 104"/>
              <a:gd name="T61" fmla="*/ 18 h 98"/>
              <a:gd name="T62" fmla="*/ 14 w 104"/>
              <a:gd name="T63" fmla="*/ 12 h 98"/>
              <a:gd name="T64" fmla="*/ 18 w 104"/>
              <a:gd name="T65" fmla="*/ 8 h 98"/>
              <a:gd name="T66" fmla="*/ 18 w 104"/>
              <a:gd name="T67" fmla="*/ 4 h 98"/>
              <a:gd name="T68" fmla="*/ 26 w 104"/>
              <a:gd name="T69" fmla="*/ 0 h 98"/>
              <a:gd name="T70" fmla="*/ 30 w 104"/>
              <a:gd name="T71" fmla="*/ 4 h 98"/>
              <a:gd name="T72" fmla="*/ 36 w 104"/>
              <a:gd name="T73" fmla="*/ 4 h 98"/>
              <a:gd name="T74" fmla="*/ 40 w 104"/>
              <a:gd name="T75" fmla="*/ 8 h 98"/>
              <a:gd name="T76" fmla="*/ 48 w 104"/>
              <a:gd name="T77" fmla="*/ 4 h 98"/>
              <a:gd name="T78" fmla="*/ 48 w 104"/>
              <a:gd name="T79" fmla="*/ 8 h 98"/>
              <a:gd name="T80" fmla="*/ 52 w 104"/>
              <a:gd name="T81" fmla="*/ 12 h 98"/>
              <a:gd name="T82" fmla="*/ 60 w 104"/>
              <a:gd name="T83" fmla="*/ 8 h 98"/>
              <a:gd name="T84" fmla="*/ 64 w 104"/>
              <a:gd name="T85" fmla="*/ 12 h 98"/>
              <a:gd name="T86" fmla="*/ 74 w 104"/>
              <a:gd name="T87" fmla="*/ 12 h 98"/>
              <a:gd name="T88" fmla="*/ 78 w 104"/>
              <a:gd name="T89" fmla="*/ 8 h 98"/>
              <a:gd name="T90" fmla="*/ 82 w 104"/>
              <a:gd name="T91" fmla="*/ 4 h 98"/>
              <a:gd name="T92" fmla="*/ 86 w 104"/>
              <a:gd name="T93" fmla="*/ 8 h 98"/>
              <a:gd name="T94" fmla="*/ 86 w 104"/>
              <a:gd name="T95" fmla="*/ 18 h 98"/>
              <a:gd name="T96" fmla="*/ 90 w 104"/>
              <a:gd name="T97" fmla="*/ 22 h 98"/>
              <a:gd name="T98" fmla="*/ 92 w 104"/>
              <a:gd name="T99" fmla="*/ 22 h 98"/>
              <a:gd name="T100" fmla="*/ 90 w 104"/>
              <a:gd name="T101" fmla="*/ 26 h 98"/>
              <a:gd name="T102" fmla="*/ 96 w 104"/>
              <a:gd name="T103" fmla="*/ 34 h 98"/>
              <a:gd name="T104" fmla="*/ 100 w 104"/>
              <a:gd name="T105" fmla="*/ 42 h 98"/>
              <a:gd name="T106" fmla="*/ 96 w 104"/>
              <a:gd name="T107" fmla="*/ 48 h 98"/>
              <a:gd name="T108" fmla="*/ 96 w 104"/>
              <a:gd name="T109" fmla="*/ 56 h 98"/>
              <a:gd name="T110" fmla="*/ 100 w 104"/>
              <a:gd name="T111" fmla="*/ 60 h 98"/>
              <a:gd name="T112" fmla="*/ 100 w 104"/>
              <a:gd name="T113" fmla="*/ 64 h 98"/>
              <a:gd name="T114" fmla="*/ 100 w 104"/>
              <a:gd name="T115" fmla="*/ 68 h 98"/>
              <a:gd name="T116" fmla="*/ 104 w 104"/>
              <a:gd name="T117" fmla="*/ 74 h 98"/>
              <a:gd name="T118" fmla="*/ 96 w 104"/>
              <a:gd name="T119" fmla="*/ 78 h 98"/>
              <a:gd name="T120" fmla="*/ 100 w 104"/>
              <a:gd name="T121" fmla="*/ 8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4" h="98">
                <a:moveTo>
                  <a:pt x="100" y="82"/>
                </a:moveTo>
                <a:lnTo>
                  <a:pt x="100" y="82"/>
                </a:lnTo>
                <a:lnTo>
                  <a:pt x="96" y="82"/>
                </a:lnTo>
                <a:lnTo>
                  <a:pt x="96" y="82"/>
                </a:lnTo>
                <a:lnTo>
                  <a:pt x="96" y="82"/>
                </a:lnTo>
                <a:lnTo>
                  <a:pt x="96" y="82"/>
                </a:lnTo>
                <a:lnTo>
                  <a:pt x="96" y="82"/>
                </a:lnTo>
                <a:lnTo>
                  <a:pt x="96" y="86"/>
                </a:lnTo>
                <a:lnTo>
                  <a:pt x="96" y="86"/>
                </a:lnTo>
                <a:lnTo>
                  <a:pt x="96" y="86"/>
                </a:lnTo>
                <a:lnTo>
                  <a:pt x="96" y="90"/>
                </a:lnTo>
                <a:lnTo>
                  <a:pt x="96" y="90"/>
                </a:lnTo>
                <a:lnTo>
                  <a:pt x="96" y="90"/>
                </a:lnTo>
                <a:lnTo>
                  <a:pt x="96" y="90"/>
                </a:lnTo>
                <a:lnTo>
                  <a:pt x="96" y="90"/>
                </a:lnTo>
                <a:lnTo>
                  <a:pt x="92" y="90"/>
                </a:lnTo>
                <a:lnTo>
                  <a:pt x="92" y="90"/>
                </a:lnTo>
                <a:lnTo>
                  <a:pt x="92" y="90"/>
                </a:lnTo>
                <a:lnTo>
                  <a:pt x="92" y="90"/>
                </a:lnTo>
                <a:lnTo>
                  <a:pt x="92" y="90"/>
                </a:lnTo>
                <a:lnTo>
                  <a:pt x="92" y="86"/>
                </a:lnTo>
                <a:lnTo>
                  <a:pt x="92" y="86"/>
                </a:lnTo>
                <a:lnTo>
                  <a:pt x="90" y="86"/>
                </a:lnTo>
                <a:lnTo>
                  <a:pt x="90" y="86"/>
                </a:lnTo>
                <a:lnTo>
                  <a:pt x="90" y="86"/>
                </a:lnTo>
                <a:lnTo>
                  <a:pt x="90" y="86"/>
                </a:lnTo>
                <a:lnTo>
                  <a:pt x="90" y="90"/>
                </a:lnTo>
                <a:lnTo>
                  <a:pt x="90" y="90"/>
                </a:lnTo>
                <a:lnTo>
                  <a:pt x="90" y="90"/>
                </a:lnTo>
                <a:lnTo>
                  <a:pt x="90" y="90"/>
                </a:lnTo>
                <a:lnTo>
                  <a:pt x="90" y="94"/>
                </a:lnTo>
                <a:lnTo>
                  <a:pt x="86" y="94"/>
                </a:lnTo>
                <a:lnTo>
                  <a:pt x="86" y="94"/>
                </a:lnTo>
                <a:lnTo>
                  <a:pt x="86" y="94"/>
                </a:lnTo>
                <a:lnTo>
                  <a:pt x="86" y="94"/>
                </a:lnTo>
                <a:lnTo>
                  <a:pt x="86" y="94"/>
                </a:lnTo>
                <a:lnTo>
                  <a:pt x="82" y="94"/>
                </a:lnTo>
                <a:lnTo>
                  <a:pt x="82" y="98"/>
                </a:lnTo>
                <a:lnTo>
                  <a:pt x="82" y="94"/>
                </a:lnTo>
                <a:lnTo>
                  <a:pt x="82" y="94"/>
                </a:lnTo>
                <a:lnTo>
                  <a:pt x="82" y="94"/>
                </a:lnTo>
                <a:lnTo>
                  <a:pt x="82" y="90"/>
                </a:lnTo>
                <a:lnTo>
                  <a:pt x="78" y="90"/>
                </a:lnTo>
                <a:lnTo>
                  <a:pt x="78" y="94"/>
                </a:lnTo>
                <a:lnTo>
                  <a:pt x="78" y="94"/>
                </a:lnTo>
                <a:lnTo>
                  <a:pt x="78" y="94"/>
                </a:lnTo>
                <a:lnTo>
                  <a:pt x="78" y="90"/>
                </a:lnTo>
                <a:lnTo>
                  <a:pt x="78" y="90"/>
                </a:lnTo>
                <a:lnTo>
                  <a:pt x="78" y="90"/>
                </a:lnTo>
                <a:lnTo>
                  <a:pt x="78" y="90"/>
                </a:lnTo>
                <a:lnTo>
                  <a:pt x="78" y="86"/>
                </a:lnTo>
                <a:lnTo>
                  <a:pt x="78" y="86"/>
                </a:lnTo>
                <a:lnTo>
                  <a:pt x="78" y="86"/>
                </a:lnTo>
                <a:lnTo>
                  <a:pt x="82" y="86"/>
                </a:lnTo>
                <a:lnTo>
                  <a:pt x="78" y="86"/>
                </a:lnTo>
                <a:lnTo>
                  <a:pt x="78" y="86"/>
                </a:lnTo>
                <a:lnTo>
                  <a:pt x="78" y="82"/>
                </a:lnTo>
                <a:lnTo>
                  <a:pt x="78" y="82"/>
                </a:lnTo>
                <a:lnTo>
                  <a:pt x="78" y="82"/>
                </a:lnTo>
                <a:lnTo>
                  <a:pt x="78" y="82"/>
                </a:lnTo>
                <a:lnTo>
                  <a:pt x="78" y="78"/>
                </a:lnTo>
                <a:lnTo>
                  <a:pt x="78" y="74"/>
                </a:lnTo>
                <a:lnTo>
                  <a:pt x="74" y="74"/>
                </a:lnTo>
                <a:lnTo>
                  <a:pt x="74" y="74"/>
                </a:lnTo>
                <a:lnTo>
                  <a:pt x="74" y="72"/>
                </a:lnTo>
                <a:lnTo>
                  <a:pt x="74" y="74"/>
                </a:lnTo>
                <a:lnTo>
                  <a:pt x="74" y="72"/>
                </a:lnTo>
                <a:lnTo>
                  <a:pt x="70" y="72"/>
                </a:lnTo>
                <a:lnTo>
                  <a:pt x="70" y="74"/>
                </a:lnTo>
                <a:lnTo>
                  <a:pt x="66" y="72"/>
                </a:lnTo>
                <a:lnTo>
                  <a:pt x="66" y="74"/>
                </a:lnTo>
                <a:lnTo>
                  <a:pt x="66" y="74"/>
                </a:lnTo>
                <a:lnTo>
                  <a:pt x="66" y="72"/>
                </a:lnTo>
                <a:lnTo>
                  <a:pt x="66" y="74"/>
                </a:lnTo>
                <a:lnTo>
                  <a:pt x="64" y="74"/>
                </a:lnTo>
                <a:lnTo>
                  <a:pt x="64" y="74"/>
                </a:lnTo>
                <a:lnTo>
                  <a:pt x="64" y="74"/>
                </a:lnTo>
                <a:lnTo>
                  <a:pt x="64" y="74"/>
                </a:lnTo>
                <a:lnTo>
                  <a:pt x="64" y="74"/>
                </a:lnTo>
                <a:lnTo>
                  <a:pt x="60" y="74"/>
                </a:lnTo>
                <a:lnTo>
                  <a:pt x="60" y="74"/>
                </a:lnTo>
                <a:lnTo>
                  <a:pt x="64" y="72"/>
                </a:lnTo>
                <a:lnTo>
                  <a:pt x="64" y="72"/>
                </a:lnTo>
                <a:lnTo>
                  <a:pt x="64" y="72"/>
                </a:lnTo>
                <a:lnTo>
                  <a:pt x="64" y="68"/>
                </a:lnTo>
                <a:lnTo>
                  <a:pt x="64" y="68"/>
                </a:lnTo>
                <a:lnTo>
                  <a:pt x="64" y="68"/>
                </a:lnTo>
                <a:lnTo>
                  <a:pt x="64" y="64"/>
                </a:lnTo>
                <a:lnTo>
                  <a:pt x="64" y="64"/>
                </a:lnTo>
                <a:lnTo>
                  <a:pt x="64" y="64"/>
                </a:lnTo>
                <a:lnTo>
                  <a:pt x="64" y="64"/>
                </a:lnTo>
                <a:lnTo>
                  <a:pt x="64" y="64"/>
                </a:lnTo>
                <a:lnTo>
                  <a:pt x="60" y="64"/>
                </a:lnTo>
                <a:lnTo>
                  <a:pt x="60" y="64"/>
                </a:lnTo>
                <a:lnTo>
                  <a:pt x="60" y="64"/>
                </a:lnTo>
                <a:lnTo>
                  <a:pt x="60" y="60"/>
                </a:lnTo>
                <a:lnTo>
                  <a:pt x="60" y="60"/>
                </a:lnTo>
                <a:lnTo>
                  <a:pt x="64" y="60"/>
                </a:lnTo>
                <a:lnTo>
                  <a:pt x="64" y="60"/>
                </a:lnTo>
                <a:lnTo>
                  <a:pt x="60" y="60"/>
                </a:lnTo>
                <a:lnTo>
                  <a:pt x="60" y="56"/>
                </a:lnTo>
                <a:lnTo>
                  <a:pt x="60" y="56"/>
                </a:lnTo>
                <a:lnTo>
                  <a:pt x="60" y="52"/>
                </a:lnTo>
                <a:lnTo>
                  <a:pt x="56" y="52"/>
                </a:lnTo>
                <a:lnTo>
                  <a:pt x="56" y="52"/>
                </a:lnTo>
                <a:lnTo>
                  <a:pt x="56" y="52"/>
                </a:lnTo>
                <a:lnTo>
                  <a:pt x="56" y="48"/>
                </a:lnTo>
                <a:lnTo>
                  <a:pt x="56" y="48"/>
                </a:lnTo>
                <a:lnTo>
                  <a:pt x="56" y="48"/>
                </a:lnTo>
                <a:lnTo>
                  <a:pt x="52" y="48"/>
                </a:lnTo>
                <a:lnTo>
                  <a:pt x="52" y="48"/>
                </a:lnTo>
                <a:lnTo>
                  <a:pt x="48" y="48"/>
                </a:lnTo>
                <a:lnTo>
                  <a:pt x="48" y="48"/>
                </a:lnTo>
                <a:lnTo>
                  <a:pt x="48" y="48"/>
                </a:lnTo>
                <a:lnTo>
                  <a:pt x="44" y="48"/>
                </a:lnTo>
                <a:lnTo>
                  <a:pt x="44" y="48"/>
                </a:lnTo>
                <a:lnTo>
                  <a:pt x="44" y="48"/>
                </a:lnTo>
                <a:lnTo>
                  <a:pt x="40" y="48"/>
                </a:lnTo>
                <a:lnTo>
                  <a:pt x="40" y="48"/>
                </a:lnTo>
                <a:lnTo>
                  <a:pt x="40" y="48"/>
                </a:lnTo>
                <a:lnTo>
                  <a:pt x="40" y="48"/>
                </a:lnTo>
                <a:lnTo>
                  <a:pt x="40" y="48"/>
                </a:lnTo>
                <a:lnTo>
                  <a:pt x="40" y="48"/>
                </a:lnTo>
                <a:lnTo>
                  <a:pt x="36" y="48"/>
                </a:lnTo>
                <a:lnTo>
                  <a:pt x="36" y="48"/>
                </a:lnTo>
                <a:lnTo>
                  <a:pt x="34" y="52"/>
                </a:lnTo>
                <a:lnTo>
                  <a:pt x="34" y="52"/>
                </a:lnTo>
                <a:lnTo>
                  <a:pt x="34" y="52"/>
                </a:lnTo>
                <a:lnTo>
                  <a:pt x="34" y="56"/>
                </a:lnTo>
                <a:lnTo>
                  <a:pt x="34" y="56"/>
                </a:lnTo>
                <a:lnTo>
                  <a:pt x="34" y="56"/>
                </a:lnTo>
                <a:lnTo>
                  <a:pt x="30" y="60"/>
                </a:lnTo>
                <a:lnTo>
                  <a:pt x="30" y="60"/>
                </a:lnTo>
                <a:lnTo>
                  <a:pt x="30" y="60"/>
                </a:lnTo>
                <a:lnTo>
                  <a:pt x="30" y="60"/>
                </a:lnTo>
                <a:lnTo>
                  <a:pt x="30" y="60"/>
                </a:lnTo>
                <a:lnTo>
                  <a:pt x="30" y="60"/>
                </a:lnTo>
                <a:lnTo>
                  <a:pt x="30" y="60"/>
                </a:lnTo>
                <a:lnTo>
                  <a:pt x="30" y="64"/>
                </a:lnTo>
                <a:lnTo>
                  <a:pt x="30" y="64"/>
                </a:lnTo>
                <a:lnTo>
                  <a:pt x="26" y="64"/>
                </a:lnTo>
                <a:lnTo>
                  <a:pt x="26" y="64"/>
                </a:lnTo>
                <a:lnTo>
                  <a:pt x="26" y="64"/>
                </a:lnTo>
                <a:lnTo>
                  <a:pt x="26" y="64"/>
                </a:lnTo>
                <a:lnTo>
                  <a:pt x="26" y="64"/>
                </a:lnTo>
                <a:lnTo>
                  <a:pt x="26" y="64"/>
                </a:lnTo>
                <a:lnTo>
                  <a:pt x="26" y="64"/>
                </a:lnTo>
                <a:lnTo>
                  <a:pt x="22" y="64"/>
                </a:lnTo>
                <a:lnTo>
                  <a:pt x="22" y="64"/>
                </a:lnTo>
                <a:lnTo>
                  <a:pt x="26" y="64"/>
                </a:lnTo>
                <a:lnTo>
                  <a:pt x="26" y="60"/>
                </a:lnTo>
                <a:lnTo>
                  <a:pt x="22" y="60"/>
                </a:lnTo>
                <a:lnTo>
                  <a:pt x="22" y="60"/>
                </a:lnTo>
                <a:lnTo>
                  <a:pt x="22" y="56"/>
                </a:lnTo>
                <a:lnTo>
                  <a:pt x="22" y="56"/>
                </a:lnTo>
                <a:lnTo>
                  <a:pt x="22" y="56"/>
                </a:lnTo>
                <a:lnTo>
                  <a:pt x="22" y="56"/>
                </a:lnTo>
                <a:lnTo>
                  <a:pt x="22" y="56"/>
                </a:lnTo>
                <a:lnTo>
                  <a:pt x="22" y="56"/>
                </a:lnTo>
                <a:lnTo>
                  <a:pt x="18" y="56"/>
                </a:lnTo>
                <a:lnTo>
                  <a:pt x="18" y="56"/>
                </a:lnTo>
                <a:lnTo>
                  <a:pt x="18" y="52"/>
                </a:lnTo>
                <a:lnTo>
                  <a:pt x="18" y="52"/>
                </a:lnTo>
                <a:lnTo>
                  <a:pt x="18" y="48"/>
                </a:lnTo>
                <a:lnTo>
                  <a:pt x="18" y="48"/>
                </a:lnTo>
                <a:lnTo>
                  <a:pt x="18" y="52"/>
                </a:lnTo>
                <a:lnTo>
                  <a:pt x="18" y="52"/>
                </a:lnTo>
                <a:lnTo>
                  <a:pt x="18" y="52"/>
                </a:lnTo>
                <a:lnTo>
                  <a:pt x="18" y="52"/>
                </a:lnTo>
                <a:lnTo>
                  <a:pt x="18" y="52"/>
                </a:lnTo>
                <a:lnTo>
                  <a:pt x="18" y="52"/>
                </a:lnTo>
                <a:lnTo>
                  <a:pt x="18" y="48"/>
                </a:lnTo>
                <a:lnTo>
                  <a:pt x="18" y="48"/>
                </a:lnTo>
                <a:lnTo>
                  <a:pt x="18" y="48"/>
                </a:lnTo>
                <a:lnTo>
                  <a:pt x="18" y="48"/>
                </a:lnTo>
                <a:lnTo>
                  <a:pt x="18" y="48"/>
                </a:lnTo>
                <a:lnTo>
                  <a:pt x="18" y="48"/>
                </a:lnTo>
                <a:lnTo>
                  <a:pt x="18" y="48"/>
                </a:lnTo>
                <a:lnTo>
                  <a:pt x="18" y="48"/>
                </a:lnTo>
                <a:lnTo>
                  <a:pt x="18" y="48"/>
                </a:lnTo>
                <a:lnTo>
                  <a:pt x="14" y="48"/>
                </a:lnTo>
                <a:lnTo>
                  <a:pt x="14" y="48"/>
                </a:lnTo>
                <a:lnTo>
                  <a:pt x="14" y="48"/>
                </a:lnTo>
                <a:lnTo>
                  <a:pt x="14" y="44"/>
                </a:lnTo>
                <a:lnTo>
                  <a:pt x="10" y="44"/>
                </a:lnTo>
                <a:lnTo>
                  <a:pt x="10" y="44"/>
                </a:lnTo>
                <a:lnTo>
                  <a:pt x="8" y="42"/>
                </a:lnTo>
                <a:lnTo>
                  <a:pt x="8" y="42"/>
                </a:lnTo>
                <a:lnTo>
                  <a:pt x="8" y="38"/>
                </a:lnTo>
                <a:lnTo>
                  <a:pt x="8" y="38"/>
                </a:lnTo>
                <a:lnTo>
                  <a:pt x="8" y="38"/>
                </a:lnTo>
                <a:lnTo>
                  <a:pt x="8" y="38"/>
                </a:lnTo>
                <a:lnTo>
                  <a:pt x="4" y="38"/>
                </a:lnTo>
                <a:lnTo>
                  <a:pt x="4" y="38"/>
                </a:lnTo>
                <a:lnTo>
                  <a:pt x="8" y="34"/>
                </a:lnTo>
                <a:lnTo>
                  <a:pt x="8" y="34"/>
                </a:lnTo>
                <a:lnTo>
                  <a:pt x="8" y="34"/>
                </a:lnTo>
                <a:lnTo>
                  <a:pt x="8" y="34"/>
                </a:lnTo>
                <a:lnTo>
                  <a:pt x="8" y="34"/>
                </a:lnTo>
                <a:lnTo>
                  <a:pt x="8" y="34"/>
                </a:lnTo>
                <a:lnTo>
                  <a:pt x="4" y="34"/>
                </a:lnTo>
                <a:lnTo>
                  <a:pt x="4" y="38"/>
                </a:lnTo>
                <a:lnTo>
                  <a:pt x="4" y="34"/>
                </a:lnTo>
                <a:lnTo>
                  <a:pt x="4" y="34"/>
                </a:lnTo>
                <a:lnTo>
                  <a:pt x="4" y="34"/>
                </a:lnTo>
                <a:lnTo>
                  <a:pt x="4" y="34"/>
                </a:lnTo>
                <a:lnTo>
                  <a:pt x="4" y="34"/>
                </a:lnTo>
                <a:lnTo>
                  <a:pt x="4" y="30"/>
                </a:lnTo>
                <a:lnTo>
                  <a:pt x="4" y="30"/>
                </a:lnTo>
                <a:lnTo>
                  <a:pt x="4" y="30"/>
                </a:lnTo>
                <a:lnTo>
                  <a:pt x="4" y="30"/>
                </a:lnTo>
                <a:lnTo>
                  <a:pt x="4" y="30"/>
                </a:lnTo>
                <a:lnTo>
                  <a:pt x="4" y="30"/>
                </a:lnTo>
                <a:lnTo>
                  <a:pt x="4" y="30"/>
                </a:lnTo>
                <a:lnTo>
                  <a:pt x="0" y="30"/>
                </a:lnTo>
                <a:lnTo>
                  <a:pt x="0" y="30"/>
                </a:lnTo>
                <a:lnTo>
                  <a:pt x="0" y="34"/>
                </a:lnTo>
                <a:lnTo>
                  <a:pt x="0" y="34"/>
                </a:lnTo>
                <a:lnTo>
                  <a:pt x="0" y="34"/>
                </a:lnTo>
                <a:lnTo>
                  <a:pt x="0" y="34"/>
                </a:lnTo>
                <a:lnTo>
                  <a:pt x="0" y="34"/>
                </a:lnTo>
                <a:lnTo>
                  <a:pt x="0" y="34"/>
                </a:lnTo>
                <a:lnTo>
                  <a:pt x="0" y="30"/>
                </a:lnTo>
                <a:lnTo>
                  <a:pt x="0" y="30"/>
                </a:lnTo>
                <a:lnTo>
                  <a:pt x="0" y="30"/>
                </a:lnTo>
                <a:lnTo>
                  <a:pt x="0" y="30"/>
                </a:lnTo>
                <a:lnTo>
                  <a:pt x="0" y="30"/>
                </a:lnTo>
                <a:lnTo>
                  <a:pt x="4" y="26"/>
                </a:lnTo>
                <a:lnTo>
                  <a:pt x="4" y="26"/>
                </a:lnTo>
                <a:lnTo>
                  <a:pt x="4" y="26"/>
                </a:lnTo>
                <a:lnTo>
                  <a:pt x="4" y="26"/>
                </a:lnTo>
                <a:lnTo>
                  <a:pt x="4" y="22"/>
                </a:lnTo>
                <a:lnTo>
                  <a:pt x="4" y="22"/>
                </a:lnTo>
                <a:lnTo>
                  <a:pt x="4" y="22"/>
                </a:lnTo>
                <a:lnTo>
                  <a:pt x="4" y="22"/>
                </a:lnTo>
                <a:lnTo>
                  <a:pt x="4" y="22"/>
                </a:lnTo>
                <a:lnTo>
                  <a:pt x="8" y="22"/>
                </a:lnTo>
                <a:lnTo>
                  <a:pt x="8" y="22"/>
                </a:lnTo>
                <a:lnTo>
                  <a:pt x="8" y="22"/>
                </a:lnTo>
                <a:lnTo>
                  <a:pt x="8" y="22"/>
                </a:lnTo>
                <a:lnTo>
                  <a:pt x="8" y="18"/>
                </a:lnTo>
                <a:lnTo>
                  <a:pt x="8" y="18"/>
                </a:lnTo>
                <a:lnTo>
                  <a:pt x="10" y="18"/>
                </a:lnTo>
                <a:lnTo>
                  <a:pt x="10" y="18"/>
                </a:lnTo>
                <a:lnTo>
                  <a:pt x="10" y="18"/>
                </a:lnTo>
                <a:lnTo>
                  <a:pt x="10" y="18"/>
                </a:lnTo>
                <a:lnTo>
                  <a:pt x="14" y="18"/>
                </a:lnTo>
                <a:lnTo>
                  <a:pt x="14" y="18"/>
                </a:lnTo>
                <a:lnTo>
                  <a:pt x="14" y="18"/>
                </a:lnTo>
                <a:lnTo>
                  <a:pt x="18" y="18"/>
                </a:lnTo>
                <a:lnTo>
                  <a:pt x="18" y="18"/>
                </a:lnTo>
                <a:lnTo>
                  <a:pt x="18" y="16"/>
                </a:lnTo>
                <a:lnTo>
                  <a:pt x="18" y="12"/>
                </a:lnTo>
                <a:lnTo>
                  <a:pt x="18" y="12"/>
                </a:lnTo>
                <a:lnTo>
                  <a:pt x="18" y="12"/>
                </a:lnTo>
                <a:lnTo>
                  <a:pt x="14" y="12"/>
                </a:lnTo>
                <a:lnTo>
                  <a:pt x="14" y="12"/>
                </a:lnTo>
                <a:lnTo>
                  <a:pt x="14" y="12"/>
                </a:lnTo>
                <a:lnTo>
                  <a:pt x="14" y="8"/>
                </a:lnTo>
                <a:lnTo>
                  <a:pt x="14" y="8"/>
                </a:lnTo>
                <a:lnTo>
                  <a:pt x="18" y="8"/>
                </a:lnTo>
                <a:lnTo>
                  <a:pt x="18" y="8"/>
                </a:lnTo>
                <a:lnTo>
                  <a:pt x="18" y="8"/>
                </a:lnTo>
                <a:lnTo>
                  <a:pt x="18" y="8"/>
                </a:lnTo>
                <a:lnTo>
                  <a:pt x="18" y="8"/>
                </a:lnTo>
                <a:lnTo>
                  <a:pt x="18" y="8"/>
                </a:lnTo>
                <a:lnTo>
                  <a:pt x="18" y="4"/>
                </a:lnTo>
                <a:lnTo>
                  <a:pt x="18" y="4"/>
                </a:lnTo>
                <a:lnTo>
                  <a:pt x="18" y="4"/>
                </a:lnTo>
                <a:lnTo>
                  <a:pt x="18" y="4"/>
                </a:lnTo>
                <a:lnTo>
                  <a:pt x="18" y="4"/>
                </a:lnTo>
                <a:lnTo>
                  <a:pt x="18" y="4"/>
                </a:lnTo>
                <a:lnTo>
                  <a:pt x="18" y="0"/>
                </a:lnTo>
                <a:lnTo>
                  <a:pt x="18" y="0"/>
                </a:lnTo>
                <a:lnTo>
                  <a:pt x="18" y="0"/>
                </a:lnTo>
                <a:lnTo>
                  <a:pt x="18" y="0"/>
                </a:lnTo>
                <a:lnTo>
                  <a:pt x="22" y="0"/>
                </a:lnTo>
                <a:lnTo>
                  <a:pt x="22" y="0"/>
                </a:lnTo>
                <a:lnTo>
                  <a:pt x="26" y="0"/>
                </a:lnTo>
                <a:lnTo>
                  <a:pt x="26" y="0"/>
                </a:lnTo>
                <a:lnTo>
                  <a:pt x="30" y="4"/>
                </a:lnTo>
                <a:lnTo>
                  <a:pt x="26" y="4"/>
                </a:lnTo>
                <a:lnTo>
                  <a:pt x="26" y="4"/>
                </a:lnTo>
                <a:lnTo>
                  <a:pt x="26" y="4"/>
                </a:lnTo>
                <a:lnTo>
                  <a:pt x="26" y="4"/>
                </a:lnTo>
                <a:lnTo>
                  <a:pt x="30" y="4"/>
                </a:lnTo>
                <a:lnTo>
                  <a:pt x="30" y="4"/>
                </a:lnTo>
                <a:lnTo>
                  <a:pt x="30" y="4"/>
                </a:lnTo>
                <a:lnTo>
                  <a:pt x="30" y="4"/>
                </a:lnTo>
                <a:lnTo>
                  <a:pt x="30" y="4"/>
                </a:lnTo>
                <a:lnTo>
                  <a:pt x="30" y="4"/>
                </a:lnTo>
                <a:lnTo>
                  <a:pt x="34" y="4"/>
                </a:lnTo>
                <a:lnTo>
                  <a:pt x="34" y="8"/>
                </a:lnTo>
                <a:lnTo>
                  <a:pt x="34" y="8"/>
                </a:lnTo>
                <a:lnTo>
                  <a:pt x="36" y="4"/>
                </a:lnTo>
                <a:lnTo>
                  <a:pt x="36" y="4"/>
                </a:lnTo>
                <a:lnTo>
                  <a:pt x="36" y="8"/>
                </a:lnTo>
                <a:lnTo>
                  <a:pt x="36" y="8"/>
                </a:lnTo>
                <a:lnTo>
                  <a:pt x="36" y="8"/>
                </a:lnTo>
                <a:lnTo>
                  <a:pt x="36" y="8"/>
                </a:lnTo>
                <a:lnTo>
                  <a:pt x="40" y="8"/>
                </a:lnTo>
                <a:lnTo>
                  <a:pt x="40" y="8"/>
                </a:lnTo>
                <a:lnTo>
                  <a:pt x="40" y="8"/>
                </a:lnTo>
                <a:lnTo>
                  <a:pt x="40" y="8"/>
                </a:lnTo>
                <a:lnTo>
                  <a:pt x="40" y="4"/>
                </a:lnTo>
                <a:lnTo>
                  <a:pt x="44" y="4"/>
                </a:lnTo>
                <a:lnTo>
                  <a:pt x="44" y="8"/>
                </a:lnTo>
                <a:lnTo>
                  <a:pt x="44" y="8"/>
                </a:lnTo>
                <a:lnTo>
                  <a:pt x="44" y="8"/>
                </a:lnTo>
                <a:lnTo>
                  <a:pt x="48" y="8"/>
                </a:lnTo>
                <a:lnTo>
                  <a:pt x="48" y="4"/>
                </a:lnTo>
                <a:lnTo>
                  <a:pt x="48" y="4"/>
                </a:lnTo>
                <a:lnTo>
                  <a:pt x="48" y="4"/>
                </a:lnTo>
                <a:lnTo>
                  <a:pt x="48" y="4"/>
                </a:lnTo>
                <a:lnTo>
                  <a:pt x="52" y="4"/>
                </a:lnTo>
                <a:lnTo>
                  <a:pt x="52" y="4"/>
                </a:lnTo>
                <a:lnTo>
                  <a:pt x="52" y="8"/>
                </a:lnTo>
                <a:lnTo>
                  <a:pt x="52" y="8"/>
                </a:lnTo>
                <a:lnTo>
                  <a:pt x="48" y="8"/>
                </a:lnTo>
                <a:lnTo>
                  <a:pt x="48" y="8"/>
                </a:lnTo>
                <a:lnTo>
                  <a:pt x="48" y="12"/>
                </a:lnTo>
                <a:lnTo>
                  <a:pt x="52" y="12"/>
                </a:lnTo>
                <a:lnTo>
                  <a:pt x="52" y="12"/>
                </a:lnTo>
                <a:lnTo>
                  <a:pt x="52" y="12"/>
                </a:lnTo>
                <a:lnTo>
                  <a:pt x="52" y="12"/>
                </a:lnTo>
                <a:lnTo>
                  <a:pt x="52" y="12"/>
                </a:lnTo>
                <a:lnTo>
                  <a:pt x="52" y="12"/>
                </a:lnTo>
                <a:lnTo>
                  <a:pt x="52" y="12"/>
                </a:lnTo>
                <a:lnTo>
                  <a:pt x="56" y="12"/>
                </a:lnTo>
                <a:lnTo>
                  <a:pt x="56" y="12"/>
                </a:lnTo>
                <a:lnTo>
                  <a:pt x="56" y="12"/>
                </a:lnTo>
                <a:lnTo>
                  <a:pt x="56" y="12"/>
                </a:lnTo>
                <a:lnTo>
                  <a:pt x="56" y="8"/>
                </a:lnTo>
                <a:lnTo>
                  <a:pt x="56" y="8"/>
                </a:lnTo>
                <a:lnTo>
                  <a:pt x="60" y="8"/>
                </a:lnTo>
                <a:lnTo>
                  <a:pt x="60" y="8"/>
                </a:lnTo>
                <a:lnTo>
                  <a:pt x="60" y="8"/>
                </a:lnTo>
                <a:lnTo>
                  <a:pt x="60" y="12"/>
                </a:lnTo>
                <a:lnTo>
                  <a:pt x="60" y="12"/>
                </a:lnTo>
                <a:lnTo>
                  <a:pt x="60" y="16"/>
                </a:lnTo>
                <a:lnTo>
                  <a:pt x="60" y="16"/>
                </a:lnTo>
                <a:lnTo>
                  <a:pt x="64" y="16"/>
                </a:lnTo>
                <a:lnTo>
                  <a:pt x="64" y="12"/>
                </a:lnTo>
                <a:lnTo>
                  <a:pt x="64" y="12"/>
                </a:lnTo>
                <a:lnTo>
                  <a:pt x="66" y="12"/>
                </a:lnTo>
                <a:lnTo>
                  <a:pt x="66" y="8"/>
                </a:lnTo>
                <a:lnTo>
                  <a:pt x="66" y="8"/>
                </a:lnTo>
                <a:lnTo>
                  <a:pt x="70" y="8"/>
                </a:lnTo>
                <a:lnTo>
                  <a:pt x="70" y="12"/>
                </a:lnTo>
                <a:lnTo>
                  <a:pt x="74" y="12"/>
                </a:lnTo>
                <a:lnTo>
                  <a:pt x="74" y="12"/>
                </a:lnTo>
                <a:lnTo>
                  <a:pt x="74" y="12"/>
                </a:lnTo>
                <a:lnTo>
                  <a:pt x="74" y="12"/>
                </a:lnTo>
                <a:lnTo>
                  <a:pt x="74" y="12"/>
                </a:lnTo>
                <a:lnTo>
                  <a:pt x="74" y="12"/>
                </a:lnTo>
                <a:lnTo>
                  <a:pt x="74" y="12"/>
                </a:lnTo>
                <a:lnTo>
                  <a:pt x="74" y="12"/>
                </a:lnTo>
                <a:lnTo>
                  <a:pt x="78" y="8"/>
                </a:lnTo>
                <a:lnTo>
                  <a:pt x="78" y="8"/>
                </a:lnTo>
                <a:lnTo>
                  <a:pt x="78" y="8"/>
                </a:lnTo>
                <a:lnTo>
                  <a:pt x="82" y="8"/>
                </a:lnTo>
                <a:lnTo>
                  <a:pt x="82" y="8"/>
                </a:lnTo>
                <a:lnTo>
                  <a:pt x="82" y="8"/>
                </a:lnTo>
                <a:lnTo>
                  <a:pt x="82" y="8"/>
                </a:lnTo>
                <a:lnTo>
                  <a:pt x="82" y="4"/>
                </a:lnTo>
                <a:lnTo>
                  <a:pt x="78" y="4"/>
                </a:lnTo>
                <a:lnTo>
                  <a:pt x="78" y="4"/>
                </a:lnTo>
                <a:lnTo>
                  <a:pt x="82" y="4"/>
                </a:lnTo>
                <a:lnTo>
                  <a:pt x="82" y="4"/>
                </a:lnTo>
                <a:lnTo>
                  <a:pt x="82" y="4"/>
                </a:lnTo>
                <a:lnTo>
                  <a:pt x="86" y="4"/>
                </a:lnTo>
                <a:lnTo>
                  <a:pt x="86" y="4"/>
                </a:lnTo>
                <a:lnTo>
                  <a:pt x="86" y="8"/>
                </a:lnTo>
                <a:lnTo>
                  <a:pt x="86" y="8"/>
                </a:lnTo>
                <a:lnTo>
                  <a:pt x="86" y="8"/>
                </a:lnTo>
                <a:lnTo>
                  <a:pt x="86" y="8"/>
                </a:lnTo>
                <a:lnTo>
                  <a:pt x="86" y="8"/>
                </a:lnTo>
                <a:lnTo>
                  <a:pt x="86" y="8"/>
                </a:lnTo>
                <a:lnTo>
                  <a:pt x="86" y="8"/>
                </a:lnTo>
                <a:lnTo>
                  <a:pt x="86" y="8"/>
                </a:lnTo>
                <a:lnTo>
                  <a:pt x="90" y="12"/>
                </a:lnTo>
                <a:lnTo>
                  <a:pt x="90" y="16"/>
                </a:lnTo>
                <a:lnTo>
                  <a:pt x="90" y="16"/>
                </a:lnTo>
                <a:lnTo>
                  <a:pt x="86" y="18"/>
                </a:lnTo>
                <a:lnTo>
                  <a:pt x="90" y="18"/>
                </a:lnTo>
                <a:lnTo>
                  <a:pt x="90" y="18"/>
                </a:lnTo>
                <a:lnTo>
                  <a:pt x="90" y="18"/>
                </a:lnTo>
                <a:lnTo>
                  <a:pt x="90" y="18"/>
                </a:lnTo>
                <a:lnTo>
                  <a:pt x="90" y="18"/>
                </a:lnTo>
                <a:lnTo>
                  <a:pt x="90" y="18"/>
                </a:lnTo>
                <a:lnTo>
                  <a:pt x="90" y="22"/>
                </a:lnTo>
                <a:lnTo>
                  <a:pt x="90" y="22"/>
                </a:lnTo>
                <a:lnTo>
                  <a:pt x="90" y="22"/>
                </a:lnTo>
                <a:lnTo>
                  <a:pt x="90" y="22"/>
                </a:lnTo>
                <a:lnTo>
                  <a:pt x="92" y="22"/>
                </a:lnTo>
                <a:lnTo>
                  <a:pt x="92" y="22"/>
                </a:lnTo>
                <a:lnTo>
                  <a:pt x="92" y="22"/>
                </a:lnTo>
                <a:lnTo>
                  <a:pt x="92" y="22"/>
                </a:lnTo>
                <a:lnTo>
                  <a:pt x="92" y="22"/>
                </a:lnTo>
                <a:lnTo>
                  <a:pt x="92" y="22"/>
                </a:lnTo>
                <a:lnTo>
                  <a:pt x="92" y="22"/>
                </a:lnTo>
                <a:lnTo>
                  <a:pt x="92" y="26"/>
                </a:lnTo>
                <a:lnTo>
                  <a:pt x="92" y="26"/>
                </a:lnTo>
                <a:lnTo>
                  <a:pt x="92" y="26"/>
                </a:lnTo>
                <a:lnTo>
                  <a:pt x="92" y="26"/>
                </a:lnTo>
                <a:lnTo>
                  <a:pt x="92" y="26"/>
                </a:lnTo>
                <a:lnTo>
                  <a:pt x="92" y="26"/>
                </a:lnTo>
                <a:lnTo>
                  <a:pt x="90" y="26"/>
                </a:lnTo>
                <a:lnTo>
                  <a:pt x="90" y="30"/>
                </a:lnTo>
                <a:lnTo>
                  <a:pt x="90" y="30"/>
                </a:lnTo>
                <a:lnTo>
                  <a:pt x="90" y="30"/>
                </a:lnTo>
                <a:lnTo>
                  <a:pt x="92" y="30"/>
                </a:lnTo>
                <a:lnTo>
                  <a:pt x="92" y="30"/>
                </a:lnTo>
                <a:lnTo>
                  <a:pt x="92" y="30"/>
                </a:lnTo>
                <a:lnTo>
                  <a:pt x="96" y="30"/>
                </a:lnTo>
                <a:lnTo>
                  <a:pt x="96" y="34"/>
                </a:lnTo>
                <a:lnTo>
                  <a:pt x="92" y="34"/>
                </a:lnTo>
                <a:lnTo>
                  <a:pt x="96" y="38"/>
                </a:lnTo>
                <a:lnTo>
                  <a:pt x="96" y="38"/>
                </a:lnTo>
                <a:lnTo>
                  <a:pt x="96" y="42"/>
                </a:lnTo>
                <a:lnTo>
                  <a:pt x="96" y="42"/>
                </a:lnTo>
                <a:lnTo>
                  <a:pt x="96" y="42"/>
                </a:lnTo>
                <a:lnTo>
                  <a:pt x="100" y="42"/>
                </a:lnTo>
                <a:lnTo>
                  <a:pt x="100" y="42"/>
                </a:lnTo>
                <a:lnTo>
                  <a:pt x="100" y="44"/>
                </a:lnTo>
                <a:lnTo>
                  <a:pt x="100" y="44"/>
                </a:lnTo>
                <a:lnTo>
                  <a:pt x="100" y="44"/>
                </a:lnTo>
                <a:lnTo>
                  <a:pt x="96" y="44"/>
                </a:lnTo>
                <a:lnTo>
                  <a:pt x="96" y="44"/>
                </a:lnTo>
                <a:lnTo>
                  <a:pt x="96" y="44"/>
                </a:lnTo>
                <a:lnTo>
                  <a:pt x="96" y="48"/>
                </a:lnTo>
                <a:lnTo>
                  <a:pt x="96" y="48"/>
                </a:lnTo>
                <a:lnTo>
                  <a:pt x="96" y="48"/>
                </a:lnTo>
                <a:lnTo>
                  <a:pt x="96" y="48"/>
                </a:lnTo>
                <a:lnTo>
                  <a:pt x="96" y="48"/>
                </a:lnTo>
                <a:lnTo>
                  <a:pt x="96" y="48"/>
                </a:lnTo>
                <a:lnTo>
                  <a:pt x="96" y="48"/>
                </a:lnTo>
                <a:lnTo>
                  <a:pt x="96" y="52"/>
                </a:lnTo>
                <a:lnTo>
                  <a:pt x="96" y="56"/>
                </a:lnTo>
                <a:lnTo>
                  <a:pt x="96" y="56"/>
                </a:lnTo>
                <a:lnTo>
                  <a:pt x="96" y="56"/>
                </a:lnTo>
                <a:lnTo>
                  <a:pt x="96" y="56"/>
                </a:lnTo>
                <a:lnTo>
                  <a:pt x="96" y="56"/>
                </a:lnTo>
                <a:lnTo>
                  <a:pt x="96" y="56"/>
                </a:lnTo>
                <a:lnTo>
                  <a:pt x="100" y="56"/>
                </a:lnTo>
                <a:lnTo>
                  <a:pt x="100" y="56"/>
                </a:lnTo>
                <a:lnTo>
                  <a:pt x="100" y="60"/>
                </a:lnTo>
                <a:lnTo>
                  <a:pt x="100" y="60"/>
                </a:lnTo>
                <a:lnTo>
                  <a:pt x="100" y="60"/>
                </a:lnTo>
                <a:lnTo>
                  <a:pt x="100" y="60"/>
                </a:lnTo>
                <a:lnTo>
                  <a:pt x="100" y="64"/>
                </a:lnTo>
                <a:lnTo>
                  <a:pt x="104" y="64"/>
                </a:lnTo>
                <a:lnTo>
                  <a:pt x="104" y="64"/>
                </a:lnTo>
                <a:lnTo>
                  <a:pt x="100" y="64"/>
                </a:lnTo>
                <a:lnTo>
                  <a:pt x="100" y="64"/>
                </a:lnTo>
                <a:lnTo>
                  <a:pt x="100" y="64"/>
                </a:lnTo>
                <a:lnTo>
                  <a:pt x="100" y="64"/>
                </a:lnTo>
                <a:lnTo>
                  <a:pt x="100" y="64"/>
                </a:lnTo>
                <a:lnTo>
                  <a:pt x="100" y="68"/>
                </a:lnTo>
                <a:lnTo>
                  <a:pt x="100" y="68"/>
                </a:lnTo>
                <a:lnTo>
                  <a:pt x="100" y="68"/>
                </a:lnTo>
                <a:lnTo>
                  <a:pt x="100" y="68"/>
                </a:lnTo>
                <a:lnTo>
                  <a:pt x="100" y="68"/>
                </a:lnTo>
                <a:lnTo>
                  <a:pt x="100" y="68"/>
                </a:lnTo>
                <a:lnTo>
                  <a:pt x="104" y="68"/>
                </a:lnTo>
                <a:lnTo>
                  <a:pt x="104" y="72"/>
                </a:lnTo>
                <a:lnTo>
                  <a:pt x="104" y="72"/>
                </a:lnTo>
                <a:lnTo>
                  <a:pt x="104" y="74"/>
                </a:lnTo>
                <a:lnTo>
                  <a:pt x="104" y="74"/>
                </a:lnTo>
                <a:lnTo>
                  <a:pt x="104" y="74"/>
                </a:lnTo>
                <a:lnTo>
                  <a:pt x="104" y="74"/>
                </a:lnTo>
                <a:lnTo>
                  <a:pt x="104" y="74"/>
                </a:lnTo>
                <a:lnTo>
                  <a:pt x="104" y="74"/>
                </a:lnTo>
                <a:lnTo>
                  <a:pt x="100" y="74"/>
                </a:lnTo>
                <a:lnTo>
                  <a:pt x="100" y="74"/>
                </a:lnTo>
                <a:lnTo>
                  <a:pt x="100" y="72"/>
                </a:lnTo>
                <a:lnTo>
                  <a:pt x="96" y="72"/>
                </a:lnTo>
                <a:lnTo>
                  <a:pt x="96" y="74"/>
                </a:lnTo>
                <a:lnTo>
                  <a:pt x="96" y="74"/>
                </a:lnTo>
                <a:lnTo>
                  <a:pt x="96" y="78"/>
                </a:lnTo>
                <a:lnTo>
                  <a:pt x="96" y="78"/>
                </a:lnTo>
                <a:lnTo>
                  <a:pt x="96" y="78"/>
                </a:lnTo>
                <a:lnTo>
                  <a:pt x="96" y="78"/>
                </a:lnTo>
                <a:lnTo>
                  <a:pt x="96" y="78"/>
                </a:lnTo>
                <a:lnTo>
                  <a:pt x="100" y="78"/>
                </a:lnTo>
                <a:lnTo>
                  <a:pt x="100" y="78"/>
                </a:lnTo>
                <a:lnTo>
                  <a:pt x="100" y="82"/>
                </a:lnTo>
                <a:lnTo>
                  <a:pt x="100" y="82"/>
                </a:lnTo>
                <a:lnTo>
                  <a:pt x="100" y="82"/>
                </a:lnTo>
                <a:lnTo>
                  <a:pt x="100" y="82"/>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42" name="Freeform 149"/>
          <p:cNvSpPr>
            <a:spLocks noEditPoints="1"/>
          </p:cNvSpPr>
          <p:nvPr/>
        </p:nvSpPr>
        <p:spPr bwMode="auto">
          <a:xfrm>
            <a:off x="3976688" y="3438525"/>
            <a:ext cx="50006" cy="35719"/>
          </a:xfrm>
          <a:custGeom>
            <a:avLst/>
            <a:gdLst>
              <a:gd name="T0" fmla="*/ 12 w 42"/>
              <a:gd name="T1" fmla="*/ 16 h 30"/>
              <a:gd name="T2" fmla="*/ 12 w 42"/>
              <a:gd name="T3" fmla="*/ 12 h 30"/>
              <a:gd name="T4" fmla="*/ 12 w 42"/>
              <a:gd name="T5" fmla="*/ 12 h 30"/>
              <a:gd name="T6" fmla="*/ 8 w 42"/>
              <a:gd name="T7" fmla="*/ 16 h 30"/>
              <a:gd name="T8" fmla="*/ 4 w 42"/>
              <a:gd name="T9" fmla="*/ 12 h 30"/>
              <a:gd name="T10" fmla="*/ 4 w 42"/>
              <a:gd name="T11" fmla="*/ 8 h 30"/>
              <a:gd name="T12" fmla="*/ 0 w 42"/>
              <a:gd name="T13" fmla="*/ 8 h 30"/>
              <a:gd name="T14" fmla="*/ 0 w 42"/>
              <a:gd name="T15" fmla="*/ 8 h 30"/>
              <a:gd name="T16" fmla="*/ 8 w 42"/>
              <a:gd name="T17" fmla="*/ 4 h 30"/>
              <a:gd name="T18" fmla="*/ 12 w 42"/>
              <a:gd name="T19" fmla="*/ 4 h 30"/>
              <a:gd name="T20" fmla="*/ 20 w 42"/>
              <a:gd name="T21" fmla="*/ 0 h 30"/>
              <a:gd name="T22" fmla="*/ 34 w 42"/>
              <a:gd name="T23" fmla="*/ 0 h 30"/>
              <a:gd name="T24" fmla="*/ 42 w 42"/>
              <a:gd name="T25" fmla="*/ 0 h 30"/>
              <a:gd name="T26" fmla="*/ 42 w 42"/>
              <a:gd name="T27" fmla="*/ 4 h 30"/>
              <a:gd name="T28" fmla="*/ 42 w 42"/>
              <a:gd name="T29" fmla="*/ 8 h 30"/>
              <a:gd name="T30" fmla="*/ 42 w 42"/>
              <a:gd name="T31" fmla="*/ 12 h 30"/>
              <a:gd name="T32" fmla="*/ 38 w 42"/>
              <a:gd name="T33" fmla="*/ 18 h 30"/>
              <a:gd name="T34" fmla="*/ 34 w 42"/>
              <a:gd name="T35" fmla="*/ 18 h 30"/>
              <a:gd name="T36" fmla="*/ 30 w 42"/>
              <a:gd name="T37" fmla="*/ 22 h 30"/>
              <a:gd name="T38" fmla="*/ 26 w 42"/>
              <a:gd name="T39" fmla="*/ 26 h 30"/>
              <a:gd name="T40" fmla="*/ 24 w 42"/>
              <a:gd name="T41" fmla="*/ 30 h 30"/>
              <a:gd name="T42" fmla="*/ 24 w 42"/>
              <a:gd name="T43" fmla="*/ 26 h 30"/>
              <a:gd name="T44" fmla="*/ 20 w 42"/>
              <a:gd name="T45" fmla="*/ 30 h 30"/>
              <a:gd name="T46" fmla="*/ 20 w 42"/>
              <a:gd name="T47" fmla="*/ 26 h 30"/>
              <a:gd name="T48" fmla="*/ 20 w 42"/>
              <a:gd name="T49" fmla="*/ 26 h 30"/>
              <a:gd name="T50" fmla="*/ 20 w 42"/>
              <a:gd name="T51" fmla="*/ 22 h 30"/>
              <a:gd name="T52" fmla="*/ 20 w 42"/>
              <a:gd name="T53" fmla="*/ 22 h 30"/>
              <a:gd name="T54" fmla="*/ 16 w 42"/>
              <a:gd name="T55" fmla="*/ 22 h 30"/>
              <a:gd name="T56" fmla="*/ 24 w 42"/>
              <a:gd name="T57" fmla="*/ 18 h 30"/>
              <a:gd name="T58" fmla="*/ 20 w 42"/>
              <a:gd name="T59" fmla="*/ 18 h 30"/>
              <a:gd name="T60" fmla="*/ 16 w 42"/>
              <a:gd name="T61" fmla="*/ 18 h 30"/>
              <a:gd name="T62" fmla="*/ 16 w 42"/>
              <a:gd name="T63" fmla="*/ 18 h 30"/>
              <a:gd name="T64" fmla="*/ 16 w 42"/>
              <a:gd name="T65" fmla="*/ 16 h 30"/>
              <a:gd name="T66" fmla="*/ 20 w 42"/>
              <a:gd name="T67" fmla="*/ 16 h 30"/>
              <a:gd name="T68" fmla="*/ 24 w 42"/>
              <a:gd name="T69" fmla="*/ 16 h 30"/>
              <a:gd name="T70" fmla="*/ 24 w 42"/>
              <a:gd name="T71" fmla="*/ 16 h 30"/>
              <a:gd name="T72" fmla="*/ 20 w 42"/>
              <a:gd name="T73" fmla="*/ 16 h 30"/>
              <a:gd name="T74" fmla="*/ 20 w 42"/>
              <a:gd name="T75" fmla="*/ 12 h 30"/>
              <a:gd name="T76" fmla="*/ 12 w 42"/>
              <a:gd name="T77" fmla="*/ 16 h 30"/>
              <a:gd name="T78" fmla="*/ 12 w 42"/>
              <a:gd name="T79" fmla="*/ 26 h 30"/>
              <a:gd name="T80" fmla="*/ 16 w 42"/>
              <a:gd name="T81" fmla="*/ 26 h 30"/>
              <a:gd name="T82" fmla="*/ 8 w 42"/>
              <a:gd name="T83" fmla="*/ 16 h 30"/>
              <a:gd name="T84" fmla="*/ 8 w 42"/>
              <a:gd name="T85" fmla="*/ 16 h 30"/>
              <a:gd name="T86" fmla="*/ 16 w 42"/>
              <a:gd name="T87" fmla="*/ 18 h 30"/>
              <a:gd name="T88" fmla="*/ 16 w 42"/>
              <a:gd name="T89" fmla="*/ 18 h 30"/>
              <a:gd name="T90" fmla="*/ 8 w 42"/>
              <a:gd name="T91" fmla="*/ 18 h 30"/>
              <a:gd name="T92" fmla="*/ 12 w 42"/>
              <a:gd name="T93" fmla="*/ 22 h 30"/>
              <a:gd name="T94" fmla="*/ 4 w 42"/>
              <a:gd name="T95" fmla="*/ 22 h 30"/>
              <a:gd name="T96" fmla="*/ 4 w 42"/>
              <a:gd name="T97" fmla="*/ 18 h 30"/>
              <a:gd name="T98" fmla="*/ 4 w 42"/>
              <a:gd name="T99" fmla="*/ 18 h 30"/>
              <a:gd name="T100" fmla="*/ 8 w 42"/>
              <a:gd name="T101" fmla="*/ 30 h 30"/>
              <a:gd name="T102" fmla="*/ 4 w 42"/>
              <a:gd name="T103" fmla="*/ 26 h 30"/>
              <a:gd name="T104" fmla="*/ 8 w 42"/>
              <a:gd name="T105" fmla="*/ 26 h 30"/>
              <a:gd name="T106" fmla="*/ 8 w 42"/>
              <a:gd name="T10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2" h="30">
                <a:moveTo>
                  <a:pt x="12" y="16"/>
                </a:moveTo>
                <a:lnTo>
                  <a:pt x="12" y="16"/>
                </a:lnTo>
                <a:lnTo>
                  <a:pt x="12" y="16"/>
                </a:lnTo>
                <a:lnTo>
                  <a:pt x="8" y="18"/>
                </a:lnTo>
                <a:lnTo>
                  <a:pt x="8" y="16"/>
                </a:lnTo>
                <a:lnTo>
                  <a:pt x="12" y="16"/>
                </a:lnTo>
                <a:lnTo>
                  <a:pt x="12" y="12"/>
                </a:lnTo>
                <a:lnTo>
                  <a:pt x="12" y="12"/>
                </a:lnTo>
                <a:lnTo>
                  <a:pt x="12" y="12"/>
                </a:lnTo>
                <a:lnTo>
                  <a:pt x="12" y="12"/>
                </a:lnTo>
                <a:lnTo>
                  <a:pt x="12" y="12"/>
                </a:lnTo>
                <a:lnTo>
                  <a:pt x="12" y="12"/>
                </a:lnTo>
                <a:lnTo>
                  <a:pt x="12" y="12"/>
                </a:lnTo>
                <a:lnTo>
                  <a:pt x="12" y="12"/>
                </a:lnTo>
                <a:lnTo>
                  <a:pt x="12" y="12"/>
                </a:lnTo>
                <a:lnTo>
                  <a:pt x="12" y="12"/>
                </a:lnTo>
                <a:lnTo>
                  <a:pt x="12" y="12"/>
                </a:lnTo>
                <a:lnTo>
                  <a:pt x="12" y="12"/>
                </a:lnTo>
                <a:lnTo>
                  <a:pt x="12" y="12"/>
                </a:lnTo>
                <a:lnTo>
                  <a:pt x="12" y="16"/>
                </a:lnTo>
                <a:lnTo>
                  <a:pt x="8" y="16"/>
                </a:lnTo>
                <a:lnTo>
                  <a:pt x="8" y="16"/>
                </a:lnTo>
                <a:lnTo>
                  <a:pt x="8" y="16"/>
                </a:lnTo>
                <a:lnTo>
                  <a:pt x="8" y="16"/>
                </a:lnTo>
                <a:lnTo>
                  <a:pt x="4" y="16"/>
                </a:lnTo>
                <a:lnTo>
                  <a:pt x="4" y="12"/>
                </a:lnTo>
                <a:lnTo>
                  <a:pt x="4" y="12"/>
                </a:lnTo>
                <a:lnTo>
                  <a:pt x="4" y="12"/>
                </a:lnTo>
                <a:lnTo>
                  <a:pt x="4" y="12"/>
                </a:lnTo>
                <a:lnTo>
                  <a:pt x="4" y="12"/>
                </a:lnTo>
                <a:lnTo>
                  <a:pt x="4" y="8"/>
                </a:lnTo>
                <a:lnTo>
                  <a:pt x="4" y="8"/>
                </a:lnTo>
                <a:lnTo>
                  <a:pt x="8" y="8"/>
                </a:lnTo>
                <a:lnTo>
                  <a:pt x="8" y="8"/>
                </a:lnTo>
                <a:lnTo>
                  <a:pt x="8" y="8"/>
                </a:lnTo>
                <a:lnTo>
                  <a:pt x="4" y="8"/>
                </a:lnTo>
                <a:lnTo>
                  <a:pt x="4" y="8"/>
                </a:lnTo>
                <a:lnTo>
                  <a:pt x="4" y="8"/>
                </a:lnTo>
                <a:lnTo>
                  <a:pt x="4" y="12"/>
                </a:lnTo>
                <a:lnTo>
                  <a:pt x="0" y="8"/>
                </a:lnTo>
                <a:lnTo>
                  <a:pt x="0" y="8"/>
                </a:lnTo>
                <a:lnTo>
                  <a:pt x="0" y="8"/>
                </a:lnTo>
                <a:lnTo>
                  <a:pt x="0" y="8"/>
                </a:lnTo>
                <a:lnTo>
                  <a:pt x="0" y="8"/>
                </a:lnTo>
                <a:lnTo>
                  <a:pt x="0" y="8"/>
                </a:lnTo>
                <a:lnTo>
                  <a:pt x="0" y="8"/>
                </a:lnTo>
                <a:lnTo>
                  <a:pt x="0" y="8"/>
                </a:lnTo>
                <a:lnTo>
                  <a:pt x="0" y="8"/>
                </a:lnTo>
                <a:lnTo>
                  <a:pt x="0" y="8"/>
                </a:lnTo>
                <a:lnTo>
                  <a:pt x="0" y="8"/>
                </a:lnTo>
                <a:lnTo>
                  <a:pt x="4" y="8"/>
                </a:lnTo>
                <a:lnTo>
                  <a:pt x="4" y="4"/>
                </a:lnTo>
                <a:lnTo>
                  <a:pt x="8" y="4"/>
                </a:lnTo>
                <a:lnTo>
                  <a:pt x="8" y="4"/>
                </a:lnTo>
                <a:lnTo>
                  <a:pt x="8" y="4"/>
                </a:lnTo>
                <a:lnTo>
                  <a:pt x="8" y="4"/>
                </a:lnTo>
                <a:lnTo>
                  <a:pt x="8" y="4"/>
                </a:lnTo>
                <a:lnTo>
                  <a:pt x="8" y="4"/>
                </a:lnTo>
                <a:lnTo>
                  <a:pt x="12" y="4"/>
                </a:lnTo>
                <a:lnTo>
                  <a:pt x="12" y="4"/>
                </a:lnTo>
                <a:lnTo>
                  <a:pt x="12" y="4"/>
                </a:lnTo>
                <a:lnTo>
                  <a:pt x="16" y="4"/>
                </a:lnTo>
                <a:lnTo>
                  <a:pt x="16" y="4"/>
                </a:lnTo>
                <a:lnTo>
                  <a:pt x="20" y="4"/>
                </a:lnTo>
                <a:lnTo>
                  <a:pt x="20" y="0"/>
                </a:lnTo>
                <a:lnTo>
                  <a:pt x="20" y="0"/>
                </a:lnTo>
                <a:lnTo>
                  <a:pt x="24" y="0"/>
                </a:lnTo>
                <a:lnTo>
                  <a:pt x="26" y="0"/>
                </a:lnTo>
                <a:lnTo>
                  <a:pt x="26" y="0"/>
                </a:lnTo>
                <a:lnTo>
                  <a:pt x="30" y="0"/>
                </a:lnTo>
                <a:lnTo>
                  <a:pt x="30" y="0"/>
                </a:lnTo>
                <a:lnTo>
                  <a:pt x="34" y="0"/>
                </a:lnTo>
                <a:lnTo>
                  <a:pt x="34" y="0"/>
                </a:lnTo>
                <a:lnTo>
                  <a:pt x="38" y="0"/>
                </a:lnTo>
                <a:lnTo>
                  <a:pt x="38" y="0"/>
                </a:lnTo>
                <a:lnTo>
                  <a:pt x="42" y="0"/>
                </a:lnTo>
                <a:lnTo>
                  <a:pt x="42" y="0"/>
                </a:lnTo>
                <a:lnTo>
                  <a:pt x="42" y="0"/>
                </a:lnTo>
                <a:lnTo>
                  <a:pt x="42" y="4"/>
                </a:lnTo>
                <a:lnTo>
                  <a:pt x="42" y="4"/>
                </a:lnTo>
                <a:lnTo>
                  <a:pt x="42" y="4"/>
                </a:lnTo>
                <a:lnTo>
                  <a:pt x="42" y="4"/>
                </a:lnTo>
                <a:lnTo>
                  <a:pt x="42" y="4"/>
                </a:lnTo>
                <a:lnTo>
                  <a:pt x="42" y="4"/>
                </a:lnTo>
                <a:lnTo>
                  <a:pt x="42" y="8"/>
                </a:lnTo>
                <a:lnTo>
                  <a:pt x="42" y="8"/>
                </a:lnTo>
                <a:lnTo>
                  <a:pt x="42" y="8"/>
                </a:lnTo>
                <a:lnTo>
                  <a:pt x="42" y="8"/>
                </a:lnTo>
                <a:lnTo>
                  <a:pt x="42" y="8"/>
                </a:lnTo>
                <a:lnTo>
                  <a:pt x="42" y="8"/>
                </a:lnTo>
                <a:lnTo>
                  <a:pt x="38" y="8"/>
                </a:lnTo>
                <a:lnTo>
                  <a:pt x="38" y="8"/>
                </a:lnTo>
                <a:lnTo>
                  <a:pt x="38" y="12"/>
                </a:lnTo>
                <a:lnTo>
                  <a:pt x="38" y="12"/>
                </a:lnTo>
                <a:lnTo>
                  <a:pt x="38" y="12"/>
                </a:lnTo>
                <a:lnTo>
                  <a:pt x="42" y="12"/>
                </a:lnTo>
                <a:lnTo>
                  <a:pt x="42" y="12"/>
                </a:lnTo>
                <a:lnTo>
                  <a:pt x="42" y="12"/>
                </a:lnTo>
                <a:lnTo>
                  <a:pt x="42" y="16"/>
                </a:lnTo>
                <a:lnTo>
                  <a:pt x="42" y="18"/>
                </a:lnTo>
                <a:lnTo>
                  <a:pt x="42" y="18"/>
                </a:lnTo>
                <a:lnTo>
                  <a:pt x="38" y="18"/>
                </a:lnTo>
                <a:lnTo>
                  <a:pt x="38" y="18"/>
                </a:lnTo>
                <a:lnTo>
                  <a:pt x="38" y="18"/>
                </a:lnTo>
                <a:lnTo>
                  <a:pt x="34" y="18"/>
                </a:lnTo>
                <a:lnTo>
                  <a:pt x="34" y="18"/>
                </a:lnTo>
                <a:lnTo>
                  <a:pt x="34" y="18"/>
                </a:lnTo>
                <a:lnTo>
                  <a:pt x="34" y="18"/>
                </a:lnTo>
                <a:lnTo>
                  <a:pt x="30" y="18"/>
                </a:lnTo>
                <a:lnTo>
                  <a:pt x="30" y="18"/>
                </a:lnTo>
                <a:lnTo>
                  <a:pt x="30" y="22"/>
                </a:lnTo>
                <a:lnTo>
                  <a:pt x="30" y="22"/>
                </a:lnTo>
                <a:lnTo>
                  <a:pt x="30" y="22"/>
                </a:lnTo>
                <a:lnTo>
                  <a:pt x="30" y="22"/>
                </a:lnTo>
                <a:lnTo>
                  <a:pt x="26" y="22"/>
                </a:lnTo>
                <a:lnTo>
                  <a:pt x="26" y="22"/>
                </a:lnTo>
                <a:lnTo>
                  <a:pt x="26" y="22"/>
                </a:lnTo>
                <a:lnTo>
                  <a:pt x="26" y="22"/>
                </a:lnTo>
                <a:lnTo>
                  <a:pt x="26" y="22"/>
                </a:lnTo>
                <a:lnTo>
                  <a:pt x="26" y="26"/>
                </a:lnTo>
                <a:lnTo>
                  <a:pt x="26" y="26"/>
                </a:lnTo>
                <a:lnTo>
                  <a:pt x="26" y="26"/>
                </a:lnTo>
                <a:lnTo>
                  <a:pt x="26" y="26"/>
                </a:lnTo>
                <a:lnTo>
                  <a:pt x="24" y="30"/>
                </a:lnTo>
                <a:lnTo>
                  <a:pt x="24" y="30"/>
                </a:lnTo>
                <a:lnTo>
                  <a:pt x="24" y="30"/>
                </a:lnTo>
                <a:lnTo>
                  <a:pt x="24" y="30"/>
                </a:lnTo>
                <a:lnTo>
                  <a:pt x="24" y="30"/>
                </a:lnTo>
                <a:lnTo>
                  <a:pt x="24" y="30"/>
                </a:lnTo>
                <a:lnTo>
                  <a:pt x="24" y="30"/>
                </a:lnTo>
                <a:lnTo>
                  <a:pt x="24" y="30"/>
                </a:lnTo>
                <a:lnTo>
                  <a:pt x="24" y="26"/>
                </a:lnTo>
                <a:lnTo>
                  <a:pt x="24" y="26"/>
                </a:lnTo>
                <a:lnTo>
                  <a:pt x="24" y="26"/>
                </a:lnTo>
                <a:lnTo>
                  <a:pt x="24" y="26"/>
                </a:lnTo>
                <a:lnTo>
                  <a:pt x="24" y="30"/>
                </a:lnTo>
                <a:lnTo>
                  <a:pt x="20" y="30"/>
                </a:lnTo>
                <a:lnTo>
                  <a:pt x="20" y="30"/>
                </a:lnTo>
                <a:lnTo>
                  <a:pt x="20" y="30"/>
                </a:lnTo>
                <a:lnTo>
                  <a:pt x="20" y="30"/>
                </a:lnTo>
                <a:lnTo>
                  <a:pt x="20" y="30"/>
                </a:lnTo>
                <a:lnTo>
                  <a:pt x="20" y="30"/>
                </a:lnTo>
                <a:lnTo>
                  <a:pt x="20" y="30"/>
                </a:lnTo>
                <a:lnTo>
                  <a:pt x="20" y="26"/>
                </a:lnTo>
                <a:lnTo>
                  <a:pt x="20" y="26"/>
                </a:lnTo>
                <a:lnTo>
                  <a:pt x="20" y="26"/>
                </a:lnTo>
                <a:lnTo>
                  <a:pt x="20" y="26"/>
                </a:lnTo>
                <a:lnTo>
                  <a:pt x="20" y="26"/>
                </a:lnTo>
                <a:lnTo>
                  <a:pt x="20" y="26"/>
                </a:lnTo>
                <a:lnTo>
                  <a:pt x="20" y="26"/>
                </a:lnTo>
                <a:lnTo>
                  <a:pt x="20" y="26"/>
                </a:lnTo>
                <a:lnTo>
                  <a:pt x="20" y="26"/>
                </a:lnTo>
                <a:lnTo>
                  <a:pt x="20" y="26"/>
                </a:lnTo>
                <a:lnTo>
                  <a:pt x="16" y="26"/>
                </a:lnTo>
                <a:lnTo>
                  <a:pt x="20" y="22"/>
                </a:lnTo>
                <a:lnTo>
                  <a:pt x="20" y="22"/>
                </a:lnTo>
                <a:lnTo>
                  <a:pt x="20" y="22"/>
                </a:lnTo>
                <a:lnTo>
                  <a:pt x="20" y="22"/>
                </a:lnTo>
                <a:lnTo>
                  <a:pt x="20" y="22"/>
                </a:lnTo>
                <a:lnTo>
                  <a:pt x="20" y="22"/>
                </a:lnTo>
                <a:lnTo>
                  <a:pt x="20" y="22"/>
                </a:lnTo>
                <a:lnTo>
                  <a:pt x="20" y="22"/>
                </a:lnTo>
                <a:lnTo>
                  <a:pt x="20" y="22"/>
                </a:lnTo>
                <a:lnTo>
                  <a:pt x="20" y="22"/>
                </a:lnTo>
                <a:lnTo>
                  <a:pt x="20" y="22"/>
                </a:lnTo>
                <a:lnTo>
                  <a:pt x="16" y="22"/>
                </a:lnTo>
                <a:lnTo>
                  <a:pt x="16" y="22"/>
                </a:lnTo>
                <a:lnTo>
                  <a:pt x="16" y="22"/>
                </a:lnTo>
                <a:lnTo>
                  <a:pt x="16" y="22"/>
                </a:lnTo>
                <a:lnTo>
                  <a:pt x="20" y="18"/>
                </a:lnTo>
                <a:lnTo>
                  <a:pt x="20" y="18"/>
                </a:lnTo>
                <a:lnTo>
                  <a:pt x="20" y="18"/>
                </a:lnTo>
                <a:lnTo>
                  <a:pt x="24" y="18"/>
                </a:lnTo>
                <a:lnTo>
                  <a:pt x="24" y="18"/>
                </a:lnTo>
                <a:lnTo>
                  <a:pt x="24" y="18"/>
                </a:lnTo>
                <a:lnTo>
                  <a:pt x="24" y="18"/>
                </a:lnTo>
                <a:lnTo>
                  <a:pt x="24" y="18"/>
                </a:lnTo>
                <a:lnTo>
                  <a:pt x="20" y="18"/>
                </a:lnTo>
                <a:lnTo>
                  <a:pt x="20" y="18"/>
                </a:lnTo>
                <a:lnTo>
                  <a:pt x="20" y="18"/>
                </a:lnTo>
                <a:lnTo>
                  <a:pt x="20" y="18"/>
                </a:lnTo>
                <a:lnTo>
                  <a:pt x="20" y="18"/>
                </a:lnTo>
                <a:lnTo>
                  <a:pt x="20" y="18"/>
                </a:lnTo>
                <a:lnTo>
                  <a:pt x="20" y="18"/>
                </a:lnTo>
                <a:lnTo>
                  <a:pt x="20" y="18"/>
                </a:lnTo>
                <a:lnTo>
                  <a:pt x="16" y="18"/>
                </a:lnTo>
                <a:lnTo>
                  <a:pt x="16" y="18"/>
                </a:lnTo>
                <a:lnTo>
                  <a:pt x="16" y="18"/>
                </a:lnTo>
                <a:lnTo>
                  <a:pt x="16" y="18"/>
                </a:lnTo>
                <a:lnTo>
                  <a:pt x="16" y="18"/>
                </a:lnTo>
                <a:lnTo>
                  <a:pt x="16" y="18"/>
                </a:lnTo>
                <a:lnTo>
                  <a:pt x="16" y="18"/>
                </a:lnTo>
                <a:lnTo>
                  <a:pt x="16" y="18"/>
                </a:lnTo>
                <a:lnTo>
                  <a:pt x="16" y="18"/>
                </a:lnTo>
                <a:lnTo>
                  <a:pt x="16" y="18"/>
                </a:lnTo>
                <a:lnTo>
                  <a:pt x="16" y="16"/>
                </a:lnTo>
                <a:lnTo>
                  <a:pt x="16" y="16"/>
                </a:lnTo>
                <a:lnTo>
                  <a:pt x="16" y="16"/>
                </a:lnTo>
                <a:lnTo>
                  <a:pt x="20" y="16"/>
                </a:lnTo>
                <a:lnTo>
                  <a:pt x="20" y="16"/>
                </a:lnTo>
                <a:lnTo>
                  <a:pt x="20" y="16"/>
                </a:lnTo>
                <a:lnTo>
                  <a:pt x="20" y="16"/>
                </a:lnTo>
                <a:lnTo>
                  <a:pt x="20" y="16"/>
                </a:lnTo>
                <a:lnTo>
                  <a:pt x="20" y="16"/>
                </a:lnTo>
                <a:lnTo>
                  <a:pt x="24" y="16"/>
                </a:lnTo>
                <a:lnTo>
                  <a:pt x="24" y="16"/>
                </a:lnTo>
                <a:lnTo>
                  <a:pt x="24" y="16"/>
                </a:lnTo>
                <a:lnTo>
                  <a:pt x="24" y="16"/>
                </a:lnTo>
                <a:lnTo>
                  <a:pt x="24" y="18"/>
                </a:lnTo>
                <a:lnTo>
                  <a:pt x="24" y="16"/>
                </a:lnTo>
                <a:lnTo>
                  <a:pt x="24" y="16"/>
                </a:lnTo>
                <a:lnTo>
                  <a:pt x="24" y="16"/>
                </a:lnTo>
                <a:lnTo>
                  <a:pt x="24" y="16"/>
                </a:lnTo>
                <a:lnTo>
                  <a:pt x="24" y="16"/>
                </a:lnTo>
                <a:lnTo>
                  <a:pt x="24" y="16"/>
                </a:lnTo>
                <a:lnTo>
                  <a:pt x="24" y="16"/>
                </a:lnTo>
                <a:lnTo>
                  <a:pt x="24" y="16"/>
                </a:lnTo>
                <a:lnTo>
                  <a:pt x="24" y="16"/>
                </a:lnTo>
                <a:lnTo>
                  <a:pt x="24" y="12"/>
                </a:lnTo>
                <a:lnTo>
                  <a:pt x="24" y="12"/>
                </a:lnTo>
                <a:lnTo>
                  <a:pt x="24" y="16"/>
                </a:lnTo>
                <a:lnTo>
                  <a:pt x="20" y="16"/>
                </a:lnTo>
                <a:lnTo>
                  <a:pt x="20" y="16"/>
                </a:lnTo>
                <a:lnTo>
                  <a:pt x="20" y="16"/>
                </a:lnTo>
                <a:lnTo>
                  <a:pt x="20" y="16"/>
                </a:lnTo>
                <a:lnTo>
                  <a:pt x="20" y="16"/>
                </a:lnTo>
                <a:lnTo>
                  <a:pt x="20" y="12"/>
                </a:lnTo>
                <a:lnTo>
                  <a:pt x="20" y="12"/>
                </a:lnTo>
                <a:lnTo>
                  <a:pt x="16" y="16"/>
                </a:lnTo>
                <a:lnTo>
                  <a:pt x="16" y="16"/>
                </a:lnTo>
                <a:lnTo>
                  <a:pt x="16" y="16"/>
                </a:lnTo>
                <a:lnTo>
                  <a:pt x="16" y="16"/>
                </a:lnTo>
                <a:lnTo>
                  <a:pt x="16" y="16"/>
                </a:lnTo>
                <a:lnTo>
                  <a:pt x="12" y="16"/>
                </a:lnTo>
                <a:lnTo>
                  <a:pt x="12" y="16"/>
                </a:lnTo>
                <a:lnTo>
                  <a:pt x="12" y="16"/>
                </a:lnTo>
                <a:close/>
                <a:moveTo>
                  <a:pt x="12" y="26"/>
                </a:moveTo>
                <a:lnTo>
                  <a:pt x="12" y="26"/>
                </a:lnTo>
                <a:lnTo>
                  <a:pt x="12" y="26"/>
                </a:lnTo>
                <a:lnTo>
                  <a:pt x="12" y="26"/>
                </a:lnTo>
                <a:lnTo>
                  <a:pt x="12" y="26"/>
                </a:lnTo>
                <a:lnTo>
                  <a:pt x="12" y="26"/>
                </a:lnTo>
                <a:lnTo>
                  <a:pt x="12" y="26"/>
                </a:lnTo>
                <a:lnTo>
                  <a:pt x="16" y="26"/>
                </a:lnTo>
                <a:lnTo>
                  <a:pt x="16" y="26"/>
                </a:lnTo>
                <a:lnTo>
                  <a:pt x="16" y="26"/>
                </a:lnTo>
                <a:lnTo>
                  <a:pt x="12" y="26"/>
                </a:lnTo>
                <a:lnTo>
                  <a:pt x="12" y="26"/>
                </a:lnTo>
                <a:lnTo>
                  <a:pt x="12" y="26"/>
                </a:lnTo>
                <a:lnTo>
                  <a:pt x="12" y="26"/>
                </a:lnTo>
                <a:close/>
                <a:moveTo>
                  <a:pt x="8" y="16"/>
                </a:moveTo>
                <a:lnTo>
                  <a:pt x="8" y="16"/>
                </a:lnTo>
                <a:lnTo>
                  <a:pt x="8" y="16"/>
                </a:lnTo>
                <a:lnTo>
                  <a:pt x="8" y="16"/>
                </a:lnTo>
                <a:lnTo>
                  <a:pt x="8" y="16"/>
                </a:lnTo>
                <a:lnTo>
                  <a:pt x="8" y="16"/>
                </a:lnTo>
                <a:lnTo>
                  <a:pt x="8" y="16"/>
                </a:lnTo>
                <a:lnTo>
                  <a:pt x="8" y="16"/>
                </a:lnTo>
                <a:lnTo>
                  <a:pt x="8" y="16"/>
                </a:lnTo>
                <a:lnTo>
                  <a:pt x="8" y="16"/>
                </a:lnTo>
                <a:lnTo>
                  <a:pt x="8" y="16"/>
                </a:lnTo>
                <a:lnTo>
                  <a:pt x="8" y="16"/>
                </a:lnTo>
                <a:close/>
                <a:moveTo>
                  <a:pt x="16" y="18"/>
                </a:moveTo>
                <a:lnTo>
                  <a:pt x="16" y="18"/>
                </a:lnTo>
                <a:lnTo>
                  <a:pt x="16" y="22"/>
                </a:lnTo>
                <a:lnTo>
                  <a:pt x="16" y="22"/>
                </a:lnTo>
                <a:lnTo>
                  <a:pt x="16" y="18"/>
                </a:lnTo>
                <a:lnTo>
                  <a:pt x="16" y="18"/>
                </a:lnTo>
                <a:lnTo>
                  <a:pt x="16" y="18"/>
                </a:lnTo>
                <a:lnTo>
                  <a:pt x="16" y="18"/>
                </a:lnTo>
                <a:lnTo>
                  <a:pt x="16" y="18"/>
                </a:lnTo>
                <a:lnTo>
                  <a:pt x="16" y="18"/>
                </a:lnTo>
                <a:close/>
                <a:moveTo>
                  <a:pt x="8" y="22"/>
                </a:moveTo>
                <a:lnTo>
                  <a:pt x="8" y="22"/>
                </a:lnTo>
                <a:lnTo>
                  <a:pt x="8" y="18"/>
                </a:lnTo>
                <a:lnTo>
                  <a:pt x="8" y="18"/>
                </a:lnTo>
                <a:lnTo>
                  <a:pt x="8" y="18"/>
                </a:lnTo>
                <a:lnTo>
                  <a:pt x="12" y="18"/>
                </a:lnTo>
                <a:lnTo>
                  <a:pt x="12" y="18"/>
                </a:lnTo>
                <a:lnTo>
                  <a:pt x="12" y="18"/>
                </a:lnTo>
                <a:lnTo>
                  <a:pt x="12" y="22"/>
                </a:lnTo>
                <a:lnTo>
                  <a:pt x="12" y="22"/>
                </a:lnTo>
                <a:lnTo>
                  <a:pt x="8" y="22"/>
                </a:lnTo>
                <a:lnTo>
                  <a:pt x="8" y="22"/>
                </a:lnTo>
                <a:lnTo>
                  <a:pt x="8" y="22"/>
                </a:lnTo>
                <a:lnTo>
                  <a:pt x="8" y="22"/>
                </a:lnTo>
                <a:close/>
                <a:moveTo>
                  <a:pt x="4" y="22"/>
                </a:moveTo>
                <a:lnTo>
                  <a:pt x="4" y="22"/>
                </a:lnTo>
                <a:lnTo>
                  <a:pt x="4" y="22"/>
                </a:lnTo>
                <a:lnTo>
                  <a:pt x="4" y="22"/>
                </a:lnTo>
                <a:lnTo>
                  <a:pt x="4" y="22"/>
                </a:lnTo>
                <a:lnTo>
                  <a:pt x="4" y="22"/>
                </a:lnTo>
                <a:lnTo>
                  <a:pt x="4" y="22"/>
                </a:lnTo>
                <a:lnTo>
                  <a:pt x="4" y="18"/>
                </a:lnTo>
                <a:lnTo>
                  <a:pt x="4" y="18"/>
                </a:lnTo>
                <a:lnTo>
                  <a:pt x="4" y="18"/>
                </a:lnTo>
                <a:lnTo>
                  <a:pt x="4" y="18"/>
                </a:lnTo>
                <a:lnTo>
                  <a:pt x="4" y="18"/>
                </a:lnTo>
                <a:lnTo>
                  <a:pt x="4" y="18"/>
                </a:lnTo>
                <a:lnTo>
                  <a:pt x="4" y="18"/>
                </a:lnTo>
                <a:lnTo>
                  <a:pt x="4" y="22"/>
                </a:lnTo>
                <a:lnTo>
                  <a:pt x="4" y="22"/>
                </a:lnTo>
                <a:lnTo>
                  <a:pt x="4" y="22"/>
                </a:lnTo>
                <a:lnTo>
                  <a:pt x="4" y="22"/>
                </a:lnTo>
                <a:lnTo>
                  <a:pt x="4" y="22"/>
                </a:lnTo>
                <a:close/>
                <a:moveTo>
                  <a:pt x="8" y="30"/>
                </a:moveTo>
                <a:lnTo>
                  <a:pt x="8" y="30"/>
                </a:lnTo>
                <a:lnTo>
                  <a:pt x="8" y="30"/>
                </a:lnTo>
                <a:lnTo>
                  <a:pt x="4" y="30"/>
                </a:lnTo>
                <a:lnTo>
                  <a:pt x="4" y="30"/>
                </a:lnTo>
                <a:lnTo>
                  <a:pt x="4" y="30"/>
                </a:lnTo>
                <a:lnTo>
                  <a:pt x="4" y="26"/>
                </a:lnTo>
                <a:lnTo>
                  <a:pt x="4" y="26"/>
                </a:lnTo>
                <a:lnTo>
                  <a:pt x="8" y="26"/>
                </a:lnTo>
                <a:lnTo>
                  <a:pt x="8" y="26"/>
                </a:lnTo>
                <a:lnTo>
                  <a:pt x="8" y="26"/>
                </a:lnTo>
                <a:lnTo>
                  <a:pt x="8" y="26"/>
                </a:lnTo>
                <a:lnTo>
                  <a:pt x="8" y="26"/>
                </a:lnTo>
                <a:lnTo>
                  <a:pt x="8" y="26"/>
                </a:lnTo>
                <a:lnTo>
                  <a:pt x="8" y="26"/>
                </a:lnTo>
                <a:lnTo>
                  <a:pt x="8" y="26"/>
                </a:lnTo>
                <a:lnTo>
                  <a:pt x="8" y="26"/>
                </a:lnTo>
                <a:lnTo>
                  <a:pt x="8" y="30"/>
                </a:lnTo>
                <a:lnTo>
                  <a:pt x="8" y="30"/>
                </a:lnTo>
                <a:lnTo>
                  <a:pt x="8" y="30"/>
                </a:lnTo>
                <a:lnTo>
                  <a:pt x="8" y="30"/>
                </a:lnTo>
                <a:lnTo>
                  <a:pt x="8" y="30"/>
                </a:lnTo>
                <a:lnTo>
                  <a:pt x="8" y="30"/>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43" name="Freeform 150"/>
          <p:cNvSpPr>
            <a:spLocks noEditPoints="1"/>
          </p:cNvSpPr>
          <p:nvPr/>
        </p:nvSpPr>
        <p:spPr bwMode="auto">
          <a:xfrm>
            <a:off x="4829175" y="3602831"/>
            <a:ext cx="133350" cy="190500"/>
          </a:xfrm>
          <a:custGeom>
            <a:avLst/>
            <a:gdLst>
              <a:gd name="T0" fmla="*/ 0 w 112"/>
              <a:gd name="T1" fmla="*/ 82 h 160"/>
              <a:gd name="T2" fmla="*/ 0 w 112"/>
              <a:gd name="T3" fmla="*/ 78 h 160"/>
              <a:gd name="T4" fmla="*/ 4 w 112"/>
              <a:gd name="T5" fmla="*/ 72 h 160"/>
              <a:gd name="T6" fmla="*/ 8 w 112"/>
              <a:gd name="T7" fmla="*/ 64 h 160"/>
              <a:gd name="T8" fmla="*/ 12 w 112"/>
              <a:gd name="T9" fmla="*/ 60 h 160"/>
              <a:gd name="T10" fmla="*/ 12 w 112"/>
              <a:gd name="T11" fmla="*/ 56 h 160"/>
              <a:gd name="T12" fmla="*/ 12 w 112"/>
              <a:gd name="T13" fmla="*/ 56 h 160"/>
              <a:gd name="T14" fmla="*/ 16 w 112"/>
              <a:gd name="T15" fmla="*/ 52 h 160"/>
              <a:gd name="T16" fmla="*/ 12 w 112"/>
              <a:gd name="T17" fmla="*/ 42 h 160"/>
              <a:gd name="T18" fmla="*/ 12 w 112"/>
              <a:gd name="T19" fmla="*/ 34 h 160"/>
              <a:gd name="T20" fmla="*/ 8 w 112"/>
              <a:gd name="T21" fmla="*/ 30 h 160"/>
              <a:gd name="T22" fmla="*/ 8 w 112"/>
              <a:gd name="T23" fmla="*/ 22 h 160"/>
              <a:gd name="T24" fmla="*/ 4 w 112"/>
              <a:gd name="T25" fmla="*/ 16 h 160"/>
              <a:gd name="T26" fmla="*/ 0 w 112"/>
              <a:gd name="T27" fmla="*/ 8 h 160"/>
              <a:gd name="T28" fmla="*/ 8 w 112"/>
              <a:gd name="T29" fmla="*/ 0 h 160"/>
              <a:gd name="T30" fmla="*/ 16 w 112"/>
              <a:gd name="T31" fmla="*/ 0 h 160"/>
              <a:gd name="T32" fmla="*/ 22 w 112"/>
              <a:gd name="T33" fmla="*/ 0 h 160"/>
              <a:gd name="T34" fmla="*/ 26 w 112"/>
              <a:gd name="T35" fmla="*/ 0 h 160"/>
              <a:gd name="T36" fmla="*/ 38 w 112"/>
              <a:gd name="T37" fmla="*/ 4 h 160"/>
              <a:gd name="T38" fmla="*/ 46 w 112"/>
              <a:gd name="T39" fmla="*/ 8 h 160"/>
              <a:gd name="T40" fmla="*/ 60 w 112"/>
              <a:gd name="T41" fmla="*/ 20 h 160"/>
              <a:gd name="T42" fmla="*/ 72 w 112"/>
              <a:gd name="T43" fmla="*/ 20 h 160"/>
              <a:gd name="T44" fmla="*/ 74 w 112"/>
              <a:gd name="T45" fmla="*/ 22 h 160"/>
              <a:gd name="T46" fmla="*/ 78 w 112"/>
              <a:gd name="T47" fmla="*/ 22 h 160"/>
              <a:gd name="T48" fmla="*/ 82 w 112"/>
              <a:gd name="T49" fmla="*/ 20 h 160"/>
              <a:gd name="T50" fmla="*/ 94 w 112"/>
              <a:gd name="T51" fmla="*/ 8 h 160"/>
              <a:gd name="T52" fmla="*/ 100 w 112"/>
              <a:gd name="T53" fmla="*/ 12 h 160"/>
              <a:gd name="T54" fmla="*/ 104 w 112"/>
              <a:gd name="T55" fmla="*/ 12 h 160"/>
              <a:gd name="T56" fmla="*/ 112 w 112"/>
              <a:gd name="T57" fmla="*/ 12 h 160"/>
              <a:gd name="T58" fmla="*/ 112 w 112"/>
              <a:gd name="T59" fmla="*/ 16 h 160"/>
              <a:gd name="T60" fmla="*/ 100 w 112"/>
              <a:gd name="T61" fmla="*/ 56 h 160"/>
              <a:gd name="T62" fmla="*/ 108 w 112"/>
              <a:gd name="T63" fmla="*/ 108 h 160"/>
              <a:gd name="T64" fmla="*/ 104 w 112"/>
              <a:gd name="T65" fmla="*/ 112 h 160"/>
              <a:gd name="T66" fmla="*/ 98 w 112"/>
              <a:gd name="T67" fmla="*/ 116 h 160"/>
              <a:gd name="T68" fmla="*/ 98 w 112"/>
              <a:gd name="T69" fmla="*/ 120 h 160"/>
              <a:gd name="T70" fmla="*/ 98 w 112"/>
              <a:gd name="T71" fmla="*/ 120 h 160"/>
              <a:gd name="T72" fmla="*/ 94 w 112"/>
              <a:gd name="T73" fmla="*/ 124 h 160"/>
              <a:gd name="T74" fmla="*/ 90 w 112"/>
              <a:gd name="T75" fmla="*/ 124 h 160"/>
              <a:gd name="T76" fmla="*/ 86 w 112"/>
              <a:gd name="T77" fmla="*/ 130 h 160"/>
              <a:gd name="T78" fmla="*/ 86 w 112"/>
              <a:gd name="T79" fmla="*/ 138 h 160"/>
              <a:gd name="T80" fmla="*/ 82 w 112"/>
              <a:gd name="T81" fmla="*/ 142 h 160"/>
              <a:gd name="T82" fmla="*/ 82 w 112"/>
              <a:gd name="T83" fmla="*/ 144 h 160"/>
              <a:gd name="T84" fmla="*/ 74 w 112"/>
              <a:gd name="T85" fmla="*/ 160 h 160"/>
              <a:gd name="T86" fmla="*/ 68 w 112"/>
              <a:gd name="T87" fmla="*/ 152 h 160"/>
              <a:gd name="T88" fmla="*/ 52 w 112"/>
              <a:gd name="T89" fmla="*/ 142 h 160"/>
              <a:gd name="T90" fmla="*/ 52 w 112"/>
              <a:gd name="T91" fmla="*/ 138 h 160"/>
              <a:gd name="T92" fmla="*/ 52 w 112"/>
              <a:gd name="T93" fmla="*/ 134 h 160"/>
              <a:gd name="T94" fmla="*/ 46 w 112"/>
              <a:gd name="T95" fmla="*/ 128 h 160"/>
              <a:gd name="T96" fmla="*/ 30 w 112"/>
              <a:gd name="T97" fmla="*/ 116 h 160"/>
              <a:gd name="T98" fmla="*/ 8 w 112"/>
              <a:gd name="T99" fmla="*/ 102 h 160"/>
              <a:gd name="T100" fmla="*/ 0 w 112"/>
              <a:gd name="T101" fmla="*/ 98 h 160"/>
              <a:gd name="T102" fmla="*/ 100 w 112"/>
              <a:gd name="T103" fmla="*/ 116 h 160"/>
              <a:gd name="T104" fmla="*/ 100 w 112"/>
              <a:gd name="T105" fmla="*/ 116 h 160"/>
              <a:gd name="T106" fmla="*/ 100 w 112"/>
              <a:gd name="T107" fmla="*/ 12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2" h="160">
                <a:moveTo>
                  <a:pt x="0" y="98"/>
                </a:moveTo>
                <a:lnTo>
                  <a:pt x="0" y="98"/>
                </a:lnTo>
                <a:lnTo>
                  <a:pt x="0" y="90"/>
                </a:lnTo>
                <a:lnTo>
                  <a:pt x="0" y="86"/>
                </a:lnTo>
                <a:lnTo>
                  <a:pt x="0" y="82"/>
                </a:lnTo>
                <a:lnTo>
                  <a:pt x="0" y="82"/>
                </a:lnTo>
                <a:lnTo>
                  <a:pt x="0" y="82"/>
                </a:lnTo>
                <a:lnTo>
                  <a:pt x="0" y="78"/>
                </a:lnTo>
                <a:lnTo>
                  <a:pt x="0" y="78"/>
                </a:lnTo>
                <a:lnTo>
                  <a:pt x="0" y="78"/>
                </a:lnTo>
                <a:lnTo>
                  <a:pt x="0" y="78"/>
                </a:lnTo>
                <a:lnTo>
                  <a:pt x="0" y="78"/>
                </a:lnTo>
                <a:lnTo>
                  <a:pt x="0" y="76"/>
                </a:lnTo>
                <a:lnTo>
                  <a:pt x="0" y="76"/>
                </a:lnTo>
                <a:lnTo>
                  <a:pt x="4" y="72"/>
                </a:lnTo>
                <a:lnTo>
                  <a:pt x="4" y="72"/>
                </a:lnTo>
                <a:lnTo>
                  <a:pt x="4" y="72"/>
                </a:lnTo>
                <a:lnTo>
                  <a:pt x="4" y="72"/>
                </a:lnTo>
                <a:lnTo>
                  <a:pt x="8" y="68"/>
                </a:lnTo>
                <a:lnTo>
                  <a:pt x="8" y="68"/>
                </a:lnTo>
                <a:lnTo>
                  <a:pt x="8" y="64"/>
                </a:lnTo>
                <a:lnTo>
                  <a:pt x="8" y="64"/>
                </a:lnTo>
                <a:lnTo>
                  <a:pt x="8" y="64"/>
                </a:lnTo>
                <a:lnTo>
                  <a:pt x="8" y="64"/>
                </a:lnTo>
                <a:lnTo>
                  <a:pt x="8" y="64"/>
                </a:lnTo>
                <a:lnTo>
                  <a:pt x="8" y="60"/>
                </a:lnTo>
                <a:lnTo>
                  <a:pt x="8" y="60"/>
                </a:lnTo>
                <a:lnTo>
                  <a:pt x="8" y="60"/>
                </a:lnTo>
                <a:lnTo>
                  <a:pt x="12" y="60"/>
                </a:lnTo>
                <a:lnTo>
                  <a:pt x="12" y="60"/>
                </a:lnTo>
                <a:lnTo>
                  <a:pt x="12" y="60"/>
                </a:lnTo>
                <a:lnTo>
                  <a:pt x="12" y="60"/>
                </a:lnTo>
                <a:lnTo>
                  <a:pt x="12" y="60"/>
                </a:lnTo>
                <a:lnTo>
                  <a:pt x="12" y="60"/>
                </a:lnTo>
                <a:lnTo>
                  <a:pt x="12" y="60"/>
                </a:lnTo>
                <a:lnTo>
                  <a:pt x="12" y="56"/>
                </a:lnTo>
                <a:lnTo>
                  <a:pt x="12" y="56"/>
                </a:lnTo>
                <a:lnTo>
                  <a:pt x="12" y="56"/>
                </a:lnTo>
                <a:lnTo>
                  <a:pt x="12" y="56"/>
                </a:lnTo>
                <a:lnTo>
                  <a:pt x="12" y="56"/>
                </a:lnTo>
                <a:lnTo>
                  <a:pt x="12" y="56"/>
                </a:lnTo>
                <a:lnTo>
                  <a:pt x="12" y="56"/>
                </a:lnTo>
                <a:lnTo>
                  <a:pt x="12" y="52"/>
                </a:lnTo>
                <a:lnTo>
                  <a:pt x="12" y="52"/>
                </a:lnTo>
                <a:lnTo>
                  <a:pt x="16" y="52"/>
                </a:lnTo>
                <a:lnTo>
                  <a:pt x="16" y="52"/>
                </a:lnTo>
                <a:lnTo>
                  <a:pt x="16" y="52"/>
                </a:lnTo>
                <a:lnTo>
                  <a:pt x="16" y="52"/>
                </a:lnTo>
                <a:lnTo>
                  <a:pt x="16" y="48"/>
                </a:lnTo>
                <a:lnTo>
                  <a:pt x="16" y="46"/>
                </a:lnTo>
                <a:lnTo>
                  <a:pt x="16" y="42"/>
                </a:lnTo>
                <a:lnTo>
                  <a:pt x="16" y="42"/>
                </a:lnTo>
                <a:lnTo>
                  <a:pt x="12" y="42"/>
                </a:lnTo>
                <a:lnTo>
                  <a:pt x="12" y="42"/>
                </a:lnTo>
                <a:lnTo>
                  <a:pt x="12" y="38"/>
                </a:lnTo>
                <a:lnTo>
                  <a:pt x="12" y="38"/>
                </a:lnTo>
                <a:lnTo>
                  <a:pt x="12" y="38"/>
                </a:lnTo>
                <a:lnTo>
                  <a:pt x="12" y="34"/>
                </a:lnTo>
                <a:lnTo>
                  <a:pt x="12" y="34"/>
                </a:lnTo>
                <a:lnTo>
                  <a:pt x="12" y="34"/>
                </a:lnTo>
                <a:lnTo>
                  <a:pt x="12" y="30"/>
                </a:lnTo>
                <a:lnTo>
                  <a:pt x="12" y="30"/>
                </a:lnTo>
                <a:lnTo>
                  <a:pt x="12" y="30"/>
                </a:lnTo>
                <a:lnTo>
                  <a:pt x="12" y="30"/>
                </a:lnTo>
                <a:lnTo>
                  <a:pt x="8" y="30"/>
                </a:lnTo>
                <a:lnTo>
                  <a:pt x="8" y="30"/>
                </a:lnTo>
                <a:lnTo>
                  <a:pt x="8" y="26"/>
                </a:lnTo>
                <a:lnTo>
                  <a:pt x="8" y="26"/>
                </a:lnTo>
                <a:lnTo>
                  <a:pt x="8" y="26"/>
                </a:lnTo>
                <a:lnTo>
                  <a:pt x="8" y="26"/>
                </a:lnTo>
                <a:lnTo>
                  <a:pt x="8" y="26"/>
                </a:lnTo>
                <a:lnTo>
                  <a:pt x="8" y="22"/>
                </a:lnTo>
                <a:lnTo>
                  <a:pt x="8" y="22"/>
                </a:lnTo>
                <a:lnTo>
                  <a:pt x="8" y="20"/>
                </a:lnTo>
                <a:lnTo>
                  <a:pt x="8" y="20"/>
                </a:lnTo>
                <a:lnTo>
                  <a:pt x="8" y="20"/>
                </a:lnTo>
                <a:lnTo>
                  <a:pt x="8" y="20"/>
                </a:lnTo>
                <a:lnTo>
                  <a:pt x="4" y="16"/>
                </a:lnTo>
                <a:lnTo>
                  <a:pt x="4" y="16"/>
                </a:lnTo>
                <a:lnTo>
                  <a:pt x="4" y="16"/>
                </a:lnTo>
                <a:lnTo>
                  <a:pt x="4" y="16"/>
                </a:lnTo>
                <a:lnTo>
                  <a:pt x="4" y="12"/>
                </a:lnTo>
                <a:lnTo>
                  <a:pt x="0" y="12"/>
                </a:lnTo>
                <a:lnTo>
                  <a:pt x="0" y="8"/>
                </a:lnTo>
                <a:lnTo>
                  <a:pt x="0" y="8"/>
                </a:lnTo>
                <a:lnTo>
                  <a:pt x="0" y="8"/>
                </a:lnTo>
                <a:lnTo>
                  <a:pt x="0" y="8"/>
                </a:lnTo>
                <a:lnTo>
                  <a:pt x="0" y="8"/>
                </a:lnTo>
                <a:lnTo>
                  <a:pt x="4" y="0"/>
                </a:lnTo>
                <a:lnTo>
                  <a:pt x="8" y="0"/>
                </a:lnTo>
                <a:lnTo>
                  <a:pt x="8" y="0"/>
                </a:lnTo>
                <a:lnTo>
                  <a:pt x="8" y="0"/>
                </a:lnTo>
                <a:lnTo>
                  <a:pt x="12" y="0"/>
                </a:lnTo>
                <a:lnTo>
                  <a:pt x="12" y="0"/>
                </a:lnTo>
                <a:lnTo>
                  <a:pt x="12" y="0"/>
                </a:lnTo>
                <a:lnTo>
                  <a:pt x="16" y="0"/>
                </a:lnTo>
                <a:lnTo>
                  <a:pt x="16" y="0"/>
                </a:lnTo>
                <a:lnTo>
                  <a:pt x="22" y="0"/>
                </a:lnTo>
                <a:lnTo>
                  <a:pt x="22" y="0"/>
                </a:lnTo>
                <a:lnTo>
                  <a:pt x="22" y="0"/>
                </a:lnTo>
                <a:lnTo>
                  <a:pt x="22" y="0"/>
                </a:lnTo>
                <a:lnTo>
                  <a:pt x="22" y="0"/>
                </a:lnTo>
                <a:lnTo>
                  <a:pt x="22" y="0"/>
                </a:lnTo>
                <a:lnTo>
                  <a:pt x="22" y="0"/>
                </a:lnTo>
                <a:lnTo>
                  <a:pt x="22" y="0"/>
                </a:lnTo>
                <a:lnTo>
                  <a:pt x="26" y="0"/>
                </a:lnTo>
                <a:lnTo>
                  <a:pt x="26" y="0"/>
                </a:lnTo>
                <a:lnTo>
                  <a:pt x="26" y="0"/>
                </a:lnTo>
                <a:lnTo>
                  <a:pt x="26" y="4"/>
                </a:lnTo>
                <a:lnTo>
                  <a:pt x="30" y="4"/>
                </a:lnTo>
                <a:lnTo>
                  <a:pt x="30" y="4"/>
                </a:lnTo>
                <a:lnTo>
                  <a:pt x="34" y="4"/>
                </a:lnTo>
                <a:lnTo>
                  <a:pt x="34" y="4"/>
                </a:lnTo>
                <a:lnTo>
                  <a:pt x="38" y="4"/>
                </a:lnTo>
                <a:lnTo>
                  <a:pt x="38" y="4"/>
                </a:lnTo>
                <a:lnTo>
                  <a:pt x="38" y="4"/>
                </a:lnTo>
                <a:lnTo>
                  <a:pt x="42" y="4"/>
                </a:lnTo>
                <a:lnTo>
                  <a:pt x="46" y="4"/>
                </a:lnTo>
                <a:lnTo>
                  <a:pt x="46" y="8"/>
                </a:lnTo>
                <a:lnTo>
                  <a:pt x="46" y="8"/>
                </a:lnTo>
                <a:lnTo>
                  <a:pt x="46" y="8"/>
                </a:lnTo>
                <a:lnTo>
                  <a:pt x="56" y="16"/>
                </a:lnTo>
                <a:lnTo>
                  <a:pt x="56" y="20"/>
                </a:lnTo>
                <a:lnTo>
                  <a:pt x="56" y="20"/>
                </a:lnTo>
                <a:lnTo>
                  <a:pt x="60" y="20"/>
                </a:lnTo>
                <a:lnTo>
                  <a:pt x="60" y="20"/>
                </a:lnTo>
                <a:lnTo>
                  <a:pt x="64" y="20"/>
                </a:lnTo>
                <a:lnTo>
                  <a:pt x="64" y="20"/>
                </a:lnTo>
                <a:lnTo>
                  <a:pt x="68" y="20"/>
                </a:lnTo>
                <a:lnTo>
                  <a:pt x="68" y="20"/>
                </a:lnTo>
                <a:lnTo>
                  <a:pt x="68" y="20"/>
                </a:lnTo>
                <a:lnTo>
                  <a:pt x="72" y="20"/>
                </a:lnTo>
                <a:lnTo>
                  <a:pt x="72" y="20"/>
                </a:lnTo>
                <a:lnTo>
                  <a:pt x="72" y="20"/>
                </a:lnTo>
                <a:lnTo>
                  <a:pt x="72" y="20"/>
                </a:lnTo>
                <a:lnTo>
                  <a:pt x="72" y="20"/>
                </a:lnTo>
                <a:lnTo>
                  <a:pt x="74" y="22"/>
                </a:lnTo>
                <a:lnTo>
                  <a:pt x="74" y="22"/>
                </a:lnTo>
                <a:lnTo>
                  <a:pt x="74" y="22"/>
                </a:lnTo>
                <a:lnTo>
                  <a:pt x="74" y="22"/>
                </a:lnTo>
                <a:lnTo>
                  <a:pt x="74" y="20"/>
                </a:lnTo>
                <a:lnTo>
                  <a:pt x="74" y="22"/>
                </a:lnTo>
                <a:lnTo>
                  <a:pt x="78" y="22"/>
                </a:lnTo>
                <a:lnTo>
                  <a:pt x="78" y="22"/>
                </a:lnTo>
                <a:lnTo>
                  <a:pt x="78" y="22"/>
                </a:lnTo>
                <a:lnTo>
                  <a:pt x="78" y="22"/>
                </a:lnTo>
                <a:lnTo>
                  <a:pt x="78" y="22"/>
                </a:lnTo>
                <a:lnTo>
                  <a:pt x="78" y="22"/>
                </a:lnTo>
                <a:lnTo>
                  <a:pt x="78" y="20"/>
                </a:lnTo>
                <a:lnTo>
                  <a:pt x="82" y="20"/>
                </a:lnTo>
                <a:lnTo>
                  <a:pt x="82" y="16"/>
                </a:lnTo>
                <a:lnTo>
                  <a:pt x="86" y="12"/>
                </a:lnTo>
                <a:lnTo>
                  <a:pt x="86" y="12"/>
                </a:lnTo>
                <a:lnTo>
                  <a:pt x="90" y="12"/>
                </a:lnTo>
                <a:lnTo>
                  <a:pt x="90" y="12"/>
                </a:lnTo>
                <a:lnTo>
                  <a:pt x="94" y="8"/>
                </a:lnTo>
                <a:lnTo>
                  <a:pt x="98" y="8"/>
                </a:lnTo>
                <a:lnTo>
                  <a:pt x="98" y="8"/>
                </a:lnTo>
                <a:lnTo>
                  <a:pt x="98" y="8"/>
                </a:lnTo>
                <a:lnTo>
                  <a:pt x="100" y="12"/>
                </a:lnTo>
                <a:lnTo>
                  <a:pt x="100" y="12"/>
                </a:lnTo>
                <a:lnTo>
                  <a:pt x="100" y="12"/>
                </a:lnTo>
                <a:lnTo>
                  <a:pt x="100" y="12"/>
                </a:lnTo>
                <a:lnTo>
                  <a:pt x="100" y="12"/>
                </a:lnTo>
                <a:lnTo>
                  <a:pt x="100" y="12"/>
                </a:lnTo>
                <a:lnTo>
                  <a:pt x="100" y="12"/>
                </a:lnTo>
                <a:lnTo>
                  <a:pt x="100" y="12"/>
                </a:lnTo>
                <a:lnTo>
                  <a:pt x="104" y="12"/>
                </a:lnTo>
                <a:lnTo>
                  <a:pt x="104" y="12"/>
                </a:lnTo>
                <a:lnTo>
                  <a:pt x="104" y="12"/>
                </a:lnTo>
                <a:lnTo>
                  <a:pt x="108" y="12"/>
                </a:lnTo>
                <a:lnTo>
                  <a:pt x="108" y="12"/>
                </a:lnTo>
                <a:lnTo>
                  <a:pt x="108" y="12"/>
                </a:lnTo>
                <a:lnTo>
                  <a:pt x="112" y="12"/>
                </a:lnTo>
                <a:lnTo>
                  <a:pt x="112" y="12"/>
                </a:lnTo>
                <a:lnTo>
                  <a:pt x="112" y="12"/>
                </a:lnTo>
                <a:lnTo>
                  <a:pt x="112" y="12"/>
                </a:lnTo>
                <a:lnTo>
                  <a:pt x="112" y="12"/>
                </a:lnTo>
                <a:lnTo>
                  <a:pt x="112" y="12"/>
                </a:lnTo>
                <a:lnTo>
                  <a:pt x="112" y="16"/>
                </a:lnTo>
                <a:lnTo>
                  <a:pt x="104" y="26"/>
                </a:lnTo>
                <a:lnTo>
                  <a:pt x="104" y="26"/>
                </a:lnTo>
                <a:lnTo>
                  <a:pt x="100" y="34"/>
                </a:lnTo>
                <a:lnTo>
                  <a:pt x="100" y="34"/>
                </a:lnTo>
                <a:lnTo>
                  <a:pt x="100" y="42"/>
                </a:lnTo>
                <a:lnTo>
                  <a:pt x="100" y="56"/>
                </a:lnTo>
                <a:lnTo>
                  <a:pt x="100" y="78"/>
                </a:lnTo>
                <a:lnTo>
                  <a:pt x="100" y="94"/>
                </a:lnTo>
                <a:lnTo>
                  <a:pt x="100" y="98"/>
                </a:lnTo>
                <a:lnTo>
                  <a:pt x="104" y="104"/>
                </a:lnTo>
                <a:lnTo>
                  <a:pt x="108" y="108"/>
                </a:lnTo>
                <a:lnTo>
                  <a:pt x="108" y="108"/>
                </a:lnTo>
                <a:lnTo>
                  <a:pt x="108" y="108"/>
                </a:lnTo>
                <a:lnTo>
                  <a:pt x="104" y="112"/>
                </a:lnTo>
                <a:lnTo>
                  <a:pt x="104" y="112"/>
                </a:lnTo>
                <a:lnTo>
                  <a:pt x="104" y="112"/>
                </a:lnTo>
                <a:lnTo>
                  <a:pt x="104" y="112"/>
                </a:lnTo>
                <a:lnTo>
                  <a:pt x="104" y="112"/>
                </a:lnTo>
                <a:lnTo>
                  <a:pt x="104" y="112"/>
                </a:lnTo>
                <a:lnTo>
                  <a:pt x="104" y="116"/>
                </a:lnTo>
                <a:lnTo>
                  <a:pt x="100" y="116"/>
                </a:lnTo>
                <a:lnTo>
                  <a:pt x="100" y="116"/>
                </a:lnTo>
                <a:lnTo>
                  <a:pt x="100" y="116"/>
                </a:lnTo>
                <a:lnTo>
                  <a:pt x="98" y="116"/>
                </a:lnTo>
                <a:lnTo>
                  <a:pt x="98" y="116"/>
                </a:lnTo>
                <a:lnTo>
                  <a:pt x="98" y="120"/>
                </a:lnTo>
                <a:lnTo>
                  <a:pt x="98" y="120"/>
                </a:lnTo>
                <a:lnTo>
                  <a:pt x="100" y="120"/>
                </a:lnTo>
                <a:lnTo>
                  <a:pt x="98" y="120"/>
                </a:lnTo>
                <a:lnTo>
                  <a:pt x="98" y="120"/>
                </a:lnTo>
                <a:lnTo>
                  <a:pt x="98" y="120"/>
                </a:lnTo>
                <a:lnTo>
                  <a:pt x="98" y="120"/>
                </a:lnTo>
                <a:lnTo>
                  <a:pt x="98" y="120"/>
                </a:lnTo>
                <a:lnTo>
                  <a:pt x="98" y="120"/>
                </a:lnTo>
                <a:lnTo>
                  <a:pt x="98" y="120"/>
                </a:lnTo>
                <a:lnTo>
                  <a:pt x="98" y="120"/>
                </a:lnTo>
                <a:lnTo>
                  <a:pt x="98" y="120"/>
                </a:lnTo>
                <a:lnTo>
                  <a:pt x="98" y="120"/>
                </a:lnTo>
                <a:lnTo>
                  <a:pt x="98" y="120"/>
                </a:lnTo>
                <a:lnTo>
                  <a:pt x="94" y="124"/>
                </a:lnTo>
                <a:lnTo>
                  <a:pt x="94" y="124"/>
                </a:lnTo>
                <a:lnTo>
                  <a:pt x="94" y="124"/>
                </a:lnTo>
                <a:lnTo>
                  <a:pt x="94" y="124"/>
                </a:lnTo>
                <a:lnTo>
                  <a:pt x="94" y="124"/>
                </a:lnTo>
                <a:lnTo>
                  <a:pt x="90" y="124"/>
                </a:lnTo>
                <a:lnTo>
                  <a:pt x="90" y="124"/>
                </a:lnTo>
                <a:lnTo>
                  <a:pt x="90" y="124"/>
                </a:lnTo>
                <a:lnTo>
                  <a:pt x="90" y="124"/>
                </a:lnTo>
                <a:lnTo>
                  <a:pt x="90" y="128"/>
                </a:lnTo>
                <a:lnTo>
                  <a:pt x="90" y="128"/>
                </a:lnTo>
                <a:lnTo>
                  <a:pt x="90" y="128"/>
                </a:lnTo>
                <a:lnTo>
                  <a:pt x="86" y="128"/>
                </a:lnTo>
                <a:lnTo>
                  <a:pt x="86" y="130"/>
                </a:lnTo>
                <a:lnTo>
                  <a:pt x="86" y="130"/>
                </a:lnTo>
                <a:lnTo>
                  <a:pt x="86" y="130"/>
                </a:lnTo>
                <a:lnTo>
                  <a:pt x="86" y="134"/>
                </a:lnTo>
                <a:lnTo>
                  <a:pt x="86" y="134"/>
                </a:lnTo>
                <a:lnTo>
                  <a:pt x="86" y="134"/>
                </a:lnTo>
                <a:lnTo>
                  <a:pt x="86" y="134"/>
                </a:lnTo>
                <a:lnTo>
                  <a:pt x="86" y="138"/>
                </a:lnTo>
                <a:lnTo>
                  <a:pt x="86" y="138"/>
                </a:lnTo>
                <a:lnTo>
                  <a:pt x="86" y="138"/>
                </a:lnTo>
                <a:lnTo>
                  <a:pt x="86" y="138"/>
                </a:lnTo>
                <a:lnTo>
                  <a:pt x="86" y="138"/>
                </a:lnTo>
                <a:lnTo>
                  <a:pt x="82" y="142"/>
                </a:lnTo>
                <a:lnTo>
                  <a:pt x="82" y="142"/>
                </a:lnTo>
                <a:lnTo>
                  <a:pt x="82" y="142"/>
                </a:lnTo>
                <a:lnTo>
                  <a:pt x="82" y="142"/>
                </a:lnTo>
                <a:lnTo>
                  <a:pt x="82" y="144"/>
                </a:lnTo>
                <a:lnTo>
                  <a:pt x="82" y="144"/>
                </a:lnTo>
                <a:lnTo>
                  <a:pt x="82" y="144"/>
                </a:lnTo>
                <a:lnTo>
                  <a:pt x="82" y="144"/>
                </a:lnTo>
                <a:lnTo>
                  <a:pt x="82" y="148"/>
                </a:lnTo>
                <a:lnTo>
                  <a:pt x="82" y="148"/>
                </a:lnTo>
                <a:lnTo>
                  <a:pt x="82" y="148"/>
                </a:lnTo>
                <a:lnTo>
                  <a:pt x="78" y="156"/>
                </a:lnTo>
                <a:lnTo>
                  <a:pt x="78" y="160"/>
                </a:lnTo>
                <a:lnTo>
                  <a:pt x="74" y="160"/>
                </a:lnTo>
                <a:lnTo>
                  <a:pt x="74" y="160"/>
                </a:lnTo>
                <a:lnTo>
                  <a:pt x="74" y="160"/>
                </a:lnTo>
                <a:lnTo>
                  <a:pt x="74" y="160"/>
                </a:lnTo>
                <a:lnTo>
                  <a:pt x="74" y="160"/>
                </a:lnTo>
                <a:lnTo>
                  <a:pt x="72" y="156"/>
                </a:lnTo>
                <a:lnTo>
                  <a:pt x="68" y="152"/>
                </a:lnTo>
                <a:lnTo>
                  <a:pt x="68" y="152"/>
                </a:lnTo>
                <a:lnTo>
                  <a:pt x="64" y="152"/>
                </a:lnTo>
                <a:lnTo>
                  <a:pt x="64" y="148"/>
                </a:lnTo>
                <a:lnTo>
                  <a:pt x="56" y="142"/>
                </a:lnTo>
                <a:lnTo>
                  <a:pt x="52" y="142"/>
                </a:lnTo>
                <a:lnTo>
                  <a:pt x="52" y="142"/>
                </a:lnTo>
                <a:lnTo>
                  <a:pt x="52" y="142"/>
                </a:lnTo>
                <a:lnTo>
                  <a:pt x="52" y="142"/>
                </a:lnTo>
                <a:lnTo>
                  <a:pt x="52" y="142"/>
                </a:lnTo>
                <a:lnTo>
                  <a:pt x="52" y="142"/>
                </a:lnTo>
                <a:lnTo>
                  <a:pt x="52" y="142"/>
                </a:lnTo>
                <a:lnTo>
                  <a:pt x="52" y="138"/>
                </a:lnTo>
                <a:lnTo>
                  <a:pt x="52" y="138"/>
                </a:lnTo>
                <a:lnTo>
                  <a:pt x="52" y="138"/>
                </a:lnTo>
                <a:lnTo>
                  <a:pt x="52" y="138"/>
                </a:lnTo>
                <a:lnTo>
                  <a:pt x="52" y="138"/>
                </a:lnTo>
                <a:lnTo>
                  <a:pt x="52" y="134"/>
                </a:lnTo>
                <a:lnTo>
                  <a:pt x="52" y="134"/>
                </a:lnTo>
                <a:lnTo>
                  <a:pt x="52" y="130"/>
                </a:lnTo>
                <a:lnTo>
                  <a:pt x="52" y="130"/>
                </a:lnTo>
                <a:lnTo>
                  <a:pt x="48" y="130"/>
                </a:lnTo>
                <a:lnTo>
                  <a:pt x="48" y="130"/>
                </a:lnTo>
                <a:lnTo>
                  <a:pt x="48" y="130"/>
                </a:lnTo>
                <a:lnTo>
                  <a:pt x="46" y="128"/>
                </a:lnTo>
                <a:lnTo>
                  <a:pt x="46" y="128"/>
                </a:lnTo>
                <a:lnTo>
                  <a:pt x="46" y="128"/>
                </a:lnTo>
                <a:lnTo>
                  <a:pt x="38" y="124"/>
                </a:lnTo>
                <a:lnTo>
                  <a:pt x="34" y="120"/>
                </a:lnTo>
                <a:lnTo>
                  <a:pt x="30" y="120"/>
                </a:lnTo>
                <a:lnTo>
                  <a:pt x="30" y="116"/>
                </a:lnTo>
                <a:lnTo>
                  <a:pt x="26" y="116"/>
                </a:lnTo>
                <a:lnTo>
                  <a:pt x="22" y="112"/>
                </a:lnTo>
                <a:lnTo>
                  <a:pt x="20" y="108"/>
                </a:lnTo>
                <a:lnTo>
                  <a:pt x="12" y="104"/>
                </a:lnTo>
                <a:lnTo>
                  <a:pt x="8" y="102"/>
                </a:lnTo>
                <a:lnTo>
                  <a:pt x="8" y="102"/>
                </a:lnTo>
                <a:lnTo>
                  <a:pt x="0" y="98"/>
                </a:lnTo>
                <a:lnTo>
                  <a:pt x="0" y="98"/>
                </a:lnTo>
                <a:lnTo>
                  <a:pt x="0" y="98"/>
                </a:lnTo>
                <a:lnTo>
                  <a:pt x="0" y="98"/>
                </a:lnTo>
                <a:lnTo>
                  <a:pt x="0" y="98"/>
                </a:lnTo>
                <a:lnTo>
                  <a:pt x="0" y="98"/>
                </a:lnTo>
                <a:close/>
                <a:moveTo>
                  <a:pt x="100" y="120"/>
                </a:moveTo>
                <a:lnTo>
                  <a:pt x="100" y="120"/>
                </a:lnTo>
                <a:lnTo>
                  <a:pt x="98" y="116"/>
                </a:lnTo>
                <a:lnTo>
                  <a:pt x="98" y="116"/>
                </a:lnTo>
                <a:lnTo>
                  <a:pt x="100" y="116"/>
                </a:lnTo>
                <a:lnTo>
                  <a:pt x="100" y="116"/>
                </a:lnTo>
                <a:lnTo>
                  <a:pt x="100" y="116"/>
                </a:lnTo>
                <a:lnTo>
                  <a:pt x="100" y="116"/>
                </a:lnTo>
                <a:lnTo>
                  <a:pt x="100" y="116"/>
                </a:lnTo>
                <a:lnTo>
                  <a:pt x="100" y="116"/>
                </a:lnTo>
                <a:lnTo>
                  <a:pt x="100" y="116"/>
                </a:lnTo>
                <a:lnTo>
                  <a:pt x="100" y="116"/>
                </a:lnTo>
                <a:lnTo>
                  <a:pt x="100" y="116"/>
                </a:lnTo>
                <a:lnTo>
                  <a:pt x="100" y="116"/>
                </a:lnTo>
                <a:lnTo>
                  <a:pt x="100" y="116"/>
                </a:lnTo>
                <a:lnTo>
                  <a:pt x="100" y="116"/>
                </a:lnTo>
                <a:lnTo>
                  <a:pt x="100" y="116"/>
                </a:lnTo>
                <a:lnTo>
                  <a:pt x="100" y="120"/>
                </a:lnTo>
                <a:lnTo>
                  <a:pt x="100" y="120"/>
                </a:lnTo>
                <a:lnTo>
                  <a:pt x="100" y="120"/>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44" name="Freeform 151"/>
          <p:cNvSpPr>
            <a:spLocks/>
          </p:cNvSpPr>
          <p:nvPr/>
        </p:nvSpPr>
        <p:spPr bwMode="auto">
          <a:xfrm>
            <a:off x="4714875" y="4291012"/>
            <a:ext cx="38100" cy="42863"/>
          </a:xfrm>
          <a:custGeom>
            <a:avLst/>
            <a:gdLst>
              <a:gd name="T0" fmla="*/ 24 w 32"/>
              <a:gd name="T1" fmla="*/ 26 h 36"/>
              <a:gd name="T2" fmla="*/ 22 w 32"/>
              <a:gd name="T3" fmla="*/ 30 h 36"/>
              <a:gd name="T4" fmla="*/ 22 w 32"/>
              <a:gd name="T5" fmla="*/ 30 h 36"/>
              <a:gd name="T6" fmla="*/ 18 w 32"/>
              <a:gd name="T7" fmla="*/ 30 h 36"/>
              <a:gd name="T8" fmla="*/ 18 w 32"/>
              <a:gd name="T9" fmla="*/ 30 h 36"/>
              <a:gd name="T10" fmla="*/ 14 w 32"/>
              <a:gd name="T11" fmla="*/ 34 h 36"/>
              <a:gd name="T12" fmla="*/ 14 w 32"/>
              <a:gd name="T13" fmla="*/ 36 h 36"/>
              <a:gd name="T14" fmla="*/ 10 w 32"/>
              <a:gd name="T15" fmla="*/ 36 h 36"/>
              <a:gd name="T16" fmla="*/ 10 w 32"/>
              <a:gd name="T17" fmla="*/ 36 h 36"/>
              <a:gd name="T18" fmla="*/ 8 w 32"/>
              <a:gd name="T19" fmla="*/ 36 h 36"/>
              <a:gd name="T20" fmla="*/ 8 w 32"/>
              <a:gd name="T21" fmla="*/ 34 h 36"/>
              <a:gd name="T22" fmla="*/ 4 w 32"/>
              <a:gd name="T23" fmla="*/ 34 h 36"/>
              <a:gd name="T24" fmla="*/ 4 w 32"/>
              <a:gd name="T25" fmla="*/ 30 h 36"/>
              <a:gd name="T26" fmla="*/ 0 w 32"/>
              <a:gd name="T27" fmla="*/ 26 h 36"/>
              <a:gd name="T28" fmla="*/ 0 w 32"/>
              <a:gd name="T29" fmla="*/ 26 h 36"/>
              <a:gd name="T30" fmla="*/ 0 w 32"/>
              <a:gd name="T31" fmla="*/ 22 h 36"/>
              <a:gd name="T32" fmla="*/ 0 w 32"/>
              <a:gd name="T33" fmla="*/ 22 h 36"/>
              <a:gd name="T34" fmla="*/ 0 w 32"/>
              <a:gd name="T35" fmla="*/ 18 h 36"/>
              <a:gd name="T36" fmla="*/ 0 w 32"/>
              <a:gd name="T37" fmla="*/ 18 h 36"/>
              <a:gd name="T38" fmla="*/ 4 w 32"/>
              <a:gd name="T39" fmla="*/ 18 h 36"/>
              <a:gd name="T40" fmla="*/ 4 w 32"/>
              <a:gd name="T41" fmla="*/ 14 h 36"/>
              <a:gd name="T42" fmla="*/ 4 w 32"/>
              <a:gd name="T43" fmla="*/ 14 h 36"/>
              <a:gd name="T44" fmla="*/ 8 w 32"/>
              <a:gd name="T45" fmla="*/ 10 h 36"/>
              <a:gd name="T46" fmla="*/ 8 w 32"/>
              <a:gd name="T47" fmla="*/ 10 h 36"/>
              <a:gd name="T48" fmla="*/ 8 w 32"/>
              <a:gd name="T49" fmla="*/ 6 h 36"/>
              <a:gd name="T50" fmla="*/ 10 w 32"/>
              <a:gd name="T51" fmla="*/ 6 h 36"/>
              <a:gd name="T52" fmla="*/ 14 w 32"/>
              <a:gd name="T53" fmla="*/ 4 h 36"/>
              <a:gd name="T54" fmla="*/ 14 w 32"/>
              <a:gd name="T55" fmla="*/ 4 h 36"/>
              <a:gd name="T56" fmla="*/ 18 w 32"/>
              <a:gd name="T57" fmla="*/ 4 h 36"/>
              <a:gd name="T58" fmla="*/ 18 w 32"/>
              <a:gd name="T59" fmla="*/ 0 h 36"/>
              <a:gd name="T60" fmla="*/ 18 w 32"/>
              <a:gd name="T61" fmla="*/ 0 h 36"/>
              <a:gd name="T62" fmla="*/ 18 w 32"/>
              <a:gd name="T63" fmla="*/ 0 h 36"/>
              <a:gd name="T64" fmla="*/ 22 w 32"/>
              <a:gd name="T65" fmla="*/ 0 h 36"/>
              <a:gd name="T66" fmla="*/ 22 w 32"/>
              <a:gd name="T67" fmla="*/ 4 h 36"/>
              <a:gd name="T68" fmla="*/ 24 w 32"/>
              <a:gd name="T69" fmla="*/ 4 h 36"/>
              <a:gd name="T70" fmla="*/ 24 w 32"/>
              <a:gd name="T71" fmla="*/ 4 h 36"/>
              <a:gd name="T72" fmla="*/ 24 w 32"/>
              <a:gd name="T73" fmla="*/ 6 h 36"/>
              <a:gd name="T74" fmla="*/ 28 w 32"/>
              <a:gd name="T75" fmla="*/ 6 h 36"/>
              <a:gd name="T76" fmla="*/ 28 w 32"/>
              <a:gd name="T77" fmla="*/ 10 h 36"/>
              <a:gd name="T78" fmla="*/ 32 w 32"/>
              <a:gd name="T79" fmla="*/ 14 h 36"/>
              <a:gd name="T80" fmla="*/ 32 w 32"/>
              <a:gd name="T81" fmla="*/ 14 h 36"/>
              <a:gd name="T82" fmla="*/ 28 w 32"/>
              <a:gd name="T83" fmla="*/ 14 h 36"/>
              <a:gd name="T84" fmla="*/ 28 w 32"/>
              <a:gd name="T85" fmla="*/ 18 h 36"/>
              <a:gd name="T86" fmla="*/ 28 w 32"/>
              <a:gd name="T87" fmla="*/ 18 h 36"/>
              <a:gd name="T88" fmla="*/ 28 w 32"/>
              <a:gd name="T89" fmla="*/ 18 h 36"/>
              <a:gd name="T90" fmla="*/ 28 w 32"/>
              <a:gd name="T91" fmla="*/ 22 h 36"/>
              <a:gd name="T92" fmla="*/ 28 w 32"/>
              <a:gd name="T93" fmla="*/ 22 h 36"/>
              <a:gd name="T94" fmla="*/ 28 w 32"/>
              <a:gd name="T95" fmla="*/ 22 h 36"/>
              <a:gd name="T96" fmla="*/ 28 w 32"/>
              <a:gd name="T97" fmla="*/ 22 h 36"/>
              <a:gd name="T98" fmla="*/ 24 w 32"/>
              <a:gd name="T99" fmla="*/ 26 h 36"/>
              <a:gd name="T100" fmla="*/ 24 w 32"/>
              <a:gd name="T101" fmla="*/ 26 h 36"/>
              <a:gd name="T102" fmla="*/ 24 w 32"/>
              <a:gd name="T103"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 h="36">
                <a:moveTo>
                  <a:pt x="24" y="26"/>
                </a:moveTo>
                <a:lnTo>
                  <a:pt x="24" y="26"/>
                </a:lnTo>
                <a:lnTo>
                  <a:pt x="24" y="26"/>
                </a:lnTo>
                <a:lnTo>
                  <a:pt x="22" y="30"/>
                </a:lnTo>
                <a:lnTo>
                  <a:pt x="22" y="30"/>
                </a:lnTo>
                <a:lnTo>
                  <a:pt x="22" y="30"/>
                </a:lnTo>
                <a:lnTo>
                  <a:pt x="18" y="30"/>
                </a:lnTo>
                <a:lnTo>
                  <a:pt x="18" y="30"/>
                </a:lnTo>
                <a:lnTo>
                  <a:pt x="18" y="30"/>
                </a:lnTo>
                <a:lnTo>
                  <a:pt x="18" y="30"/>
                </a:lnTo>
                <a:lnTo>
                  <a:pt x="14" y="30"/>
                </a:lnTo>
                <a:lnTo>
                  <a:pt x="14" y="34"/>
                </a:lnTo>
                <a:lnTo>
                  <a:pt x="14" y="36"/>
                </a:lnTo>
                <a:lnTo>
                  <a:pt x="14" y="36"/>
                </a:lnTo>
                <a:lnTo>
                  <a:pt x="14" y="36"/>
                </a:lnTo>
                <a:lnTo>
                  <a:pt x="10" y="36"/>
                </a:lnTo>
                <a:lnTo>
                  <a:pt x="10" y="36"/>
                </a:lnTo>
                <a:lnTo>
                  <a:pt x="10" y="36"/>
                </a:lnTo>
                <a:lnTo>
                  <a:pt x="8" y="36"/>
                </a:lnTo>
                <a:lnTo>
                  <a:pt x="8" y="36"/>
                </a:lnTo>
                <a:lnTo>
                  <a:pt x="8" y="34"/>
                </a:lnTo>
                <a:lnTo>
                  <a:pt x="8" y="34"/>
                </a:lnTo>
                <a:lnTo>
                  <a:pt x="4" y="34"/>
                </a:lnTo>
                <a:lnTo>
                  <a:pt x="4" y="34"/>
                </a:lnTo>
                <a:lnTo>
                  <a:pt x="4" y="34"/>
                </a:lnTo>
                <a:lnTo>
                  <a:pt x="4" y="30"/>
                </a:lnTo>
                <a:lnTo>
                  <a:pt x="4" y="26"/>
                </a:lnTo>
                <a:lnTo>
                  <a:pt x="0" y="26"/>
                </a:lnTo>
                <a:lnTo>
                  <a:pt x="0" y="26"/>
                </a:lnTo>
                <a:lnTo>
                  <a:pt x="0" y="26"/>
                </a:lnTo>
                <a:lnTo>
                  <a:pt x="0" y="22"/>
                </a:lnTo>
                <a:lnTo>
                  <a:pt x="0" y="22"/>
                </a:lnTo>
                <a:lnTo>
                  <a:pt x="0" y="22"/>
                </a:lnTo>
                <a:lnTo>
                  <a:pt x="0" y="22"/>
                </a:lnTo>
                <a:lnTo>
                  <a:pt x="0" y="18"/>
                </a:lnTo>
                <a:lnTo>
                  <a:pt x="0" y="18"/>
                </a:lnTo>
                <a:lnTo>
                  <a:pt x="0" y="18"/>
                </a:lnTo>
                <a:lnTo>
                  <a:pt x="0" y="18"/>
                </a:lnTo>
                <a:lnTo>
                  <a:pt x="4" y="18"/>
                </a:lnTo>
                <a:lnTo>
                  <a:pt x="4" y="18"/>
                </a:lnTo>
                <a:lnTo>
                  <a:pt x="4" y="18"/>
                </a:lnTo>
                <a:lnTo>
                  <a:pt x="4" y="14"/>
                </a:lnTo>
                <a:lnTo>
                  <a:pt x="4" y="14"/>
                </a:lnTo>
                <a:lnTo>
                  <a:pt x="4" y="14"/>
                </a:lnTo>
                <a:lnTo>
                  <a:pt x="8" y="10"/>
                </a:lnTo>
                <a:lnTo>
                  <a:pt x="8" y="10"/>
                </a:lnTo>
                <a:lnTo>
                  <a:pt x="8" y="10"/>
                </a:lnTo>
                <a:lnTo>
                  <a:pt x="8" y="10"/>
                </a:lnTo>
                <a:lnTo>
                  <a:pt x="8" y="6"/>
                </a:lnTo>
                <a:lnTo>
                  <a:pt x="8" y="6"/>
                </a:lnTo>
                <a:lnTo>
                  <a:pt x="10" y="6"/>
                </a:lnTo>
                <a:lnTo>
                  <a:pt x="10" y="6"/>
                </a:lnTo>
                <a:lnTo>
                  <a:pt x="14" y="4"/>
                </a:lnTo>
                <a:lnTo>
                  <a:pt x="14" y="4"/>
                </a:lnTo>
                <a:lnTo>
                  <a:pt x="14" y="4"/>
                </a:lnTo>
                <a:lnTo>
                  <a:pt x="14" y="4"/>
                </a:lnTo>
                <a:lnTo>
                  <a:pt x="14" y="4"/>
                </a:lnTo>
                <a:lnTo>
                  <a:pt x="18" y="4"/>
                </a:lnTo>
                <a:lnTo>
                  <a:pt x="18" y="4"/>
                </a:lnTo>
                <a:lnTo>
                  <a:pt x="18" y="0"/>
                </a:lnTo>
                <a:lnTo>
                  <a:pt x="18" y="0"/>
                </a:lnTo>
                <a:lnTo>
                  <a:pt x="18" y="0"/>
                </a:lnTo>
                <a:lnTo>
                  <a:pt x="18" y="0"/>
                </a:lnTo>
                <a:lnTo>
                  <a:pt x="18" y="0"/>
                </a:lnTo>
                <a:lnTo>
                  <a:pt x="22" y="0"/>
                </a:lnTo>
                <a:lnTo>
                  <a:pt x="22" y="0"/>
                </a:lnTo>
                <a:lnTo>
                  <a:pt x="22" y="0"/>
                </a:lnTo>
                <a:lnTo>
                  <a:pt x="22" y="4"/>
                </a:lnTo>
                <a:lnTo>
                  <a:pt x="22" y="4"/>
                </a:lnTo>
                <a:lnTo>
                  <a:pt x="24" y="4"/>
                </a:lnTo>
                <a:lnTo>
                  <a:pt x="24" y="4"/>
                </a:lnTo>
                <a:lnTo>
                  <a:pt x="24" y="4"/>
                </a:lnTo>
                <a:lnTo>
                  <a:pt x="24" y="4"/>
                </a:lnTo>
                <a:lnTo>
                  <a:pt x="24" y="6"/>
                </a:lnTo>
                <a:lnTo>
                  <a:pt x="24" y="6"/>
                </a:lnTo>
                <a:lnTo>
                  <a:pt x="28" y="6"/>
                </a:lnTo>
                <a:lnTo>
                  <a:pt x="28" y="10"/>
                </a:lnTo>
                <a:lnTo>
                  <a:pt x="28" y="10"/>
                </a:lnTo>
                <a:lnTo>
                  <a:pt x="32" y="14"/>
                </a:lnTo>
                <a:lnTo>
                  <a:pt x="32" y="14"/>
                </a:lnTo>
                <a:lnTo>
                  <a:pt x="32" y="14"/>
                </a:lnTo>
                <a:lnTo>
                  <a:pt x="32" y="14"/>
                </a:lnTo>
                <a:lnTo>
                  <a:pt x="28" y="14"/>
                </a:lnTo>
                <a:lnTo>
                  <a:pt x="28" y="14"/>
                </a:lnTo>
                <a:lnTo>
                  <a:pt x="28" y="18"/>
                </a:lnTo>
                <a:lnTo>
                  <a:pt x="28" y="18"/>
                </a:lnTo>
                <a:lnTo>
                  <a:pt x="28" y="18"/>
                </a:lnTo>
                <a:lnTo>
                  <a:pt x="28" y="18"/>
                </a:lnTo>
                <a:lnTo>
                  <a:pt x="28" y="18"/>
                </a:lnTo>
                <a:lnTo>
                  <a:pt x="28" y="18"/>
                </a:lnTo>
                <a:lnTo>
                  <a:pt x="28" y="18"/>
                </a:lnTo>
                <a:lnTo>
                  <a:pt x="28" y="22"/>
                </a:lnTo>
                <a:lnTo>
                  <a:pt x="28" y="22"/>
                </a:lnTo>
                <a:lnTo>
                  <a:pt x="28" y="22"/>
                </a:lnTo>
                <a:lnTo>
                  <a:pt x="28" y="22"/>
                </a:lnTo>
                <a:lnTo>
                  <a:pt x="28" y="22"/>
                </a:lnTo>
                <a:lnTo>
                  <a:pt x="28" y="22"/>
                </a:lnTo>
                <a:lnTo>
                  <a:pt x="28" y="22"/>
                </a:lnTo>
                <a:lnTo>
                  <a:pt x="28" y="26"/>
                </a:lnTo>
                <a:lnTo>
                  <a:pt x="24" y="26"/>
                </a:lnTo>
                <a:lnTo>
                  <a:pt x="24" y="26"/>
                </a:lnTo>
                <a:lnTo>
                  <a:pt x="24" y="26"/>
                </a:lnTo>
                <a:lnTo>
                  <a:pt x="24" y="26"/>
                </a:lnTo>
                <a:lnTo>
                  <a:pt x="24" y="26"/>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45" name="Freeform 152"/>
          <p:cNvSpPr>
            <a:spLocks/>
          </p:cNvSpPr>
          <p:nvPr/>
        </p:nvSpPr>
        <p:spPr bwMode="auto">
          <a:xfrm>
            <a:off x="4062412" y="3524250"/>
            <a:ext cx="71438" cy="88106"/>
          </a:xfrm>
          <a:custGeom>
            <a:avLst/>
            <a:gdLst>
              <a:gd name="T0" fmla="*/ 4 w 60"/>
              <a:gd name="T1" fmla="*/ 26 h 74"/>
              <a:gd name="T2" fmla="*/ 4 w 60"/>
              <a:gd name="T3" fmla="*/ 22 h 74"/>
              <a:gd name="T4" fmla="*/ 6 w 60"/>
              <a:gd name="T5" fmla="*/ 22 h 74"/>
              <a:gd name="T6" fmla="*/ 10 w 60"/>
              <a:gd name="T7" fmla="*/ 18 h 74"/>
              <a:gd name="T8" fmla="*/ 10 w 60"/>
              <a:gd name="T9" fmla="*/ 18 h 74"/>
              <a:gd name="T10" fmla="*/ 10 w 60"/>
              <a:gd name="T11" fmla="*/ 14 h 74"/>
              <a:gd name="T12" fmla="*/ 14 w 60"/>
              <a:gd name="T13" fmla="*/ 10 h 74"/>
              <a:gd name="T14" fmla="*/ 14 w 60"/>
              <a:gd name="T15" fmla="*/ 6 h 74"/>
              <a:gd name="T16" fmla="*/ 18 w 60"/>
              <a:gd name="T17" fmla="*/ 2 h 74"/>
              <a:gd name="T18" fmla="*/ 22 w 60"/>
              <a:gd name="T19" fmla="*/ 2 h 74"/>
              <a:gd name="T20" fmla="*/ 26 w 60"/>
              <a:gd name="T21" fmla="*/ 0 h 74"/>
              <a:gd name="T22" fmla="*/ 30 w 60"/>
              <a:gd name="T23" fmla="*/ 6 h 74"/>
              <a:gd name="T24" fmla="*/ 30 w 60"/>
              <a:gd name="T25" fmla="*/ 10 h 74"/>
              <a:gd name="T26" fmla="*/ 30 w 60"/>
              <a:gd name="T27" fmla="*/ 14 h 74"/>
              <a:gd name="T28" fmla="*/ 30 w 60"/>
              <a:gd name="T29" fmla="*/ 18 h 74"/>
              <a:gd name="T30" fmla="*/ 30 w 60"/>
              <a:gd name="T31" fmla="*/ 22 h 74"/>
              <a:gd name="T32" fmla="*/ 34 w 60"/>
              <a:gd name="T33" fmla="*/ 22 h 74"/>
              <a:gd name="T34" fmla="*/ 34 w 60"/>
              <a:gd name="T35" fmla="*/ 22 h 74"/>
              <a:gd name="T36" fmla="*/ 36 w 60"/>
              <a:gd name="T37" fmla="*/ 22 h 74"/>
              <a:gd name="T38" fmla="*/ 40 w 60"/>
              <a:gd name="T39" fmla="*/ 18 h 74"/>
              <a:gd name="T40" fmla="*/ 40 w 60"/>
              <a:gd name="T41" fmla="*/ 14 h 74"/>
              <a:gd name="T42" fmla="*/ 44 w 60"/>
              <a:gd name="T43" fmla="*/ 14 h 74"/>
              <a:gd name="T44" fmla="*/ 44 w 60"/>
              <a:gd name="T45" fmla="*/ 18 h 74"/>
              <a:gd name="T46" fmla="*/ 44 w 60"/>
              <a:gd name="T47" fmla="*/ 22 h 74"/>
              <a:gd name="T48" fmla="*/ 48 w 60"/>
              <a:gd name="T49" fmla="*/ 26 h 74"/>
              <a:gd name="T50" fmla="*/ 44 w 60"/>
              <a:gd name="T51" fmla="*/ 28 h 74"/>
              <a:gd name="T52" fmla="*/ 44 w 60"/>
              <a:gd name="T53" fmla="*/ 32 h 74"/>
              <a:gd name="T54" fmla="*/ 44 w 60"/>
              <a:gd name="T55" fmla="*/ 32 h 74"/>
              <a:gd name="T56" fmla="*/ 40 w 60"/>
              <a:gd name="T57" fmla="*/ 36 h 74"/>
              <a:gd name="T58" fmla="*/ 44 w 60"/>
              <a:gd name="T59" fmla="*/ 36 h 74"/>
              <a:gd name="T60" fmla="*/ 48 w 60"/>
              <a:gd name="T61" fmla="*/ 40 h 74"/>
              <a:gd name="T62" fmla="*/ 52 w 60"/>
              <a:gd name="T63" fmla="*/ 40 h 74"/>
              <a:gd name="T64" fmla="*/ 52 w 60"/>
              <a:gd name="T65" fmla="*/ 44 h 74"/>
              <a:gd name="T66" fmla="*/ 56 w 60"/>
              <a:gd name="T67" fmla="*/ 48 h 74"/>
              <a:gd name="T68" fmla="*/ 60 w 60"/>
              <a:gd name="T69" fmla="*/ 48 h 74"/>
              <a:gd name="T70" fmla="*/ 60 w 60"/>
              <a:gd name="T71" fmla="*/ 52 h 74"/>
              <a:gd name="T72" fmla="*/ 60 w 60"/>
              <a:gd name="T73" fmla="*/ 52 h 74"/>
              <a:gd name="T74" fmla="*/ 60 w 60"/>
              <a:gd name="T75" fmla="*/ 54 h 74"/>
              <a:gd name="T76" fmla="*/ 56 w 60"/>
              <a:gd name="T77" fmla="*/ 62 h 74"/>
              <a:gd name="T78" fmla="*/ 56 w 60"/>
              <a:gd name="T79" fmla="*/ 66 h 74"/>
              <a:gd name="T80" fmla="*/ 56 w 60"/>
              <a:gd name="T81" fmla="*/ 74 h 74"/>
              <a:gd name="T82" fmla="*/ 52 w 60"/>
              <a:gd name="T83" fmla="*/ 70 h 74"/>
              <a:gd name="T84" fmla="*/ 52 w 60"/>
              <a:gd name="T85" fmla="*/ 70 h 74"/>
              <a:gd name="T86" fmla="*/ 44 w 60"/>
              <a:gd name="T87" fmla="*/ 66 h 74"/>
              <a:gd name="T88" fmla="*/ 40 w 60"/>
              <a:gd name="T89" fmla="*/ 62 h 74"/>
              <a:gd name="T90" fmla="*/ 36 w 60"/>
              <a:gd name="T91" fmla="*/ 62 h 74"/>
              <a:gd name="T92" fmla="*/ 34 w 60"/>
              <a:gd name="T93" fmla="*/ 58 h 74"/>
              <a:gd name="T94" fmla="*/ 30 w 60"/>
              <a:gd name="T95" fmla="*/ 54 h 74"/>
              <a:gd name="T96" fmla="*/ 26 w 60"/>
              <a:gd name="T97" fmla="*/ 52 h 74"/>
              <a:gd name="T98" fmla="*/ 18 w 60"/>
              <a:gd name="T99" fmla="*/ 44 h 74"/>
              <a:gd name="T100" fmla="*/ 18 w 60"/>
              <a:gd name="T101" fmla="*/ 40 h 74"/>
              <a:gd name="T102" fmla="*/ 14 w 60"/>
              <a:gd name="T103" fmla="*/ 40 h 74"/>
              <a:gd name="T104" fmla="*/ 10 w 60"/>
              <a:gd name="T105" fmla="*/ 40 h 74"/>
              <a:gd name="T106" fmla="*/ 10 w 60"/>
              <a:gd name="T107" fmla="*/ 36 h 74"/>
              <a:gd name="T108" fmla="*/ 10 w 60"/>
              <a:gd name="T109" fmla="*/ 36 h 74"/>
              <a:gd name="T110" fmla="*/ 4 w 60"/>
              <a:gd name="T111" fmla="*/ 32 h 74"/>
              <a:gd name="T112" fmla="*/ 4 w 60"/>
              <a:gd name="T113" fmla="*/ 28 h 74"/>
              <a:gd name="T114" fmla="*/ 0 w 60"/>
              <a:gd name="T115" fmla="*/ 28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 h="74">
                <a:moveTo>
                  <a:pt x="0" y="28"/>
                </a:moveTo>
                <a:lnTo>
                  <a:pt x="0" y="28"/>
                </a:lnTo>
                <a:lnTo>
                  <a:pt x="4" y="28"/>
                </a:lnTo>
                <a:lnTo>
                  <a:pt x="4" y="26"/>
                </a:lnTo>
                <a:lnTo>
                  <a:pt x="4" y="26"/>
                </a:lnTo>
                <a:lnTo>
                  <a:pt x="4" y="26"/>
                </a:lnTo>
                <a:lnTo>
                  <a:pt x="4" y="26"/>
                </a:lnTo>
                <a:lnTo>
                  <a:pt x="4" y="22"/>
                </a:lnTo>
                <a:lnTo>
                  <a:pt x="4" y="22"/>
                </a:lnTo>
                <a:lnTo>
                  <a:pt x="4" y="22"/>
                </a:lnTo>
                <a:lnTo>
                  <a:pt x="6" y="22"/>
                </a:lnTo>
                <a:lnTo>
                  <a:pt x="6" y="22"/>
                </a:lnTo>
                <a:lnTo>
                  <a:pt x="6" y="22"/>
                </a:lnTo>
                <a:lnTo>
                  <a:pt x="6" y="22"/>
                </a:lnTo>
                <a:lnTo>
                  <a:pt x="6" y="22"/>
                </a:lnTo>
                <a:lnTo>
                  <a:pt x="10" y="18"/>
                </a:lnTo>
                <a:lnTo>
                  <a:pt x="10" y="18"/>
                </a:lnTo>
                <a:lnTo>
                  <a:pt x="10" y="18"/>
                </a:lnTo>
                <a:lnTo>
                  <a:pt x="10" y="18"/>
                </a:lnTo>
                <a:lnTo>
                  <a:pt x="10" y="18"/>
                </a:lnTo>
                <a:lnTo>
                  <a:pt x="10" y="14"/>
                </a:lnTo>
                <a:lnTo>
                  <a:pt x="10" y="14"/>
                </a:lnTo>
                <a:lnTo>
                  <a:pt x="10" y="14"/>
                </a:lnTo>
                <a:lnTo>
                  <a:pt x="10" y="14"/>
                </a:lnTo>
                <a:lnTo>
                  <a:pt x="14" y="14"/>
                </a:lnTo>
                <a:lnTo>
                  <a:pt x="14" y="14"/>
                </a:lnTo>
                <a:lnTo>
                  <a:pt x="14" y="10"/>
                </a:lnTo>
                <a:lnTo>
                  <a:pt x="14" y="10"/>
                </a:lnTo>
                <a:lnTo>
                  <a:pt x="14" y="6"/>
                </a:lnTo>
                <a:lnTo>
                  <a:pt x="14" y="6"/>
                </a:lnTo>
                <a:lnTo>
                  <a:pt x="14" y="6"/>
                </a:lnTo>
                <a:lnTo>
                  <a:pt x="14" y="6"/>
                </a:lnTo>
                <a:lnTo>
                  <a:pt x="18" y="6"/>
                </a:lnTo>
                <a:lnTo>
                  <a:pt x="18" y="6"/>
                </a:lnTo>
                <a:lnTo>
                  <a:pt x="18" y="6"/>
                </a:lnTo>
                <a:lnTo>
                  <a:pt x="18" y="2"/>
                </a:lnTo>
                <a:lnTo>
                  <a:pt x="18" y="2"/>
                </a:lnTo>
                <a:lnTo>
                  <a:pt x="18" y="2"/>
                </a:lnTo>
                <a:lnTo>
                  <a:pt x="18" y="0"/>
                </a:lnTo>
                <a:lnTo>
                  <a:pt x="22" y="2"/>
                </a:lnTo>
                <a:lnTo>
                  <a:pt x="22" y="0"/>
                </a:lnTo>
                <a:lnTo>
                  <a:pt x="26" y="0"/>
                </a:lnTo>
                <a:lnTo>
                  <a:pt x="26" y="2"/>
                </a:lnTo>
                <a:lnTo>
                  <a:pt x="26" y="0"/>
                </a:lnTo>
                <a:lnTo>
                  <a:pt x="26" y="2"/>
                </a:lnTo>
                <a:lnTo>
                  <a:pt x="26" y="2"/>
                </a:lnTo>
                <a:lnTo>
                  <a:pt x="30" y="2"/>
                </a:lnTo>
                <a:lnTo>
                  <a:pt x="30" y="6"/>
                </a:lnTo>
                <a:lnTo>
                  <a:pt x="30" y="10"/>
                </a:lnTo>
                <a:lnTo>
                  <a:pt x="30" y="10"/>
                </a:lnTo>
                <a:lnTo>
                  <a:pt x="30" y="10"/>
                </a:lnTo>
                <a:lnTo>
                  <a:pt x="30" y="10"/>
                </a:lnTo>
                <a:lnTo>
                  <a:pt x="30" y="14"/>
                </a:lnTo>
                <a:lnTo>
                  <a:pt x="30" y="14"/>
                </a:lnTo>
                <a:lnTo>
                  <a:pt x="34" y="14"/>
                </a:lnTo>
                <a:lnTo>
                  <a:pt x="30" y="14"/>
                </a:lnTo>
                <a:lnTo>
                  <a:pt x="30" y="14"/>
                </a:lnTo>
                <a:lnTo>
                  <a:pt x="30" y="14"/>
                </a:lnTo>
                <a:lnTo>
                  <a:pt x="30" y="18"/>
                </a:lnTo>
                <a:lnTo>
                  <a:pt x="30" y="18"/>
                </a:lnTo>
                <a:lnTo>
                  <a:pt x="30" y="18"/>
                </a:lnTo>
                <a:lnTo>
                  <a:pt x="30" y="18"/>
                </a:lnTo>
                <a:lnTo>
                  <a:pt x="30" y="22"/>
                </a:lnTo>
                <a:lnTo>
                  <a:pt x="30" y="22"/>
                </a:lnTo>
                <a:lnTo>
                  <a:pt x="30" y="22"/>
                </a:lnTo>
                <a:lnTo>
                  <a:pt x="30" y="18"/>
                </a:lnTo>
                <a:lnTo>
                  <a:pt x="34" y="18"/>
                </a:lnTo>
                <a:lnTo>
                  <a:pt x="34" y="22"/>
                </a:lnTo>
                <a:lnTo>
                  <a:pt x="34" y="22"/>
                </a:lnTo>
                <a:lnTo>
                  <a:pt x="34" y="22"/>
                </a:lnTo>
                <a:lnTo>
                  <a:pt x="34" y="26"/>
                </a:lnTo>
                <a:lnTo>
                  <a:pt x="34" y="22"/>
                </a:lnTo>
                <a:lnTo>
                  <a:pt x="36" y="22"/>
                </a:lnTo>
                <a:lnTo>
                  <a:pt x="36" y="22"/>
                </a:lnTo>
                <a:lnTo>
                  <a:pt x="36" y="22"/>
                </a:lnTo>
                <a:lnTo>
                  <a:pt x="36" y="22"/>
                </a:lnTo>
                <a:lnTo>
                  <a:pt x="36" y="22"/>
                </a:lnTo>
                <a:lnTo>
                  <a:pt x="40" y="22"/>
                </a:lnTo>
                <a:lnTo>
                  <a:pt x="40" y="18"/>
                </a:lnTo>
                <a:lnTo>
                  <a:pt x="40" y="18"/>
                </a:lnTo>
                <a:lnTo>
                  <a:pt x="40" y="18"/>
                </a:lnTo>
                <a:lnTo>
                  <a:pt x="40" y="18"/>
                </a:lnTo>
                <a:lnTo>
                  <a:pt x="40" y="14"/>
                </a:lnTo>
                <a:lnTo>
                  <a:pt x="40" y="14"/>
                </a:lnTo>
                <a:lnTo>
                  <a:pt x="40" y="14"/>
                </a:lnTo>
                <a:lnTo>
                  <a:pt x="40" y="14"/>
                </a:lnTo>
                <a:lnTo>
                  <a:pt x="44" y="14"/>
                </a:lnTo>
                <a:lnTo>
                  <a:pt x="44" y="14"/>
                </a:lnTo>
                <a:lnTo>
                  <a:pt x="44" y="18"/>
                </a:lnTo>
                <a:lnTo>
                  <a:pt x="44" y="18"/>
                </a:lnTo>
                <a:lnTo>
                  <a:pt x="44" y="18"/>
                </a:lnTo>
                <a:lnTo>
                  <a:pt x="44" y="18"/>
                </a:lnTo>
                <a:lnTo>
                  <a:pt x="44" y="18"/>
                </a:lnTo>
                <a:lnTo>
                  <a:pt x="44" y="18"/>
                </a:lnTo>
                <a:lnTo>
                  <a:pt x="44" y="18"/>
                </a:lnTo>
                <a:lnTo>
                  <a:pt x="44" y="22"/>
                </a:lnTo>
                <a:lnTo>
                  <a:pt x="44" y="22"/>
                </a:lnTo>
                <a:lnTo>
                  <a:pt x="44" y="22"/>
                </a:lnTo>
                <a:lnTo>
                  <a:pt x="44" y="22"/>
                </a:lnTo>
                <a:lnTo>
                  <a:pt x="48" y="26"/>
                </a:lnTo>
                <a:lnTo>
                  <a:pt x="48" y="26"/>
                </a:lnTo>
                <a:lnTo>
                  <a:pt x="44" y="28"/>
                </a:lnTo>
                <a:lnTo>
                  <a:pt x="44" y="28"/>
                </a:lnTo>
                <a:lnTo>
                  <a:pt x="44" y="28"/>
                </a:lnTo>
                <a:lnTo>
                  <a:pt x="44" y="32"/>
                </a:lnTo>
                <a:lnTo>
                  <a:pt x="44" y="32"/>
                </a:lnTo>
                <a:lnTo>
                  <a:pt x="44" y="32"/>
                </a:lnTo>
                <a:lnTo>
                  <a:pt x="44" y="32"/>
                </a:lnTo>
                <a:lnTo>
                  <a:pt x="44" y="32"/>
                </a:lnTo>
                <a:lnTo>
                  <a:pt x="44" y="32"/>
                </a:lnTo>
                <a:lnTo>
                  <a:pt x="44" y="32"/>
                </a:lnTo>
                <a:lnTo>
                  <a:pt x="44" y="32"/>
                </a:lnTo>
                <a:lnTo>
                  <a:pt x="44" y="32"/>
                </a:lnTo>
                <a:lnTo>
                  <a:pt x="44" y="32"/>
                </a:lnTo>
                <a:lnTo>
                  <a:pt x="40" y="32"/>
                </a:lnTo>
                <a:lnTo>
                  <a:pt x="40" y="36"/>
                </a:lnTo>
                <a:lnTo>
                  <a:pt x="40" y="36"/>
                </a:lnTo>
                <a:lnTo>
                  <a:pt x="40" y="36"/>
                </a:lnTo>
                <a:lnTo>
                  <a:pt x="44" y="36"/>
                </a:lnTo>
                <a:lnTo>
                  <a:pt x="44" y="36"/>
                </a:lnTo>
                <a:lnTo>
                  <a:pt x="44" y="36"/>
                </a:lnTo>
                <a:lnTo>
                  <a:pt x="48" y="40"/>
                </a:lnTo>
                <a:lnTo>
                  <a:pt x="48" y="40"/>
                </a:lnTo>
                <a:lnTo>
                  <a:pt x="48" y="40"/>
                </a:lnTo>
                <a:lnTo>
                  <a:pt x="48" y="40"/>
                </a:lnTo>
                <a:lnTo>
                  <a:pt x="52" y="40"/>
                </a:lnTo>
                <a:lnTo>
                  <a:pt x="52" y="40"/>
                </a:lnTo>
                <a:lnTo>
                  <a:pt x="52" y="40"/>
                </a:lnTo>
                <a:lnTo>
                  <a:pt x="52" y="40"/>
                </a:lnTo>
                <a:lnTo>
                  <a:pt x="52" y="44"/>
                </a:lnTo>
                <a:lnTo>
                  <a:pt x="52" y="44"/>
                </a:lnTo>
                <a:lnTo>
                  <a:pt x="52" y="44"/>
                </a:lnTo>
                <a:lnTo>
                  <a:pt x="56" y="44"/>
                </a:lnTo>
                <a:lnTo>
                  <a:pt x="56" y="44"/>
                </a:lnTo>
                <a:lnTo>
                  <a:pt x="56" y="44"/>
                </a:lnTo>
                <a:lnTo>
                  <a:pt x="56" y="48"/>
                </a:lnTo>
                <a:lnTo>
                  <a:pt x="60" y="48"/>
                </a:lnTo>
                <a:lnTo>
                  <a:pt x="60" y="48"/>
                </a:lnTo>
                <a:lnTo>
                  <a:pt x="60" y="48"/>
                </a:lnTo>
                <a:lnTo>
                  <a:pt x="60" y="48"/>
                </a:lnTo>
                <a:lnTo>
                  <a:pt x="60" y="48"/>
                </a:lnTo>
                <a:lnTo>
                  <a:pt x="60" y="48"/>
                </a:lnTo>
                <a:lnTo>
                  <a:pt x="60" y="48"/>
                </a:lnTo>
                <a:lnTo>
                  <a:pt x="60" y="52"/>
                </a:lnTo>
                <a:lnTo>
                  <a:pt x="60" y="52"/>
                </a:lnTo>
                <a:lnTo>
                  <a:pt x="60" y="52"/>
                </a:lnTo>
                <a:lnTo>
                  <a:pt x="60" y="52"/>
                </a:lnTo>
                <a:lnTo>
                  <a:pt x="60" y="52"/>
                </a:lnTo>
                <a:lnTo>
                  <a:pt x="60" y="54"/>
                </a:lnTo>
                <a:lnTo>
                  <a:pt x="60" y="54"/>
                </a:lnTo>
                <a:lnTo>
                  <a:pt x="60" y="54"/>
                </a:lnTo>
                <a:lnTo>
                  <a:pt x="60" y="54"/>
                </a:lnTo>
                <a:lnTo>
                  <a:pt x="60" y="58"/>
                </a:lnTo>
                <a:lnTo>
                  <a:pt x="56" y="58"/>
                </a:lnTo>
                <a:lnTo>
                  <a:pt x="56" y="62"/>
                </a:lnTo>
                <a:lnTo>
                  <a:pt x="56" y="62"/>
                </a:lnTo>
                <a:lnTo>
                  <a:pt x="56" y="62"/>
                </a:lnTo>
                <a:lnTo>
                  <a:pt x="56" y="66"/>
                </a:lnTo>
                <a:lnTo>
                  <a:pt x="56" y="66"/>
                </a:lnTo>
                <a:lnTo>
                  <a:pt x="56" y="66"/>
                </a:lnTo>
                <a:lnTo>
                  <a:pt x="56" y="70"/>
                </a:lnTo>
                <a:lnTo>
                  <a:pt x="56" y="70"/>
                </a:lnTo>
                <a:lnTo>
                  <a:pt x="56" y="70"/>
                </a:lnTo>
                <a:lnTo>
                  <a:pt x="56" y="74"/>
                </a:lnTo>
                <a:lnTo>
                  <a:pt x="56" y="74"/>
                </a:lnTo>
                <a:lnTo>
                  <a:pt x="56" y="74"/>
                </a:lnTo>
                <a:lnTo>
                  <a:pt x="56" y="74"/>
                </a:lnTo>
                <a:lnTo>
                  <a:pt x="52" y="70"/>
                </a:lnTo>
                <a:lnTo>
                  <a:pt x="52" y="70"/>
                </a:lnTo>
                <a:lnTo>
                  <a:pt x="52" y="70"/>
                </a:lnTo>
                <a:lnTo>
                  <a:pt x="52" y="70"/>
                </a:lnTo>
                <a:lnTo>
                  <a:pt x="52" y="70"/>
                </a:lnTo>
                <a:lnTo>
                  <a:pt x="48" y="70"/>
                </a:lnTo>
                <a:lnTo>
                  <a:pt x="48" y="70"/>
                </a:lnTo>
                <a:lnTo>
                  <a:pt x="48" y="70"/>
                </a:lnTo>
                <a:lnTo>
                  <a:pt x="44" y="66"/>
                </a:lnTo>
                <a:lnTo>
                  <a:pt x="44" y="66"/>
                </a:lnTo>
                <a:lnTo>
                  <a:pt x="40" y="66"/>
                </a:lnTo>
                <a:lnTo>
                  <a:pt x="40" y="62"/>
                </a:lnTo>
                <a:lnTo>
                  <a:pt x="40" y="62"/>
                </a:lnTo>
                <a:lnTo>
                  <a:pt x="40" y="62"/>
                </a:lnTo>
                <a:lnTo>
                  <a:pt x="36" y="62"/>
                </a:lnTo>
                <a:lnTo>
                  <a:pt x="36" y="62"/>
                </a:lnTo>
                <a:lnTo>
                  <a:pt x="36" y="62"/>
                </a:lnTo>
                <a:lnTo>
                  <a:pt x="36" y="62"/>
                </a:lnTo>
                <a:lnTo>
                  <a:pt x="34" y="58"/>
                </a:lnTo>
                <a:lnTo>
                  <a:pt x="34" y="58"/>
                </a:lnTo>
                <a:lnTo>
                  <a:pt x="34" y="58"/>
                </a:lnTo>
                <a:lnTo>
                  <a:pt x="30" y="54"/>
                </a:lnTo>
                <a:lnTo>
                  <a:pt x="30" y="54"/>
                </a:lnTo>
                <a:lnTo>
                  <a:pt x="30" y="54"/>
                </a:lnTo>
                <a:lnTo>
                  <a:pt x="30" y="54"/>
                </a:lnTo>
                <a:lnTo>
                  <a:pt x="30" y="54"/>
                </a:lnTo>
                <a:lnTo>
                  <a:pt x="30" y="54"/>
                </a:lnTo>
                <a:lnTo>
                  <a:pt x="30" y="52"/>
                </a:lnTo>
                <a:lnTo>
                  <a:pt x="26" y="52"/>
                </a:lnTo>
                <a:lnTo>
                  <a:pt x="26" y="52"/>
                </a:lnTo>
                <a:lnTo>
                  <a:pt x="22" y="48"/>
                </a:lnTo>
                <a:lnTo>
                  <a:pt x="22" y="44"/>
                </a:lnTo>
                <a:lnTo>
                  <a:pt x="18" y="44"/>
                </a:lnTo>
                <a:lnTo>
                  <a:pt x="18" y="44"/>
                </a:lnTo>
                <a:lnTo>
                  <a:pt x="18" y="44"/>
                </a:lnTo>
                <a:lnTo>
                  <a:pt x="18" y="44"/>
                </a:lnTo>
                <a:lnTo>
                  <a:pt x="18" y="40"/>
                </a:lnTo>
                <a:lnTo>
                  <a:pt x="18" y="40"/>
                </a:lnTo>
                <a:lnTo>
                  <a:pt x="18" y="40"/>
                </a:lnTo>
                <a:lnTo>
                  <a:pt x="14" y="40"/>
                </a:lnTo>
                <a:lnTo>
                  <a:pt x="14" y="40"/>
                </a:lnTo>
                <a:lnTo>
                  <a:pt x="14" y="40"/>
                </a:lnTo>
                <a:lnTo>
                  <a:pt x="14" y="40"/>
                </a:lnTo>
                <a:lnTo>
                  <a:pt x="14" y="40"/>
                </a:lnTo>
                <a:lnTo>
                  <a:pt x="10" y="40"/>
                </a:lnTo>
                <a:lnTo>
                  <a:pt x="10" y="40"/>
                </a:lnTo>
                <a:lnTo>
                  <a:pt x="10" y="40"/>
                </a:lnTo>
                <a:lnTo>
                  <a:pt x="10" y="36"/>
                </a:lnTo>
                <a:lnTo>
                  <a:pt x="10" y="36"/>
                </a:lnTo>
                <a:lnTo>
                  <a:pt x="10" y="36"/>
                </a:lnTo>
                <a:lnTo>
                  <a:pt x="10" y="36"/>
                </a:lnTo>
                <a:lnTo>
                  <a:pt x="10" y="36"/>
                </a:lnTo>
                <a:lnTo>
                  <a:pt x="10" y="36"/>
                </a:lnTo>
                <a:lnTo>
                  <a:pt x="10" y="36"/>
                </a:lnTo>
                <a:lnTo>
                  <a:pt x="6" y="36"/>
                </a:lnTo>
                <a:lnTo>
                  <a:pt x="6" y="32"/>
                </a:lnTo>
                <a:lnTo>
                  <a:pt x="4" y="32"/>
                </a:lnTo>
                <a:lnTo>
                  <a:pt x="4" y="32"/>
                </a:lnTo>
                <a:lnTo>
                  <a:pt x="4" y="28"/>
                </a:lnTo>
                <a:lnTo>
                  <a:pt x="4" y="28"/>
                </a:lnTo>
                <a:lnTo>
                  <a:pt x="4" y="28"/>
                </a:lnTo>
                <a:lnTo>
                  <a:pt x="4" y="28"/>
                </a:lnTo>
                <a:lnTo>
                  <a:pt x="0" y="28"/>
                </a:lnTo>
                <a:lnTo>
                  <a:pt x="0" y="28"/>
                </a:lnTo>
                <a:lnTo>
                  <a:pt x="0" y="28"/>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46" name="Freeform 153"/>
          <p:cNvSpPr>
            <a:spLocks/>
          </p:cNvSpPr>
          <p:nvPr/>
        </p:nvSpPr>
        <p:spPr bwMode="auto">
          <a:xfrm>
            <a:off x="4412456" y="3002756"/>
            <a:ext cx="266700" cy="292894"/>
          </a:xfrm>
          <a:custGeom>
            <a:avLst/>
            <a:gdLst>
              <a:gd name="T0" fmla="*/ 74 w 224"/>
              <a:gd name="T1" fmla="*/ 12 h 246"/>
              <a:gd name="T2" fmla="*/ 86 w 224"/>
              <a:gd name="T3" fmla="*/ 20 h 246"/>
              <a:gd name="T4" fmla="*/ 90 w 224"/>
              <a:gd name="T5" fmla="*/ 34 h 246"/>
              <a:gd name="T6" fmla="*/ 100 w 224"/>
              <a:gd name="T7" fmla="*/ 38 h 246"/>
              <a:gd name="T8" fmla="*/ 116 w 224"/>
              <a:gd name="T9" fmla="*/ 38 h 246"/>
              <a:gd name="T10" fmla="*/ 124 w 224"/>
              <a:gd name="T11" fmla="*/ 46 h 246"/>
              <a:gd name="T12" fmla="*/ 134 w 224"/>
              <a:gd name="T13" fmla="*/ 52 h 246"/>
              <a:gd name="T14" fmla="*/ 142 w 224"/>
              <a:gd name="T15" fmla="*/ 52 h 246"/>
              <a:gd name="T16" fmla="*/ 154 w 224"/>
              <a:gd name="T17" fmla="*/ 42 h 246"/>
              <a:gd name="T18" fmla="*/ 154 w 224"/>
              <a:gd name="T19" fmla="*/ 26 h 246"/>
              <a:gd name="T20" fmla="*/ 160 w 224"/>
              <a:gd name="T21" fmla="*/ 12 h 246"/>
              <a:gd name="T22" fmla="*/ 172 w 224"/>
              <a:gd name="T23" fmla="*/ 8 h 246"/>
              <a:gd name="T24" fmla="*/ 182 w 224"/>
              <a:gd name="T25" fmla="*/ 4 h 246"/>
              <a:gd name="T26" fmla="*/ 194 w 224"/>
              <a:gd name="T27" fmla="*/ 8 h 246"/>
              <a:gd name="T28" fmla="*/ 198 w 224"/>
              <a:gd name="T29" fmla="*/ 20 h 246"/>
              <a:gd name="T30" fmla="*/ 210 w 224"/>
              <a:gd name="T31" fmla="*/ 22 h 246"/>
              <a:gd name="T32" fmla="*/ 224 w 224"/>
              <a:gd name="T33" fmla="*/ 22 h 246"/>
              <a:gd name="T34" fmla="*/ 220 w 224"/>
              <a:gd name="T35" fmla="*/ 34 h 246"/>
              <a:gd name="T36" fmla="*/ 224 w 224"/>
              <a:gd name="T37" fmla="*/ 50 h 246"/>
              <a:gd name="T38" fmla="*/ 220 w 224"/>
              <a:gd name="T39" fmla="*/ 64 h 246"/>
              <a:gd name="T40" fmla="*/ 224 w 224"/>
              <a:gd name="T41" fmla="*/ 78 h 246"/>
              <a:gd name="T42" fmla="*/ 224 w 224"/>
              <a:gd name="T43" fmla="*/ 102 h 246"/>
              <a:gd name="T44" fmla="*/ 224 w 224"/>
              <a:gd name="T45" fmla="*/ 120 h 246"/>
              <a:gd name="T46" fmla="*/ 224 w 224"/>
              <a:gd name="T47" fmla="*/ 150 h 246"/>
              <a:gd name="T48" fmla="*/ 224 w 224"/>
              <a:gd name="T49" fmla="*/ 176 h 246"/>
              <a:gd name="T50" fmla="*/ 224 w 224"/>
              <a:gd name="T51" fmla="*/ 238 h 246"/>
              <a:gd name="T52" fmla="*/ 210 w 224"/>
              <a:gd name="T53" fmla="*/ 238 h 246"/>
              <a:gd name="T54" fmla="*/ 186 w 224"/>
              <a:gd name="T55" fmla="*/ 232 h 246"/>
              <a:gd name="T56" fmla="*/ 156 w 224"/>
              <a:gd name="T57" fmla="*/ 218 h 246"/>
              <a:gd name="T58" fmla="*/ 134 w 224"/>
              <a:gd name="T59" fmla="*/ 202 h 246"/>
              <a:gd name="T60" fmla="*/ 108 w 224"/>
              <a:gd name="T61" fmla="*/ 188 h 246"/>
              <a:gd name="T62" fmla="*/ 82 w 224"/>
              <a:gd name="T63" fmla="*/ 184 h 246"/>
              <a:gd name="T64" fmla="*/ 72 w 224"/>
              <a:gd name="T65" fmla="*/ 192 h 246"/>
              <a:gd name="T66" fmla="*/ 60 w 224"/>
              <a:gd name="T67" fmla="*/ 184 h 246"/>
              <a:gd name="T68" fmla="*/ 44 w 224"/>
              <a:gd name="T69" fmla="*/ 180 h 246"/>
              <a:gd name="T70" fmla="*/ 34 w 224"/>
              <a:gd name="T71" fmla="*/ 162 h 246"/>
              <a:gd name="T72" fmla="*/ 18 w 224"/>
              <a:gd name="T73" fmla="*/ 158 h 246"/>
              <a:gd name="T74" fmla="*/ 12 w 224"/>
              <a:gd name="T75" fmla="*/ 154 h 246"/>
              <a:gd name="T76" fmla="*/ 8 w 224"/>
              <a:gd name="T77" fmla="*/ 138 h 246"/>
              <a:gd name="T78" fmla="*/ 12 w 224"/>
              <a:gd name="T79" fmla="*/ 120 h 246"/>
              <a:gd name="T80" fmla="*/ 8 w 224"/>
              <a:gd name="T81" fmla="*/ 108 h 246"/>
              <a:gd name="T82" fmla="*/ 8 w 224"/>
              <a:gd name="T83" fmla="*/ 94 h 246"/>
              <a:gd name="T84" fmla="*/ 8 w 224"/>
              <a:gd name="T85" fmla="*/ 78 h 246"/>
              <a:gd name="T86" fmla="*/ 8 w 224"/>
              <a:gd name="T87" fmla="*/ 64 h 246"/>
              <a:gd name="T88" fmla="*/ 4 w 224"/>
              <a:gd name="T89" fmla="*/ 56 h 246"/>
              <a:gd name="T90" fmla="*/ 16 w 224"/>
              <a:gd name="T91" fmla="*/ 46 h 246"/>
              <a:gd name="T92" fmla="*/ 12 w 224"/>
              <a:gd name="T93" fmla="*/ 34 h 246"/>
              <a:gd name="T94" fmla="*/ 22 w 224"/>
              <a:gd name="T95" fmla="*/ 22 h 246"/>
              <a:gd name="T96" fmla="*/ 34 w 224"/>
              <a:gd name="T97" fmla="*/ 16 h 246"/>
              <a:gd name="T98" fmla="*/ 34 w 224"/>
              <a:gd name="T99" fmla="*/ 0 h 246"/>
              <a:gd name="T100" fmla="*/ 42 w 224"/>
              <a:gd name="T101" fmla="*/ 8 h 246"/>
              <a:gd name="T102" fmla="*/ 56 w 224"/>
              <a:gd name="T103" fmla="*/ 8 h 246"/>
              <a:gd name="T104" fmla="*/ 64 w 224"/>
              <a:gd name="T105" fmla="*/ 8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24" h="246">
                <a:moveTo>
                  <a:pt x="68" y="8"/>
                </a:moveTo>
                <a:lnTo>
                  <a:pt x="72" y="8"/>
                </a:lnTo>
                <a:lnTo>
                  <a:pt x="72" y="12"/>
                </a:lnTo>
                <a:lnTo>
                  <a:pt x="74" y="12"/>
                </a:lnTo>
                <a:lnTo>
                  <a:pt x="78" y="16"/>
                </a:lnTo>
                <a:lnTo>
                  <a:pt x="82" y="16"/>
                </a:lnTo>
                <a:lnTo>
                  <a:pt x="86" y="16"/>
                </a:lnTo>
                <a:lnTo>
                  <a:pt x="86" y="20"/>
                </a:lnTo>
                <a:lnTo>
                  <a:pt x="86" y="22"/>
                </a:lnTo>
                <a:lnTo>
                  <a:pt x="86" y="26"/>
                </a:lnTo>
                <a:lnTo>
                  <a:pt x="90" y="30"/>
                </a:lnTo>
                <a:lnTo>
                  <a:pt x="90" y="34"/>
                </a:lnTo>
                <a:lnTo>
                  <a:pt x="94" y="34"/>
                </a:lnTo>
                <a:lnTo>
                  <a:pt x="98" y="34"/>
                </a:lnTo>
                <a:lnTo>
                  <a:pt x="98" y="38"/>
                </a:lnTo>
                <a:lnTo>
                  <a:pt x="100" y="38"/>
                </a:lnTo>
                <a:lnTo>
                  <a:pt x="104" y="38"/>
                </a:lnTo>
                <a:lnTo>
                  <a:pt x="108" y="38"/>
                </a:lnTo>
                <a:lnTo>
                  <a:pt x="112" y="38"/>
                </a:lnTo>
                <a:lnTo>
                  <a:pt x="116" y="38"/>
                </a:lnTo>
                <a:lnTo>
                  <a:pt x="116" y="42"/>
                </a:lnTo>
                <a:lnTo>
                  <a:pt x="120" y="42"/>
                </a:lnTo>
                <a:lnTo>
                  <a:pt x="124" y="42"/>
                </a:lnTo>
                <a:lnTo>
                  <a:pt x="124" y="46"/>
                </a:lnTo>
                <a:lnTo>
                  <a:pt x="128" y="46"/>
                </a:lnTo>
                <a:lnTo>
                  <a:pt x="128" y="50"/>
                </a:lnTo>
                <a:lnTo>
                  <a:pt x="130" y="50"/>
                </a:lnTo>
                <a:lnTo>
                  <a:pt x="134" y="52"/>
                </a:lnTo>
                <a:lnTo>
                  <a:pt x="138" y="52"/>
                </a:lnTo>
                <a:lnTo>
                  <a:pt x="138" y="56"/>
                </a:lnTo>
                <a:lnTo>
                  <a:pt x="142" y="56"/>
                </a:lnTo>
                <a:lnTo>
                  <a:pt x="142" y="52"/>
                </a:lnTo>
                <a:lnTo>
                  <a:pt x="146" y="52"/>
                </a:lnTo>
                <a:lnTo>
                  <a:pt x="150" y="50"/>
                </a:lnTo>
                <a:lnTo>
                  <a:pt x="154" y="46"/>
                </a:lnTo>
                <a:lnTo>
                  <a:pt x="154" y="42"/>
                </a:lnTo>
                <a:lnTo>
                  <a:pt x="154" y="38"/>
                </a:lnTo>
                <a:lnTo>
                  <a:pt x="154" y="34"/>
                </a:lnTo>
                <a:lnTo>
                  <a:pt x="154" y="30"/>
                </a:lnTo>
                <a:lnTo>
                  <a:pt x="154" y="26"/>
                </a:lnTo>
                <a:lnTo>
                  <a:pt x="154" y="22"/>
                </a:lnTo>
                <a:lnTo>
                  <a:pt x="154" y="20"/>
                </a:lnTo>
                <a:lnTo>
                  <a:pt x="156" y="16"/>
                </a:lnTo>
                <a:lnTo>
                  <a:pt x="160" y="12"/>
                </a:lnTo>
                <a:lnTo>
                  <a:pt x="164" y="12"/>
                </a:lnTo>
                <a:lnTo>
                  <a:pt x="164" y="8"/>
                </a:lnTo>
                <a:lnTo>
                  <a:pt x="168" y="8"/>
                </a:lnTo>
                <a:lnTo>
                  <a:pt x="172" y="8"/>
                </a:lnTo>
                <a:lnTo>
                  <a:pt x="176" y="8"/>
                </a:lnTo>
                <a:lnTo>
                  <a:pt x="176" y="4"/>
                </a:lnTo>
                <a:lnTo>
                  <a:pt x="180" y="4"/>
                </a:lnTo>
                <a:lnTo>
                  <a:pt x="182" y="4"/>
                </a:lnTo>
                <a:lnTo>
                  <a:pt x="182" y="8"/>
                </a:lnTo>
                <a:lnTo>
                  <a:pt x="186" y="8"/>
                </a:lnTo>
                <a:lnTo>
                  <a:pt x="190" y="8"/>
                </a:lnTo>
                <a:lnTo>
                  <a:pt x="194" y="8"/>
                </a:lnTo>
                <a:lnTo>
                  <a:pt x="194" y="12"/>
                </a:lnTo>
                <a:lnTo>
                  <a:pt x="198" y="12"/>
                </a:lnTo>
                <a:lnTo>
                  <a:pt x="198" y="16"/>
                </a:lnTo>
                <a:lnTo>
                  <a:pt x="198" y="20"/>
                </a:lnTo>
                <a:lnTo>
                  <a:pt x="202" y="20"/>
                </a:lnTo>
                <a:lnTo>
                  <a:pt x="206" y="20"/>
                </a:lnTo>
                <a:lnTo>
                  <a:pt x="210" y="20"/>
                </a:lnTo>
                <a:lnTo>
                  <a:pt x="210" y="22"/>
                </a:lnTo>
                <a:lnTo>
                  <a:pt x="212" y="22"/>
                </a:lnTo>
                <a:lnTo>
                  <a:pt x="216" y="22"/>
                </a:lnTo>
                <a:lnTo>
                  <a:pt x="220" y="22"/>
                </a:lnTo>
                <a:lnTo>
                  <a:pt x="224" y="22"/>
                </a:lnTo>
                <a:lnTo>
                  <a:pt x="224" y="26"/>
                </a:lnTo>
                <a:lnTo>
                  <a:pt x="224" y="30"/>
                </a:lnTo>
                <a:lnTo>
                  <a:pt x="224" y="34"/>
                </a:lnTo>
                <a:lnTo>
                  <a:pt x="220" y="34"/>
                </a:lnTo>
                <a:lnTo>
                  <a:pt x="220" y="38"/>
                </a:lnTo>
                <a:lnTo>
                  <a:pt x="224" y="42"/>
                </a:lnTo>
                <a:lnTo>
                  <a:pt x="224" y="46"/>
                </a:lnTo>
                <a:lnTo>
                  <a:pt x="224" y="50"/>
                </a:lnTo>
                <a:lnTo>
                  <a:pt x="220" y="52"/>
                </a:lnTo>
                <a:lnTo>
                  <a:pt x="220" y="56"/>
                </a:lnTo>
                <a:lnTo>
                  <a:pt x="220" y="60"/>
                </a:lnTo>
                <a:lnTo>
                  <a:pt x="220" y="64"/>
                </a:lnTo>
                <a:lnTo>
                  <a:pt x="220" y="68"/>
                </a:lnTo>
                <a:lnTo>
                  <a:pt x="224" y="72"/>
                </a:lnTo>
                <a:lnTo>
                  <a:pt x="224" y="76"/>
                </a:lnTo>
                <a:lnTo>
                  <a:pt x="224" y="78"/>
                </a:lnTo>
                <a:lnTo>
                  <a:pt x="224" y="90"/>
                </a:lnTo>
                <a:lnTo>
                  <a:pt x="224" y="94"/>
                </a:lnTo>
                <a:lnTo>
                  <a:pt x="224" y="98"/>
                </a:lnTo>
                <a:lnTo>
                  <a:pt x="224" y="102"/>
                </a:lnTo>
                <a:lnTo>
                  <a:pt x="224" y="106"/>
                </a:lnTo>
                <a:lnTo>
                  <a:pt x="224" y="112"/>
                </a:lnTo>
                <a:lnTo>
                  <a:pt x="224" y="116"/>
                </a:lnTo>
                <a:lnTo>
                  <a:pt x="224" y="120"/>
                </a:lnTo>
                <a:lnTo>
                  <a:pt x="224" y="124"/>
                </a:lnTo>
                <a:lnTo>
                  <a:pt x="224" y="132"/>
                </a:lnTo>
                <a:lnTo>
                  <a:pt x="224" y="142"/>
                </a:lnTo>
                <a:lnTo>
                  <a:pt x="224" y="150"/>
                </a:lnTo>
                <a:lnTo>
                  <a:pt x="224" y="154"/>
                </a:lnTo>
                <a:lnTo>
                  <a:pt x="224" y="162"/>
                </a:lnTo>
                <a:lnTo>
                  <a:pt x="224" y="168"/>
                </a:lnTo>
                <a:lnTo>
                  <a:pt x="224" y="176"/>
                </a:lnTo>
                <a:lnTo>
                  <a:pt x="224" y="198"/>
                </a:lnTo>
                <a:lnTo>
                  <a:pt x="224" y="202"/>
                </a:lnTo>
                <a:lnTo>
                  <a:pt x="224" y="222"/>
                </a:lnTo>
                <a:lnTo>
                  <a:pt x="224" y="238"/>
                </a:lnTo>
                <a:lnTo>
                  <a:pt x="220" y="238"/>
                </a:lnTo>
                <a:lnTo>
                  <a:pt x="216" y="238"/>
                </a:lnTo>
                <a:lnTo>
                  <a:pt x="212" y="238"/>
                </a:lnTo>
                <a:lnTo>
                  <a:pt x="210" y="238"/>
                </a:lnTo>
                <a:lnTo>
                  <a:pt x="210" y="246"/>
                </a:lnTo>
                <a:lnTo>
                  <a:pt x="202" y="242"/>
                </a:lnTo>
                <a:lnTo>
                  <a:pt x="194" y="238"/>
                </a:lnTo>
                <a:lnTo>
                  <a:pt x="186" y="232"/>
                </a:lnTo>
                <a:lnTo>
                  <a:pt x="180" y="228"/>
                </a:lnTo>
                <a:lnTo>
                  <a:pt x="172" y="224"/>
                </a:lnTo>
                <a:lnTo>
                  <a:pt x="168" y="222"/>
                </a:lnTo>
                <a:lnTo>
                  <a:pt x="156" y="218"/>
                </a:lnTo>
                <a:lnTo>
                  <a:pt x="150" y="210"/>
                </a:lnTo>
                <a:lnTo>
                  <a:pt x="142" y="206"/>
                </a:lnTo>
                <a:lnTo>
                  <a:pt x="138" y="202"/>
                </a:lnTo>
                <a:lnTo>
                  <a:pt x="134" y="202"/>
                </a:lnTo>
                <a:lnTo>
                  <a:pt x="130" y="198"/>
                </a:lnTo>
                <a:lnTo>
                  <a:pt x="124" y="194"/>
                </a:lnTo>
                <a:lnTo>
                  <a:pt x="120" y="192"/>
                </a:lnTo>
                <a:lnTo>
                  <a:pt x="108" y="188"/>
                </a:lnTo>
                <a:lnTo>
                  <a:pt x="100" y="180"/>
                </a:lnTo>
                <a:lnTo>
                  <a:pt x="98" y="180"/>
                </a:lnTo>
                <a:lnTo>
                  <a:pt x="86" y="184"/>
                </a:lnTo>
                <a:lnTo>
                  <a:pt x="82" y="184"/>
                </a:lnTo>
                <a:lnTo>
                  <a:pt x="82" y="188"/>
                </a:lnTo>
                <a:lnTo>
                  <a:pt x="78" y="188"/>
                </a:lnTo>
                <a:lnTo>
                  <a:pt x="74" y="192"/>
                </a:lnTo>
                <a:lnTo>
                  <a:pt x="72" y="192"/>
                </a:lnTo>
                <a:lnTo>
                  <a:pt x="72" y="194"/>
                </a:lnTo>
                <a:lnTo>
                  <a:pt x="68" y="188"/>
                </a:lnTo>
                <a:lnTo>
                  <a:pt x="64" y="184"/>
                </a:lnTo>
                <a:lnTo>
                  <a:pt x="60" y="184"/>
                </a:lnTo>
                <a:lnTo>
                  <a:pt x="56" y="180"/>
                </a:lnTo>
                <a:lnTo>
                  <a:pt x="52" y="180"/>
                </a:lnTo>
                <a:lnTo>
                  <a:pt x="48" y="180"/>
                </a:lnTo>
                <a:lnTo>
                  <a:pt x="44" y="180"/>
                </a:lnTo>
                <a:lnTo>
                  <a:pt x="42" y="176"/>
                </a:lnTo>
                <a:lnTo>
                  <a:pt x="38" y="176"/>
                </a:lnTo>
                <a:lnTo>
                  <a:pt x="38" y="168"/>
                </a:lnTo>
                <a:lnTo>
                  <a:pt x="34" y="162"/>
                </a:lnTo>
                <a:lnTo>
                  <a:pt x="30" y="162"/>
                </a:lnTo>
                <a:lnTo>
                  <a:pt x="26" y="162"/>
                </a:lnTo>
                <a:lnTo>
                  <a:pt x="22" y="158"/>
                </a:lnTo>
                <a:lnTo>
                  <a:pt x="18" y="158"/>
                </a:lnTo>
                <a:lnTo>
                  <a:pt x="18" y="162"/>
                </a:lnTo>
                <a:lnTo>
                  <a:pt x="16" y="158"/>
                </a:lnTo>
                <a:lnTo>
                  <a:pt x="16" y="154"/>
                </a:lnTo>
                <a:lnTo>
                  <a:pt x="12" y="154"/>
                </a:lnTo>
                <a:lnTo>
                  <a:pt x="12" y="150"/>
                </a:lnTo>
                <a:lnTo>
                  <a:pt x="12" y="146"/>
                </a:lnTo>
                <a:lnTo>
                  <a:pt x="12" y="142"/>
                </a:lnTo>
                <a:lnTo>
                  <a:pt x="8" y="138"/>
                </a:lnTo>
                <a:lnTo>
                  <a:pt x="4" y="132"/>
                </a:lnTo>
                <a:lnTo>
                  <a:pt x="4" y="128"/>
                </a:lnTo>
                <a:lnTo>
                  <a:pt x="8" y="124"/>
                </a:lnTo>
                <a:lnTo>
                  <a:pt x="12" y="120"/>
                </a:lnTo>
                <a:lnTo>
                  <a:pt x="12" y="116"/>
                </a:lnTo>
                <a:lnTo>
                  <a:pt x="8" y="116"/>
                </a:lnTo>
                <a:lnTo>
                  <a:pt x="8" y="112"/>
                </a:lnTo>
                <a:lnTo>
                  <a:pt x="8" y="108"/>
                </a:lnTo>
                <a:lnTo>
                  <a:pt x="8" y="106"/>
                </a:lnTo>
                <a:lnTo>
                  <a:pt x="12" y="102"/>
                </a:lnTo>
                <a:lnTo>
                  <a:pt x="12" y="98"/>
                </a:lnTo>
                <a:lnTo>
                  <a:pt x="8" y="94"/>
                </a:lnTo>
                <a:lnTo>
                  <a:pt x="8" y="90"/>
                </a:lnTo>
                <a:lnTo>
                  <a:pt x="8" y="86"/>
                </a:lnTo>
                <a:lnTo>
                  <a:pt x="8" y="82"/>
                </a:lnTo>
                <a:lnTo>
                  <a:pt x="8" y="78"/>
                </a:lnTo>
                <a:lnTo>
                  <a:pt x="8" y="76"/>
                </a:lnTo>
                <a:lnTo>
                  <a:pt x="8" y="72"/>
                </a:lnTo>
                <a:lnTo>
                  <a:pt x="8" y="68"/>
                </a:lnTo>
                <a:lnTo>
                  <a:pt x="8" y="64"/>
                </a:lnTo>
                <a:lnTo>
                  <a:pt x="4" y="64"/>
                </a:lnTo>
                <a:lnTo>
                  <a:pt x="4" y="60"/>
                </a:lnTo>
                <a:lnTo>
                  <a:pt x="0" y="56"/>
                </a:lnTo>
                <a:lnTo>
                  <a:pt x="4" y="56"/>
                </a:lnTo>
                <a:lnTo>
                  <a:pt x="8" y="52"/>
                </a:lnTo>
                <a:lnTo>
                  <a:pt x="12" y="52"/>
                </a:lnTo>
                <a:lnTo>
                  <a:pt x="12" y="50"/>
                </a:lnTo>
                <a:lnTo>
                  <a:pt x="16" y="46"/>
                </a:lnTo>
                <a:lnTo>
                  <a:pt x="16" y="42"/>
                </a:lnTo>
                <a:lnTo>
                  <a:pt x="16" y="38"/>
                </a:lnTo>
                <a:lnTo>
                  <a:pt x="16" y="34"/>
                </a:lnTo>
                <a:lnTo>
                  <a:pt x="12" y="34"/>
                </a:lnTo>
                <a:lnTo>
                  <a:pt x="12" y="30"/>
                </a:lnTo>
                <a:lnTo>
                  <a:pt x="16" y="26"/>
                </a:lnTo>
                <a:lnTo>
                  <a:pt x="18" y="26"/>
                </a:lnTo>
                <a:lnTo>
                  <a:pt x="22" y="22"/>
                </a:lnTo>
                <a:lnTo>
                  <a:pt x="22" y="20"/>
                </a:lnTo>
                <a:lnTo>
                  <a:pt x="26" y="20"/>
                </a:lnTo>
                <a:lnTo>
                  <a:pt x="30" y="16"/>
                </a:lnTo>
                <a:lnTo>
                  <a:pt x="34" y="16"/>
                </a:lnTo>
                <a:lnTo>
                  <a:pt x="34" y="12"/>
                </a:lnTo>
                <a:lnTo>
                  <a:pt x="34" y="8"/>
                </a:lnTo>
                <a:lnTo>
                  <a:pt x="34" y="4"/>
                </a:lnTo>
                <a:lnTo>
                  <a:pt x="34" y="0"/>
                </a:lnTo>
                <a:lnTo>
                  <a:pt x="34" y="4"/>
                </a:lnTo>
                <a:lnTo>
                  <a:pt x="38" y="4"/>
                </a:lnTo>
                <a:lnTo>
                  <a:pt x="42" y="4"/>
                </a:lnTo>
                <a:lnTo>
                  <a:pt x="42" y="8"/>
                </a:lnTo>
                <a:lnTo>
                  <a:pt x="44" y="8"/>
                </a:lnTo>
                <a:lnTo>
                  <a:pt x="48" y="8"/>
                </a:lnTo>
                <a:lnTo>
                  <a:pt x="52" y="8"/>
                </a:lnTo>
                <a:lnTo>
                  <a:pt x="56" y="8"/>
                </a:lnTo>
                <a:lnTo>
                  <a:pt x="56" y="4"/>
                </a:lnTo>
                <a:lnTo>
                  <a:pt x="60" y="4"/>
                </a:lnTo>
                <a:lnTo>
                  <a:pt x="60" y="8"/>
                </a:lnTo>
                <a:lnTo>
                  <a:pt x="64" y="8"/>
                </a:lnTo>
                <a:lnTo>
                  <a:pt x="68" y="8"/>
                </a:lnTo>
                <a:lnTo>
                  <a:pt x="68" y="8"/>
                </a:lnTo>
                <a:lnTo>
                  <a:pt x="68" y="8"/>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47" name="Freeform 154"/>
          <p:cNvSpPr>
            <a:spLocks noEditPoints="1"/>
          </p:cNvSpPr>
          <p:nvPr/>
        </p:nvSpPr>
        <p:spPr bwMode="auto">
          <a:xfrm>
            <a:off x="4986337" y="3940969"/>
            <a:ext cx="123825" cy="288131"/>
          </a:xfrm>
          <a:custGeom>
            <a:avLst/>
            <a:gdLst>
              <a:gd name="T0" fmla="*/ 70 w 104"/>
              <a:gd name="T1" fmla="*/ 26 h 242"/>
              <a:gd name="T2" fmla="*/ 74 w 104"/>
              <a:gd name="T3" fmla="*/ 152 h 242"/>
              <a:gd name="T4" fmla="*/ 70 w 104"/>
              <a:gd name="T5" fmla="*/ 168 h 242"/>
              <a:gd name="T6" fmla="*/ 66 w 104"/>
              <a:gd name="T7" fmla="*/ 182 h 242"/>
              <a:gd name="T8" fmla="*/ 62 w 104"/>
              <a:gd name="T9" fmla="*/ 194 h 242"/>
              <a:gd name="T10" fmla="*/ 62 w 104"/>
              <a:gd name="T11" fmla="*/ 208 h 242"/>
              <a:gd name="T12" fmla="*/ 60 w 104"/>
              <a:gd name="T13" fmla="*/ 220 h 242"/>
              <a:gd name="T14" fmla="*/ 52 w 104"/>
              <a:gd name="T15" fmla="*/ 232 h 242"/>
              <a:gd name="T16" fmla="*/ 36 w 104"/>
              <a:gd name="T17" fmla="*/ 236 h 242"/>
              <a:gd name="T18" fmla="*/ 30 w 104"/>
              <a:gd name="T19" fmla="*/ 242 h 242"/>
              <a:gd name="T20" fmla="*/ 22 w 104"/>
              <a:gd name="T21" fmla="*/ 236 h 242"/>
              <a:gd name="T22" fmla="*/ 14 w 104"/>
              <a:gd name="T23" fmla="*/ 236 h 242"/>
              <a:gd name="T24" fmla="*/ 10 w 104"/>
              <a:gd name="T25" fmla="*/ 224 h 242"/>
              <a:gd name="T26" fmla="*/ 6 w 104"/>
              <a:gd name="T27" fmla="*/ 208 h 242"/>
              <a:gd name="T28" fmla="*/ 2 w 104"/>
              <a:gd name="T29" fmla="*/ 198 h 242"/>
              <a:gd name="T30" fmla="*/ 0 w 104"/>
              <a:gd name="T31" fmla="*/ 186 h 242"/>
              <a:gd name="T32" fmla="*/ 0 w 104"/>
              <a:gd name="T33" fmla="*/ 172 h 242"/>
              <a:gd name="T34" fmla="*/ 6 w 104"/>
              <a:gd name="T35" fmla="*/ 164 h 242"/>
              <a:gd name="T36" fmla="*/ 10 w 104"/>
              <a:gd name="T37" fmla="*/ 152 h 242"/>
              <a:gd name="T38" fmla="*/ 18 w 104"/>
              <a:gd name="T39" fmla="*/ 138 h 242"/>
              <a:gd name="T40" fmla="*/ 14 w 104"/>
              <a:gd name="T41" fmla="*/ 130 h 242"/>
              <a:gd name="T42" fmla="*/ 14 w 104"/>
              <a:gd name="T43" fmla="*/ 116 h 242"/>
              <a:gd name="T44" fmla="*/ 10 w 104"/>
              <a:gd name="T45" fmla="*/ 104 h 242"/>
              <a:gd name="T46" fmla="*/ 14 w 104"/>
              <a:gd name="T47" fmla="*/ 94 h 242"/>
              <a:gd name="T48" fmla="*/ 18 w 104"/>
              <a:gd name="T49" fmla="*/ 82 h 242"/>
              <a:gd name="T50" fmla="*/ 22 w 104"/>
              <a:gd name="T51" fmla="*/ 74 h 242"/>
              <a:gd name="T52" fmla="*/ 30 w 104"/>
              <a:gd name="T53" fmla="*/ 74 h 242"/>
              <a:gd name="T54" fmla="*/ 32 w 104"/>
              <a:gd name="T55" fmla="*/ 70 h 242"/>
              <a:gd name="T56" fmla="*/ 40 w 104"/>
              <a:gd name="T57" fmla="*/ 70 h 242"/>
              <a:gd name="T58" fmla="*/ 44 w 104"/>
              <a:gd name="T59" fmla="*/ 70 h 242"/>
              <a:gd name="T60" fmla="*/ 48 w 104"/>
              <a:gd name="T61" fmla="*/ 60 h 242"/>
              <a:gd name="T62" fmla="*/ 52 w 104"/>
              <a:gd name="T63" fmla="*/ 64 h 242"/>
              <a:gd name="T64" fmla="*/ 60 w 104"/>
              <a:gd name="T65" fmla="*/ 52 h 242"/>
              <a:gd name="T66" fmla="*/ 60 w 104"/>
              <a:gd name="T67" fmla="*/ 52 h 242"/>
              <a:gd name="T68" fmla="*/ 66 w 104"/>
              <a:gd name="T69" fmla="*/ 48 h 242"/>
              <a:gd name="T70" fmla="*/ 62 w 104"/>
              <a:gd name="T71" fmla="*/ 44 h 242"/>
              <a:gd name="T72" fmla="*/ 66 w 104"/>
              <a:gd name="T73" fmla="*/ 40 h 242"/>
              <a:gd name="T74" fmla="*/ 70 w 104"/>
              <a:gd name="T75" fmla="*/ 30 h 242"/>
              <a:gd name="T76" fmla="*/ 74 w 104"/>
              <a:gd name="T77" fmla="*/ 30 h 242"/>
              <a:gd name="T78" fmla="*/ 78 w 104"/>
              <a:gd name="T79" fmla="*/ 18 h 242"/>
              <a:gd name="T80" fmla="*/ 82 w 104"/>
              <a:gd name="T81" fmla="*/ 10 h 242"/>
              <a:gd name="T82" fmla="*/ 82 w 104"/>
              <a:gd name="T83" fmla="*/ 4 h 242"/>
              <a:gd name="T84" fmla="*/ 86 w 104"/>
              <a:gd name="T85" fmla="*/ 8 h 242"/>
              <a:gd name="T86" fmla="*/ 88 w 104"/>
              <a:gd name="T87" fmla="*/ 10 h 242"/>
              <a:gd name="T88" fmla="*/ 96 w 104"/>
              <a:gd name="T89" fmla="*/ 18 h 242"/>
              <a:gd name="T90" fmla="*/ 96 w 104"/>
              <a:gd name="T91" fmla="*/ 26 h 242"/>
              <a:gd name="T92" fmla="*/ 96 w 104"/>
              <a:gd name="T93" fmla="*/ 40 h 242"/>
              <a:gd name="T94" fmla="*/ 100 w 104"/>
              <a:gd name="T95" fmla="*/ 48 h 242"/>
              <a:gd name="T96" fmla="*/ 100 w 104"/>
              <a:gd name="T97" fmla="*/ 64 h 242"/>
              <a:gd name="T98" fmla="*/ 96 w 104"/>
              <a:gd name="T99" fmla="*/ 66 h 242"/>
              <a:gd name="T100" fmla="*/ 92 w 104"/>
              <a:gd name="T101" fmla="*/ 66 h 242"/>
              <a:gd name="T102" fmla="*/ 92 w 104"/>
              <a:gd name="T103" fmla="*/ 82 h 242"/>
              <a:gd name="T104" fmla="*/ 88 w 104"/>
              <a:gd name="T105" fmla="*/ 94 h 242"/>
              <a:gd name="T106" fmla="*/ 88 w 104"/>
              <a:gd name="T107" fmla="*/ 108 h 242"/>
              <a:gd name="T108" fmla="*/ 86 w 104"/>
              <a:gd name="T109" fmla="*/ 122 h 242"/>
              <a:gd name="T110" fmla="*/ 82 w 104"/>
              <a:gd name="T111" fmla="*/ 134 h 242"/>
              <a:gd name="T112" fmla="*/ 78 w 104"/>
              <a:gd name="T113" fmla="*/ 146 h 242"/>
              <a:gd name="T114" fmla="*/ 74 w 104"/>
              <a:gd name="T115" fmla="*/ 150 h 242"/>
              <a:gd name="T116" fmla="*/ 96 w 104"/>
              <a:gd name="T117" fmla="*/ 9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4" h="242">
                <a:moveTo>
                  <a:pt x="70" y="26"/>
                </a:moveTo>
                <a:lnTo>
                  <a:pt x="70" y="22"/>
                </a:lnTo>
                <a:lnTo>
                  <a:pt x="74" y="26"/>
                </a:lnTo>
                <a:lnTo>
                  <a:pt x="70" y="26"/>
                </a:lnTo>
                <a:lnTo>
                  <a:pt x="70" y="26"/>
                </a:lnTo>
                <a:lnTo>
                  <a:pt x="70" y="26"/>
                </a:lnTo>
                <a:close/>
                <a:moveTo>
                  <a:pt x="74" y="150"/>
                </a:moveTo>
                <a:lnTo>
                  <a:pt x="74" y="152"/>
                </a:lnTo>
                <a:lnTo>
                  <a:pt x="74" y="156"/>
                </a:lnTo>
                <a:lnTo>
                  <a:pt x="74" y="160"/>
                </a:lnTo>
                <a:lnTo>
                  <a:pt x="74" y="164"/>
                </a:lnTo>
                <a:lnTo>
                  <a:pt x="70" y="168"/>
                </a:lnTo>
                <a:lnTo>
                  <a:pt x="70" y="172"/>
                </a:lnTo>
                <a:lnTo>
                  <a:pt x="70" y="176"/>
                </a:lnTo>
                <a:lnTo>
                  <a:pt x="66" y="180"/>
                </a:lnTo>
                <a:lnTo>
                  <a:pt x="66" y="182"/>
                </a:lnTo>
                <a:lnTo>
                  <a:pt x="66" y="186"/>
                </a:lnTo>
                <a:lnTo>
                  <a:pt x="66" y="190"/>
                </a:lnTo>
                <a:lnTo>
                  <a:pt x="66" y="194"/>
                </a:lnTo>
                <a:lnTo>
                  <a:pt x="62" y="194"/>
                </a:lnTo>
                <a:lnTo>
                  <a:pt x="62" y="198"/>
                </a:lnTo>
                <a:lnTo>
                  <a:pt x="62" y="202"/>
                </a:lnTo>
                <a:lnTo>
                  <a:pt x="62" y="206"/>
                </a:lnTo>
                <a:lnTo>
                  <a:pt x="62" y="208"/>
                </a:lnTo>
                <a:lnTo>
                  <a:pt x="60" y="208"/>
                </a:lnTo>
                <a:lnTo>
                  <a:pt x="60" y="212"/>
                </a:lnTo>
                <a:lnTo>
                  <a:pt x="60" y="216"/>
                </a:lnTo>
                <a:lnTo>
                  <a:pt x="60" y="220"/>
                </a:lnTo>
                <a:lnTo>
                  <a:pt x="56" y="224"/>
                </a:lnTo>
                <a:lnTo>
                  <a:pt x="56" y="228"/>
                </a:lnTo>
                <a:lnTo>
                  <a:pt x="56" y="232"/>
                </a:lnTo>
                <a:lnTo>
                  <a:pt x="52" y="232"/>
                </a:lnTo>
                <a:lnTo>
                  <a:pt x="48" y="236"/>
                </a:lnTo>
                <a:lnTo>
                  <a:pt x="44" y="236"/>
                </a:lnTo>
                <a:lnTo>
                  <a:pt x="40" y="236"/>
                </a:lnTo>
                <a:lnTo>
                  <a:pt x="36" y="236"/>
                </a:lnTo>
                <a:lnTo>
                  <a:pt x="36" y="238"/>
                </a:lnTo>
                <a:lnTo>
                  <a:pt x="32" y="238"/>
                </a:lnTo>
                <a:lnTo>
                  <a:pt x="32" y="242"/>
                </a:lnTo>
                <a:lnTo>
                  <a:pt x="30" y="242"/>
                </a:lnTo>
                <a:lnTo>
                  <a:pt x="26" y="242"/>
                </a:lnTo>
                <a:lnTo>
                  <a:pt x="26" y="238"/>
                </a:lnTo>
                <a:lnTo>
                  <a:pt x="22" y="238"/>
                </a:lnTo>
                <a:lnTo>
                  <a:pt x="22" y="236"/>
                </a:lnTo>
                <a:lnTo>
                  <a:pt x="18" y="236"/>
                </a:lnTo>
                <a:lnTo>
                  <a:pt x="14" y="236"/>
                </a:lnTo>
                <a:lnTo>
                  <a:pt x="18" y="236"/>
                </a:lnTo>
                <a:lnTo>
                  <a:pt x="14" y="236"/>
                </a:lnTo>
                <a:lnTo>
                  <a:pt x="14" y="232"/>
                </a:lnTo>
                <a:lnTo>
                  <a:pt x="10" y="232"/>
                </a:lnTo>
                <a:lnTo>
                  <a:pt x="10" y="228"/>
                </a:lnTo>
                <a:lnTo>
                  <a:pt x="10" y="224"/>
                </a:lnTo>
                <a:lnTo>
                  <a:pt x="6" y="220"/>
                </a:lnTo>
                <a:lnTo>
                  <a:pt x="6" y="216"/>
                </a:lnTo>
                <a:lnTo>
                  <a:pt x="6" y="212"/>
                </a:lnTo>
                <a:lnTo>
                  <a:pt x="6" y="208"/>
                </a:lnTo>
                <a:lnTo>
                  <a:pt x="6" y="206"/>
                </a:lnTo>
                <a:lnTo>
                  <a:pt x="6" y="202"/>
                </a:lnTo>
                <a:lnTo>
                  <a:pt x="2" y="202"/>
                </a:lnTo>
                <a:lnTo>
                  <a:pt x="2" y="198"/>
                </a:lnTo>
                <a:lnTo>
                  <a:pt x="2" y="194"/>
                </a:lnTo>
                <a:lnTo>
                  <a:pt x="2" y="190"/>
                </a:lnTo>
                <a:lnTo>
                  <a:pt x="0" y="190"/>
                </a:lnTo>
                <a:lnTo>
                  <a:pt x="0" y="186"/>
                </a:lnTo>
                <a:lnTo>
                  <a:pt x="0" y="182"/>
                </a:lnTo>
                <a:lnTo>
                  <a:pt x="0" y="180"/>
                </a:lnTo>
                <a:lnTo>
                  <a:pt x="0" y="176"/>
                </a:lnTo>
                <a:lnTo>
                  <a:pt x="0" y="172"/>
                </a:lnTo>
                <a:lnTo>
                  <a:pt x="2" y="172"/>
                </a:lnTo>
                <a:lnTo>
                  <a:pt x="2" y="168"/>
                </a:lnTo>
                <a:lnTo>
                  <a:pt x="2" y="164"/>
                </a:lnTo>
                <a:lnTo>
                  <a:pt x="6" y="164"/>
                </a:lnTo>
                <a:lnTo>
                  <a:pt x="6" y="160"/>
                </a:lnTo>
                <a:lnTo>
                  <a:pt x="10" y="160"/>
                </a:lnTo>
                <a:lnTo>
                  <a:pt x="10" y="156"/>
                </a:lnTo>
                <a:lnTo>
                  <a:pt x="10" y="152"/>
                </a:lnTo>
                <a:lnTo>
                  <a:pt x="14" y="150"/>
                </a:lnTo>
                <a:lnTo>
                  <a:pt x="14" y="146"/>
                </a:lnTo>
                <a:lnTo>
                  <a:pt x="18" y="142"/>
                </a:lnTo>
                <a:lnTo>
                  <a:pt x="18" y="138"/>
                </a:lnTo>
                <a:lnTo>
                  <a:pt x="14" y="138"/>
                </a:lnTo>
                <a:lnTo>
                  <a:pt x="18" y="134"/>
                </a:lnTo>
                <a:lnTo>
                  <a:pt x="18" y="130"/>
                </a:lnTo>
                <a:lnTo>
                  <a:pt x="14" y="130"/>
                </a:lnTo>
                <a:lnTo>
                  <a:pt x="14" y="126"/>
                </a:lnTo>
                <a:lnTo>
                  <a:pt x="14" y="122"/>
                </a:lnTo>
                <a:lnTo>
                  <a:pt x="14" y="120"/>
                </a:lnTo>
                <a:lnTo>
                  <a:pt x="14" y="116"/>
                </a:lnTo>
                <a:lnTo>
                  <a:pt x="10" y="116"/>
                </a:lnTo>
                <a:lnTo>
                  <a:pt x="10" y="112"/>
                </a:lnTo>
                <a:lnTo>
                  <a:pt x="10" y="108"/>
                </a:lnTo>
                <a:lnTo>
                  <a:pt x="10" y="104"/>
                </a:lnTo>
                <a:lnTo>
                  <a:pt x="10" y="100"/>
                </a:lnTo>
                <a:lnTo>
                  <a:pt x="10" y="96"/>
                </a:lnTo>
                <a:lnTo>
                  <a:pt x="10" y="94"/>
                </a:lnTo>
                <a:lnTo>
                  <a:pt x="14" y="94"/>
                </a:lnTo>
                <a:lnTo>
                  <a:pt x="14" y="90"/>
                </a:lnTo>
                <a:lnTo>
                  <a:pt x="14" y="86"/>
                </a:lnTo>
                <a:lnTo>
                  <a:pt x="18" y="86"/>
                </a:lnTo>
                <a:lnTo>
                  <a:pt x="18" y="82"/>
                </a:lnTo>
                <a:lnTo>
                  <a:pt x="18" y="78"/>
                </a:lnTo>
                <a:lnTo>
                  <a:pt x="14" y="78"/>
                </a:lnTo>
                <a:lnTo>
                  <a:pt x="18" y="74"/>
                </a:lnTo>
                <a:lnTo>
                  <a:pt x="22" y="74"/>
                </a:lnTo>
                <a:lnTo>
                  <a:pt x="26" y="74"/>
                </a:lnTo>
                <a:lnTo>
                  <a:pt x="26" y="70"/>
                </a:lnTo>
                <a:lnTo>
                  <a:pt x="30" y="70"/>
                </a:lnTo>
                <a:lnTo>
                  <a:pt x="30" y="74"/>
                </a:lnTo>
                <a:lnTo>
                  <a:pt x="30" y="70"/>
                </a:lnTo>
                <a:lnTo>
                  <a:pt x="32" y="70"/>
                </a:lnTo>
                <a:lnTo>
                  <a:pt x="32" y="74"/>
                </a:lnTo>
                <a:lnTo>
                  <a:pt x="32" y="70"/>
                </a:lnTo>
                <a:lnTo>
                  <a:pt x="32" y="66"/>
                </a:lnTo>
                <a:lnTo>
                  <a:pt x="36" y="66"/>
                </a:lnTo>
                <a:lnTo>
                  <a:pt x="36" y="70"/>
                </a:lnTo>
                <a:lnTo>
                  <a:pt x="40" y="70"/>
                </a:lnTo>
                <a:lnTo>
                  <a:pt x="40" y="66"/>
                </a:lnTo>
                <a:lnTo>
                  <a:pt x="44" y="66"/>
                </a:lnTo>
                <a:lnTo>
                  <a:pt x="40" y="66"/>
                </a:lnTo>
                <a:lnTo>
                  <a:pt x="44" y="70"/>
                </a:lnTo>
                <a:lnTo>
                  <a:pt x="44" y="66"/>
                </a:lnTo>
                <a:lnTo>
                  <a:pt x="44" y="64"/>
                </a:lnTo>
                <a:lnTo>
                  <a:pt x="48" y="64"/>
                </a:lnTo>
                <a:lnTo>
                  <a:pt x="48" y="60"/>
                </a:lnTo>
                <a:lnTo>
                  <a:pt x="52" y="60"/>
                </a:lnTo>
                <a:lnTo>
                  <a:pt x="56" y="60"/>
                </a:lnTo>
                <a:lnTo>
                  <a:pt x="52" y="60"/>
                </a:lnTo>
                <a:lnTo>
                  <a:pt x="52" y="64"/>
                </a:lnTo>
                <a:lnTo>
                  <a:pt x="56" y="64"/>
                </a:lnTo>
                <a:lnTo>
                  <a:pt x="56" y="60"/>
                </a:lnTo>
                <a:lnTo>
                  <a:pt x="56" y="56"/>
                </a:lnTo>
                <a:lnTo>
                  <a:pt x="60" y="52"/>
                </a:lnTo>
                <a:lnTo>
                  <a:pt x="56" y="52"/>
                </a:lnTo>
                <a:lnTo>
                  <a:pt x="60" y="52"/>
                </a:lnTo>
                <a:lnTo>
                  <a:pt x="60" y="48"/>
                </a:lnTo>
                <a:lnTo>
                  <a:pt x="60" y="52"/>
                </a:lnTo>
                <a:lnTo>
                  <a:pt x="60" y="56"/>
                </a:lnTo>
                <a:lnTo>
                  <a:pt x="62" y="52"/>
                </a:lnTo>
                <a:lnTo>
                  <a:pt x="62" y="48"/>
                </a:lnTo>
                <a:lnTo>
                  <a:pt x="66" y="48"/>
                </a:lnTo>
                <a:lnTo>
                  <a:pt x="66" y="52"/>
                </a:lnTo>
                <a:lnTo>
                  <a:pt x="66" y="48"/>
                </a:lnTo>
                <a:lnTo>
                  <a:pt x="62" y="48"/>
                </a:lnTo>
                <a:lnTo>
                  <a:pt x="62" y="44"/>
                </a:lnTo>
                <a:lnTo>
                  <a:pt x="62" y="40"/>
                </a:lnTo>
                <a:lnTo>
                  <a:pt x="66" y="40"/>
                </a:lnTo>
                <a:lnTo>
                  <a:pt x="66" y="38"/>
                </a:lnTo>
                <a:lnTo>
                  <a:pt x="66" y="40"/>
                </a:lnTo>
                <a:lnTo>
                  <a:pt x="66" y="38"/>
                </a:lnTo>
                <a:lnTo>
                  <a:pt x="66" y="34"/>
                </a:lnTo>
                <a:lnTo>
                  <a:pt x="66" y="30"/>
                </a:lnTo>
                <a:lnTo>
                  <a:pt x="70" y="30"/>
                </a:lnTo>
                <a:lnTo>
                  <a:pt x="70" y="34"/>
                </a:lnTo>
                <a:lnTo>
                  <a:pt x="74" y="30"/>
                </a:lnTo>
                <a:lnTo>
                  <a:pt x="70" y="30"/>
                </a:lnTo>
                <a:lnTo>
                  <a:pt x="74" y="30"/>
                </a:lnTo>
                <a:lnTo>
                  <a:pt x="74" y="26"/>
                </a:lnTo>
                <a:lnTo>
                  <a:pt x="78" y="26"/>
                </a:lnTo>
                <a:lnTo>
                  <a:pt x="78" y="22"/>
                </a:lnTo>
                <a:lnTo>
                  <a:pt x="78" y="18"/>
                </a:lnTo>
                <a:lnTo>
                  <a:pt x="82" y="18"/>
                </a:lnTo>
                <a:lnTo>
                  <a:pt x="82" y="14"/>
                </a:lnTo>
                <a:lnTo>
                  <a:pt x="78" y="10"/>
                </a:lnTo>
                <a:lnTo>
                  <a:pt x="82" y="10"/>
                </a:lnTo>
                <a:lnTo>
                  <a:pt x="82" y="8"/>
                </a:lnTo>
                <a:lnTo>
                  <a:pt x="86" y="8"/>
                </a:lnTo>
                <a:lnTo>
                  <a:pt x="86" y="4"/>
                </a:lnTo>
                <a:lnTo>
                  <a:pt x="82" y="4"/>
                </a:lnTo>
                <a:lnTo>
                  <a:pt x="86" y="4"/>
                </a:lnTo>
                <a:lnTo>
                  <a:pt x="86" y="0"/>
                </a:lnTo>
                <a:lnTo>
                  <a:pt x="86" y="4"/>
                </a:lnTo>
                <a:lnTo>
                  <a:pt x="86" y="8"/>
                </a:lnTo>
                <a:lnTo>
                  <a:pt x="86" y="4"/>
                </a:lnTo>
                <a:lnTo>
                  <a:pt x="86" y="8"/>
                </a:lnTo>
                <a:lnTo>
                  <a:pt x="88" y="8"/>
                </a:lnTo>
                <a:lnTo>
                  <a:pt x="88" y="10"/>
                </a:lnTo>
                <a:lnTo>
                  <a:pt x="88" y="14"/>
                </a:lnTo>
                <a:lnTo>
                  <a:pt x="92" y="14"/>
                </a:lnTo>
                <a:lnTo>
                  <a:pt x="92" y="18"/>
                </a:lnTo>
                <a:lnTo>
                  <a:pt x="96" y="18"/>
                </a:lnTo>
                <a:lnTo>
                  <a:pt x="96" y="22"/>
                </a:lnTo>
                <a:lnTo>
                  <a:pt x="92" y="22"/>
                </a:lnTo>
                <a:lnTo>
                  <a:pt x="96" y="22"/>
                </a:lnTo>
                <a:lnTo>
                  <a:pt x="96" y="26"/>
                </a:lnTo>
                <a:lnTo>
                  <a:pt x="96" y="30"/>
                </a:lnTo>
                <a:lnTo>
                  <a:pt x="96" y="34"/>
                </a:lnTo>
                <a:lnTo>
                  <a:pt x="96" y="38"/>
                </a:lnTo>
                <a:lnTo>
                  <a:pt x="96" y="40"/>
                </a:lnTo>
                <a:lnTo>
                  <a:pt x="100" y="40"/>
                </a:lnTo>
                <a:lnTo>
                  <a:pt x="100" y="44"/>
                </a:lnTo>
                <a:lnTo>
                  <a:pt x="96" y="44"/>
                </a:lnTo>
                <a:lnTo>
                  <a:pt x="100" y="48"/>
                </a:lnTo>
                <a:lnTo>
                  <a:pt x="100" y="52"/>
                </a:lnTo>
                <a:lnTo>
                  <a:pt x="100" y="56"/>
                </a:lnTo>
                <a:lnTo>
                  <a:pt x="104" y="60"/>
                </a:lnTo>
                <a:lnTo>
                  <a:pt x="100" y="64"/>
                </a:lnTo>
                <a:lnTo>
                  <a:pt x="100" y="66"/>
                </a:lnTo>
                <a:lnTo>
                  <a:pt x="100" y="70"/>
                </a:lnTo>
                <a:lnTo>
                  <a:pt x="96" y="70"/>
                </a:lnTo>
                <a:lnTo>
                  <a:pt x="96" y="66"/>
                </a:lnTo>
                <a:lnTo>
                  <a:pt x="92" y="64"/>
                </a:lnTo>
                <a:lnTo>
                  <a:pt x="88" y="64"/>
                </a:lnTo>
                <a:lnTo>
                  <a:pt x="88" y="66"/>
                </a:lnTo>
                <a:lnTo>
                  <a:pt x="92" y="66"/>
                </a:lnTo>
                <a:lnTo>
                  <a:pt x="92" y="70"/>
                </a:lnTo>
                <a:lnTo>
                  <a:pt x="92" y="74"/>
                </a:lnTo>
                <a:lnTo>
                  <a:pt x="92" y="78"/>
                </a:lnTo>
                <a:lnTo>
                  <a:pt x="92" y="82"/>
                </a:lnTo>
                <a:lnTo>
                  <a:pt x="92" y="86"/>
                </a:lnTo>
                <a:lnTo>
                  <a:pt x="88" y="86"/>
                </a:lnTo>
                <a:lnTo>
                  <a:pt x="88" y="90"/>
                </a:lnTo>
                <a:lnTo>
                  <a:pt x="88" y="94"/>
                </a:lnTo>
                <a:lnTo>
                  <a:pt x="88" y="96"/>
                </a:lnTo>
                <a:lnTo>
                  <a:pt x="88" y="100"/>
                </a:lnTo>
                <a:lnTo>
                  <a:pt x="88" y="104"/>
                </a:lnTo>
                <a:lnTo>
                  <a:pt x="88" y="108"/>
                </a:lnTo>
                <a:lnTo>
                  <a:pt x="86" y="112"/>
                </a:lnTo>
                <a:lnTo>
                  <a:pt x="86" y="116"/>
                </a:lnTo>
                <a:lnTo>
                  <a:pt x="86" y="120"/>
                </a:lnTo>
                <a:lnTo>
                  <a:pt x="86" y="122"/>
                </a:lnTo>
                <a:lnTo>
                  <a:pt x="82" y="122"/>
                </a:lnTo>
                <a:lnTo>
                  <a:pt x="82" y="126"/>
                </a:lnTo>
                <a:lnTo>
                  <a:pt x="82" y="130"/>
                </a:lnTo>
                <a:lnTo>
                  <a:pt x="82" y="134"/>
                </a:lnTo>
                <a:lnTo>
                  <a:pt x="78" y="134"/>
                </a:lnTo>
                <a:lnTo>
                  <a:pt x="78" y="138"/>
                </a:lnTo>
                <a:lnTo>
                  <a:pt x="78" y="142"/>
                </a:lnTo>
                <a:lnTo>
                  <a:pt x="78" y="146"/>
                </a:lnTo>
                <a:lnTo>
                  <a:pt x="78" y="150"/>
                </a:lnTo>
                <a:lnTo>
                  <a:pt x="74" y="150"/>
                </a:lnTo>
                <a:lnTo>
                  <a:pt x="74" y="150"/>
                </a:lnTo>
                <a:lnTo>
                  <a:pt x="74" y="150"/>
                </a:lnTo>
                <a:close/>
                <a:moveTo>
                  <a:pt x="92" y="90"/>
                </a:moveTo>
                <a:lnTo>
                  <a:pt x="92" y="86"/>
                </a:lnTo>
                <a:lnTo>
                  <a:pt x="96" y="86"/>
                </a:lnTo>
                <a:lnTo>
                  <a:pt x="96" y="90"/>
                </a:lnTo>
                <a:lnTo>
                  <a:pt x="92" y="90"/>
                </a:lnTo>
                <a:lnTo>
                  <a:pt x="92" y="90"/>
                </a:lnTo>
                <a:lnTo>
                  <a:pt x="92" y="90"/>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48" name="Freeform 155"/>
          <p:cNvSpPr>
            <a:spLocks noEditPoints="1"/>
          </p:cNvSpPr>
          <p:nvPr/>
        </p:nvSpPr>
        <p:spPr bwMode="auto">
          <a:xfrm>
            <a:off x="4807743" y="3890962"/>
            <a:ext cx="52388" cy="159544"/>
          </a:xfrm>
          <a:custGeom>
            <a:avLst/>
            <a:gdLst>
              <a:gd name="T0" fmla="*/ 4 w 44"/>
              <a:gd name="T1" fmla="*/ 78 h 134"/>
              <a:gd name="T2" fmla="*/ 0 w 44"/>
              <a:gd name="T3" fmla="*/ 72 h 134"/>
              <a:gd name="T4" fmla="*/ 4 w 44"/>
              <a:gd name="T5" fmla="*/ 68 h 134"/>
              <a:gd name="T6" fmla="*/ 4 w 44"/>
              <a:gd name="T7" fmla="*/ 60 h 134"/>
              <a:gd name="T8" fmla="*/ 4 w 44"/>
              <a:gd name="T9" fmla="*/ 56 h 134"/>
              <a:gd name="T10" fmla="*/ 10 w 44"/>
              <a:gd name="T11" fmla="*/ 52 h 134"/>
              <a:gd name="T12" fmla="*/ 10 w 44"/>
              <a:gd name="T13" fmla="*/ 48 h 134"/>
              <a:gd name="T14" fmla="*/ 10 w 44"/>
              <a:gd name="T15" fmla="*/ 48 h 134"/>
              <a:gd name="T16" fmla="*/ 6 w 44"/>
              <a:gd name="T17" fmla="*/ 38 h 134"/>
              <a:gd name="T18" fmla="*/ 10 w 44"/>
              <a:gd name="T19" fmla="*/ 30 h 134"/>
              <a:gd name="T20" fmla="*/ 6 w 44"/>
              <a:gd name="T21" fmla="*/ 26 h 134"/>
              <a:gd name="T22" fmla="*/ 10 w 44"/>
              <a:gd name="T23" fmla="*/ 22 h 134"/>
              <a:gd name="T24" fmla="*/ 14 w 44"/>
              <a:gd name="T25" fmla="*/ 20 h 134"/>
              <a:gd name="T26" fmla="*/ 10 w 44"/>
              <a:gd name="T27" fmla="*/ 16 h 134"/>
              <a:gd name="T28" fmla="*/ 6 w 44"/>
              <a:gd name="T29" fmla="*/ 12 h 134"/>
              <a:gd name="T30" fmla="*/ 6 w 44"/>
              <a:gd name="T31" fmla="*/ 4 h 134"/>
              <a:gd name="T32" fmla="*/ 6 w 44"/>
              <a:gd name="T33" fmla="*/ 4 h 134"/>
              <a:gd name="T34" fmla="*/ 4 w 44"/>
              <a:gd name="T35" fmla="*/ 0 h 134"/>
              <a:gd name="T36" fmla="*/ 4 w 44"/>
              <a:gd name="T37" fmla="*/ 0 h 134"/>
              <a:gd name="T38" fmla="*/ 10 w 44"/>
              <a:gd name="T39" fmla="*/ 0 h 134"/>
              <a:gd name="T40" fmla="*/ 14 w 44"/>
              <a:gd name="T41" fmla="*/ 4 h 134"/>
              <a:gd name="T42" fmla="*/ 18 w 44"/>
              <a:gd name="T43" fmla="*/ 4 h 134"/>
              <a:gd name="T44" fmla="*/ 18 w 44"/>
              <a:gd name="T45" fmla="*/ 0 h 134"/>
              <a:gd name="T46" fmla="*/ 26 w 44"/>
              <a:gd name="T47" fmla="*/ 8 h 134"/>
              <a:gd name="T48" fmla="*/ 26 w 44"/>
              <a:gd name="T49" fmla="*/ 16 h 134"/>
              <a:gd name="T50" fmla="*/ 26 w 44"/>
              <a:gd name="T51" fmla="*/ 20 h 134"/>
              <a:gd name="T52" fmla="*/ 26 w 44"/>
              <a:gd name="T53" fmla="*/ 26 h 134"/>
              <a:gd name="T54" fmla="*/ 30 w 44"/>
              <a:gd name="T55" fmla="*/ 30 h 134"/>
              <a:gd name="T56" fmla="*/ 34 w 44"/>
              <a:gd name="T57" fmla="*/ 38 h 134"/>
              <a:gd name="T58" fmla="*/ 26 w 44"/>
              <a:gd name="T59" fmla="*/ 38 h 134"/>
              <a:gd name="T60" fmla="*/ 26 w 44"/>
              <a:gd name="T61" fmla="*/ 42 h 134"/>
              <a:gd name="T62" fmla="*/ 22 w 44"/>
              <a:gd name="T63" fmla="*/ 48 h 134"/>
              <a:gd name="T64" fmla="*/ 26 w 44"/>
              <a:gd name="T65" fmla="*/ 52 h 134"/>
              <a:gd name="T66" fmla="*/ 26 w 44"/>
              <a:gd name="T67" fmla="*/ 56 h 134"/>
              <a:gd name="T68" fmla="*/ 26 w 44"/>
              <a:gd name="T69" fmla="*/ 68 h 134"/>
              <a:gd name="T70" fmla="*/ 30 w 44"/>
              <a:gd name="T71" fmla="*/ 72 h 134"/>
              <a:gd name="T72" fmla="*/ 40 w 44"/>
              <a:gd name="T73" fmla="*/ 82 h 134"/>
              <a:gd name="T74" fmla="*/ 44 w 44"/>
              <a:gd name="T75" fmla="*/ 94 h 134"/>
              <a:gd name="T76" fmla="*/ 44 w 44"/>
              <a:gd name="T77" fmla="*/ 102 h 134"/>
              <a:gd name="T78" fmla="*/ 44 w 44"/>
              <a:gd name="T79" fmla="*/ 112 h 134"/>
              <a:gd name="T80" fmla="*/ 40 w 44"/>
              <a:gd name="T81" fmla="*/ 116 h 134"/>
              <a:gd name="T82" fmla="*/ 38 w 44"/>
              <a:gd name="T83" fmla="*/ 124 h 134"/>
              <a:gd name="T84" fmla="*/ 38 w 44"/>
              <a:gd name="T85" fmla="*/ 124 h 134"/>
              <a:gd name="T86" fmla="*/ 38 w 44"/>
              <a:gd name="T87" fmla="*/ 132 h 134"/>
              <a:gd name="T88" fmla="*/ 34 w 44"/>
              <a:gd name="T89" fmla="*/ 132 h 134"/>
              <a:gd name="T90" fmla="*/ 34 w 44"/>
              <a:gd name="T91" fmla="*/ 128 h 134"/>
              <a:gd name="T92" fmla="*/ 30 w 44"/>
              <a:gd name="T93" fmla="*/ 124 h 134"/>
              <a:gd name="T94" fmla="*/ 26 w 44"/>
              <a:gd name="T95" fmla="*/ 120 h 134"/>
              <a:gd name="T96" fmla="*/ 26 w 44"/>
              <a:gd name="T97" fmla="*/ 116 h 134"/>
              <a:gd name="T98" fmla="*/ 22 w 44"/>
              <a:gd name="T99" fmla="*/ 112 h 134"/>
              <a:gd name="T100" fmla="*/ 22 w 44"/>
              <a:gd name="T101" fmla="*/ 108 h 134"/>
              <a:gd name="T102" fmla="*/ 26 w 44"/>
              <a:gd name="T103" fmla="*/ 104 h 134"/>
              <a:gd name="T104" fmla="*/ 26 w 44"/>
              <a:gd name="T105" fmla="*/ 102 h 134"/>
              <a:gd name="T106" fmla="*/ 26 w 44"/>
              <a:gd name="T107" fmla="*/ 98 h 134"/>
              <a:gd name="T108" fmla="*/ 26 w 44"/>
              <a:gd name="T109" fmla="*/ 90 h 134"/>
              <a:gd name="T110" fmla="*/ 22 w 44"/>
              <a:gd name="T111" fmla="*/ 86 h 134"/>
              <a:gd name="T112" fmla="*/ 14 w 44"/>
              <a:gd name="T113" fmla="*/ 86 h 134"/>
              <a:gd name="T114" fmla="*/ 6 w 44"/>
              <a:gd name="T115" fmla="*/ 78 h 134"/>
              <a:gd name="T116" fmla="*/ 26 w 44"/>
              <a:gd name="T117" fmla="*/ 46 h 134"/>
              <a:gd name="T118" fmla="*/ 30 w 44"/>
              <a:gd name="T119" fmla="*/ 46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4" h="134">
                <a:moveTo>
                  <a:pt x="6" y="78"/>
                </a:moveTo>
                <a:lnTo>
                  <a:pt x="6" y="78"/>
                </a:lnTo>
                <a:lnTo>
                  <a:pt x="6" y="78"/>
                </a:lnTo>
                <a:lnTo>
                  <a:pt x="6" y="78"/>
                </a:lnTo>
                <a:lnTo>
                  <a:pt x="6" y="78"/>
                </a:lnTo>
                <a:lnTo>
                  <a:pt x="4" y="78"/>
                </a:lnTo>
                <a:lnTo>
                  <a:pt x="4" y="76"/>
                </a:lnTo>
                <a:lnTo>
                  <a:pt x="4" y="76"/>
                </a:lnTo>
                <a:lnTo>
                  <a:pt x="0" y="72"/>
                </a:lnTo>
                <a:lnTo>
                  <a:pt x="0" y="72"/>
                </a:lnTo>
                <a:lnTo>
                  <a:pt x="0" y="72"/>
                </a:lnTo>
                <a:lnTo>
                  <a:pt x="0" y="72"/>
                </a:lnTo>
                <a:lnTo>
                  <a:pt x="0" y="72"/>
                </a:lnTo>
                <a:lnTo>
                  <a:pt x="0" y="72"/>
                </a:lnTo>
                <a:lnTo>
                  <a:pt x="4" y="72"/>
                </a:lnTo>
                <a:lnTo>
                  <a:pt x="4" y="72"/>
                </a:lnTo>
                <a:lnTo>
                  <a:pt x="4" y="68"/>
                </a:lnTo>
                <a:lnTo>
                  <a:pt x="4" y="68"/>
                </a:lnTo>
                <a:lnTo>
                  <a:pt x="4" y="64"/>
                </a:lnTo>
                <a:lnTo>
                  <a:pt x="4" y="64"/>
                </a:lnTo>
                <a:lnTo>
                  <a:pt x="4" y="64"/>
                </a:lnTo>
                <a:lnTo>
                  <a:pt x="4" y="60"/>
                </a:lnTo>
                <a:lnTo>
                  <a:pt x="4" y="60"/>
                </a:lnTo>
                <a:lnTo>
                  <a:pt x="4" y="60"/>
                </a:lnTo>
                <a:lnTo>
                  <a:pt x="4" y="60"/>
                </a:lnTo>
                <a:lnTo>
                  <a:pt x="4" y="60"/>
                </a:lnTo>
                <a:lnTo>
                  <a:pt x="4" y="60"/>
                </a:lnTo>
                <a:lnTo>
                  <a:pt x="4" y="60"/>
                </a:lnTo>
                <a:lnTo>
                  <a:pt x="4" y="60"/>
                </a:lnTo>
                <a:lnTo>
                  <a:pt x="4" y="56"/>
                </a:lnTo>
                <a:lnTo>
                  <a:pt x="4" y="52"/>
                </a:lnTo>
                <a:lnTo>
                  <a:pt x="4" y="52"/>
                </a:lnTo>
                <a:lnTo>
                  <a:pt x="6" y="52"/>
                </a:lnTo>
                <a:lnTo>
                  <a:pt x="6" y="52"/>
                </a:lnTo>
                <a:lnTo>
                  <a:pt x="6" y="52"/>
                </a:lnTo>
                <a:lnTo>
                  <a:pt x="10" y="52"/>
                </a:lnTo>
                <a:lnTo>
                  <a:pt x="10" y="52"/>
                </a:lnTo>
                <a:lnTo>
                  <a:pt x="10" y="52"/>
                </a:lnTo>
                <a:lnTo>
                  <a:pt x="10" y="48"/>
                </a:lnTo>
                <a:lnTo>
                  <a:pt x="10" y="48"/>
                </a:lnTo>
                <a:lnTo>
                  <a:pt x="10" y="48"/>
                </a:lnTo>
                <a:lnTo>
                  <a:pt x="10" y="48"/>
                </a:lnTo>
                <a:lnTo>
                  <a:pt x="10" y="48"/>
                </a:lnTo>
                <a:lnTo>
                  <a:pt x="10" y="48"/>
                </a:lnTo>
                <a:lnTo>
                  <a:pt x="10" y="48"/>
                </a:lnTo>
                <a:lnTo>
                  <a:pt x="10" y="48"/>
                </a:lnTo>
                <a:lnTo>
                  <a:pt x="10" y="48"/>
                </a:lnTo>
                <a:lnTo>
                  <a:pt x="10" y="48"/>
                </a:lnTo>
                <a:lnTo>
                  <a:pt x="6" y="46"/>
                </a:lnTo>
                <a:lnTo>
                  <a:pt x="6" y="46"/>
                </a:lnTo>
                <a:lnTo>
                  <a:pt x="6" y="46"/>
                </a:lnTo>
                <a:lnTo>
                  <a:pt x="6" y="42"/>
                </a:lnTo>
                <a:lnTo>
                  <a:pt x="6" y="38"/>
                </a:lnTo>
                <a:lnTo>
                  <a:pt x="6" y="38"/>
                </a:lnTo>
                <a:lnTo>
                  <a:pt x="6" y="38"/>
                </a:lnTo>
                <a:lnTo>
                  <a:pt x="6" y="38"/>
                </a:lnTo>
                <a:lnTo>
                  <a:pt x="6" y="34"/>
                </a:lnTo>
                <a:lnTo>
                  <a:pt x="6" y="34"/>
                </a:lnTo>
                <a:lnTo>
                  <a:pt x="6" y="34"/>
                </a:lnTo>
                <a:lnTo>
                  <a:pt x="10" y="30"/>
                </a:lnTo>
                <a:lnTo>
                  <a:pt x="10" y="30"/>
                </a:lnTo>
                <a:lnTo>
                  <a:pt x="10" y="30"/>
                </a:lnTo>
                <a:lnTo>
                  <a:pt x="10" y="30"/>
                </a:lnTo>
                <a:lnTo>
                  <a:pt x="10" y="30"/>
                </a:lnTo>
                <a:lnTo>
                  <a:pt x="10" y="26"/>
                </a:lnTo>
                <a:lnTo>
                  <a:pt x="6" y="26"/>
                </a:lnTo>
                <a:lnTo>
                  <a:pt x="6" y="22"/>
                </a:lnTo>
                <a:lnTo>
                  <a:pt x="10" y="22"/>
                </a:lnTo>
                <a:lnTo>
                  <a:pt x="10" y="22"/>
                </a:lnTo>
                <a:lnTo>
                  <a:pt x="10" y="22"/>
                </a:lnTo>
                <a:lnTo>
                  <a:pt x="10" y="22"/>
                </a:lnTo>
                <a:lnTo>
                  <a:pt x="10" y="22"/>
                </a:lnTo>
                <a:lnTo>
                  <a:pt x="10" y="22"/>
                </a:lnTo>
                <a:lnTo>
                  <a:pt x="10" y="22"/>
                </a:lnTo>
                <a:lnTo>
                  <a:pt x="14" y="20"/>
                </a:lnTo>
                <a:lnTo>
                  <a:pt x="14" y="20"/>
                </a:lnTo>
                <a:lnTo>
                  <a:pt x="14" y="20"/>
                </a:lnTo>
                <a:lnTo>
                  <a:pt x="14" y="20"/>
                </a:lnTo>
                <a:lnTo>
                  <a:pt x="14" y="20"/>
                </a:lnTo>
                <a:lnTo>
                  <a:pt x="14" y="20"/>
                </a:lnTo>
                <a:lnTo>
                  <a:pt x="14" y="20"/>
                </a:lnTo>
                <a:lnTo>
                  <a:pt x="10" y="16"/>
                </a:lnTo>
                <a:lnTo>
                  <a:pt x="10" y="16"/>
                </a:lnTo>
                <a:lnTo>
                  <a:pt x="10" y="16"/>
                </a:lnTo>
                <a:lnTo>
                  <a:pt x="10" y="16"/>
                </a:lnTo>
                <a:lnTo>
                  <a:pt x="10" y="16"/>
                </a:lnTo>
                <a:lnTo>
                  <a:pt x="10" y="12"/>
                </a:lnTo>
                <a:lnTo>
                  <a:pt x="10" y="12"/>
                </a:lnTo>
                <a:lnTo>
                  <a:pt x="10" y="12"/>
                </a:lnTo>
                <a:lnTo>
                  <a:pt x="6" y="12"/>
                </a:lnTo>
                <a:lnTo>
                  <a:pt x="6" y="8"/>
                </a:lnTo>
                <a:lnTo>
                  <a:pt x="10" y="8"/>
                </a:lnTo>
                <a:lnTo>
                  <a:pt x="6" y="8"/>
                </a:lnTo>
                <a:lnTo>
                  <a:pt x="6" y="4"/>
                </a:lnTo>
                <a:lnTo>
                  <a:pt x="6" y="4"/>
                </a:lnTo>
                <a:lnTo>
                  <a:pt x="6" y="4"/>
                </a:lnTo>
                <a:lnTo>
                  <a:pt x="6" y="4"/>
                </a:lnTo>
                <a:lnTo>
                  <a:pt x="6" y="4"/>
                </a:lnTo>
                <a:lnTo>
                  <a:pt x="6" y="4"/>
                </a:lnTo>
                <a:lnTo>
                  <a:pt x="6" y="4"/>
                </a:lnTo>
                <a:lnTo>
                  <a:pt x="6" y="4"/>
                </a:lnTo>
                <a:lnTo>
                  <a:pt x="6" y="4"/>
                </a:lnTo>
                <a:lnTo>
                  <a:pt x="6" y="4"/>
                </a:lnTo>
                <a:lnTo>
                  <a:pt x="4" y="4"/>
                </a:lnTo>
                <a:lnTo>
                  <a:pt x="4" y="4"/>
                </a:lnTo>
                <a:lnTo>
                  <a:pt x="4" y="0"/>
                </a:lnTo>
                <a:lnTo>
                  <a:pt x="4" y="0"/>
                </a:lnTo>
                <a:lnTo>
                  <a:pt x="4" y="0"/>
                </a:lnTo>
                <a:lnTo>
                  <a:pt x="4" y="0"/>
                </a:lnTo>
                <a:lnTo>
                  <a:pt x="4" y="0"/>
                </a:lnTo>
                <a:lnTo>
                  <a:pt x="4" y="0"/>
                </a:lnTo>
                <a:lnTo>
                  <a:pt x="4" y="0"/>
                </a:lnTo>
                <a:lnTo>
                  <a:pt x="4" y="0"/>
                </a:lnTo>
                <a:lnTo>
                  <a:pt x="4" y="0"/>
                </a:lnTo>
                <a:lnTo>
                  <a:pt x="6" y="0"/>
                </a:lnTo>
                <a:lnTo>
                  <a:pt x="6" y="0"/>
                </a:lnTo>
                <a:lnTo>
                  <a:pt x="6" y="0"/>
                </a:lnTo>
                <a:lnTo>
                  <a:pt x="6" y="0"/>
                </a:lnTo>
                <a:lnTo>
                  <a:pt x="10" y="0"/>
                </a:lnTo>
                <a:lnTo>
                  <a:pt x="10" y="0"/>
                </a:lnTo>
                <a:lnTo>
                  <a:pt x="10" y="4"/>
                </a:lnTo>
                <a:lnTo>
                  <a:pt x="10" y="4"/>
                </a:lnTo>
                <a:lnTo>
                  <a:pt x="10" y="4"/>
                </a:lnTo>
                <a:lnTo>
                  <a:pt x="10" y="4"/>
                </a:lnTo>
                <a:lnTo>
                  <a:pt x="10" y="4"/>
                </a:lnTo>
                <a:lnTo>
                  <a:pt x="14" y="4"/>
                </a:lnTo>
                <a:lnTo>
                  <a:pt x="18" y="4"/>
                </a:lnTo>
                <a:lnTo>
                  <a:pt x="18" y="4"/>
                </a:lnTo>
                <a:lnTo>
                  <a:pt x="18" y="4"/>
                </a:lnTo>
                <a:lnTo>
                  <a:pt x="18" y="4"/>
                </a:lnTo>
                <a:lnTo>
                  <a:pt x="18" y="4"/>
                </a:lnTo>
                <a:lnTo>
                  <a:pt x="18" y="4"/>
                </a:lnTo>
                <a:lnTo>
                  <a:pt x="18" y="0"/>
                </a:lnTo>
                <a:lnTo>
                  <a:pt x="18" y="0"/>
                </a:lnTo>
                <a:lnTo>
                  <a:pt x="18" y="0"/>
                </a:lnTo>
                <a:lnTo>
                  <a:pt x="18" y="0"/>
                </a:lnTo>
                <a:lnTo>
                  <a:pt x="18" y="0"/>
                </a:lnTo>
                <a:lnTo>
                  <a:pt x="18" y="0"/>
                </a:lnTo>
                <a:lnTo>
                  <a:pt x="22" y="0"/>
                </a:lnTo>
                <a:lnTo>
                  <a:pt x="22" y="4"/>
                </a:lnTo>
                <a:lnTo>
                  <a:pt x="22" y="4"/>
                </a:lnTo>
                <a:lnTo>
                  <a:pt x="22" y="4"/>
                </a:lnTo>
                <a:lnTo>
                  <a:pt x="22" y="8"/>
                </a:lnTo>
                <a:lnTo>
                  <a:pt x="26" y="8"/>
                </a:lnTo>
                <a:lnTo>
                  <a:pt x="26" y="8"/>
                </a:lnTo>
                <a:lnTo>
                  <a:pt x="26" y="8"/>
                </a:lnTo>
                <a:lnTo>
                  <a:pt x="26" y="8"/>
                </a:lnTo>
                <a:lnTo>
                  <a:pt x="26" y="12"/>
                </a:lnTo>
                <a:lnTo>
                  <a:pt x="26" y="16"/>
                </a:lnTo>
                <a:lnTo>
                  <a:pt x="26" y="16"/>
                </a:lnTo>
                <a:lnTo>
                  <a:pt x="26" y="16"/>
                </a:lnTo>
                <a:lnTo>
                  <a:pt x="26" y="20"/>
                </a:lnTo>
                <a:lnTo>
                  <a:pt x="26" y="20"/>
                </a:lnTo>
                <a:lnTo>
                  <a:pt x="26" y="20"/>
                </a:lnTo>
                <a:lnTo>
                  <a:pt x="26" y="20"/>
                </a:lnTo>
                <a:lnTo>
                  <a:pt x="26" y="20"/>
                </a:lnTo>
                <a:lnTo>
                  <a:pt x="30" y="20"/>
                </a:lnTo>
                <a:lnTo>
                  <a:pt x="30" y="20"/>
                </a:lnTo>
                <a:lnTo>
                  <a:pt x="30" y="22"/>
                </a:lnTo>
                <a:lnTo>
                  <a:pt x="30" y="22"/>
                </a:lnTo>
                <a:lnTo>
                  <a:pt x="26" y="26"/>
                </a:lnTo>
                <a:lnTo>
                  <a:pt x="26" y="26"/>
                </a:lnTo>
                <a:lnTo>
                  <a:pt x="26" y="26"/>
                </a:lnTo>
                <a:lnTo>
                  <a:pt x="26" y="26"/>
                </a:lnTo>
                <a:lnTo>
                  <a:pt x="26" y="26"/>
                </a:lnTo>
                <a:lnTo>
                  <a:pt x="26" y="30"/>
                </a:lnTo>
                <a:lnTo>
                  <a:pt x="26" y="30"/>
                </a:lnTo>
                <a:lnTo>
                  <a:pt x="30" y="30"/>
                </a:lnTo>
                <a:lnTo>
                  <a:pt x="30" y="34"/>
                </a:lnTo>
                <a:lnTo>
                  <a:pt x="30" y="34"/>
                </a:lnTo>
                <a:lnTo>
                  <a:pt x="30" y="34"/>
                </a:lnTo>
                <a:lnTo>
                  <a:pt x="34" y="34"/>
                </a:lnTo>
                <a:lnTo>
                  <a:pt x="34" y="34"/>
                </a:lnTo>
                <a:lnTo>
                  <a:pt x="34" y="38"/>
                </a:lnTo>
                <a:lnTo>
                  <a:pt x="34" y="38"/>
                </a:lnTo>
                <a:lnTo>
                  <a:pt x="30" y="38"/>
                </a:lnTo>
                <a:lnTo>
                  <a:pt x="30" y="38"/>
                </a:lnTo>
                <a:lnTo>
                  <a:pt x="26" y="38"/>
                </a:lnTo>
                <a:lnTo>
                  <a:pt x="26" y="38"/>
                </a:lnTo>
                <a:lnTo>
                  <a:pt x="26" y="38"/>
                </a:lnTo>
                <a:lnTo>
                  <a:pt x="26" y="38"/>
                </a:lnTo>
                <a:lnTo>
                  <a:pt x="26" y="38"/>
                </a:lnTo>
                <a:lnTo>
                  <a:pt x="26" y="38"/>
                </a:lnTo>
                <a:lnTo>
                  <a:pt x="26" y="42"/>
                </a:lnTo>
                <a:lnTo>
                  <a:pt x="26" y="42"/>
                </a:lnTo>
                <a:lnTo>
                  <a:pt x="26" y="42"/>
                </a:lnTo>
                <a:lnTo>
                  <a:pt x="26" y="42"/>
                </a:lnTo>
                <a:lnTo>
                  <a:pt x="26" y="46"/>
                </a:lnTo>
                <a:lnTo>
                  <a:pt x="26" y="46"/>
                </a:lnTo>
                <a:lnTo>
                  <a:pt x="22" y="46"/>
                </a:lnTo>
                <a:lnTo>
                  <a:pt x="22" y="46"/>
                </a:lnTo>
                <a:lnTo>
                  <a:pt x="22" y="48"/>
                </a:lnTo>
                <a:lnTo>
                  <a:pt x="22" y="48"/>
                </a:lnTo>
                <a:lnTo>
                  <a:pt x="22" y="48"/>
                </a:lnTo>
                <a:lnTo>
                  <a:pt x="26" y="48"/>
                </a:lnTo>
                <a:lnTo>
                  <a:pt x="26" y="52"/>
                </a:lnTo>
                <a:lnTo>
                  <a:pt x="26" y="52"/>
                </a:lnTo>
                <a:lnTo>
                  <a:pt x="26" y="52"/>
                </a:lnTo>
                <a:lnTo>
                  <a:pt x="26" y="52"/>
                </a:lnTo>
                <a:lnTo>
                  <a:pt x="26" y="56"/>
                </a:lnTo>
                <a:lnTo>
                  <a:pt x="26" y="56"/>
                </a:lnTo>
                <a:lnTo>
                  <a:pt x="26" y="56"/>
                </a:lnTo>
                <a:lnTo>
                  <a:pt x="26" y="56"/>
                </a:lnTo>
                <a:lnTo>
                  <a:pt x="26" y="56"/>
                </a:lnTo>
                <a:lnTo>
                  <a:pt x="26" y="60"/>
                </a:lnTo>
                <a:lnTo>
                  <a:pt x="26" y="60"/>
                </a:lnTo>
                <a:lnTo>
                  <a:pt x="26" y="60"/>
                </a:lnTo>
                <a:lnTo>
                  <a:pt x="26" y="60"/>
                </a:lnTo>
                <a:lnTo>
                  <a:pt x="26" y="64"/>
                </a:lnTo>
                <a:lnTo>
                  <a:pt x="26" y="68"/>
                </a:lnTo>
                <a:lnTo>
                  <a:pt x="26" y="68"/>
                </a:lnTo>
                <a:lnTo>
                  <a:pt x="26" y="68"/>
                </a:lnTo>
                <a:lnTo>
                  <a:pt x="26" y="68"/>
                </a:lnTo>
                <a:lnTo>
                  <a:pt x="30" y="72"/>
                </a:lnTo>
                <a:lnTo>
                  <a:pt x="30" y="72"/>
                </a:lnTo>
                <a:lnTo>
                  <a:pt x="30" y="72"/>
                </a:lnTo>
                <a:lnTo>
                  <a:pt x="30" y="72"/>
                </a:lnTo>
                <a:lnTo>
                  <a:pt x="34" y="72"/>
                </a:lnTo>
                <a:lnTo>
                  <a:pt x="34" y="76"/>
                </a:lnTo>
                <a:lnTo>
                  <a:pt x="38" y="76"/>
                </a:lnTo>
                <a:lnTo>
                  <a:pt x="40" y="82"/>
                </a:lnTo>
                <a:lnTo>
                  <a:pt x="40" y="82"/>
                </a:lnTo>
                <a:lnTo>
                  <a:pt x="40" y="82"/>
                </a:lnTo>
                <a:lnTo>
                  <a:pt x="40" y="82"/>
                </a:lnTo>
                <a:lnTo>
                  <a:pt x="44" y="90"/>
                </a:lnTo>
                <a:lnTo>
                  <a:pt x="44" y="90"/>
                </a:lnTo>
                <a:lnTo>
                  <a:pt x="44" y="90"/>
                </a:lnTo>
                <a:lnTo>
                  <a:pt x="44" y="94"/>
                </a:lnTo>
                <a:lnTo>
                  <a:pt x="44" y="94"/>
                </a:lnTo>
                <a:lnTo>
                  <a:pt x="44" y="94"/>
                </a:lnTo>
                <a:lnTo>
                  <a:pt x="44" y="98"/>
                </a:lnTo>
                <a:lnTo>
                  <a:pt x="44" y="98"/>
                </a:lnTo>
                <a:lnTo>
                  <a:pt x="44" y="102"/>
                </a:lnTo>
                <a:lnTo>
                  <a:pt x="44" y="102"/>
                </a:lnTo>
                <a:lnTo>
                  <a:pt x="44" y="104"/>
                </a:lnTo>
                <a:lnTo>
                  <a:pt x="44" y="104"/>
                </a:lnTo>
                <a:lnTo>
                  <a:pt x="44" y="104"/>
                </a:lnTo>
                <a:lnTo>
                  <a:pt x="44" y="104"/>
                </a:lnTo>
                <a:lnTo>
                  <a:pt x="44" y="112"/>
                </a:lnTo>
                <a:lnTo>
                  <a:pt x="44" y="112"/>
                </a:lnTo>
                <a:lnTo>
                  <a:pt x="44" y="116"/>
                </a:lnTo>
                <a:lnTo>
                  <a:pt x="44" y="116"/>
                </a:lnTo>
                <a:lnTo>
                  <a:pt x="44" y="116"/>
                </a:lnTo>
                <a:lnTo>
                  <a:pt x="40" y="116"/>
                </a:lnTo>
                <a:lnTo>
                  <a:pt x="40" y="116"/>
                </a:lnTo>
                <a:lnTo>
                  <a:pt x="40" y="116"/>
                </a:lnTo>
                <a:lnTo>
                  <a:pt x="38" y="116"/>
                </a:lnTo>
                <a:lnTo>
                  <a:pt x="38" y="116"/>
                </a:lnTo>
                <a:lnTo>
                  <a:pt x="38" y="120"/>
                </a:lnTo>
                <a:lnTo>
                  <a:pt x="38" y="120"/>
                </a:lnTo>
                <a:lnTo>
                  <a:pt x="38" y="120"/>
                </a:lnTo>
                <a:lnTo>
                  <a:pt x="38" y="124"/>
                </a:lnTo>
                <a:lnTo>
                  <a:pt x="34" y="124"/>
                </a:lnTo>
                <a:lnTo>
                  <a:pt x="34" y="124"/>
                </a:lnTo>
                <a:lnTo>
                  <a:pt x="34" y="124"/>
                </a:lnTo>
                <a:lnTo>
                  <a:pt x="38" y="124"/>
                </a:lnTo>
                <a:lnTo>
                  <a:pt x="38" y="124"/>
                </a:lnTo>
                <a:lnTo>
                  <a:pt x="38" y="124"/>
                </a:lnTo>
                <a:lnTo>
                  <a:pt x="38" y="128"/>
                </a:lnTo>
                <a:lnTo>
                  <a:pt x="38" y="128"/>
                </a:lnTo>
                <a:lnTo>
                  <a:pt x="38" y="128"/>
                </a:lnTo>
                <a:lnTo>
                  <a:pt x="38" y="132"/>
                </a:lnTo>
                <a:lnTo>
                  <a:pt x="38" y="132"/>
                </a:lnTo>
                <a:lnTo>
                  <a:pt x="38" y="132"/>
                </a:lnTo>
                <a:lnTo>
                  <a:pt x="38" y="132"/>
                </a:lnTo>
                <a:lnTo>
                  <a:pt x="38" y="134"/>
                </a:lnTo>
                <a:lnTo>
                  <a:pt x="38" y="134"/>
                </a:lnTo>
                <a:lnTo>
                  <a:pt x="34" y="134"/>
                </a:lnTo>
                <a:lnTo>
                  <a:pt x="34" y="134"/>
                </a:lnTo>
                <a:lnTo>
                  <a:pt x="34" y="132"/>
                </a:lnTo>
                <a:lnTo>
                  <a:pt x="34" y="132"/>
                </a:lnTo>
                <a:lnTo>
                  <a:pt x="34" y="132"/>
                </a:lnTo>
                <a:lnTo>
                  <a:pt x="34" y="132"/>
                </a:lnTo>
                <a:lnTo>
                  <a:pt x="34" y="132"/>
                </a:lnTo>
                <a:lnTo>
                  <a:pt x="34" y="128"/>
                </a:lnTo>
                <a:lnTo>
                  <a:pt x="34" y="128"/>
                </a:lnTo>
                <a:lnTo>
                  <a:pt x="34" y="128"/>
                </a:lnTo>
                <a:lnTo>
                  <a:pt x="34" y="128"/>
                </a:lnTo>
                <a:lnTo>
                  <a:pt x="34" y="128"/>
                </a:lnTo>
                <a:lnTo>
                  <a:pt x="34" y="128"/>
                </a:lnTo>
                <a:lnTo>
                  <a:pt x="30" y="124"/>
                </a:lnTo>
                <a:lnTo>
                  <a:pt x="30" y="124"/>
                </a:lnTo>
                <a:lnTo>
                  <a:pt x="30" y="124"/>
                </a:lnTo>
                <a:lnTo>
                  <a:pt x="30" y="120"/>
                </a:lnTo>
                <a:lnTo>
                  <a:pt x="26" y="120"/>
                </a:lnTo>
                <a:lnTo>
                  <a:pt x="26" y="120"/>
                </a:lnTo>
                <a:lnTo>
                  <a:pt x="26" y="120"/>
                </a:lnTo>
                <a:lnTo>
                  <a:pt x="26" y="120"/>
                </a:lnTo>
                <a:lnTo>
                  <a:pt x="26" y="120"/>
                </a:lnTo>
                <a:lnTo>
                  <a:pt x="26" y="120"/>
                </a:lnTo>
                <a:lnTo>
                  <a:pt x="26" y="120"/>
                </a:lnTo>
                <a:lnTo>
                  <a:pt x="26" y="120"/>
                </a:lnTo>
                <a:lnTo>
                  <a:pt x="26" y="116"/>
                </a:lnTo>
                <a:lnTo>
                  <a:pt x="26" y="116"/>
                </a:lnTo>
                <a:lnTo>
                  <a:pt x="26" y="116"/>
                </a:lnTo>
                <a:lnTo>
                  <a:pt x="26" y="116"/>
                </a:lnTo>
                <a:lnTo>
                  <a:pt x="26" y="116"/>
                </a:lnTo>
                <a:lnTo>
                  <a:pt x="22" y="112"/>
                </a:lnTo>
                <a:lnTo>
                  <a:pt x="22" y="112"/>
                </a:lnTo>
                <a:lnTo>
                  <a:pt x="22" y="112"/>
                </a:lnTo>
                <a:lnTo>
                  <a:pt x="22" y="112"/>
                </a:lnTo>
                <a:lnTo>
                  <a:pt x="22" y="112"/>
                </a:lnTo>
                <a:lnTo>
                  <a:pt x="22" y="112"/>
                </a:lnTo>
                <a:lnTo>
                  <a:pt x="22" y="108"/>
                </a:lnTo>
                <a:lnTo>
                  <a:pt x="22" y="108"/>
                </a:lnTo>
                <a:lnTo>
                  <a:pt x="22" y="108"/>
                </a:lnTo>
                <a:lnTo>
                  <a:pt x="22" y="108"/>
                </a:lnTo>
                <a:lnTo>
                  <a:pt x="22" y="108"/>
                </a:lnTo>
                <a:lnTo>
                  <a:pt x="22" y="108"/>
                </a:lnTo>
                <a:lnTo>
                  <a:pt x="26" y="108"/>
                </a:lnTo>
                <a:lnTo>
                  <a:pt x="26" y="104"/>
                </a:lnTo>
                <a:lnTo>
                  <a:pt x="26" y="104"/>
                </a:lnTo>
                <a:lnTo>
                  <a:pt x="26" y="104"/>
                </a:lnTo>
                <a:lnTo>
                  <a:pt x="26" y="104"/>
                </a:lnTo>
                <a:lnTo>
                  <a:pt x="26" y="104"/>
                </a:lnTo>
                <a:lnTo>
                  <a:pt x="26" y="102"/>
                </a:lnTo>
                <a:lnTo>
                  <a:pt x="26" y="102"/>
                </a:lnTo>
                <a:lnTo>
                  <a:pt x="26" y="102"/>
                </a:lnTo>
                <a:lnTo>
                  <a:pt x="26" y="102"/>
                </a:lnTo>
                <a:lnTo>
                  <a:pt x="26" y="102"/>
                </a:lnTo>
                <a:lnTo>
                  <a:pt x="26" y="102"/>
                </a:lnTo>
                <a:lnTo>
                  <a:pt x="26" y="102"/>
                </a:lnTo>
                <a:lnTo>
                  <a:pt x="26" y="102"/>
                </a:lnTo>
                <a:lnTo>
                  <a:pt x="26" y="98"/>
                </a:lnTo>
                <a:lnTo>
                  <a:pt x="26" y="98"/>
                </a:lnTo>
                <a:lnTo>
                  <a:pt x="26" y="94"/>
                </a:lnTo>
                <a:lnTo>
                  <a:pt x="26" y="94"/>
                </a:lnTo>
                <a:lnTo>
                  <a:pt x="26" y="90"/>
                </a:lnTo>
                <a:lnTo>
                  <a:pt x="26" y="90"/>
                </a:lnTo>
                <a:lnTo>
                  <a:pt x="26" y="90"/>
                </a:lnTo>
                <a:lnTo>
                  <a:pt x="26" y="90"/>
                </a:lnTo>
                <a:lnTo>
                  <a:pt x="26" y="86"/>
                </a:lnTo>
                <a:lnTo>
                  <a:pt x="26" y="86"/>
                </a:lnTo>
                <a:lnTo>
                  <a:pt x="26" y="86"/>
                </a:lnTo>
                <a:lnTo>
                  <a:pt x="26" y="86"/>
                </a:lnTo>
                <a:lnTo>
                  <a:pt x="22" y="86"/>
                </a:lnTo>
                <a:lnTo>
                  <a:pt x="22" y="86"/>
                </a:lnTo>
                <a:lnTo>
                  <a:pt x="22" y="86"/>
                </a:lnTo>
                <a:lnTo>
                  <a:pt x="18" y="86"/>
                </a:lnTo>
                <a:lnTo>
                  <a:pt x="14" y="86"/>
                </a:lnTo>
                <a:lnTo>
                  <a:pt x="14" y="86"/>
                </a:lnTo>
                <a:lnTo>
                  <a:pt x="14" y="86"/>
                </a:lnTo>
                <a:lnTo>
                  <a:pt x="10" y="86"/>
                </a:lnTo>
                <a:lnTo>
                  <a:pt x="10" y="82"/>
                </a:lnTo>
                <a:lnTo>
                  <a:pt x="10" y="82"/>
                </a:lnTo>
                <a:lnTo>
                  <a:pt x="6" y="82"/>
                </a:lnTo>
                <a:lnTo>
                  <a:pt x="6" y="78"/>
                </a:lnTo>
                <a:lnTo>
                  <a:pt x="6" y="78"/>
                </a:lnTo>
                <a:lnTo>
                  <a:pt x="6" y="78"/>
                </a:lnTo>
                <a:lnTo>
                  <a:pt x="6" y="78"/>
                </a:lnTo>
                <a:close/>
                <a:moveTo>
                  <a:pt x="26" y="46"/>
                </a:moveTo>
                <a:lnTo>
                  <a:pt x="26" y="46"/>
                </a:lnTo>
                <a:lnTo>
                  <a:pt x="26" y="46"/>
                </a:lnTo>
                <a:lnTo>
                  <a:pt x="26" y="46"/>
                </a:lnTo>
                <a:lnTo>
                  <a:pt x="26" y="46"/>
                </a:lnTo>
                <a:lnTo>
                  <a:pt x="26" y="46"/>
                </a:lnTo>
                <a:close/>
                <a:moveTo>
                  <a:pt x="30" y="46"/>
                </a:moveTo>
                <a:lnTo>
                  <a:pt x="30" y="46"/>
                </a:lnTo>
                <a:lnTo>
                  <a:pt x="30" y="46"/>
                </a:lnTo>
                <a:lnTo>
                  <a:pt x="30" y="46"/>
                </a:lnTo>
                <a:lnTo>
                  <a:pt x="30" y="46"/>
                </a:lnTo>
                <a:lnTo>
                  <a:pt x="30" y="46"/>
                </a:lnTo>
                <a:lnTo>
                  <a:pt x="30" y="46"/>
                </a:lnTo>
                <a:lnTo>
                  <a:pt x="30" y="46"/>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49" name="Freeform 156"/>
          <p:cNvSpPr>
            <a:spLocks/>
          </p:cNvSpPr>
          <p:nvPr/>
        </p:nvSpPr>
        <p:spPr bwMode="auto">
          <a:xfrm>
            <a:off x="4052887" y="3181349"/>
            <a:ext cx="276225" cy="309563"/>
          </a:xfrm>
          <a:custGeom>
            <a:avLst/>
            <a:gdLst>
              <a:gd name="T0" fmla="*/ 26 w 232"/>
              <a:gd name="T1" fmla="*/ 226 h 260"/>
              <a:gd name="T2" fmla="*/ 18 w 232"/>
              <a:gd name="T3" fmla="*/ 224 h 260"/>
              <a:gd name="T4" fmla="*/ 8 w 232"/>
              <a:gd name="T5" fmla="*/ 224 h 260"/>
              <a:gd name="T6" fmla="*/ 12 w 232"/>
              <a:gd name="T7" fmla="*/ 208 h 260"/>
              <a:gd name="T8" fmla="*/ 0 w 232"/>
              <a:gd name="T9" fmla="*/ 200 h 260"/>
              <a:gd name="T10" fmla="*/ 4 w 232"/>
              <a:gd name="T11" fmla="*/ 190 h 260"/>
              <a:gd name="T12" fmla="*/ 0 w 232"/>
              <a:gd name="T13" fmla="*/ 182 h 260"/>
              <a:gd name="T14" fmla="*/ 8 w 232"/>
              <a:gd name="T15" fmla="*/ 168 h 260"/>
              <a:gd name="T16" fmla="*/ 18 w 232"/>
              <a:gd name="T17" fmla="*/ 174 h 260"/>
              <a:gd name="T18" fmla="*/ 30 w 232"/>
              <a:gd name="T19" fmla="*/ 170 h 260"/>
              <a:gd name="T20" fmla="*/ 42 w 232"/>
              <a:gd name="T21" fmla="*/ 168 h 260"/>
              <a:gd name="T22" fmla="*/ 60 w 232"/>
              <a:gd name="T23" fmla="*/ 168 h 260"/>
              <a:gd name="T24" fmla="*/ 82 w 232"/>
              <a:gd name="T25" fmla="*/ 168 h 260"/>
              <a:gd name="T26" fmla="*/ 98 w 232"/>
              <a:gd name="T27" fmla="*/ 152 h 260"/>
              <a:gd name="T28" fmla="*/ 90 w 232"/>
              <a:gd name="T29" fmla="*/ 122 h 260"/>
              <a:gd name="T30" fmla="*/ 86 w 232"/>
              <a:gd name="T31" fmla="*/ 92 h 260"/>
              <a:gd name="T32" fmla="*/ 86 w 232"/>
              <a:gd name="T33" fmla="*/ 68 h 260"/>
              <a:gd name="T34" fmla="*/ 82 w 232"/>
              <a:gd name="T35" fmla="*/ 42 h 260"/>
              <a:gd name="T36" fmla="*/ 78 w 232"/>
              <a:gd name="T37" fmla="*/ 12 h 260"/>
              <a:gd name="T38" fmla="*/ 90 w 232"/>
              <a:gd name="T39" fmla="*/ 0 h 260"/>
              <a:gd name="T40" fmla="*/ 120 w 232"/>
              <a:gd name="T41" fmla="*/ 12 h 260"/>
              <a:gd name="T42" fmla="*/ 142 w 232"/>
              <a:gd name="T43" fmla="*/ 34 h 260"/>
              <a:gd name="T44" fmla="*/ 164 w 232"/>
              <a:gd name="T45" fmla="*/ 52 h 260"/>
              <a:gd name="T46" fmla="*/ 188 w 232"/>
              <a:gd name="T47" fmla="*/ 72 h 260"/>
              <a:gd name="T48" fmla="*/ 194 w 232"/>
              <a:gd name="T49" fmla="*/ 78 h 260"/>
              <a:gd name="T50" fmla="*/ 206 w 232"/>
              <a:gd name="T51" fmla="*/ 86 h 260"/>
              <a:gd name="T52" fmla="*/ 218 w 232"/>
              <a:gd name="T53" fmla="*/ 96 h 260"/>
              <a:gd name="T54" fmla="*/ 228 w 232"/>
              <a:gd name="T55" fmla="*/ 104 h 260"/>
              <a:gd name="T56" fmla="*/ 232 w 232"/>
              <a:gd name="T57" fmla="*/ 130 h 260"/>
              <a:gd name="T58" fmla="*/ 232 w 232"/>
              <a:gd name="T59" fmla="*/ 152 h 260"/>
              <a:gd name="T60" fmla="*/ 224 w 232"/>
              <a:gd name="T61" fmla="*/ 164 h 260"/>
              <a:gd name="T62" fmla="*/ 214 w 232"/>
              <a:gd name="T63" fmla="*/ 168 h 260"/>
              <a:gd name="T64" fmla="*/ 188 w 232"/>
              <a:gd name="T65" fmla="*/ 174 h 260"/>
              <a:gd name="T66" fmla="*/ 176 w 232"/>
              <a:gd name="T67" fmla="*/ 178 h 260"/>
              <a:gd name="T68" fmla="*/ 164 w 232"/>
              <a:gd name="T69" fmla="*/ 174 h 260"/>
              <a:gd name="T70" fmla="*/ 146 w 232"/>
              <a:gd name="T71" fmla="*/ 186 h 260"/>
              <a:gd name="T72" fmla="*/ 132 w 232"/>
              <a:gd name="T73" fmla="*/ 194 h 260"/>
              <a:gd name="T74" fmla="*/ 128 w 232"/>
              <a:gd name="T75" fmla="*/ 200 h 260"/>
              <a:gd name="T76" fmla="*/ 120 w 232"/>
              <a:gd name="T77" fmla="*/ 204 h 260"/>
              <a:gd name="T78" fmla="*/ 112 w 232"/>
              <a:gd name="T79" fmla="*/ 212 h 260"/>
              <a:gd name="T80" fmla="*/ 104 w 232"/>
              <a:gd name="T81" fmla="*/ 226 h 260"/>
              <a:gd name="T82" fmla="*/ 98 w 232"/>
              <a:gd name="T83" fmla="*/ 242 h 260"/>
              <a:gd name="T84" fmla="*/ 94 w 232"/>
              <a:gd name="T85" fmla="*/ 256 h 260"/>
              <a:gd name="T86" fmla="*/ 82 w 232"/>
              <a:gd name="T87" fmla="*/ 256 h 260"/>
              <a:gd name="T88" fmla="*/ 82 w 232"/>
              <a:gd name="T89" fmla="*/ 250 h 260"/>
              <a:gd name="T90" fmla="*/ 74 w 232"/>
              <a:gd name="T91" fmla="*/ 260 h 260"/>
              <a:gd name="T92" fmla="*/ 60 w 232"/>
              <a:gd name="T93" fmla="*/ 256 h 260"/>
              <a:gd name="T94" fmla="*/ 52 w 232"/>
              <a:gd name="T95" fmla="*/ 250 h 260"/>
              <a:gd name="T96" fmla="*/ 48 w 232"/>
              <a:gd name="T97" fmla="*/ 242 h 260"/>
              <a:gd name="T98" fmla="*/ 44 w 232"/>
              <a:gd name="T99" fmla="*/ 234 h 260"/>
              <a:gd name="T100" fmla="*/ 42 w 232"/>
              <a:gd name="T101" fmla="*/ 220 h 260"/>
              <a:gd name="T102" fmla="*/ 34 w 232"/>
              <a:gd name="T103" fmla="*/ 226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2" h="260">
                <a:moveTo>
                  <a:pt x="34" y="226"/>
                </a:moveTo>
                <a:lnTo>
                  <a:pt x="30" y="226"/>
                </a:lnTo>
                <a:lnTo>
                  <a:pt x="30" y="224"/>
                </a:lnTo>
                <a:lnTo>
                  <a:pt x="26" y="224"/>
                </a:lnTo>
                <a:lnTo>
                  <a:pt x="26" y="226"/>
                </a:lnTo>
                <a:lnTo>
                  <a:pt x="22" y="226"/>
                </a:lnTo>
                <a:lnTo>
                  <a:pt x="22" y="230"/>
                </a:lnTo>
                <a:lnTo>
                  <a:pt x="18" y="230"/>
                </a:lnTo>
                <a:lnTo>
                  <a:pt x="18" y="226"/>
                </a:lnTo>
                <a:lnTo>
                  <a:pt x="18" y="224"/>
                </a:lnTo>
                <a:lnTo>
                  <a:pt x="14" y="224"/>
                </a:lnTo>
                <a:lnTo>
                  <a:pt x="14" y="226"/>
                </a:lnTo>
                <a:lnTo>
                  <a:pt x="12" y="226"/>
                </a:lnTo>
                <a:lnTo>
                  <a:pt x="8" y="226"/>
                </a:lnTo>
                <a:lnTo>
                  <a:pt x="8" y="224"/>
                </a:lnTo>
                <a:lnTo>
                  <a:pt x="12" y="224"/>
                </a:lnTo>
                <a:lnTo>
                  <a:pt x="12" y="220"/>
                </a:lnTo>
                <a:lnTo>
                  <a:pt x="12" y="216"/>
                </a:lnTo>
                <a:lnTo>
                  <a:pt x="12" y="212"/>
                </a:lnTo>
                <a:lnTo>
                  <a:pt x="12" y="208"/>
                </a:lnTo>
                <a:lnTo>
                  <a:pt x="8" y="208"/>
                </a:lnTo>
                <a:lnTo>
                  <a:pt x="8" y="204"/>
                </a:lnTo>
                <a:lnTo>
                  <a:pt x="4" y="204"/>
                </a:lnTo>
                <a:lnTo>
                  <a:pt x="4" y="200"/>
                </a:lnTo>
                <a:lnTo>
                  <a:pt x="0" y="200"/>
                </a:lnTo>
                <a:lnTo>
                  <a:pt x="0" y="196"/>
                </a:lnTo>
                <a:lnTo>
                  <a:pt x="4" y="196"/>
                </a:lnTo>
                <a:lnTo>
                  <a:pt x="4" y="194"/>
                </a:lnTo>
                <a:lnTo>
                  <a:pt x="0" y="194"/>
                </a:lnTo>
                <a:lnTo>
                  <a:pt x="4" y="190"/>
                </a:lnTo>
                <a:lnTo>
                  <a:pt x="0" y="190"/>
                </a:lnTo>
                <a:lnTo>
                  <a:pt x="0" y="186"/>
                </a:lnTo>
                <a:lnTo>
                  <a:pt x="0" y="182"/>
                </a:lnTo>
                <a:lnTo>
                  <a:pt x="0" y="178"/>
                </a:lnTo>
                <a:lnTo>
                  <a:pt x="0" y="182"/>
                </a:lnTo>
                <a:lnTo>
                  <a:pt x="4" y="178"/>
                </a:lnTo>
                <a:lnTo>
                  <a:pt x="4" y="174"/>
                </a:lnTo>
                <a:lnTo>
                  <a:pt x="4" y="170"/>
                </a:lnTo>
                <a:lnTo>
                  <a:pt x="4" y="168"/>
                </a:lnTo>
                <a:lnTo>
                  <a:pt x="8" y="168"/>
                </a:lnTo>
                <a:lnTo>
                  <a:pt x="8" y="164"/>
                </a:lnTo>
                <a:lnTo>
                  <a:pt x="12" y="164"/>
                </a:lnTo>
                <a:lnTo>
                  <a:pt x="12" y="168"/>
                </a:lnTo>
                <a:lnTo>
                  <a:pt x="14" y="170"/>
                </a:lnTo>
                <a:lnTo>
                  <a:pt x="18" y="174"/>
                </a:lnTo>
                <a:lnTo>
                  <a:pt x="18" y="170"/>
                </a:lnTo>
                <a:lnTo>
                  <a:pt x="18" y="168"/>
                </a:lnTo>
                <a:lnTo>
                  <a:pt x="22" y="168"/>
                </a:lnTo>
                <a:lnTo>
                  <a:pt x="26" y="168"/>
                </a:lnTo>
                <a:lnTo>
                  <a:pt x="30" y="170"/>
                </a:lnTo>
                <a:lnTo>
                  <a:pt x="34" y="170"/>
                </a:lnTo>
                <a:lnTo>
                  <a:pt x="34" y="168"/>
                </a:lnTo>
                <a:lnTo>
                  <a:pt x="38" y="168"/>
                </a:lnTo>
                <a:lnTo>
                  <a:pt x="42" y="164"/>
                </a:lnTo>
                <a:lnTo>
                  <a:pt x="42" y="168"/>
                </a:lnTo>
                <a:lnTo>
                  <a:pt x="44" y="168"/>
                </a:lnTo>
                <a:lnTo>
                  <a:pt x="48" y="168"/>
                </a:lnTo>
                <a:lnTo>
                  <a:pt x="52" y="168"/>
                </a:lnTo>
                <a:lnTo>
                  <a:pt x="56" y="168"/>
                </a:lnTo>
                <a:lnTo>
                  <a:pt x="60" y="168"/>
                </a:lnTo>
                <a:lnTo>
                  <a:pt x="64" y="168"/>
                </a:lnTo>
                <a:lnTo>
                  <a:pt x="68" y="168"/>
                </a:lnTo>
                <a:lnTo>
                  <a:pt x="72" y="168"/>
                </a:lnTo>
                <a:lnTo>
                  <a:pt x="78" y="168"/>
                </a:lnTo>
                <a:lnTo>
                  <a:pt x="82" y="168"/>
                </a:lnTo>
                <a:lnTo>
                  <a:pt x="86" y="168"/>
                </a:lnTo>
                <a:lnTo>
                  <a:pt x="94" y="168"/>
                </a:lnTo>
                <a:lnTo>
                  <a:pt x="94" y="160"/>
                </a:lnTo>
                <a:lnTo>
                  <a:pt x="98" y="156"/>
                </a:lnTo>
                <a:lnTo>
                  <a:pt x="98" y="152"/>
                </a:lnTo>
                <a:lnTo>
                  <a:pt x="94" y="148"/>
                </a:lnTo>
                <a:lnTo>
                  <a:pt x="94" y="144"/>
                </a:lnTo>
                <a:lnTo>
                  <a:pt x="90" y="134"/>
                </a:lnTo>
                <a:lnTo>
                  <a:pt x="90" y="126"/>
                </a:lnTo>
                <a:lnTo>
                  <a:pt x="90" y="122"/>
                </a:lnTo>
                <a:lnTo>
                  <a:pt x="90" y="118"/>
                </a:lnTo>
                <a:lnTo>
                  <a:pt x="90" y="112"/>
                </a:lnTo>
                <a:lnTo>
                  <a:pt x="90" y="104"/>
                </a:lnTo>
                <a:lnTo>
                  <a:pt x="90" y="100"/>
                </a:lnTo>
                <a:lnTo>
                  <a:pt x="86" y="92"/>
                </a:lnTo>
                <a:lnTo>
                  <a:pt x="86" y="86"/>
                </a:lnTo>
                <a:lnTo>
                  <a:pt x="86" y="78"/>
                </a:lnTo>
                <a:lnTo>
                  <a:pt x="86" y="74"/>
                </a:lnTo>
                <a:lnTo>
                  <a:pt x="86" y="72"/>
                </a:lnTo>
                <a:lnTo>
                  <a:pt x="86" y="68"/>
                </a:lnTo>
                <a:lnTo>
                  <a:pt x="86" y="64"/>
                </a:lnTo>
                <a:lnTo>
                  <a:pt x="86" y="60"/>
                </a:lnTo>
                <a:lnTo>
                  <a:pt x="82" y="56"/>
                </a:lnTo>
                <a:lnTo>
                  <a:pt x="82" y="52"/>
                </a:lnTo>
                <a:lnTo>
                  <a:pt x="82" y="42"/>
                </a:lnTo>
                <a:lnTo>
                  <a:pt x="82" y="38"/>
                </a:lnTo>
                <a:lnTo>
                  <a:pt x="82" y="30"/>
                </a:lnTo>
                <a:lnTo>
                  <a:pt x="82" y="22"/>
                </a:lnTo>
                <a:lnTo>
                  <a:pt x="78" y="16"/>
                </a:lnTo>
                <a:lnTo>
                  <a:pt x="78" y="12"/>
                </a:lnTo>
                <a:lnTo>
                  <a:pt x="78" y="8"/>
                </a:lnTo>
                <a:lnTo>
                  <a:pt x="78" y="0"/>
                </a:lnTo>
                <a:lnTo>
                  <a:pt x="82" y="0"/>
                </a:lnTo>
                <a:lnTo>
                  <a:pt x="86" y="0"/>
                </a:lnTo>
                <a:lnTo>
                  <a:pt x="90" y="0"/>
                </a:lnTo>
                <a:lnTo>
                  <a:pt x="102" y="0"/>
                </a:lnTo>
                <a:lnTo>
                  <a:pt x="104" y="0"/>
                </a:lnTo>
                <a:lnTo>
                  <a:pt x="108" y="4"/>
                </a:lnTo>
                <a:lnTo>
                  <a:pt x="112" y="8"/>
                </a:lnTo>
                <a:lnTo>
                  <a:pt x="120" y="12"/>
                </a:lnTo>
                <a:lnTo>
                  <a:pt x="124" y="16"/>
                </a:lnTo>
                <a:lnTo>
                  <a:pt x="128" y="18"/>
                </a:lnTo>
                <a:lnTo>
                  <a:pt x="132" y="22"/>
                </a:lnTo>
                <a:lnTo>
                  <a:pt x="138" y="26"/>
                </a:lnTo>
                <a:lnTo>
                  <a:pt x="142" y="34"/>
                </a:lnTo>
                <a:lnTo>
                  <a:pt x="146" y="38"/>
                </a:lnTo>
                <a:lnTo>
                  <a:pt x="154" y="42"/>
                </a:lnTo>
                <a:lnTo>
                  <a:pt x="158" y="44"/>
                </a:lnTo>
                <a:lnTo>
                  <a:pt x="160" y="48"/>
                </a:lnTo>
                <a:lnTo>
                  <a:pt x="164" y="52"/>
                </a:lnTo>
                <a:lnTo>
                  <a:pt x="172" y="56"/>
                </a:lnTo>
                <a:lnTo>
                  <a:pt x="176" y="60"/>
                </a:lnTo>
                <a:lnTo>
                  <a:pt x="180" y="60"/>
                </a:lnTo>
                <a:lnTo>
                  <a:pt x="184" y="68"/>
                </a:lnTo>
                <a:lnTo>
                  <a:pt x="188" y="72"/>
                </a:lnTo>
                <a:lnTo>
                  <a:pt x="190" y="72"/>
                </a:lnTo>
                <a:lnTo>
                  <a:pt x="190" y="74"/>
                </a:lnTo>
                <a:lnTo>
                  <a:pt x="188" y="74"/>
                </a:lnTo>
                <a:lnTo>
                  <a:pt x="190" y="78"/>
                </a:lnTo>
                <a:lnTo>
                  <a:pt x="194" y="78"/>
                </a:lnTo>
                <a:lnTo>
                  <a:pt x="194" y="82"/>
                </a:lnTo>
                <a:lnTo>
                  <a:pt x="198" y="82"/>
                </a:lnTo>
                <a:lnTo>
                  <a:pt x="198" y="86"/>
                </a:lnTo>
                <a:lnTo>
                  <a:pt x="202" y="86"/>
                </a:lnTo>
                <a:lnTo>
                  <a:pt x="206" y="86"/>
                </a:lnTo>
                <a:lnTo>
                  <a:pt x="206" y="88"/>
                </a:lnTo>
                <a:lnTo>
                  <a:pt x="210" y="88"/>
                </a:lnTo>
                <a:lnTo>
                  <a:pt x="214" y="88"/>
                </a:lnTo>
                <a:lnTo>
                  <a:pt x="218" y="92"/>
                </a:lnTo>
                <a:lnTo>
                  <a:pt x="218" y="96"/>
                </a:lnTo>
                <a:lnTo>
                  <a:pt x="218" y="100"/>
                </a:lnTo>
                <a:lnTo>
                  <a:pt x="218" y="104"/>
                </a:lnTo>
                <a:lnTo>
                  <a:pt x="220" y="108"/>
                </a:lnTo>
                <a:lnTo>
                  <a:pt x="224" y="104"/>
                </a:lnTo>
                <a:lnTo>
                  <a:pt x="228" y="104"/>
                </a:lnTo>
                <a:lnTo>
                  <a:pt x="232" y="104"/>
                </a:lnTo>
                <a:lnTo>
                  <a:pt x="232" y="108"/>
                </a:lnTo>
                <a:lnTo>
                  <a:pt x="232" y="112"/>
                </a:lnTo>
                <a:lnTo>
                  <a:pt x="232" y="122"/>
                </a:lnTo>
                <a:lnTo>
                  <a:pt x="232" y="130"/>
                </a:lnTo>
                <a:lnTo>
                  <a:pt x="232" y="134"/>
                </a:lnTo>
                <a:lnTo>
                  <a:pt x="232" y="138"/>
                </a:lnTo>
                <a:lnTo>
                  <a:pt x="232" y="142"/>
                </a:lnTo>
                <a:lnTo>
                  <a:pt x="232" y="144"/>
                </a:lnTo>
                <a:lnTo>
                  <a:pt x="232" y="152"/>
                </a:lnTo>
                <a:lnTo>
                  <a:pt x="228" y="152"/>
                </a:lnTo>
                <a:lnTo>
                  <a:pt x="228" y="156"/>
                </a:lnTo>
                <a:lnTo>
                  <a:pt x="228" y="160"/>
                </a:lnTo>
                <a:lnTo>
                  <a:pt x="228" y="164"/>
                </a:lnTo>
                <a:lnTo>
                  <a:pt x="224" y="164"/>
                </a:lnTo>
                <a:lnTo>
                  <a:pt x="224" y="168"/>
                </a:lnTo>
                <a:lnTo>
                  <a:pt x="220" y="168"/>
                </a:lnTo>
                <a:lnTo>
                  <a:pt x="220" y="170"/>
                </a:lnTo>
                <a:lnTo>
                  <a:pt x="218" y="168"/>
                </a:lnTo>
                <a:lnTo>
                  <a:pt x="214" y="168"/>
                </a:lnTo>
                <a:lnTo>
                  <a:pt x="214" y="170"/>
                </a:lnTo>
                <a:lnTo>
                  <a:pt x="210" y="170"/>
                </a:lnTo>
                <a:lnTo>
                  <a:pt x="198" y="170"/>
                </a:lnTo>
                <a:lnTo>
                  <a:pt x="190" y="170"/>
                </a:lnTo>
                <a:lnTo>
                  <a:pt x="188" y="174"/>
                </a:lnTo>
                <a:lnTo>
                  <a:pt x="184" y="178"/>
                </a:lnTo>
                <a:lnTo>
                  <a:pt x="180" y="178"/>
                </a:lnTo>
                <a:lnTo>
                  <a:pt x="180" y="174"/>
                </a:lnTo>
                <a:lnTo>
                  <a:pt x="180" y="178"/>
                </a:lnTo>
                <a:lnTo>
                  <a:pt x="176" y="178"/>
                </a:lnTo>
                <a:lnTo>
                  <a:pt x="176" y="174"/>
                </a:lnTo>
                <a:lnTo>
                  <a:pt x="176" y="178"/>
                </a:lnTo>
                <a:lnTo>
                  <a:pt x="172" y="174"/>
                </a:lnTo>
                <a:lnTo>
                  <a:pt x="168" y="174"/>
                </a:lnTo>
                <a:lnTo>
                  <a:pt x="164" y="174"/>
                </a:lnTo>
                <a:lnTo>
                  <a:pt x="160" y="174"/>
                </a:lnTo>
                <a:lnTo>
                  <a:pt x="158" y="178"/>
                </a:lnTo>
                <a:lnTo>
                  <a:pt x="154" y="182"/>
                </a:lnTo>
                <a:lnTo>
                  <a:pt x="150" y="186"/>
                </a:lnTo>
                <a:lnTo>
                  <a:pt x="146" y="186"/>
                </a:lnTo>
                <a:lnTo>
                  <a:pt x="142" y="186"/>
                </a:lnTo>
                <a:lnTo>
                  <a:pt x="142" y="190"/>
                </a:lnTo>
                <a:lnTo>
                  <a:pt x="138" y="190"/>
                </a:lnTo>
                <a:lnTo>
                  <a:pt x="134" y="190"/>
                </a:lnTo>
                <a:lnTo>
                  <a:pt x="132" y="194"/>
                </a:lnTo>
                <a:lnTo>
                  <a:pt x="132" y="196"/>
                </a:lnTo>
                <a:lnTo>
                  <a:pt x="132" y="200"/>
                </a:lnTo>
                <a:lnTo>
                  <a:pt x="128" y="200"/>
                </a:lnTo>
                <a:lnTo>
                  <a:pt x="128" y="196"/>
                </a:lnTo>
                <a:lnTo>
                  <a:pt x="128" y="200"/>
                </a:lnTo>
                <a:lnTo>
                  <a:pt x="128" y="204"/>
                </a:lnTo>
                <a:lnTo>
                  <a:pt x="124" y="204"/>
                </a:lnTo>
                <a:lnTo>
                  <a:pt x="124" y="208"/>
                </a:lnTo>
                <a:lnTo>
                  <a:pt x="120" y="208"/>
                </a:lnTo>
                <a:lnTo>
                  <a:pt x="120" y="204"/>
                </a:lnTo>
                <a:lnTo>
                  <a:pt x="116" y="204"/>
                </a:lnTo>
                <a:lnTo>
                  <a:pt x="116" y="200"/>
                </a:lnTo>
                <a:lnTo>
                  <a:pt x="112" y="204"/>
                </a:lnTo>
                <a:lnTo>
                  <a:pt x="112" y="208"/>
                </a:lnTo>
                <a:lnTo>
                  <a:pt x="112" y="212"/>
                </a:lnTo>
                <a:lnTo>
                  <a:pt x="112" y="216"/>
                </a:lnTo>
                <a:lnTo>
                  <a:pt x="108" y="216"/>
                </a:lnTo>
                <a:lnTo>
                  <a:pt x="108" y="220"/>
                </a:lnTo>
                <a:lnTo>
                  <a:pt x="108" y="224"/>
                </a:lnTo>
                <a:lnTo>
                  <a:pt x="104" y="226"/>
                </a:lnTo>
                <a:lnTo>
                  <a:pt x="102" y="226"/>
                </a:lnTo>
                <a:lnTo>
                  <a:pt x="98" y="230"/>
                </a:lnTo>
                <a:lnTo>
                  <a:pt x="98" y="234"/>
                </a:lnTo>
                <a:lnTo>
                  <a:pt x="98" y="238"/>
                </a:lnTo>
                <a:lnTo>
                  <a:pt x="98" y="242"/>
                </a:lnTo>
                <a:lnTo>
                  <a:pt x="98" y="246"/>
                </a:lnTo>
                <a:lnTo>
                  <a:pt x="94" y="246"/>
                </a:lnTo>
                <a:lnTo>
                  <a:pt x="94" y="250"/>
                </a:lnTo>
                <a:lnTo>
                  <a:pt x="94" y="252"/>
                </a:lnTo>
                <a:lnTo>
                  <a:pt x="94" y="256"/>
                </a:lnTo>
                <a:lnTo>
                  <a:pt x="94" y="252"/>
                </a:lnTo>
                <a:lnTo>
                  <a:pt x="90" y="256"/>
                </a:lnTo>
                <a:lnTo>
                  <a:pt x="86" y="256"/>
                </a:lnTo>
                <a:lnTo>
                  <a:pt x="86" y="260"/>
                </a:lnTo>
                <a:lnTo>
                  <a:pt x="82" y="256"/>
                </a:lnTo>
                <a:lnTo>
                  <a:pt x="86" y="256"/>
                </a:lnTo>
                <a:lnTo>
                  <a:pt x="86" y="252"/>
                </a:lnTo>
                <a:lnTo>
                  <a:pt x="82" y="252"/>
                </a:lnTo>
                <a:lnTo>
                  <a:pt x="86" y="252"/>
                </a:lnTo>
                <a:lnTo>
                  <a:pt x="82" y="250"/>
                </a:lnTo>
                <a:lnTo>
                  <a:pt x="82" y="252"/>
                </a:lnTo>
                <a:lnTo>
                  <a:pt x="78" y="252"/>
                </a:lnTo>
                <a:lnTo>
                  <a:pt x="78" y="256"/>
                </a:lnTo>
                <a:lnTo>
                  <a:pt x="74" y="256"/>
                </a:lnTo>
                <a:lnTo>
                  <a:pt x="74" y="260"/>
                </a:lnTo>
                <a:lnTo>
                  <a:pt x="72" y="260"/>
                </a:lnTo>
                <a:lnTo>
                  <a:pt x="72" y="256"/>
                </a:lnTo>
                <a:lnTo>
                  <a:pt x="68" y="256"/>
                </a:lnTo>
                <a:lnTo>
                  <a:pt x="64" y="256"/>
                </a:lnTo>
                <a:lnTo>
                  <a:pt x="60" y="256"/>
                </a:lnTo>
                <a:lnTo>
                  <a:pt x="60" y="260"/>
                </a:lnTo>
                <a:lnTo>
                  <a:pt x="60" y="256"/>
                </a:lnTo>
                <a:lnTo>
                  <a:pt x="56" y="256"/>
                </a:lnTo>
                <a:lnTo>
                  <a:pt x="56" y="252"/>
                </a:lnTo>
                <a:lnTo>
                  <a:pt x="52" y="250"/>
                </a:lnTo>
                <a:lnTo>
                  <a:pt x="56" y="250"/>
                </a:lnTo>
                <a:lnTo>
                  <a:pt x="56" y="246"/>
                </a:lnTo>
                <a:lnTo>
                  <a:pt x="52" y="246"/>
                </a:lnTo>
                <a:lnTo>
                  <a:pt x="48" y="246"/>
                </a:lnTo>
                <a:lnTo>
                  <a:pt x="48" y="242"/>
                </a:lnTo>
                <a:lnTo>
                  <a:pt x="52" y="242"/>
                </a:lnTo>
                <a:lnTo>
                  <a:pt x="52" y="238"/>
                </a:lnTo>
                <a:lnTo>
                  <a:pt x="48" y="238"/>
                </a:lnTo>
                <a:lnTo>
                  <a:pt x="48" y="234"/>
                </a:lnTo>
                <a:lnTo>
                  <a:pt x="44" y="234"/>
                </a:lnTo>
                <a:lnTo>
                  <a:pt x="48" y="230"/>
                </a:lnTo>
                <a:lnTo>
                  <a:pt x="48" y="226"/>
                </a:lnTo>
                <a:lnTo>
                  <a:pt x="44" y="224"/>
                </a:lnTo>
                <a:lnTo>
                  <a:pt x="44" y="220"/>
                </a:lnTo>
                <a:lnTo>
                  <a:pt x="42" y="220"/>
                </a:lnTo>
                <a:lnTo>
                  <a:pt x="38" y="220"/>
                </a:lnTo>
                <a:lnTo>
                  <a:pt x="42" y="220"/>
                </a:lnTo>
                <a:lnTo>
                  <a:pt x="42" y="224"/>
                </a:lnTo>
                <a:lnTo>
                  <a:pt x="38" y="224"/>
                </a:lnTo>
                <a:lnTo>
                  <a:pt x="34" y="226"/>
                </a:lnTo>
                <a:lnTo>
                  <a:pt x="34" y="226"/>
                </a:lnTo>
                <a:lnTo>
                  <a:pt x="34" y="226"/>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50" name="Freeform 157"/>
          <p:cNvSpPr>
            <a:spLocks noEditPoints="1"/>
          </p:cNvSpPr>
          <p:nvPr/>
        </p:nvSpPr>
        <p:spPr bwMode="auto">
          <a:xfrm>
            <a:off x="3967162" y="3131343"/>
            <a:ext cx="209550" cy="266700"/>
          </a:xfrm>
          <a:custGeom>
            <a:avLst/>
            <a:gdLst>
              <a:gd name="T0" fmla="*/ 90 w 176"/>
              <a:gd name="T1" fmla="*/ 218 h 224"/>
              <a:gd name="T2" fmla="*/ 84 w 176"/>
              <a:gd name="T3" fmla="*/ 210 h 224"/>
              <a:gd name="T4" fmla="*/ 80 w 176"/>
              <a:gd name="T5" fmla="*/ 206 h 224"/>
              <a:gd name="T6" fmla="*/ 76 w 176"/>
              <a:gd name="T7" fmla="*/ 210 h 224"/>
              <a:gd name="T8" fmla="*/ 76 w 176"/>
              <a:gd name="T9" fmla="*/ 218 h 224"/>
              <a:gd name="T10" fmla="*/ 72 w 176"/>
              <a:gd name="T11" fmla="*/ 220 h 224"/>
              <a:gd name="T12" fmla="*/ 64 w 176"/>
              <a:gd name="T13" fmla="*/ 218 h 224"/>
              <a:gd name="T14" fmla="*/ 60 w 176"/>
              <a:gd name="T15" fmla="*/ 214 h 224"/>
              <a:gd name="T16" fmla="*/ 60 w 176"/>
              <a:gd name="T17" fmla="*/ 210 h 224"/>
              <a:gd name="T18" fmla="*/ 54 w 176"/>
              <a:gd name="T19" fmla="*/ 198 h 224"/>
              <a:gd name="T20" fmla="*/ 50 w 176"/>
              <a:gd name="T21" fmla="*/ 198 h 224"/>
              <a:gd name="T22" fmla="*/ 38 w 176"/>
              <a:gd name="T23" fmla="*/ 190 h 224"/>
              <a:gd name="T24" fmla="*/ 30 w 176"/>
              <a:gd name="T25" fmla="*/ 190 h 224"/>
              <a:gd name="T26" fmla="*/ 26 w 176"/>
              <a:gd name="T27" fmla="*/ 190 h 224"/>
              <a:gd name="T28" fmla="*/ 20 w 176"/>
              <a:gd name="T29" fmla="*/ 190 h 224"/>
              <a:gd name="T30" fmla="*/ 16 w 176"/>
              <a:gd name="T31" fmla="*/ 190 h 224"/>
              <a:gd name="T32" fmla="*/ 12 w 176"/>
              <a:gd name="T33" fmla="*/ 194 h 224"/>
              <a:gd name="T34" fmla="*/ 8 w 176"/>
              <a:gd name="T35" fmla="*/ 194 h 224"/>
              <a:gd name="T36" fmla="*/ 12 w 176"/>
              <a:gd name="T37" fmla="*/ 190 h 224"/>
              <a:gd name="T38" fmla="*/ 16 w 176"/>
              <a:gd name="T39" fmla="*/ 180 h 224"/>
              <a:gd name="T40" fmla="*/ 16 w 176"/>
              <a:gd name="T41" fmla="*/ 172 h 224"/>
              <a:gd name="T42" fmla="*/ 16 w 176"/>
              <a:gd name="T43" fmla="*/ 158 h 224"/>
              <a:gd name="T44" fmla="*/ 16 w 176"/>
              <a:gd name="T45" fmla="*/ 154 h 224"/>
              <a:gd name="T46" fmla="*/ 12 w 176"/>
              <a:gd name="T47" fmla="*/ 146 h 224"/>
              <a:gd name="T48" fmla="*/ 12 w 176"/>
              <a:gd name="T49" fmla="*/ 142 h 224"/>
              <a:gd name="T50" fmla="*/ 12 w 176"/>
              <a:gd name="T51" fmla="*/ 138 h 224"/>
              <a:gd name="T52" fmla="*/ 12 w 176"/>
              <a:gd name="T53" fmla="*/ 138 h 224"/>
              <a:gd name="T54" fmla="*/ 12 w 176"/>
              <a:gd name="T55" fmla="*/ 124 h 224"/>
              <a:gd name="T56" fmla="*/ 8 w 176"/>
              <a:gd name="T57" fmla="*/ 120 h 224"/>
              <a:gd name="T58" fmla="*/ 4 w 176"/>
              <a:gd name="T59" fmla="*/ 114 h 224"/>
              <a:gd name="T60" fmla="*/ 0 w 176"/>
              <a:gd name="T61" fmla="*/ 118 h 224"/>
              <a:gd name="T62" fmla="*/ 4 w 176"/>
              <a:gd name="T63" fmla="*/ 110 h 224"/>
              <a:gd name="T64" fmla="*/ 30 w 176"/>
              <a:gd name="T65" fmla="*/ 110 h 224"/>
              <a:gd name="T66" fmla="*/ 60 w 176"/>
              <a:gd name="T67" fmla="*/ 110 h 224"/>
              <a:gd name="T68" fmla="*/ 56 w 176"/>
              <a:gd name="T69" fmla="*/ 88 h 224"/>
              <a:gd name="T70" fmla="*/ 60 w 176"/>
              <a:gd name="T71" fmla="*/ 80 h 224"/>
              <a:gd name="T72" fmla="*/ 72 w 176"/>
              <a:gd name="T73" fmla="*/ 72 h 224"/>
              <a:gd name="T74" fmla="*/ 72 w 176"/>
              <a:gd name="T75" fmla="*/ 46 h 224"/>
              <a:gd name="T76" fmla="*/ 72 w 176"/>
              <a:gd name="T77" fmla="*/ 30 h 224"/>
              <a:gd name="T78" fmla="*/ 102 w 176"/>
              <a:gd name="T79" fmla="*/ 24 h 224"/>
              <a:gd name="T80" fmla="*/ 120 w 176"/>
              <a:gd name="T81" fmla="*/ 24 h 224"/>
              <a:gd name="T82" fmla="*/ 120 w 176"/>
              <a:gd name="T83" fmla="*/ 0 h 224"/>
              <a:gd name="T84" fmla="*/ 142 w 176"/>
              <a:gd name="T85" fmla="*/ 20 h 224"/>
              <a:gd name="T86" fmla="*/ 166 w 176"/>
              <a:gd name="T87" fmla="*/ 34 h 224"/>
              <a:gd name="T88" fmla="*/ 172 w 176"/>
              <a:gd name="T89" fmla="*/ 42 h 224"/>
              <a:gd name="T90" fmla="*/ 150 w 176"/>
              <a:gd name="T91" fmla="*/ 50 h 224"/>
              <a:gd name="T92" fmla="*/ 154 w 176"/>
              <a:gd name="T93" fmla="*/ 80 h 224"/>
              <a:gd name="T94" fmla="*/ 158 w 176"/>
              <a:gd name="T95" fmla="*/ 110 h 224"/>
              <a:gd name="T96" fmla="*/ 162 w 176"/>
              <a:gd name="T97" fmla="*/ 142 h 224"/>
              <a:gd name="T98" fmla="*/ 162 w 176"/>
              <a:gd name="T99" fmla="*/ 168 h 224"/>
              <a:gd name="T100" fmla="*/ 166 w 176"/>
              <a:gd name="T101" fmla="*/ 202 h 224"/>
              <a:gd name="T102" fmla="*/ 154 w 176"/>
              <a:gd name="T103" fmla="*/ 210 h 224"/>
              <a:gd name="T104" fmla="*/ 132 w 176"/>
              <a:gd name="T105" fmla="*/ 210 h 224"/>
              <a:gd name="T106" fmla="*/ 116 w 176"/>
              <a:gd name="T107" fmla="*/ 210 h 224"/>
              <a:gd name="T108" fmla="*/ 110 w 176"/>
              <a:gd name="T109" fmla="*/ 210 h 224"/>
              <a:gd name="T110" fmla="*/ 106 w 176"/>
              <a:gd name="T111" fmla="*/ 214 h 224"/>
              <a:gd name="T112" fmla="*/ 98 w 176"/>
              <a:gd name="T113" fmla="*/ 210 h 224"/>
              <a:gd name="T114" fmla="*/ 90 w 176"/>
              <a:gd name="T115" fmla="*/ 210 h 224"/>
              <a:gd name="T116" fmla="*/ 12 w 176"/>
              <a:gd name="T117" fmla="*/ 134 h 224"/>
              <a:gd name="T118" fmla="*/ 12 w 176"/>
              <a:gd name="T119" fmla="*/ 138 h 224"/>
              <a:gd name="T120" fmla="*/ 12 w 176"/>
              <a:gd name="T121" fmla="*/ 13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6" h="224">
                <a:moveTo>
                  <a:pt x="90" y="210"/>
                </a:moveTo>
                <a:lnTo>
                  <a:pt x="90" y="214"/>
                </a:lnTo>
                <a:lnTo>
                  <a:pt x="90" y="214"/>
                </a:lnTo>
                <a:lnTo>
                  <a:pt x="90" y="214"/>
                </a:lnTo>
                <a:lnTo>
                  <a:pt x="90" y="214"/>
                </a:lnTo>
                <a:lnTo>
                  <a:pt x="90" y="218"/>
                </a:lnTo>
                <a:lnTo>
                  <a:pt x="90" y="218"/>
                </a:lnTo>
                <a:lnTo>
                  <a:pt x="86" y="214"/>
                </a:lnTo>
                <a:lnTo>
                  <a:pt x="86" y="214"/>
                </a:lnTo>
                <a:lnTo>
                  <a:pt x="86" y="214"/>
                </a:lnTo>
                <a:lnTo>
                  <a:pt x="86" y="214"/>
                </a:lnTo>
                <a:lnTo>
                  <a:pt x="86" y="214"/>
                </a:lnTo>
                <a:lnTo>
                  <a:pt x="84" y="210"/>
                </a:lnTo>
                <a:lnTo>
                  <a:pt x="84" y="210"/>
                </a:lnTo>
                <a:lnTo>
                  <a:pt x="84" y="210"/>
                </a:lnTo>
                <a:lnTo>
                  <a:pt x="84" y="210"/>
                </a:lnTo>
                <a:lnTo>
                  <a:pt x="84" y="210"/>
                </a:lnTo>
                <a:lnTo>
                  <a:pt x="84" y="210"/>
                </a:lnTo>
                <a:lnTo>
                  <a:pt x="84" y="206"/>
                </a:lnTo>
                <a:lnTo>
                  <a:pt x="84" y="206"/>
                </a:lnTo>
                <a:lnTo>
                  <a:pt x="80" y="206"/>
                </a:lnTo>
                <a:lnTo>
                  <a:pt x="80" y="210"/>
                </a:lnTo>
                <a:lnTo>
                  <a:pt x="80" y="210"/>
                </a:lnTo>
                <a:lnTo>
                  <a:pt x="80" y="210"/>
                </a:lnTo>
                <a:lnTo>
                  <a:pt x="80" y="210"/>
                </a:lnTo>
                <a:lnTo>
                  <a:pt x="80" y="210"/>
                </a:lnTo>
                <a:lnTo>
                  <a:pt x="80" y="210"/>
                </a:lnTo>
                <a:lnTo>
                  <a:pt x="76" y="210"/>
                </a:lnTo>
                <a:lnTo>
                  <a:pt x="76" y="210"/>
                </a:lnTo>
                <a:lnTo>
                  <a:pt x="76" y="214"/>
                </a:lnTo>
                <a:lnTo>
                  <a:pt x="76" y="214"/>
                </a:lnTo>
                <a:lnTo>
                  <a:pt x="76" y="218"/>
                </a:lnTo>
                <a:lnTo>
                  <a:pt x="76" y="218"/>
                </a:lnTo>
                <a:lnTo>
                  <a:pt x="76" y="218"/>
                </a:lnTo>
                <a:lnTo>
                  <a:pt x="76" y="218"/>
                </a:lnTo>
                <a:lnTo>
                  <a:pt x="76" y="220"/>
                </a:lnTo>
                <a:lnTo>
                  <a:pt x="76" y="220"/>
                </a:lnTo>
                <a:lnTo>
                  <a:pt x="76" y="220"/>
                </a:lnTo>
                <a:lnTo>
                  <a:pt x="76" y="220"/>
                </a:lnTo>
                <a:lnTo>
                  <a:pt x="72" y="224"/>
                </a:lnTo>
                <a:lnTo>
                  <a:pt x="72" y="224"/>
                </a:lnTo>
                <a:lnTo>
                  <a:pt x="72" y="220"/>
                </a:lnTo>
                <a:lnTo>
                  <a:pt x="72" y="220"/>
                </a:lnTo>
                <a:lnTo>
                  <a:pt x="68" y="220"/>
                </a:lnTo>
                <a:lnTo>
                  <a:pt x="68" y="220"/>
                </a:lnTo>
                <a:lnTo>
                  <a:pt x="68" y="220"/>
                </a:lnTo>
                <a:lnTo>
                  <a:pt x="68" y="220"/>
                </a:lnTo>
                <a:lnTo>
                  <a:pt x="68" y="218"/>
                </a:lnTo>
                <a:lnTo>
                  <a:pt x="64" y="218"/>
                </a:lnTo>
                <a:lnTo>
                  <a:pt x="64" y="218"/>
                </a:lnTo>
                <a:lnTo>
                  <a:pt x="64" y="218"/>
                </a:lnTo>
                <a:lnTo>
                  <a:pt x="64" y="218"/>
                </a:lnTo>
                <a:lnTo>
                  <a:pt x="60" y="218"/>
                </a:lnTo>
                <a:lnTo>
                  <a:pt x="60" y="214"/>
                </a:lnTo>
                <a:lnTo>
                  <a:pt x="60" y="214"/>
                </a:lnTo>
                <a:lnTo>
                  <a:pt x="60" y="214"/>
                </a:lnTo>
                <a:lnTo>
                  <a:pt x="60" y="214"/>
                </a:lnTo>
                <a:lnTo>
                  <a:pt x="60" y="214"/>
                </a:lnTo>
                <a:lnTo>
                  <a:pt x="60" y="214"/>
                </a:lnTo>
                <a:lnTo>
                  <a:pt x="60" y="214"/>
                </a:lnTo>
                <a:lnTo>
                  <a:pt x="60" y="214"/>
                </a:lnTo>
                <a:lnTo>
                  <a:pt x="60" y="214"/>
                </a:lnTo>
                <a:lnTo>
                  <a:pt x="60" y="210"/>
                </a:lnTo>
                <a:lnTo>
                  <a:pt x="56" y="210"/>
                </a:lnTo>
                <a:lnTo>
                  <a:pt x="56" y="210"/>
                </a:lnTo>
                <a:lnTo>
                  <a:pt x="56" y="210"/>
                </a:lnTo>
                <a:lnTo>
                  <a:pt x="56" y="206"/>
                </a:lnTo>
                <a:lnTo>
                  <a:pt x="56" y="206"/>
                </a:lnTo>
                <a:lnTo>
                  <a:pt x="54" y="202"/>
                </a:lnTo>
                <a:lnTo>
                  <a:pt x="54" y="198"/>
                </a:lnTo>
                <a:lnTo>
                  <a:pt x="54" y="198"/>
                </a:lnTo>
                <a:lnTo>
                  <a:pt x="50" y="198"/>
                </a:lnTo>
                <a:lnTo>
                  <a:pt x="50" y="198"/>
                </a:lnTo>
                <a:lnTo>
                  <a:pt x="50" y="198"/>
                </a:lnTo>
                <a:lnTo>
                  <a:pt x="50" y="198"/>
                </a:lnTo>
                <a:lnTo>
                  <a:pt x="50" y="198"/>
                </a:lnTo>
                <a:lnTo>
                  <a:pt x="50" y="198"/>
                </a:lnTo>
                <a:lnTo>
                  <a:pt x="50" y="198"/>
                </a:lnTo>
                <a:lnTo>
                  <a:pt x="46" y="198"/>
                </a:lnTo>
                <a:lnTo>
                  <a:pt x="46" y="194"/>
                </a:lnTo>
                <a:lnTo>
                  <a:pt x="46" y="194"/>
                </a:lnTo>
                <a:lnTo>
                  <a:pt x="42" y="190"/>
                </a:lnTo>
                <a:lnTo>
                  <a:pt x="42" y="190"/>
                </a:lnTo>
                <a:lnTo>
                  <a:pt x="38" y="190"/>
                </a:lnTo>
                <a:lnTo>
                  <a:pt x="38" y="190"/>
                </a:lnTo>
                <a:lnTo>
                  <a:pt x="38" y="190"/>
                </a:lnTo>
                <a:lnTo>
                  <a:pt x="34" y="190"/>
                </a:lnTo>
                <a:lnTo>
                  <a:pt x="34" y="190"/>
                </a:lnTo>
                <a:lnTo>
                  <a:pt x="34" y="190"/>
                </a:lnTo>
                <a:lnTo>
                  <a:pt x="30" y="190"/>
                </a:lnTo>
                <a:lnTo>
                  <a:pt x="30" y="190"/>
                </a:lnTo>
                <a:lnTo>
                  <a:pt x="30" y="190"/>
                </a:lnTo>
                <a:lnTo>
                  <a:pt x="30" y="190"/>
                </a:lnTo>
                <a:lnTo>
                  <a:pt x="30" y="188"/>
                </a:lnTo>
                <a:lnTo>
                  <a:pt x="30" y="190"/>
                </a:lnTo>
                <a:lnTo>
                  <a:pt x="30" y="190"/>
                </a:lnTo>
                <a:lnTo>
                  <a:pt x="30" y="190"/>
                </a:lnTo>
                <a:lnTo>
                  <a:pt x="26" y="190"/>
                </a:lnTo>
                <a:lnTo>
                  <a:pt x="26" y="190"/>
                </a:lnTo>
                <a:lnTo>
                  <a:pt x="24" y="190"/>
                </a:lnTo>
                <a:lnTo>
                  <a:pt x="24" y="190"/>
                </a:lnTo>
                <a:lnTo>
                  <a:pt x="24" y="190"/>
                </a:lnTo>
                <a:lnTo>
                  <a:pt x="24" y="190"/>
                </a:lnTo>
                <a:lnTo>
                  <a:pt x="20" y="190"/>
                </a:lnTo>
                <a:lnTo>
                  <a:pt x="20" y="190"/>
                </a:lnTo>
                <a:lnTo>
                  <a:pt x="20" y="190"/>
                </a:lnTo>
                <a:lnTo>
                  <a:pt x="20" y="190"/>
                </a:lnTo>
                <a:lnTo>
                  <a:pt x="20" y="190"/>
                </a:lnTo>
                <a:lnTo>
                  <a:pt x="16" y="190"/>
                </a:lnTo>
                <a:lnTo>
                  <a:pt x="16" y="190"/>
                </a:lnTo>
                <a:lnTo>
                  <a:pt x="16" y="190"/>
                </a:lnTo>
                <a:lnTo>
                  <a:pt x="16" y="190"/>
                </a:lnTo>
                <a:lnTo>
                  <a:pt x="16" y="190"/>
                </a:lnTo>
                <a:lnTo>
                  <a:pt x="12" y="190"/>
                </a:lnTo>
                <a:lnTo>
                  <a:pt x="12" y="190"/>
                </a:lnTo>
                <a:lnTo>
                  <a:pt x="12" y="194"/>
                </a:lnTo>
                <a:lnTo>
                  <a:pt x="12" y="194"/>
                </a:lnTo>
                <a:lnTo>
                  <a:pt x="12" y="194"/>
                </a:lnTo>
                <a:lnTo>
                  <a:pt x="12" y="194"/>
                </a:lnTo>
                <a:lnTo>
                  <a:pt x="12" y="198"/>
                </a:lnTo>
                <a:lnTo>
                  <a:pt x="8" y="198"/>
                </a:lnTo>
                <a:lnTo>
                  <a:pt x="8" y="198"/>
                </a:lnTo>
                <a:lnTo>
                  <a:pt x="8" y="198"/>
                </a:lnTo>
                <a:lnTo>
                  <a:pt x="8" y="194"/>
                </a:lnTo>
                <a:lnTo>
                  <a:pt x="8" y="194"/>
                </a:lnTo>
                <a:lnTo>
                  <a:pt x="8" y="194"/>
                </a:lnTo>
                <a:lnTo>
                  <a:pt x="8" y="194"/>
                </a:lnTo>
                <a:lnTo>
                  <a:pt x="8" y="194"/>
                </a:lnTo>
                <a:lnTo>
                  <a:pt x="12" y="190"/>
                </a:lnTo>
                <a:lnTo>
                  <a:pt x="12" y="190"/>
                </a:lnTo>
                <a:lnTo>
                  <a:pt x="12" y="190"/>
                </a:lnTo>
                <a:lnTo>
                  <a:pt x="12" y="190"/>
                </a:lnTo>
                <a:lnTo>
                  <a:pt x="12" y="190"/>
                </a:lnTo>
                <a:lnTo>
                  <a:pt x="12" y="188"/>
                </a:lnTo>
                <a:lnTo>
                  <a:pt x="12" y="188"/>
                </a:lnTo>
                <a:lnTo>
                  <a:pt x="12" y="184"/>
                </a:lnTo>
                <a:lnTo>
                  <a:pt x="12" y="184"/>
                </a:lnTo>
                <a:lnTo>
                  <a:pt x="12" y="184"/>
                </a:lnTo>
                <a:lnTo>
                  <a:pt x="12" y="184"/>
                </a:lnTo>
                <a:lnTo>
                  <a:pt x="16" y="180"/>
                </a:lnTo>
                <a:lnTo>
                  <a:pt x="16" y="180"/>
                </a:lnTo>
                <a:lnTo>
                  <a:pt x="16" y="176"/>
                </a:lnTo>
                <a:lnTo>
                  <a:pt x="16" y="176"/>
                </a:lnTo>
                <a:lnTo>
                  <a:pt x="16" y="176"/>
                </a:lnTo>
                <a:lnTo>
                  <a:pt x="16" y="172"/>
                </a:lnTo>
                <a:lnTo>
                  <a:pt x="16" y="172"/>
                </a:lnTo>
                <a:lnTo>
                  <a:pt x="16" y="172"/>
                </a:lnTo>
                <a:lnTo>
                  <a:pt x="16" y="168"/>
                </a:lnTo>
                <a:lnTo>
                  <a:pt x="16" y="164"/>
                </a:lnTo>
                <a:lnTo>
                  <a:pt x="16" y="164"/>
                </a:lnTo>
                <a:lnTo>
                  <a:pt x="16" y="160"/>
                </a:lnTo>
                <a:lnTo>
                  <a:pt x="16" y="160"/>
                </a:lnTo>
                <a:lnTo>
                  <a:pt x="16" y="160"/>
                </a:lnTo>
                <a:lnTo>
                  <a:pt x="16" y="158"/>
                </a:lnTo>
                <a:lnTo>
                  <a:pt x="16" y="158"/>
                </a:lnTo>
                <a:lnTo>
                  <a:pt x="16" y="158"/>
                </a:lnTo>
                <a:lnTo>
                  <a:pt x="16" y="158"/>
                </a:lnTo>
                <a:lnTo>
                  <a:pt x="16" y="158"/>
                </a:lnTo>
                <a:lnTo>
                  <a:pt x="16" y="158"/>
                </a:lnTo>
                <a:lnTo>
                  <a:pt x="16" y="154"/>
                </a:lnTo>
                <a:lnTo>
                  <a:pt x="16" y="154"/>
                </a:lnTo>
                <a:lnTo>
                  <a:pt x="16" y="150"/>
                </a:lnTo>
                <a:lnTo>
                  <a:pt x="16" y="150"/>
                </a:lnTo>
                <a:lnTo>
                  <a:pt x="16" y="150"/>
                </a:lnTo>
                <a:lnTo>
                  <a:pt x="12" y="150"/>
                </a:lnTo>
                <a:lnTo>
                  <a:pt x="12" y="146"/>
                </a:lnTo>
                <a:lnTo>
                  <a:pt x="12" y="146"/>
                </a:lnTo>
                <a:lnTo>
                  <a:pt x="12" y="146"/>
                </a:lnTo>
                <a:lnTo>
                  <a:pt x="12" y="146"/>
                </a:lnTo>
                <a:lnTo>
                  <a:pt x="12" y="146"/>
                </a:lnTo>
                <a:lnTo>
                  <a:pt x="12" y="146"/>
                </a:lnTo>
                <a:lnTo>
                  <a:pt x="12" y="142"/>
                </a:lnTo>
                <a:lnTo>
                  <a:pt x="8" y="142"/>
                </a:lnTo>
                <a:lnTo>
                  <a:pt x="8" y="142"/>
                </a:lnTo>
                <a:lnTo>
                  <a:pt x="12" y="142"/>
                </a:lnTo>
                <a:lnTo>
                  <a:pt x="12" y="142"/>
                </a:lnTo>
                <a:lnTo>
                  <a:pt x="12" y="142"/>
                </a:lnTo>
                <a:lnTo>
                  <a:pt x="12" y="142"/>
                </a:lnTo>
                <a:lnTo>
                  <a:pt x="12" y="138"/>
                </a:lnTo>
                <a:lnTo>
                  <a:pt x="12" y="138"/>
                </a:lnTo>
                <a:lnTo>
                  <a:pt x="12" y="138"/>
                </a:lnTo>
                <a:lnTo>
                  <a:pt x="12" y="138"/>
                </a:lnTo>
                <a:lnTo>
                  <a:pt x="12" y="142"/>
                </a:lnTo>
                <a:lnTo>
                  <a:pt x="12" y="142"/>
                </a:lnTo>
                <a:lnTo>
                  <a:pt x="12" y="142"/>
                </a:lnTo>
                <a:lnTo>
                  <a:pt x="12" y="142"/>
                </a:lnTo>
                <a:lnTo>
                  <a:pt x="12" y="138"/>
                </a:lnTo>
                <a:lnTo>
                  <a:pt x="12" y="138"/>
                </a:lnTo>
                <a:lnTo>
                  <a:pt x="12" y="138"/>
                </a:lnTo>
                <a:lnTo>
                  <a:pt x="12" y="138"/>
                </a:lnTo>
                <a:lnTo>
                  <a:pt x="12" y="134"/>
                </a:lnTo>
                <a:lnTo>
                  <a:pt x="12" y="132"/>
                </a:lnTo>
                <a:lnTo>
                  <a:pt x="12" y="132"/>
                </a:lnTo>
                <a:lnTo>
                  <a:pt x="16" y="128"/>
                </a:lnTo>
                <a:lnTo>
                  <a:pt x="12" y="128"/>
                </a:lnTo>
                <a:lnTo>
                  <a:pt x="12" y="124"/>
                </a:lnTo>
                <a:lnTo>
                  <a:pt x="12" y="124"/>
                </a:lnTo>
                <a:lnTo>
                  <a:pt x="12" y="120"/>
                </a:lnTo>
                <a:lnTo>
                  <a:pt x="12" y="120"/>
                </a:lnTo>
                <a:lnTo>
                  <a:pt x="12" y="120"/>
                </a:lnTo>
                <a:lnTo>
                  <a:pt x="8" y="120"/>
                </a:lnTo>
                <a:lnTo>
                  <a:pt x="8" y="118"/>
                </a:lnTo>
                <a:lnTo>
                  <a:pt x="8" y="120"/>
                </a:lnTo>
                <a:lnTo>
                  <a:pt x="8" y="120"/>
                </a:lnTo>
                <a:lnTo>
                  <a:pt x="8" y="120"/>
                </a:lnTo>
                <a:lnTo>
                  <a:pt x="8" y="120"/>
                </a:lnTo>
                <a:lnTo>
                  <a:pt x="8" y="120"/>
                </a:lnTo>
                <a:lnTo>
                  <a:pt x="8" y="120"/>
                </a:lnTo>
                <a:lnTo>
                  <a:pt x="4" y="114"/>
                </a:lnTo>
                <a:lnTo>
                  <a:pt x="4" y="114"/>
                </a:lnTo>
                <a:lnTo>
                  <a:pt x="4" y="110"/>
                </a:lnTo>
                <a:lnTo>
                  <a:pt x="4" y="114"/>
                </a:lnTo>
                <a:lnTo>
                  <a:pt x="0" y="114"/>
                </a:lnTo>
                <a:lnTo>
                  <a:pt x="4" y="114"/>
                </a:lnTo>
                <a:lnTo>
                  <a:pt x="0" y="118"/>
                </a:lnTo>
                <a:lnTo>
                  <a:pt x="0" y="118"/>
                </a:lnTo>
                <a:lnTo>
                  <a:pt x="0" y="118"/>
                </a:lnTo>
                <a:lnTo>
                  <a:pt x="0" y="118"/>
                </a:lnTo>
                <a:lnTo>
                  <a:pt x="0" y="118"/>
                </a:lnTo>
                <a:lnTo>
                  <a:pt x="0" y="114"/>
                </a:lnTo>
                <a:lnTo>
                  <a:pt x="0" y="114"/>
                </a:lnTo>
                <a:lnTo>
                  <a:pt x="4" y="114"/>
                </a:lnTo>
                <a:lnTo>
                  <a:pt x="4" y="110"/>
                </a:lnTo>
                <a:lnTo>
                  <a:pt x="4" y="110"/>
                </a:lnTo>
                <a:lnTo>
                  <a:pt x="8" y="110"/>
                </a:lnTo>
                <a:lnTo>
                  <a:pt x="16" y="110"/>
                </a:lnTo>
                <a:lnTo>
                  <a:pt x="16" y="110"/>
                </a:lnTo>
                <a:lnTo>
                  <a:pt x="20" y="110"/>
                </a:lnTo>
                <a:lnTo>
                  <a:pt x="20" y="110"/>
                </a:lnTo>
                <a:lnTo>
                  <a:pt x="26" y="110"/>
                </a:lnTo>
                <a:lnTo>
                  <a:pt x="30" y="110"/>
                </a:lnTo>
                <a:lnTo>
                  <a:pt x="34" y="110"/>
                </a:lnTo>
                <a:lnTo>
                  <a:pt x="38" y="110"/>
                </a:lnTo>
                <a:lnTo>
                  <a:pt x="42" y="110"/>
                </a:lnTo>
                <a:lnTo>
                  <a:pt x="42" y="110"/>
                </a:lnTo>
                <a:lnTo>
                  <a:pt x="46" y="110"/>
                </a:lnTo>
                <a:lnTo>
                  <a:pt x="54" y="110"/>
                </a:lnTo>
                <a:lnTo>
                  <a:pt x="60" y="110"/>
                </a:lnTo>
                <a:lnTo>
                  <a:pt x="60" y="106"/>
                </a:lnTo>
                <a:lnTo>
                  <a:pt x="60" y="98"/>
                </a:lnTo>
                <a:lnTo>
                  <a:pt x="56" y="94"/>
                </a:lnTo>
                <a:lnTo>
                  <a:pt x="56" y="94"/>
                </a:lnTo>
                <a:lnTo>
                  <a:pt x="56" y="90"/>
                </a:lnTo>
                <a:lnTo>
                  <a:pt x="56" y="90"/>
                </a:lnTo>
                <a:lnTo>
                  <a:pt x="56" y="88"/>
                </a:lnTo>
                <a:lnTo>
                  <a:pt x="56" y="88"/>
                </a:lnTo>
                <a:lnTo>
                  <a:pt x="56" y="88"/>
                </a:lnTo>
                <a:lnTo>
                  <a:pt x="56" y="84"/>
                </a:lnTo>
                <a:lnTo>
                  <a:pt x="56" y="84"/>
                </a:lnTo>
                <a:lnTo>
                  <a:pt x="56" y="80"/>
                </a:lnTo>
                <a:lnTo>
                  <a:pt x="56" y="80"/>
                </a:lnTo>
                <a:lnTo>
                  <a:pt x="60" y="80"/>
                </a:lnTo>
                <a:lnTo>
                  <a:pt x="64" y="76"/>
                </a:lnTo>
                <a:lnTo>
                  <a:pt x="64" y="76"/>
                </a:lnTo>
                <a:lnTo>
                  <a:pt x="64" y="72"/>
                </a:lnTo>
                <a:lnTo>
                  <a:pt x="64" y="72"/>
                </a:lnTo>
                <a:lnTo>
                  <a:pt x="68" y="72"/>
                </a:lnTo>
                <a:lnTo>
                  <a:pt x="72" y="72"/>
                </a:lnTo>
                <a:lnTo>
                  <a:pt x="72" y="72"/>
                </a:lnTo>
                <a:lnTo>
                  <a:pt x="72" y="72"/>
                </a:lnTo>
                <a:lnTo>
                  <a:pt x="72" y="64"/>
                </a:lnTo>
                <a:lnTo>
                  <a:pt x="72" y="60"/>
                </a:lnTo>
                <a:lnTo>
                  <a:pt x="72" y="54"/>
                </a:lnTo>
                <a:lnTo>
                  <a:pt x="72" y="54"/>
                </a:lnTo>
                <a:lnTo>
                  <a:pt x="72" y="46"/>
                </a:lnTo>
                <a:lnTo>
                  <a:pt x="72" y="46"/>
                </a:lnTo>
                <a:lnTo>
                  <a:pt x="72" y="46"/>
                </a:lnTo>
                <a:lnTo>
                  <a:pt x="72" y="38"/>
                </a:lnTo>
                <a:lnTo>
                  <a:pt x="72" y="38"/>
                </a:lnTo>
                <a:lnTo>
                  <a:pt x="72" y="38"/>
                </a:lnTo>
                <a:lnTo>
                  <a:pt x="72" y="30"/>
                </a:lnTo>
                <a:lnTo>
                  <a:pt x="72" y="30"/>
                </a:lnTo>
                <a:lnTo>
                  <a:pt x="72" y="30"/>
                </a:lnTo>
                <a:lnTo>
                  <a:pt x="72" y="24"/>
                </a:lnTo>
                <a:lnTo>
                  <a:pt x="80" y="24"/>
                </a:lnTo>
                <a:lnTo>
                  <a:pt x="84" y="24"/>
                </a:lnTo>
                <a:lnTo>
                  <a:pt x="90" y="24"/>
                </a:lnTo>
                <a:lnTo>
                  <a:pt x="94" y="24"/>
                </a:lnTo>
                <a:lnTo>
                  <a:pt x="102" y="24"/>
                </a:lnTo>
                <a:lnTo>
                  <a:pt x="102" y="24"/>
                </a:lnTo>
                <a:lnTo>
                  <a:pt x="102" y="24"/>
                </a:lnTo>
                <a:lnTo>
                  <a:pt x="102" y="24"/>
                </a:lnTo>
                <a:lnTo>
                  <a:pt x="106" y="24"/>
                </a:lnTo>
                <a:lnTo>
                  <a:pt x="106" y="24"/>
                </a:lnTo>
                <a:lnTo>
                  <a:pt x="110" y="24"/>
                </a:lnTo>
                <a:lnTo>
                  <a:pt x="110" y="24"/>
                </a:lnTo>
                <a:lnTo>
                  <a:pt x="120" y="24"/>
                </a:lnTo>
                <a:lnTo>
                  <a:pt x="120" y="24"/>
                </a:lnTo>
                <a:lnTo>
                  <a:pt x="120" y="24"/>
                </a:lnTo>
                <a:lnTo>
                  <a:pt x="120" y="16"/>
                </a:lnTo>
                <a:lnTo>
                  <a:pt x="120" y="8"/>
                </a:lnTo>
                <a:lnTo>
                  <a:pt x="120" y="8"/>
                </a:lnTo>
                <a:lnTo>
                  <a:pt x="120" y="0"/>
                </a:lnTo>
                <a:lnTo>
                  <a:pt x="120" y="0"/>
                </a:lnTo>
                <a:lnTo>
                  <a:pt x="128" y="4"/>
                </a:lnTo>
                <a:lnTo>
                  <a:pt x="128" y="8"/>
                </a:lnTo>
                <a:lnTo>
                  <a:pt x="136" y="12"/>
                </a:lnTo>
                <a:lnTo>
                  <a:pt x="136" y="12"/>
                </a:lnTo>
                <a:lnTo>
                  <a:pt x="140" y="16"/>
                </a:lnTo>
                <a:lnTo>
                  <a:pt x="142" y="16"/>
                </a:lnTo>
                <a:lnTo>
                  <a:pt x="142" y="20"/>
                </a:lnTo>
                <a:lnTo>
                  <a:pt x="146" y="20"/>
                </a:lnTo>
                <a:lnTo>
                  <a:pt x="150" y="24"/>
                </a:lnTo>
                <a:lnTo>
                  <a:pt x="154" y="28"/>
                </a:lnTo>
                <a:lnTo>
                  <a:pt x="154" y="28"/>
                </a:lnTo>
                <a:lnTo>
                  <a:pt x="162" y="30"/>
                </a:lnTo>
                <a:lnTo>
                  <a:pt x="162" y="30"/>
                </a:lnTo>
                <a:lnTo>
                  <a:pt x="166" y="34"/>
                </a:lnTo>
                <a:lnTo>
                  <a:pt x="170" y="38"/>
                </a:lnTo>
                <a:lnTo>
                  <a:pt x="172" y="42"/>
                </a:lnTo>
                <a:lnTo>
                  <a:pt x="172" y="42"/>
                </a:lnTo>
                <a:lnTo>
                  <a:pt x="176" y="42"/>
                </a:lnTo>
                <a:lnTo>
                  <a:pt x="176" y="42"/>
                </a:lnTo>
                <a:lnTo>
                  <a:pt x="176" y="42"/>
                </a:lnTo>
                <a:lnTo>
                  <a:pt x="172" y="42"/>
                </a:lnTo>
                <a:lnTo>
                  <a:pt x="162" y="42"/>
                </a:lnTo>
                <a:lnTo>
                  <a:pt x="158" y="42"/>
                </a:lnTo>
                <a:lnTo>
                  <a:pt x="154" y="42"/>
                </a:lnTo>
                <a:lnTo>
                  <a:pt x="154" y="42"/>
                </a:lnTo>
                <a:lnTo>
                  <a:pt x="150" y="42"/>
                </a:lnTo>
                <a:lnTo>
                  <a:pt x="150" y="42"/>
                </a:lnTo>
                <a:lnTo>
                  <a:pt x="150" y="50"/>
                </a:lnTo>
                <a:lnTo>
                  <a:pt x="150" y="50"/>
                </a:lnTo>
                <a:lnTo>
                  <a:pt x="150" y="54"/>
                </a:lnTo>
                <a:lnTo>
                  <a:pt x="150" y="58"/>
                </a:lnTo>
                <a:lnTo>
                  <a:pt x="154" y="64"/>
                </a:lnTo>
                <a:lnTo>
                  <a:pt x="154" y="72"/>
                </a:lnTo>
                <a:lnTo>
                  <a:pt x="154" y="80"/>
                </a:lnTo>
                <a:lnTo>
                  <a:pt x="154" y="80"/>
                </a:lnTo>
                <a:lnTo>
                  <a:pt x="154" y="80"/>
                </a:lnTo>
                <a:lnTo>
                  <a:pt x="154" y="84"/>
                </a:lnTo>
                <a:lnTo>
                  <a:pt x="154" y="94"/>
                </a:lnTo>
                <a:lnTo>
                  <a:pt x="154" y="98"/>
                </a:lnTo>
                <a:lnTo>
                  <a:pt x="158" y="102"/>
                </a:lnTo>
                <a:lnTo>
                  <a:pt x="158" y="106"/>
                </a:lnTo>
                <a:lnTo>
                  <a:pt x="158" y="110"/>
                </a:lnTo>
                <a:lnTo>
                  <a:pt x="158" y="114"/>
                </a:lnTo>
                <a:lnTo>
                  <a:pt x="158" y="118"/>
                </a:lnTo>
                <a:lnTo>
                  <a:pt x="158" y="120"/>
                </a:lnTo>
                <a:lnTo>
                  <a:pt x="158" y="128"/>
                </a:lnTo>
                <a:lnTo>
                  <a:pt x="158" y="134"/>
                </a:lnTo>
                <a:lnTo>
                  <a:pt x="158" y="134"/>
                </a:lnTo>
                <a:lnTo>
                  <a:pt x="162" y="142"/>
                </a:lnTo>
                <a:lnTo>
                  <a:pt x="162" y="146"/>
                </a:lnTo>
                <a:lnTo>
                  <a:pt x="162" y="146"/>
                </a:lnTo>
                <a:lnTo>
                  <a:pt x="162" y="154"/>
                </a:lnTo>
                <a:lnTo>
                  <a:pt x="162" y="154"/>
                </a:lnTo>
                <a:lnTo>
                  <a:pt x="162" y="160"/>
                </a:lnTo>
                <a:lnTo>
                  <a:pt x="162" y="164"/>
                </a:lnTo>
                <a:lnTo>
                  <a:pt x="162" y="168"/>
                </a:lnTo>
                <a:lnTo>
                  <a:pt x="162" y="176"/>
                </a:lnTo>
                <a:lnTo>
                  <a:pt x="166" y="188"/>
                </a:lnTo>
                <a:lnTo>
                  <a:pt x="166" y="190"/>
                </a:lnTo>
                <a:lnTo>
                  <a:pt x="170" y="194"/>
                </a:lnTo>
                <a:lnTo>
                  <a:pt x="170" y="198"/>
                </a:lnTo>
                <a:lnTo>
                  <a:pt x="170" y="198"/>
                </a:lnTo>
                <a:lnTo>
                  <a:pt x="166" y="202"/>
                </a:lnTo>
                <a:lnTo>
                  <a:pt x="166" y="210"/>
                </a:lnTo>
                <a:lnTo>
                  <a:pt x="166" y="210"/>
                </a:lnTo>
                <a:lnTo>
                  <a:pt x="166" y="210"/>
                </a:lnTo>
                <a:lnTo>
                  <a:pt x="166" y="210"/>
                </a:lnTo>
                <a:lnTo>
                  <a:pt x="158" y="210"/>
                </a:lnTo>
                <a:lnTo>
                  <a:pt x="154" y="210"/>
                </a:lnTo>
                <a:lnTo>
                  <a:pt x="154" y="210"/>
                </a:lnTo>
                <a:lnTo>
                  <a:pt x="154" y="210"/>
                </a:lnTo>
                <a:lnTo>
                  <a:pt x="150" y="210"/>
                </a:lnTo>
                <a:lnTo>
                  <a:pt x="142" y="210"/>
                </a:lnTo>
                <a:lnTo>
                  <a:pt x="140" y="210"/>
                </a:lnTo>
                <a:lnTo>
                  <a:pt x="140" y="210"/>
                </a:lnTo>
                <a:lnTo>
                  <a:pt x="136" y="210"/>
                </a:lnTo>
                <a:lnTo>
                  <a:pt x="132" y="210"/>
                </a:lnTo>
                <a:lnTo>
                  <a:pt x="128" y="210"/>
                </a:lnTo>
                <a:lnTo>
                  <a:pt x="124" y="210"/>
                </a:lnTo>
                <a:lnTo>
                  <a:pt x="124" y="210"/>
                </a:lnTo>
                <a:lnTo>
                  <a:pt x="120" y="210"/>
                </a:lnTo>
                <a:lnTo>
                  <a:pt x="116" y="210"/>
                </a:lnTo>
                <a:lnTo>
                  <a:pt x="116" y="210"/>
                </a:lnTo>
                <a:lnTo>
                  <a:pt x="116" y="210"/>
                </a:lnTo>
                <a:lnTo>
                  <a:pt x="112" y="210"/>
                </a:lnTo>
                <a:lnTo>
                  <a:pt x="112" y="210"/>
                </a:lnTo>
                <a:lnTo>
                  <a:pt x="112" y="210"/>
                </a:lnTo>
                <a:lnTo>
                  <a:pt x="112" y="210"/>
                </a:lnTo>
                <a:lnTo>
                  <a:pt x="112" y="206"/>
                </a:lnTo>
                <a:lnTo>
                  <a:pt x="112" y="206"/>
                </a:lnTo>
                <a:lnTo>
                  <a:pt x="110" y="210"/>
                </a:lnTo>
                <a:lnTo>
                  <a:pt x="110" y="210"/>
                </a:lnTo>
                <a:lnTo>
                  <a:pt x="110" y="210"/>
                </a:lnTo>
                <a:lnTo>
                  <a:pt x="106" y="210"/>
                </a:lnTo>
                <a:lnTo>
                  <a:pt x="106" y="210"/>
                </a:lnTo>
                <a:lnTo>
                  <a:pt x="106" y="214"/>
                </a:lnTo>
                <a:lnTo>
                  <a:pt x="106" y="214"/>
                </a:lnTo>
                <a:lnTo>
                  <a:pt x="106" y="214"/>
                </a:lnTo>
                <a:lnTo>
                  <a:pt x="102" y="214"/>
                </a:lnTo>
                <a:lnTo>
                  <a:pt x="102" y="214"/>
                </a:lnTo>
                <a:lnTo>
                  <a:pt x="102" y="214"/>
                </a:lnTo>
                <a:lnTo>
                  <a:pt x="102" y="214"/>
                </a:lnTo>
                <a:lnTo>
                  <a:pt x="98" y="210"/>
                </a:lnTo>
                <a:lnTo>
                  <a:pt x="98" y="210"/>
                </a:lnTo>
                <a:lnTo>
                  <a:pt x="98" y="210"/>
                </a:lnTo>
                <a:lnTo>
                  <a:pt x="94" y="210"/>
                </a:lnTo>
                <a:lnTo>
                  <a:pt x="94" y="210"/>
                </a:lnTo>
                <a:lnTo>
                  <a:pt x="94" y="210"/>
                </a:lnTo>
                <a:lnTo>
                  <a:pt x="94" y="210"/>
                </a:lnTo>
                <a:lnTo>
                  <a:pt x="90" y="210"/>
                </a:lnTo>
                <a:lnTo>
                  <a:pt x="90" y="210"/>
                </a:lnTo>
                <a:lnTo>
                  <a:pt x="90" y="210"/>
                </a:lnTo>
                <a:lnTo>
                  <a:pt x="90" y="210"/>
                </a:lnTo>
                <a:close/>
                <a:moveTo>
                  <a:pt x="12" y="138"/>
                </a:moveTo>
                <a:lnTo>
                  <a:pt x="12" y="138"/>
                </a:lnTo>
                <a:lnTo>
                  <a:pt x="12" y="138"/>
                </a:lnTo>
                <a:lnTo>
                  <a:pt x="12" y="134"/>
                </a:lnTo>
                <a:lnTo>
                  <a:pt x="12" y="134"/>
                </a:lnTo>
                <a:lnTo>
                  <a:pt x="12" y="134"/>
                </a:lnTo>
                <a:lnTo>
                  <a:pt x="12" y="134"/>
                </a:lnTo>
                <a:lnTo>
                  <a:pt x="12" y="134"/>
                </a:lnTo>
                <a:lnTo>
                  <a:pt x="12" y="134"/>
                </a:lnTo>
                <a:lnTo>
                  <a:pt x="12" y="134"/>
                </a:lnTo>
                <a:lnTo>
                  <a:pt x="12" y="134"/>
                </a:lnTo>
                <a:lnTo>
                  <a:pt x="12" y="134"/>
                </a:lnTo>
                <a:lnTo>
                  <a:pt x="12" y="138"/>
                </a:lnTo>
                <a:lnTo>
                  <a:pt x="12" y="138"/>
                </a:lnTo>
                <a:lnTo>
                  <a:pt x="12" y="138"/>
                </a:lnTo>
                <a:lnTo>
                  <a:pt x="12" y="138"/>
                </a:lnTo>
                <a:lnTo>
                  <a:pt x="12" y="138"/>
                </a:lnTo>
                <a:lnTo>
                  <a:pt x="12" y="138"/>
                </a:lnTo>
                <a:lnTo>
                  <a:pt x="12" y="138"/>
                </a:lnTo>
                <a:lnTo>
                  <a:pt x="12" y="138"/>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51" name="Freeform 158"/>
          <p:cNvSpPr>
            <a:spLocks/>
          </p:cNvSpPr>
          <p:nvPr/>
        </p:nvSpPr>
        <p:spPr bwMode="auto">
          <a:xfrm>
            <a:off x="4036218" y="2940844"/>
            <a:ext cx="204788" cy="183356"/>
          </a:xfrm>
          <a:custGeom>
            <a:avLst/>
            <a:gdLst>
              <a:gd name="T0" fmla="*/ 126 w 172"/>
              <a:gd name="T1" fmla="*/ 16 h 154"/>
              <a:gd name="T2" fmla="*/ 134 w 172"/>
              <a:gd name="T3" fmla="*/ 16 h 154"/>
              <a:gd name="T4" fmla="*/ 142 w 172"/>
              <a:gd name="T5" fmla="*/ 16 h 154"/>
              <a:gd name="T6" fmla="*/ 146 w 172"/>
              <a:gd name="T7" fmla="*/ 16 h 154"/>
              <a:gd name="T8" fmla="*/ 146 w 172"/>
              <a:gd name="T9" fmla="*/ 16 h 154"/>
              <a:gd name="T10" fmla="*/ 148 w 172"/>
              <a:gd name="T11" fmla="*/ 16 h 154"/>
              <a:gd name="T12" fmla="*/ 156 w 172"/>
              <a:gd name="T13" fmla="*/ 20 h 154"/>
              <a:gd name="T14" fmla="*/ 160 w 172"/>
              <a:gd name="T15" fmla="*/ 26 h 154"/>
              <a:gd name="T16" fmla="*/ 164 w 172"/>
              <a:gd name="T17" fmla="*/ 38 h 154"/>
              <a:gd name="T18" fmla="*/ 164 w 172"/>
              <a:gd name="T19" fmla="*/ 46 h 154"/>
              <a:gd name="T20" fmla="*/ 164 w 172"/>
              <a:gd name="T21" fmla="*/ 56 h 154"/>
              <a:gd name="T22" fmla="*/ 172 w 172"/>
              <a:gd name="T23" fmla="*/ 64 h 154"/>
              <a:gd name="T24" fmla="*/ 168 w 172"/>
              <a:gd name="T25" fmla="*/ 72 h 154"/>
              <a:gd name="T26" fmla="*/ 168 w 172"/>
              <a:gd name="T27" fmla="*/ 76 h 154"/>
              <a:gd name="T28" fmla="*/ 160 w 172"/>
              <a:gd name="T29" fmla="*/ 72 h 154"/>
              <a:gd name="T30" fmla="*/ 152 w 172"/>
              <a:gd name="T31" fmla="*/ 72 h 154"/>
              <a:gd name="T32" fmla="*/ 146 w 172"/>
              <a:gd name="T33" fmla="*/ 76 h 154"/>
              <a:gd name="T34" fmla="*/ 142 w 172"/>
              <a:gd name="T35" fmla="*/ 78 h 154"/>
              <a:gd name="T36" fmla="*/ 134 w 172"/>
              <a:gd name="T37" fmla="*/ 78 h 154"/>
              <a:gd name="T38" fmla="*/ 130 w 172"/>
              <a:gd name="T39" fmla="*/ 86 h 154"/>
              <a:gd name="T40" fmla="*/ 134 w 172"/>
              <a:gd name="T41" fmla="*/ 94 h 154"/>
              <a:gd name="T42" fmla="*/ 130 w 172"/>
              <a:gd name="T43" fmla="*/ 94 h 154"/>
              <a:gd name="T44" fmla="*/ 126 w 172"/>
              <a:gd name="T45" fmla="*/ 98 h 154"/>
              <a:gd name="T46" fmla="*/ 118 w 172"/>
              <a:gd name="T47" fmla="*/ 102 h 154"/>
              <a:gd name="T48" fmla="*/ 116 w 172"/>
              <a:gd name="T49" fmla="*/ 108 h 154"/>
              <a:gd name="T50" fmla="*/ 112 w 172"/>
              <a:gd name="T51" fmla="*/ 112 h 154"/>
              <a:gd name="T52" fmla="*/ 100 w 172"/>
              <a:gd name="T53" fmla="*/ 116 h 154"/>
              <a:gd name="T54" fmla="*/ 96 w 172"/>
              <a:gd name="T55" fmla="*/ 116 h 154"/>
              <a:gd name="T56" fmla="*/ 92 w 172"/>
              <a:gd name="T57" fmla="*/ 120 h 154"/>
              <a:gd name="T58" fmla="*/ 86 w 172"/>
              <a:gd name="T59" fmla="*/ 120 h 154"/>
              <a:gd name="T60" fmla="*/ 78 w 172"/>
              <a:gd name="T61" fmla="*/ 124 h 154"/>
              <a:gd name="T62" fmla="*/ 74 w 172"/>
              <a:gd name="T63" fmla="*/ 124 h 154"/>
              <a:gd name="T64" fmla="*/ 66 w 172"/>
              <a:gd name="T65" fmla="*/ 130 h 154"/>
              <a:gd name="T66" fmla="*/ 62 w 172"/>
              <a:gd name="T67" fmla="*/ 154 h 154"/>
              <a:gd name="T68" fmla="*/ 44 w 172"/>
              <a:gd name="T69" fmla="*/ 154 h 154"/>
              <a:gd name="T70" fmla="*/ 0 w 172"/>
              <a:gd name="T71" fmla="*/ 154 h 154"/>
              <a:gd name="T72" fmla="*/ 4 w 172"/>
              <a:gd name="T73" fmla="*/ 150 h 154"/>
              <a:gd name="T74" fmla="*/ 18 w 172"/>
              <a:gd name="T75" fmla="*/ 146 h 154"/>
              <a:gd name="T76" fmla="*/ 30 w 172"/>
              <a:gd name="T77" fmla="*/ 134 h 154"/>
              <a:gd name="T78" fmla="*/ 36 w 172"/>
              <a:gd name="T79" fmla="*/ 130 h 154"/>
              <a:gd name="T80" fmla="*/ 40 w 172"/>
              <a:gd name="T81" fmla="*/ 124 h 154"/>
              <a:gd name="T82" fmla="*/ 48 w 172"/>
              <a:gd name="T83" fmla="*/ 116 h 154"/>
              <a:gd name="T84" fmla="*/ 52 w 172"/>
              <a:gd name="T85" fmla="*/ 104 h 154"/>
              <a:gd name="T86" fmla="*/ 48 w 172"/>
              <a:gd name="T87" fmla="*/ 98 h 154"/>
              <a:gd name="T88" fmla="*/ 48 w 172"/>
              <a:gd name="T89" fmla="*/ 86 h 154"/>
              <a:gd name="T90" fmla="*/ 48 w 172"/>
              <a:gd name="T91" fmla="*/ 78 h 154"/>
              <a:gd name="T92" fmla="*/ 56 w 172"/>
              <a:gd name="T93" fmla="*/ 64 h 154"/>
              <a:gd name="T94" fmla="*/ 60 w 172"/>
              <a:gd name="T95" fmla="*/ 60 h 154"/>
              <a:gd name="T96" fmla="*/ 66 w 172"/>
              <a:gd name="T97" fmla="*/ 52 h 154"/>
              <a:gd name="T98" fmla="*/ 70 w 172"/>
              <a:gd name="T99" fmla="*/ 50 h 154"/>
              <a:gd name="T100" fmla="*/ 82 w 172"/>
              <a:gd name="T101" fmla="*/ 42 h 154"/>
              <a:gd name="T102" fmla="*/ 90 w 172"/>
              <a:gd name="T103" fmla="*/ 38 h 154"/>
              <a:gd name="T104" fmla="*/ 96 w 172"/>
              <a:gd name="T105" fmla="*/ 22 h 154"/>
              <a:gd name="T106" fmla="*/ 100 w 172"/>
              <a:gd name="T107" fmla="*/ 12 h 154"/>
              <a:gd name="T108" fmla="*/ 108 w 172"/>
              <a:gd name="T109" fmla="*/ 4 h 154"/>
              <a:gd name="T110" fmla="*/ 112 w 172"/>
              <a:gd name="T111" fmla="*/ 4 h 154"/>
              <a:gd name="T112" fmla="*/ 112 w 172"/>
              <a:gd name="T113" fmla="*/ 8 h 154"/>
              <a:gd name="T114" fmla="*/ 122 w 172"/>
              <a:gd name="T115" fmla="*/ 16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2" h="154">
                <a:moveTo>
                  <a:pt x="122" y="16"/>
                </a:moveTo>
                <a:lnTo>
                  <a:pt x="122" y="16"/>
                </a:lnTo>
                <a:lnTo>
                  <a:pt x="122" y="16"/>
                </a:lnTo>
                <a:lnTo>
                  <a:pt x="126" y="16"/>
                </a:lnTo>
                <a:lnTo>
                  <a:pt x="126" y="16"/>
                </a:lnTo>
                <a:lnTo>
                  <a:pt x="126" y="16"/>
                </a:lnTo>
                <a:lnTo>
                  <a:pt x="126" y="16"/>
                </a:lnTo>
                <a:lnTo>
                  <a:pt x="126" y="16"/>
                </a:lnTo>
                <a:lnTo>
                  <a:pt x="130" y="16"/>
                </a:lnTo>
                <a:lnTo>
                  <a:pt x="130" y="16"/>
                </a:lnTo>
                <a:lnTo>
                  <a:pt x="130" y="16"/>
                </a:lnTo>
                <a:lnTo>
                  <a:pt x="130" y="16"/>
                </a:lnTo>
                <a:lnTo>
                  <a:pt x="130" y="16"/>
                </a:lnTo>
                <a:lnTo>
                  <a:pt x="134" y="16"/>
                </a:lnTo>
                <a:lnTo>
                  <a:pt x="134" y="16"/>
                </a:lnTo>
                <a:lnTo>
                  <a:pt x="134" y="16"/>
                </a:lnTo>
                <a:lnTo>
                  <a:pt x="134" y="16"/>
                </a:lnTo>
                <a:lnTo>
                  <a:pt x="134" y="16"/>
                </a:lnTo>
                <a:lnTo>
                  <a:pt x="138" y="16"/>
                </a:lnTo>
                <a:lnTo>
                  <a:pt x="138" y="16"/>
                </a:lnTo>
                <a:lnTo>
                  <a:pt x="138" y="16"/>
                </a:lnTo>
                <a:lnTo>
                  <a:pt x="138" y="16"/>
                </a:lnTo>
                <a:lnTo>
                  <a:pt x="142" y="16"/>
                </a:lnTo>
                <a:lnTo>
                  <a:pt x="142" y="16"/>
                </a:lnTo>
                <a:lnTo>
                  <a:pt x="146" y="12"/>
                </a:lnTo>
                <a:lnTo>
                  <a:pt x="146" y="12"/>
                </a:lnTo>
                <a:lnTo>
                  <a:pt x="146" y="12"/>
                </a:lnTo>
                <a:lnTo>
                  <a:pt x="146" y="12"/>
                </a:lnTo>
                <a:lnTo>
                  <a:pt x="146" y="12"/>
                </a:lnTo>
                <a:lnTo>
                  <a:pt x="146" y="16"/>
                </a:lnTo>
                <a:lnTo>
                  <a:pt x="146" y="16"/>
                </a:lnTo>
                <a:lnTo>
                  <a:pt x="146" y="16"/>
                </a:lnTo>
                <a:lnTo>
                  <a:pt x="146" y="16"/>
                </a:lnTo>
                <a:lnTo>
                  <a:pt x="146" y="16"/>
                </a:lnTo>
                <a:lnTo>
                  <a:pt x="146" y="16"/>
                </a:lnTo>
                <a:lnTo>
                  <a:pt x="146" y="16"/>
                </a:lnTo>
                <a:lnTo>
                  <a:pt x="146" y="16"/>
                </a:lnTo>
                <a:lnTo>
                  <a:pt x="146" y="16"/>
                </a:lnTo>
                <a:lnTo>
                  <a:pt x="146" y="16"/>
                </a:lnTo>
                <a:lnTo>
                  <a:pt x="146" y="16"/>
                </a:lnTo>
                <a:lnTo>
                  <a:pt x="146" y="16"/>
                </a:lnTo>
                <a:lnTo>
                  <a:pt x="146" y="16"/>
                </a:lnTo>
                <a:lnTo>
                  <a:pt x="146" y="16"/>
                </a:lnTo>
                <a:lnTo>
                  <a:pt x="146" y="16"/>
                </a:lnTo>
                <a:lnTo>
                  <a:pt x="146" y="16"/>
                </a:lnTo>
                <a:lnTo>
                  <a:pt x="148" y="16"/>
                </a:lnTo>
                <a:lnTo>
                  <a:pt x="148" y="16"/>
                </a:lnTo>
                <a:lnTo>
                  <a:pt x="148" y="16"/>
                </a:lnTo>
                <a:lnTo>
                  <a:pt x="148" y="20"/>
                </a:lnTo>
                <a:lnTo>
                  <a:pt x="148" y="20"/>
                </a:lnTo>
                <a:lnTo>
                  <a:pt x="152" y="16"/>
                </a:lnTo>
                <a:lnTo>
                  <a:pt x="152" y="16"/>
                </a:lnTo>
                <a:lnTo>
                  <a:pt x="152" y="20"/>
                </a:lnTo>
                <a:lnTo>
                  <a:pt x="156" y="20"/>
                </a:lnTo>
                <a:lnTo>
                  <a:pt x="156" y="20"/>
                </a:lnTo>
                <a:lnTo>
                  <a:pt x="156" y="20"/>
                </a:lnTo>
                <a:lnTo>
                  <a:pt x="156" y="20"/>
                </a:lnTo>
                <a:lnTo>
                  <a:pt x="156" y="20"/>
                </a:lnTo>
                <a:lnTo>
                  <a:pt x="160" y="22"/>
                </a:lnTo>
                <a:lnTo>
                  <a:pt x="160" y="22"/>
                </a:lnTo>
                <a:lnTo>
                  <a:pt x="160" y="22"/>
                </a:lnTo>
                <a:lnTo>
                  <a:pt x="160" y="26"/>
                </a:lnTo>
                <a:lnTo>
                  <a:pt x="160" y="26"/>
                </a:lnTo>
                <a:lnTo>
                  <a:pt x="160" y="26"/>
                </a:lnTo>
                <a:lnTo>
                  <a:pt x="160" y="30"/>
                </a:lnTo>
                <a:lnTo>
                  <a:pt x="164" y="30"/>
                </a:lnTo>
                <a:lnTo>
                  <a:pt x="160" y="30"/>
                </a:lnTo>
                <a:lnTo>
                  <a:pt x="160" y="30"/>
                </a:lnTo>
                <a:lnTo>
                  <a:pt x="160" y="30"/>
                </a:lnTo>
                <a:lnTo>
                  <a:pt x="160" y="34"/>
                </a:lnTo>
                <a:lnTo>
                  <a:pt x="164" y="38"/>
                </a:lnTo>
                <a:lnTo>
                  <a:pt x="164" y="38"/>
                </a:lnTo>
                <a:lnTo>
                  <a:pt x="164" y="38"/>
                </a:lnTo>
                <a:lnTo>
                  <a:pt x="164" y="42"/>
                </a:lnTo>
                <a:lnTo>
                  <a:pt x="160" y="42"/>
                </a:lnTo>
                <a:lnTo>
                  <a:pt x="164" y="46"/>
                </a:lnTo>
                <a:lnTo>
                  <a:pt x="164" y="46"/>
                </a:lnTo>
                <a:lnTo>
                  <a:pt x="164" y="46"/>
                </a:lnTo>
                <a:lnTo>
                  <a:pt x="164" y="46"/>
                </a:lnTo>
                <a:lnTo>
                  <a:pt x="164" y="46"/>
                </a:lnTo>
                <a:lnTo>
                  <a:pt x="164" y="50"/>
                </a:lnTo>
                <a:lnTo>
                  <a:pt x="164" y="50"/>
                </a:lnTo>
                <a:lnTo>
                  <a:pt x="164" y="50"/>
                </a:lnTo>
                <a:lnTo>
                  <a:pt x="164" y="52"/>
                </a:lnTo>
                <a:lnTo>
                  <a:pt x="164" y="52"/>
                </a:lnTo>
                <a:lnTo>
                  <a:pt x="164" y="52"/>
                </a:lnTo>
                <a:lnTo>
                  <a:pt x="164" y="52"/>
                </a:lnTo>
                <a:lnTo>
                  <a:pt x="164" y="56"/>
                </a:lnTo>
                <a:lnTo>
                  <a:pt x="164" y="56"/>
                </a:lnTo>
                <a:lnTo>
                  <a:pt x="164" y="56"/>
                </a:lnTo>
                <a:lnTo>
                  <a:pt x="164" y="56"/>
                </a:lnTo>
                <a:lnTo>
                  <a:pt x="164" y="56"/>
                </a:lnTo>
                <a:lnTo>
                  <a:pt x="164" y="56"/>
                </a:lnTo>
                <a:lnTo>
                  <a:pt x="168" y="60"/>
                </a:lnTo>
                <a:lnTo>
                  <a:pt x="168" y="64"/>
                </a:lnTo>
                <a:lnTo>
                  <a:pt x="172" y="64"/>
                </a:lnTo>
                <a:lnTo>
                  <a:pt x="172" y="68"/>
                </a:lnTo>
                <a:lnTo>
                  <a:pt x="172" y="68"/>
                </a:lnTo>
                <a:lnTo>
                  <a:pt x="172" y="68"/>
                </a:lnTo>
                <a:lnTo>
                  <a:pt x="172" y="68"/>
                </a:lnTo>
                <a:lnTo>
                  <a:pt x="168" y="68"/>
                </a:lnTo>
                <a:lnTo>
                  <a:pt x="168" y="68"/>
                </a:lnTo>
                <a:lnTo>
                  <a:pt x="168" y="68"/>
                </a:lnTo>
                <a:lnTo>
                  <a:pt x="168" y="72"/>
                </a:lnTo>
                <a:lnTo>
                  <a:pt x="168" y="72"/>
                </a:lnTo>
                <a:lnTo>
                  <a:pt x="168" y="72"/>
                </a:lnTo>
                <a:lnTo>
                  <a:pt x="168" y="72"/>
                </a:lnTo>
                <a:lnTo>
                  <a:pt x="168" y="72"/>
                </a:lnTo>
                <a:lnTo>
                  <a:pt x="168" y="72"/>
                </a:lnTo>
                <a:lnTo>
                  <a:pt x="172" y="72"/>
                </a:lnTo>
                <a:lnTo>
                  <a:pt x="172" y="72"/>
                </a:lnTo>
                <a:lnTo>
                  <a:pt x="168" y="76"/>
                </a:lnTo>
                <a:lnTo>
                  <a:pt x="168" y="76"/>
                </a:lnTo>
                <a:lnTo>
                  <a:pt x="168" y="76"/>
                </a:lnTo>
                <a:lnTo>
                  <a:pt x="168" y="76"/>
                </a:lnTo>
                <a:lnTo>
                  <a:pt x="168" y="72"/>
                </a:lnTo>
                <a:lnTo>
                  <a:pt x="164" y="72"/>
                </a:lnTo>
                <a:lnTo>
                  <a:pt x="164" y="72"/>
                </a:lnTo>
                <a:lnTo>
                  <a:pt x="164" y="72"/>
                </a:lnTo>
                <a:lnTo>
                  <a:pt x="160" y="72"/>
                </a:lnTo>
                <a:lnTo>
                  <a:pt x="160" y="72"/>
                </a:lnTo>
                <a:lnTo>
                  <a:pt x="156" y="72"/>
                </a:lnTo>
                <a:lnTo>
                  <a:pt x="156" y="72"/>
                </a:lnTo>
                <a:lnTo>
                  <a:pt x="156" y="72"/>
                </a:lnTo>
                <a:lnTo>
                  <a:pt x="156" y="72"/>
                </a:lnTo>
                <a:lnTo>
                  <a:pt x="152" y="72"/>
                </a:lnTo>
                <a:lnTo>
                  <a:pt x="152" y="72"/>
                </a:lnTo>
                <a:lnTo>
                  <a:pt x="152" y="72"/>
                </a:lnTo>
                <a:lnTo>
                  <a:pt x="152" y="72"/>
                </a:lnTo>
                <a:lnTo>
                  <a:pt x="152" y="72"/>
                </a:lnTo>
                <a:lnTo>
                  <a:pt x="146" y="76"/>
                </a:lnTo>
                <a:lnTo>
                  <a:pt x="146" y="76"/>
                </a:lnTo>
                <a:lnTo>
                  <a:pt x="146" y="76"/>
                </a:lnTo>
                <a:lnTo>
                  <a:pt x="146" y="76"/>
                </a:lnTo>
                <a:lnTo>
                  <a:pt x="146" y="76"/>
                </a:lnTo>
                <a:lnTo>
                  <a:pt x="146" y="76"/>
                </a:lnTo>
                <a:lnTo>
                  <a:pt x="146" y="76"/>
                </a:lnTo>
                <a:lnTo>
                  <a:pt x="146" y="78"/>
                </a:lnTo>
                <a:lnTo>
                  <a:pt x="146" y="78"/>
                </a:lnTo>
                <a:lnTo>
                  <a:pt x="146" y="78"/>
                </a:lnTo>
                <a:lnTo>
                  <a:pt x="142" y="78"/>
                </a:lnTo>
                <a:lnTo>
                  <a:pt x="142" y="78"/>
                </a:lnTo>
                <a:lnTo>
                  <a:pt x="142" y="78"/>
                </a:lnTo>
                <a:lnTo>
                  <a:pt x="142" y="78"/>
                </a:lnTo>
                <a:lnTo>
                  <a:pt x="138" y="78"/>
                </a:lnTo>
                <a:lnTo>
                  <a:pt x="138" y="78"/>
                </a:lnTo>
                <a:lnTo>
                  <a:pt x="138" y="82"/>
                </a:lnTo>
                <a:lnTo>
                  <a:pt x="138" y="82"/>
                </a:lnTo>
                <a:lnTo>
                  <a:pt x="138" y="82"/>
                </a:lnTo>
                <a:lnTo>
                  <a:pt x="134" y="82"/>
                </a:lnTo>
                <a:lnTo>
                  <a:pt x="134" y="78"/>
                </a:lnTo>
                <a:lnTo>
                  <a:pt x="134" y="78"/>
                </a:lnTo>
                <a:lnTo>
                  <a:pt x="134" y="78"/>
                </a:lnTo>
                <a:lnTo>
                  <a:pt x="134" y="78"/>
                </a:lnTo>
                <a:lnTo>
                  <a:pt x="134" y="78"/>
                </a:lnTo>
                <a:lnTo>
                  <a:pt x="134" y="78"/>
                </a:lnTo>
                <a:lnTo>
                  <a:pt x="130" y="82"/>
                </a:lnTo>
                <a:lnTo>
                  <a:pt x="130" y="82"/>
                </a:lnTo>
                <a:lnTo>
                  <a:pt x="130" y="86"/>
                </a:lnTo>
                <a:lnTo>
                  <a:pt x="130" y="86"/>
                </a:lnTo>
                <a:lnTo>
                  <a:pt x="134" y="86"/>
                </a:lnTo>
                <a:lnTo>
                  <a:pt x="130" y="90"/>
                </a:lnTo>
                <a:lnTo>
                  <a:pt x="130" y="90"/>
                </a:lnTo>
                <a:lnTo>
                  <a:pt x="134" y="90"/>
                </a:lnTo>
                <a:lnTo>
                  <a:pt x="134" y="90"/>
                </a:lnTo>
                <a:lnTo>
                  <a:pt x="134" y="90"/>
                </a:lnTo>
                <a:lnTo>
                  <a:pt x="134" y="90"/>
                </a:lnTo>
                <a:lnTo>
                  <a:pt x="134" y="94"/>
                </a:lnTo>
                <a:lnTo>
                  <a:pt x="134" y="94"/>
                </a:lnTo>
                <a:lnTo>
                  <a:pt x="134" y="94"/>
                </a:lnTo>
                <a:lnTo>
                  <a:pt x="134" y="94"/>
                </a:lnTo>
                <a:lnTo>
                  <a:pt x="134" y="94"/>
                </a:lnTo>
                <a:lnTo>
                  <a:pt x="134" y="94"/>
                </a:lnTo>
                <a:lnTo>
                  <a:pt x="134" y="94"/>
                </a:lnTo>
                <a:lnTo>
                  <a:pt x="130" y="94"/>
                </a:lnTo>
                <a:lnTo>
                  <a:pt x="130" y="94"/>
                </a:lnTo>
                <a:lnTo>
                  <a:pt x="130" y="94"/>
                </a:lnTo>
                <a:lnTo>
                  <a:pt x="130" y="94"/>
                </a:lnTo>
                <a:lnTo>
                  <a:pt x="130" y="94"/>
                </a:lnTo>
                <a:lnTo>
                  <a:pt x="130" y="94"/>
                </a:lnTo>
                <a:lnTo>
                  <a:pt x="126" y="98"/>
                </a:lnTo>
                <a:lnTo>
                  <a:pt x="126" y="98"/>
                </a:lnTo>
                <a:lnTo>
                  <a:pt x="126" y="98"/>
                </a:lnTo>
                <a:lnTo>
                  <a:pt x="126" y="98"/>
                </a:lnTo>
                <a:lnTo>
                  <a:pt x="126" y="98"/>
                </a:lnTo>
                <a:lnTo>
                  <a:pt x="126" y="98"/>
                </a:lnTo>
                <a:lnTo>
                  <a:pt x="122" y="102"/>
                </a:lnTo>
                <a:lnTo>
                  <a:pt x="122" y="102"/>
                </a:lnTo>
                <a:lnTo>
                  <a:pt x="122" y="102"/>
                </a:lnTo>
                <a:lnTo>
                  <a:pt x="122" y="102"/>
                </a:lnTo>
                <a:lnTo>
                  <a:pt x="122" y="102"/>
                </a:lnTo>
                <a:lnTo>
                  <a:pt x="118" y="102"/>
                </a:lnTo>
                <a:lnTo>
                  <a:pt x="116" y="102"/>
                </a:lnTo>
                <a:lnTo>
                  <a:pt x="116" y="102"/>
                </a:lnTo>
                <a:lnTo>
                  <a:pt x="116" y="104"/>
                </a:lnTo>
                <a:lnTo>
                  <a:pt x="116" y="104"/>
                </a:lnTo>
                <a:lnTo>
                  <a:pt x="116" y="104"/>
                </a:lnTo>
                <a:lnTo>
                  <a:pt x="116" y="104"/>
                </a:lnTo>
                <a:lnTo>
                  <a:pt x="116" y="104"/>
                </a:lnTo>
                <a:lnTo>
                  <a:pt x="116" y="108"/>
                </a:lnTo>
                <a:lnTo>
                  <a:pt x="116" y="108"/>
                </a:lnTo>
                <a:lnTo>
                  <a:pt x="112" y="108"/>
                </a:lnTo>
                <a:lnTo>
                  <a:pt x="112" y="108"/>
                </a:lnTo>
                <a:lnTo>
                  <a:pt x="112" y="108"/>
                </a:lnTo>
                <a:lnTo>
                  <a:pt x="112" y="112"/>
                </a:lnTo>
                <a:lnTo>
                  <a:pt x="112" y="112"/>
                </a:lnTo>
                <a:lnTo>
                  <a:pt x="112" y="112"/>
                </a:lnTo>
                <a:lnTo>
                  <a:pt x="112" y="112"/>
                </a:lnTo>
                <a:lnTo>
                  <a:pt x="108" y="112"/>
                </a:lnTo>
                <a:lnTo>
                  <a:pt x="108" y="112"/>
                </a:lnTo>
                <a:lnTo>
                  <a:pt x="108" y="112"/>
                </a:lnTo>
                <a:lnTo>
                  <a:pt x="104" y="112"/>
                </a:lnTo>
                <a:lnTo>
                  <a:pt x="104" y="112"/>
                </a:lnTo>
                <a:lnTo>
                  <a:pt x="104" y="112"/>
                </a:lnTo>
                <a:lnTo>
                  <a:pt x="104" y="116"/>
                </a:lnTo>
                <a:lnTo>
                  <a:pt x="100" y="116"/>
                </a:lnTo>
                <a:lnTo>
                  <a:pt x="100" y="116"/>
                </a:lnTo>
                <a:lnTo>
                  <a:pt x="100" y="116"/>
                </a:lnTo>
                <a:lnTo>
                  <a:pt x="100" y="116"/>
                </a:lnTo>
                <a:lnTo>
                  <a:pt x="100" y="116"/>
                </a:lnTo>
                <a:lnTo>
                  <a:pt x="100" y="116"/>
                </a:lnTo>
                <a:lnTo>
                  <a:pt x="100" y="116"/>
                </a:lnTo>
                <a:lnTo>
                  <a:pt x="100" y="116"/>
                </a:lnTo>
                <a:lnTo>
                  <a:pt x="96" y="116"/>
                </a:lnTo>
                <a:lnTo>
                  <a:pt x="96" y="116"/>
                </a:lnTo>
                <a:lnTo>
                  <a:pt x="96" y="116"/>
                </a:lnTo>
                <a:lnTo>
                  <a:pt x="92" y="116"/>
                </a:lnTo>
                <a:lnTo>
                  <a:pt x="92" y="116"/>
                </a:lnTo>
                <a:lnTo>
                  <a:pt x="92" y="120"/>
                </a:lnTo>
                <a:lnTo>
                  <a:pt x="92" y="120"/>
                </a:lnTo>
                <a:lnTo>
                  <a:pt x="92" y="120"/>
                </a:lnTo>
                <a:lnTo>
                  <a:pt x="92" y="120"/>
                </a:lnTo>
                <a:lnTo>
                  <a:pt x="92" y="120"/>
                </a:lnTo>
                <a:lnTo>
                  <a:pt x="92" y="120"/>
                </a:lnTo>
                <a:lnTo>
                  <a:pt x="90" y="120"/>
                </a:lnTo>
                <a:lnTo>
                  <a:pt x="90" y="120"/>
                </a:lnTo>
                <a:lnTo>
                  <a:pt x="90" y="120"/>
                </a:lnTo>
                <a:lnTo>
                  <a:pt x="86" y="120"/>
                </a:lnTo>
                <a:lnTo>
                  <a:pt x="86" y="120"/>
                </a:lnTo>
                <a:lnTo>
                  <a:pt x="86" y="120"/>
                </a:lnTo>
                <a:lnTo>
                  <a:pt x="82" y="120"/>
                </a:lnTo>
                <a:lnTo>
                  <a:pt x="82" y="120"/>
                </a:lnTo>
                <a:lnTo>
                  <a:pt x="82" y="120"/>
                </a:lnTo>
                <a:lnTo>
                  <a:pt x="82" y="120"/>
                </a:lnTo>
                <a:lnTo>
                  <a:pt x="82" y="124"/>
                </a:lnTo>
                <a:lnTo>
                  <a:pt x="82" y="124"/>
                </a:lnTo>
                <a:lnTo>
                  <a:pt x="82" y="124"/>
                </a:lnTo>
                <a:lnTo>
                  <a:pt x="78" y="124"/>
                </a:lnTo>
                <a:lnTo>
                  <a:pt x="78" y="124"/>
                </a:lnTo>
                <a:lnTo>
                  <a:pt x="78" y="124"/>
                </a:lnTo>
                <a:lnTo>
                  <a:pt x="78" y="124"/>
                </a:lnTo>
                <a:lnTo>
                  <a:pt x="78" y="124"/>
                </a:lnTo>
                <a:lnTo>
                  <a:pt x="78" y="124"/>
                </a:lnTo>
                <a:lnTo>
                  <a:pt x="78" y="124"/>
                </a:lnTo>
                <a:lnTo>
                  <a:pt x="78" y="124"/>
                </a:lnTo>
                <a:lnTo>
                  <a:pt x="74" y="124"/>
                </a:lnTo>
                <a:lnTo>
                  <a:pt x="74" y="128"/>
                </a:lnTo>
                <a:lnTo>
                  <a:pt x="70" y="128"/>
                </a:lnTo>
                <a:lnTo>
                  <a:pt x="70" y="130"/>
                </a:lnTo>
                <a:lnTo>
                  <a:pt x="70" y="130"/>
                </a:lnTo>
                <a:lnTo>
                  <a:pt x="66" y="130"/>
                </a:lnTo>
                <a:lnTo>
                  <a:pt x="66" y="130"/>
                </a:lnTo>
                <a:lnTo>
                  <a:pt x="66" y="130"/>
                </a:lnTo>
                <a:lnTo>
                  <a:pt x="66" y="130"/>
                </a:lnTo>
                <a:lnTo>
                  <a:pt x="66" y="134"/>
                </a:lnTo>
                <a:lnTo>
                  <a:pt x="66" y="134"/>
                </a:lnTo>
                <a:lnTo>
                  <a:pt x="66" y="134"/>
                </a:lnTo>
                <a:lnTo>
                  <a:pt x="62" y="134"/>
                </a:lnTo>
                <a:lnTo>
                  <a:pt x="62" y="134"/>
                </a:lnTo>
                <a:lnTo>
                  <a:pt x="62" y="134"/>
                </a:lnTo>
                <a:lnTo>
                  <a:pt x="62" y="150"/>
                </a:lnTo>
                <a:lnTo>
                  <a:pt x="62" y="154"/>
                </a:lnTo>
                <a:lnTo>
                  <a:pt x="56" y="154"/>
                </a:lnTo>
                <a:lnTo>
                  <a:pt x="56" y="154"/>
                </a:lnTo>
                <a:lnTo>
                  <a:pt x="48" y="154"/>
                </a:lnTo>
                <a:lnTo>
                  <a:pt x="48" y="154"/>
                </a:lnTo>
                <a:lnTo>
                  <a:pt x="44" y="154"/>
                </a:lnTo>
                <a:lnTo>
                  <a:pt x="44" y="154"/>
                </a:lnTo>
                <a:lnTo>
                  <a:pt x="44" y="154"/>
                </a:lnTo>
                <a:lnTo>
                  <a:pt x="44" y="154"/>
                </a:lnTo>
                <a:lnTo>
                  <a:pt x="44" y="154"/>
                </a:lnTo>
                <a:lnTo>
                  <a:pt x="40" y="154"/>
                </a:lnTo>
                <a:lnTo>
                  <a:pt x="4" y="154"/>
                </a:lnTo>
                <a:lnTo>
                  <a:pt x="0" y="154"/>
                </a:lnTo>
                <a:lnTo>
                  <a:pt x="0" y="154"/>
                </a:lnTo>
                <a:lnTo>
                  <a:pt x="0" y="154"/>
                </a:lnTo>
                <a:lnTo>
                  <a:pt x="0" y="154"/>
                </a:lnTo>
                <a:lnTo>
                  <a:pt x="0" y="154"/>
                </a:lnTo>
                <a:lnTo>
                  <a:pt x="0" y="154"/>
                </a:lnTo>
                <a:lnTo>
                  <a:pt x="0" y="154"/>
                </a:lnTo>
                <a:lnTo>
                  <a:pt x="4" y="154"/>
                </a:lnTo>
                <a:lnTo>
                  <a:pt x="4" y="154"/>
                </a:lnTo>
                <a:lnTo>
                  <a:pt x="4" y="150"/>
                </a:lnTo>
                <a:lnTo>
                  <a:pt x="4" y="150"/>
                </a:lnTo>
                <a:lnTo>
                  <a:pt x="4" y="150"/>
                </a:lnTo>
                <a:lnTo>
                  <a:pt x="4" y="150"/>
                </a:lnTo>
                <a:lnTo>
                  <a:pt x="4" y="150"/>
                </a:lnTo>
                <a:lnTo>
                  <a:pt x="4" y="150"/>
                </a:lnTo>
                <a:lnTo>
                  <a:pt x="6" y="150"/>
                </a:lnTo>
                <a:lnTo>
                  <a:pt x="6" y="150"/>
                </a:lnTo>
                <a:lnTo>
                  <a:pt x="6" y="150"/>
                </a:lnTo>
                <a:lnTo>
                  <a:pt x="10" y="146"/>
                </a:lnTo>
                <a:lnTo>
                  <a:pt x="14" y="146"/>
                </a:lnTo>
                <a:lnTo>
                  <a:pt x="18" y="146"/>
                </a:lnTo>
                <a:lnTo>
                  <a:pt x="18" y="146"/>
                </a:lnTo>
                <a:lnTo>
                  <a:pt x="22" y="142"/>
                </a:lnTo>
                <a:lnTo>
                  <a:pt x="22" y="142"/>
                </a:lnTo>
                <a:lnTo>
                  <a:pt x="22" y="142"/>
                </a:lnTo>
                <a:lnTo>
                  <a:pt x="26" y="142"/>
                </a:lnTo>
                <a:lnTo>
                  <a:pt x="26" y="138"/>
                </a:lnTo>
                <a:lnTo>
                  <a:pt x="26" y="138"/>
                </a:lnTo>
                <a:lnTo>
                  <a:pt x="30" y="134"/>
                </a:lnTo>
                <a:lnTo>
                  <a:pt x="30" y="134"/>
                </a:lnTo>
                <a:lnTo>
                  <a:pt x="30" y="134"/>
                </a:lnTo>
                <a:lnTo>
                  <a:pt x="30" y="134"/>
                </a:lnTo>
                <a:lnTo>
                  <a:pt x="34" y="134"/>
                </a:lnTo>
                <a:lnTo>
                  <a:pt x="34" y="130"/>
                </a:lnTo>
                <a:lnTo>
                  <a:pt x="36" y="130"/>
                </a:lnTo>
                <a:lnTo>
                  <a:pt x="36" y="130"/>
                </a:lnTo>
                <a:lnTo>
                  <a:pt x="36" y="130"/>
                </a:lnTo>
                <a:lnTo>
                  <a:pt x="36" y="130"/>
                </a:lnTo>
                <a:lnTo>
                  <a:pt x="36" y="130"/>
                </a:lnTo>
                <a:lnTo>
                  <a:pt x="36" y="128"/>
                </a:lnTo>
                <a:lnTo>
                  <a:pt x="36" y="128"/>
                </a:lnTo>
                <a:lnTo>
                  <a:pt x="40" y="128"/>
                </a:lnTo>
                <a:lnTo>
                  <a:pt x="40" y="128"/>
                </a:lnTo>
                <a:lnTo>
                  <a:pt x="40" y="124"/>
                </a:lnTo>
                <a:lnTo>
                  <a:pt x="40" y="124"/>
                </a:lnTo>
                <a:lnTo>
                  <a:pt x="40" y="124"/>
                </a:lnTo>
                <a:lnTo>
                  <a:pt x="40" y="124"/>
                </a:lnTo>
                <a:lnTo>
                  <a:pt x="44" y="124"/>
                </a:lnTo>
                <a:lnTo>
                  <a:pt x="44" y="120"/>
                </a:lnTo>
                <a:lnTo>
                  <a:pt x="44" y="120"/>
                </a:lnTo>
                <a:lnTo>
                  <a:pt x="44" y="120"/>
                </a:lnTo>
                <a:lnTo>
                  <a:pt x="44" y="120"/>
                </a:lnTo>
                <a:lnTo>
                  <a:pt x="48" y="116"/>
                </a:lnTo>
                <a:lnTo>
                  <a:pt x="48" y="116"/>
                </a:lnTo>
                <a:lnTo>
                  <a:pt x="48" y="116"/>
                </a:lnTo>
                <a:lnTo>
                  <a:pt x="48" y="112"/>
                </a:lnTo>
                <a:lnTo>
                  <a:pt x="48" y="112"/>
                </a:lnTo>
                <a:lnTo>
                  <a:pt x="48" y="112"/>
                </a:lnTo>
                <a:lnTo>
                  <a:pt x="48" y="108"/>
                </a:lnTo>
                <a:lnTo>
                  <a:pt x="48" y="108"/>
                </a:lnTo>
                <a:lnTo>
                  <a:pt x="52" y="104"/>
                </a:lnTo>
                <a:lnTo>
                  <a:pt x="52" y="104"/>
                </a:lnTo>
                <a:lnTo>
                  <a:pt x="48" y="102"/>
                </a:lnTo>
                <a:lnTo>
                  <a:pt x="48" y="102"/>
                </a:lnTo>
                <a:lnTo>
                  <a:pt x="48" y="102"/>
                </a:lnTo>
                <a:lnTo>
                  <a:pt x="48" y="98"/>
                </a:lnTo>
                <a:lnTo>
                  <a:pt x="48" y="98"/>
                </a:lnTo>
                <a:lnTo>
                  <a:pt x="48" y="98"/>
                </a:lnTo>
                <a:lnTo>
                  <a:pt x="48" y="98"/>
                </a:lnTo>
                <a:lnTo>
                  <a:pt x="48" y="98"/>
                </a:lnTo>
                <a:lnTo>
                  <a:pt x="48" y="94"/>
                </a:lnTo>
                <a:lnTo>
                  <a:pt x="48" y="90"/>
                </a:lnTo>
                <a:lnTo>
                  <a:pt x="48" y="90"/>
                </a:lnTo>
                <a:lnTo>
                  <a:pt x="48" y="90"/>
                </a:lnTo>
                <a:lnTo>
                  <a:pt x="48" y="90"/>
                </a:lnTo>
                <a:lnTo>
                  <a:pt x="48" y="90"/>
                </a:lnTo>
                <a:lnTo>
                  <a:pt x="48" y="86"/>
                </a:lnTo>
                <a:lnTo>
                  <a:pt x="48" y="86"/>
                </a:lnTo>
                <a:lnTo>
                  <a:pt x="48" y="86"/>
                </a:lnTo>
                <a:lnTo>
                  <a:pt x="48" y="82"/>
                </a:lnTo>
                <a:lnTo>
                  <a:pt x="48" y="82"/>
                </a:lnTo>
                <a:lnTo>
                  <a:pt x="48" y="82"/>
                </a:lnTo>
                <a:lnTo>
                  <a:pt x="48" y="82"/>
                </a:lnTo>
                <a:lnTo>
                  <a:pt x="48" y="78"/>
                </a:lnTo>
                <a:lnTo>
                  <a:pt x="48" y="78"/>
                </a:lnTo>
                <a:lnTo>
                  <a:pt x="48" y="78"/>
                </a:lnTo>
                <a:lnTo>
                  <a:pt x="52" y="76"/>
                </a:lnTo>
                <a:lnTo>
                  <a:pt x="52" y="76"/>
                </a:lnTo>
                <a:lnTo>
                  <a:pt x="52" y="76"/>
                </a:lnTo>
                <a:lnTo>
                  <a:pt x="56" y="72"/>
                </a:lnTo>
                <a:lnTo>
                  <a:pt x="56" y="72"/>
                </a:lnTo>
                <a:lnTo>
                  <a:pt x="56" y="68"/>
                </a:lnTo>
                <a:lnTo>
                  <a:pt x="56" y="64"/>
                </a:lnTo>
                <a:lnTo>
                  <a:pt x="56" y="64"/>
                </a:lnTo>
                <a:lnTo>
                  <a:pt x="56" y="64"/>
                </a:lnTo>
                <a:lnTo>
                  <a:pt x="56" y="64"/>
                </a:lnTo>
                <a:lnTo>
                  <a:pt x="56" y="64"/>
                </a:lnTo>
                <a:lnTo>
                  <a:pt x="60" y="60"/>
                </a:lnTo>
                <a:lnTo>
                  <a:pt x="60" y="60"/>
                </a:lnTo>
                <a:lnTo>
                  <a:pt x="60" y="60"/>
                </a:lnTo>
                <a:lnTo>
                  <a:pt x="60" y="60"/>
                </a:lnTo>
                <a:lnTo>
                  <a:pt x="60" y="56"/>
                </a:lnTo>
                <a:lnTo>
                  <a:pt x="62" y="56"/>
                </a:lnTo>
                <a:lnTo>
                  <a:pt x="62" y="52"/>
                </a:lnTo>
                <a:lnTo>
                  <a:pt x="62" y="52"/>
                </a:lnTo>
                <a:lnTo>
                  <a:pt x="62" y="52"/>
                </a:lnTo>
                <a:lnTo>
                  <a:pt x="66" y="52"/>
                </a:lnTo>
                <a:lnTo>
                  <a:pt x="66" y="52"/>
                </a:lnTo>
                <a:lnTo>
                  <a:pt x="66" y="52"/>
                </a:lnTo>
                <a:lnTo>
                  <a:pt x="66" y="52"/>
                </a:lnTo>
                <a:lnTo>
                  <a:pt x="66" y="52"/>
                </a:lnTo>
                <a:lnTo>
                  <a:pt x="66" y="50"/>
                </a:lnTo>
                <a:lnTo>
                  <a:pt x="66" y="50"/>
                </a:lnTo>
                <a:lnTo>
                  <a:pt x="66" y="50"/>
                </a:lnTo>
                <a:lnTo>
                  <a:pt x="70" y="50"/>
                </a:lnTo>
                <a:lnTo>
                  <a:pt x="70" y="50"/>
                </a:lnTo>
                <a:lnTo>
                  <a:pt x="70" y="50"/>
                </a:lnTo>
                <a:lnTo>
                  <a:pt x="74" y="50"/>
                </a:lnTo>
                <a:lnTo>
                  <a:pt x="74" y="46"/>
                </a:lnTo>
                <a:lnTo>
                  <a:pt x="74" y="46"/>
                </a:lnTo>
                <a:lnTo>
                  <a:pt x="78" y="46"/>
                </a:lnTo>
                <a:lnTo>
                  <a:pt x="78" y="46"/>
                </a:lnTo>
                <a:lnTo>
                  <a:pt x="78" y="46"/>
                </a:lnTo>
                <a:lnTo>
                  <a:pt x="82" y="46"/>
                </a:lnTo>
                <a:lnTo>
                  <a:pt x="82" y="42"/>
                </a:lnTo>
                <a:lnTo>
                  <a:pt x="86" y="42"/>
                </a:lnTo>
                <a:lnTo>
                  <a:pt x="86" y="42"/>
                </a:lnTo>
                <a:lnTo>
                  <a:pt x="86" y="42"/>
                </a:lnTo>
                <a:lnTo>
                  <a:pt x="86" y="42"/>
                </a:lnTo>
                <a:lnTo>
                  <a:pt x="86" y="42"/>
                </a:lnTo>
                <a:lnTo>
                  <a:pt x="90" y="38"/>
                </a:lnTo>
                <a:lnTo>
                  <a:pt x="90" y="38"/>
                </a:lnTo>
                <a:lnTo>
                  <a:pt x="90" y="38"/>
                </a:lnTo>
                <a:lnTo>
                  <a:pt x="90" y="38"/>
                </a:lnTo>
                <a:lnTo>
                  <a:pt x="92" y="34"/>
                </a:lnTo>
                <a:lnTo>
                  <a:pt x="92" y="34"/>
                </a:lnTo>
                <a:lnTo>
                  <a:pt x="92" y="30"/>
                </a:lnTo>
                <a:lnTo>
                  <a:pt x="92" y="30"/>
                </a:lnTo>
                <a:lnTo>
                  <a:pt x="92" y="30"/>
                </a:lnTo>
                <a:lnTo>
                  <a:pt x="92" y="26"/>
                </a:lnTo>
                <a:lnTo>
                  <a:pt x="96" y="22"/>
                </a:lnTo>
                <a:lnTo>
                  <a:pt x="96" y="22"/>
                </a:lnTo>
                <a:lnTo>
                  <a:pt x="96" y="22"/>
                </a:lnTo>
                <a:lnTo>
                  <a:pt x="96" y="22"/>
                </a:lnTo>
                <a:lnTo>
                  <a:pt x="96" y="20"/>
                </a:lnTo>
                <a:lnTo>
                  <a:pt x="96" y="20"/>
                </a:lnTo>
                <a:lnTo>
                  <a:pt x="96" y="20"/>
                </a:lnTo>
                <a:lnTo>
                  <a:pt x="100" y="16"/>
                </a:lnTo>
                <a:lnTo>
                  <a:pt x="100" y="12"/>
                </a:lnTo>
                <a:lnTo>
                  <a:pt x="100" y="12"/>
                </a:lnTo>
                <a:lnTo>
                  <a:pt x="100" y="8"/>
                </a:lnTo>
                <a:lnTo>
                  <a:pt x="100" y="8"/>
                </a:lnTo>
                <a:lnTo>
                  <a:pt x="100" y="4"/>
                </a:lnTo>
                <a:lnTo>
                  <a:pt x="104" y="4"/>
                </a:lnTo>
                <a:lnTo>
                  <a:pt x="104" y="4"/>
                </a:lnTo>
                <a:lnTo>
                  <a:pt x="104" y="4"/>
                </a:lnTo>
                <a:lnTo>
                  <a:pt x="108" y="4"/>
                </a:lnTo>
                <a:lnTo>
                  <a:pt x="108" y="4"/>
                </a:lnTo>
                <a:lnTo>
                  <a:pt x="108" y="4"/>
                </a:lnTo>
                <a:lnTo>
                  <a:pt x="108" y="0"/>
                </a:lnTo>
                <a:lnTo>
                  <a:pt x="108" y="0"/>
                </a:lnTo>
                <a:lnTo>
                  <a:pt x="108" y="0"/>
                </a:lnTo>
                <a:lnTo>
                  <a:pt x="112" y="0"/>
                </a:lnTo>
                <a:lnTo>
                  <a:pt x="112" y="0"/>
                </a:lnTo>
                <a:lnTo>
                  <a:pt x="112" y="4"/>
                </a:lnTo>
                <a:lnTo>
                  <a:pt x="112" y="4"/>
                </a:lnTo>
                <a:lnTo>
                  <a:pt x="112" y="4"/>
                </a:lnTo>
                <a:lnTo>
                  <a:pt x="112" y="4"/>
                </a:lnTo>
                <a:lnTo>
                  <a:pt x="112" y="4"/>
                </a:lnTo>
                <a:lnTo>
                  <a:pt x="112" y="4"/>
                </a:lnTo>
                <a:lnTo>
                  <a:pt x="112" y="4"/>
                </a:lnTo>
                <a:lnTo>
                  <a:pt x="112" y="8"/>
                </a:lnTo>
                <a:lnTo>
                  <a:pt x="112" y="8"/>
                </a:lnTo>
                <a:lnTo>
                  <a:pt x="116" y="12"/>
                </a:lnTo>
                <a:lnTo>
                  <a:pt x="116" y="12"/>
                </a:lnTo>
                <a:lnTo>
                  <a:pt x="118" y="16"/>
                </a:lnTo>
                <a:lnTo>
                  <a:pt x="118" y="16"/>
                </a:lnTo>
                <a:lnTo>
                  <a:pt x="118" y="16"/>
                </a:lnTo>
                <a:lnTo>
                  <a:pt x="122" y="16"/>
                </a:lnTo>
                <a:lnTo>
                  <a:pt x="122" y="16"/>
                </a:lnTo>
                <a:lnTo>
                  <a:pt x="122" y="16"/>
                </a:lnTo>
                <a:lnTo>
                  <a:pt x="122" y="16"/>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52" name="Freeform 159"/>
          <p:cNvSpPr>
            <a:spLocks noEditPoints="1"/>
          </p:cNvSpPr>
          <p:nvPr/>
        </p:nvSpPr>
        <p:spPr bwMode="auto">
          <a:xfrm>
            <a:off x="4767262" y="3912393"/>
            <a:ext cx="178594" cy="342900"/>
          </a:xfrm>
          <a:custGeom>
            <a:avLst/>
            <a:gdLst>
              <a:gd name="T0" fmla="*/ 22 w 150"/>
              <a:gd name="T1" fmla="*/ 274 h 288"/>
              <a:gd name="T2" fmla="*/ 22 w 150"/>
              <a:gd name="T3" fmla="*/ 254 h 288"/>
              <a:gd name="T4" fmla="*/ 22 w 150"/>
              <a:gd name="T5" fmla="*/ 240 h 288"/>
              <a:gd name="T6" fmla="*/ 18 w 150"/>
              <a:gd name="T7" fmla="*/ 226 h 288"/>
              <a:gd name="T8" fmla="*/ 22 w 150"/>
              <a:gd name="T9" fmla="*/ 198 h 288"/>
              <a:gd name="T10" fmla="*/ 34 w 150"/>
              <a:gd name="T11" fmla="*/ 176 h 288"/>
              <a:gd name="T12" fmla="*/ 38 w 150"/>
              <a:gd name="T13" fmla="*/ 158 h 288"/>
              <a:gd name="T14" fmla="*/ 38 w 150"/>
              <a:gd name="T15" fmla="*/ 146 h 288"/>
              <a:gd name="T16" fmla="*/ 42 w 150"/>
              <a:gd name="T17" fmla="*/ 136 h 288"/>
              <a:gd name="T18" fmla="*/ 38 w 150"/>
              <a:gd name="T19" fmla="*/ 120 h 288"/>
              <a:gd name="T20" fmla="*/ 34 w 150"/>
              <a:gd name="T21" fmla="*/ 106 h 288"/>
              <a:gd name="T22" fmla="*/ 22 w 150"/>
              <a:gd name="T23" fmla="*/ 98 h 288"/>
              <a:gd name="T24" fmla="*/ 8 w 150"/>
              <a:gd name="T25" fmla="*/ 94 h 288"/>
              <a:gd name="T26" fmla="*/ 0 w 150"/>
              <a:gd name="T27" fmla="*/ 80 h 288"/>
              <a:gd name="T28" fmla="*/ 12 w 150"/>
              <a:gd name="T29" fmla="*/ 72 h 288"/>
              <a:gd name="T30" fmla="*/ 26 w 150"/>
              <a:gd name="T31" fmla="*/ 68 h 288"/>
              <a:gd name="T32" fmla="*/ 44 w 150"/>
              <a:gd name="T33" fmla="*/ 64 h 288"/>
              <a:gd name="T34" fmla="*/ 60 w 150"/>
              <a:gd name="T35" fmla="*/ 68 h 288"/>
              <a:gd name="T36" fmla="*/ 60 w 150"/>
              <a:gd name="T37" fmla="*/ 86 h 288"/>
              <a:gd name="T38" fmla="*/ 60 w 150"/>
              <a:gd name="T39" fmla="*/ 102 h 288"/>
              <a:gd name="T40" fmla="*/ 68 w 150"/>
              <a:gd name="T41" fmla="*/ 116 h 288"/>
              <a:gd name="T42" fmla="*/ 68 w 150"/>
              <a:gd name="T43" fmla="*/ 106 h 288"/>
              <a:gd name="T44" fmla="*/ 78 w 150"/>
              <a:gd name="T45" fmla="*/ 98 h 288"/>
              <a:gd name="T46" fmla="*/ 78 w 150"/>
              <a:gd name="T47" fmla="*/ 76 h 288"/>
              <a:gd name="T48" fmla="*/ 68 w 150"/>
              <a:gd name="T49" fmla="*/ 52 h 288"/>
              <a:gd name="T50" fmla="*/ 60 w 150"/>
              <a:gd name="T51" fmla="*/ 38 h 288"/>
              <a:gd name="T52" fmla="*/ 60 w 150"/>
              <a:gd name="T53" fmla="*/ 26 h 288"/>
              <a:gd name="T54" fmla="*/ 70 w 150"/>
              <a:gd name="T55" fmla="*/ 20 h 288"/>
              <a:gd name="T56" fmla="*/ 90 w 150"/>
              <a:gd name="T57" fmla="*/ 20 h 288"/>
              <a:gd name="T58" fmla="*/ 108 w 150"/>
              <a:gd name="T59" fmla="*/ 20 h 288"/>
              <a:gd name="T60" fmla="*/ 112 w 150"/>
              <a:gd name="T61" fmla="*/ 12 h 288"/>
              <a:gd name="T62" fmla="*/ 128 w 150"/>
              <a:gd name="T63" fmla="*/ 12 h 288"/>
              <a:gd name="T64" fmla="*/ 138 w 150"/>
              <a:gd name="T65" fmla="*/ 4 h 288"/>
              <a:gd name="T66" fmla="*/ 146 w 150"/>
              <a:gd name="T67" fmla="*/ 12 h 288"/>
              <a:gd name="T68" fmla="*/ 146 w 150"/>
              <a:gd name="T69" fmla="*/ 24 h 288"/>
              <a:gd name="T70" fmla="*/ 142 w 150"/>
              <a:gd name="T71" fmla="*/ 42 h 288"/>
              <a:gd name="T72" fmla="*/ 146 w 150"/>
              <a:gd name="T73" fmla="*/ 56 h 288"/>
              <a:gd name="T74" fmla="*/ 146 w 150"/>
              <a:gd name="T75" fmla="*/ 68 h 288"/>
              <a:gd name="T76" fmla="*/ 146 w 150"/>
              <a:gd name="T77" fmla="*/ 80 h 288"/>
              <a:gd name="T78" fmla="*/ 142 w 150"/>
              <a:gd name="T79" fmla="*/ 86 h 288"/>
              <a:gd name="T80" fmla="*/ 134 w 150"/>
              <a:gd name="T81" fmla="*/ 102 h 288"/>
              <a:gd name="T82" fmla="*/ 124 w 150"/>
              <a:gd name="T83" fmla="*/ 112 h 288"/>
              <a:gd name="T84" fmla="*/ 108 w 150"/>
              <a:gd name="T85" fmla="*/ 120 h 288"/>
              <a:gd name="T86" fmla="*/ 94 w 150"/>
              <a:gd name="T87" fmla="*/ 132 h 288"/>
              <a:gd name="T88" fmla="*/ 86 w 150"/>
              <a:gd name="T89" fmla="*/ 140 h 288"/>
              <a:gd name="T90" fmla="*/ 82 w 150"/>
              <a:gd name="T91" fmla="*/ 146 h 288"/>
              <a:gd name="T92" fmla="*/ 70 w 150"/>
              <a:gd name="T93" fmla="*/ 158 h 288"/>
              <a:gd name="T94" fmla="*/ 64 w 150"/>
              <a:gd name="T95" fmla="*/ 162 h 288"/>
              <a:gd name="T96" fmla="*/ 68 w 150"/>
              <a:gd name="T97" fmla="*/ 176 h 288"/>
              <a:gd name="T98" fmla="*/ 70 w 150"/>
              <a:gd name="T99" fmla="*/ 192 h 288"/>
              <a:gd name="T100" fmla="*/ 70 w 150"/>
              <a:gd name="T101" fmla="*/ 210 h 288"/>
              <a:gd name="T102" fmla="*/ 74 w 150"/>
              <a:gd name="T103" fmla="*/ 210 h 288"/>
              <a:gd name="T104" fmla="*/ 70 w 150"/>
              <a:gd name="T105" fmla="*/ 228 h 288"/>
              <a:gd name="T106" fmla="*/ 74 w 150"/>
              <a:gd name="T107" fmla="*/ 236 h 288"/>
              <a:gd name="T108" fmla="*/ 68 w 150"/>
              <a:gd name="T109" fmla="*/ 248 h 288"/>
              <a:gd name="T110" fmla="*/ 52 w 150"/>
              <a:gd name="T111" fmla="*/ 254 h 288"/>
              <a:gd name="T112" fmla="*/ 38 w 150"/>
              <a:gd name="T113" fmla="*/ 262 h 288"/>
              <a:gd name="T114" fmla="*/ 34 w 150"/>
              <a:gd name="T115" fmla="*/ 278 h 288"/>
              <a:gd name="T116" fmla="*/ 38 w 150"/>
              <a:gd name="T117" fmla="*/ 288 h 288"/>
              <a:gd name="T118" fmla="*/ 26 w 150"/>
              <a:gd name="T119" fmla="*/ 288 h 288"/>
              <a:gd name="T120" fmla="*/ 74 w 150"/>
              <a:gd name="T121" fmla="*/ 19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0" h="288">
                <a:moveTo>
                  <a:pt x="26" y="288"/>
                </a:moveTo>
                <a:lnTo>
                  <a:pt x="26" y="280"/>
                </a:lnTo>
                <a:lnTo>
                  <a:pt x="26" y="278"/>
                </a:lnTo>
                <a:lnTo>
                  <a:pt x="26" y="274"/>
                </a:lnTo>
                <a:lnTo>
                  <a:pt x="22" y="274"/>
                </a:lnTo>
                <a:lnTo>
                  <a:pt x="22" y="270"/>
                </a:lnTo>
                <a:lnTo>
                  <a:pt x="22" y="266"/>
                </a:lnTo>
                <a:lnTo>
                  <a:pt x="22" y="262"/>
                </a:lnTo>
                <a:lnTo>
                  <a:pt x="26" y="254"/>
                </a:lnTo>
                <a:lnTo>
                  <a:pt x="22" y="254"/>
                </a:lnTo>
                <a:lnTo>
                  <a:pt x="22" y="252"/>
                </a:lnTo>
                <a:lnTo>
                  <a:pt x="22" y="248"/>
                </a:lnTo>
                <a:lnTo>
                  <a:pt x="26" y="244"/>
                </a:lnTo>
                <a:lnTo>
                  <a:pt x="22" y="244"/>
                </a:lnTo>
                <a:lnTo>
                  <a:pt x="22" y="240"/>
                </a:lnTo>
                <a:lnTo>
                  <a:pt x="22" y="236"/>
                </a:lnTo>
                <a:lnTo>
                  <a:pt x="22" y="232"/>
                </a:lnTo>
                <a:lnTo>
                  <a:pt x="18" y="232"/>
                </a:lnTo>
                <a:lnTo>
                  <a:pt x="18" y="228"/>
                </a:lnTo>
                <a:lnTo>
                  <a:pt x="18" y="226"/>
                </a:lnTo>
                <a:lnTo>
                  <a:pt x="18" y="222"/>
                </a:lnTo>
                <a:lnTo>
                  <a:pt x="14" y="210"/>
                </a:lnTo>
                <a:lnTo>
                  <a:pt x="14" y="206"/>
                </a:lnTo>
                <a:lnTo>
                  <a:pt x="18" y="202"/>
                </a:lnTo>
                <a:lnTo>
                  <a:pt x="22" y="198"/>
                </a:lnTo>
                <a:lnTo>
                  <a:pt x="30" y="188"/>
                </a:lnTo>
                <a:lnTo>
                  <a:pt x="30" y="184"/>
                </a:lnTo>
                <a:lnTo>
                  <a:pt x="30" y="180"/>
                </a:lnTo>
                <a:lnTo>
                  <a:pt x="30" y="176"/>
                </a:lnTo>
                <a:lnTo>
                  <a:pt x="34" y="176"/>
                </a:lnTo>
                <a:lnTo>
                  <a:pt x="34" y="172"/>
                </a:lnTo>
                <a:lnTo>
                  <a:pt x="38" y="168"/>
                </a:lnTo>
                <a:lnTo>
                  <a:pt x="38" y="166"/>
                </a:lnTo>
                <a:lnTo>
                  <a:pt x="38" y="162"/>
                </a:lnTo>
                <a:lnTo>
                  <a:pt x="38" y="158"/>
                </a:lnTo>
                <a:lnTo>
                  <a:pt x="34" y="158"/>
                </a:lnTo>
                <a:lnTo>
                  <a:pt x="34" y="154"/>
                </a:lnTo>
                <a:lnTo>
                  <a:pt x="38" y="154"/>
                </a:lnTo>
                <a:lnTo>
                  <a:pt x="38" y="150"/>
                </a:lnTo>
                <a:lnTo>
                  <a:pt x="38" y="146"/>
                </a:lnTo>
                <a:lnTo>
                  <a:pt x="34" y="146"/>
                </a:lnTo>
                <a:lnTo>
                  <a:pt x="34" y="142"/>
                </a:lnTo>
                <a:lnTo>
                  <a:pt x="38" y="142"/>
                </a:lnTo>
                <a:lnTo>
                  <a:pt x="38" y="140"/>
                </a:lnTo>
                <a:lnTo>
                  <a:pt x="42" y="136"/>
                </a:lnTo>
                <a:lnTo>
                  <a:pt x="38" y="136"/>
                </a:lnTo>
                <a:lnTo>
                  <a:pt x="38" y="132"/>
                </a:lnTo>
                <a:lnTo>
                  <a:pt x="38" y="128"/>
                </a:lnTo>
                <a:lnTo>
                  <a:pt x="38" y="124"/>
                </a:lnTo>
                <a:lnTo>
                  <a:pt x="38" y="120"/>
                </a:lnTo>
                <a:lnTo>
                  <a:pt x="38" y="116"/>
                </a:lnTo>
                <a:lnTo>
                  <a:pt x="38" y="112"/>
                </a:lnTo>
                <a:lnTo>
                  <a:pt x="38" y="110"/>
                </a:lnTo>
                <a:lnTo>
                  <a:pt x="34" y="110"/>
                </a:lnTo>
                <a:lnTo>
                  <a:pt x="34" y="106"/>
                </a:lnTo>
                <a:lnTo>
                  <a:pt x="30" y="106"/>
                </a:lnTo>
                <a:lnTo>
                  <a:pt x="30" y="102"/>
                </a:lnTo>
                <a:lnTo>
                  <a:pt x="26" y="102"/>
                </a:lnTo>
                <a:lnTo>
                  <a:pt x="22" y="102"/>
                </a:lnTo>
                <a:lnTo>
                  <a:pt x="22" y="98"/>
                </a:lnTo>
                <a:lnTo>
                  <a:pt x="18" y="98"/>
                </a:lnTo>
                <a:lnTo>
                  <a:pt x="14" y="98"/>
                </a:lnTo>
                <a:lnTo>
                  <a:pt x="14" y="94"/>
                </a:lnTo>
                <a:lnTo>
                  <a:pt x="12" y="94"/>
                </a:lnTo>
                <a:lnTo>
                  <a:pt x="8" y="94"/>
                </a:lnTo>
                <a:lnTo>
                  <a:pt x="0" y="94"/>
                </a:lnTo>
                <a:lnTo>
                  <a:pt x="0" y="90"/>
                </a:lnTo>
                <a:lnTo>
                  <a:pt x="0" y="86"/>
                </a:lnTo>
                <a:lnTo>
                  <a:pt x="0" y="82"/>
                </a:lnTo>
                <a:lnTo>
                  <a:pt x="0" y="80"/>
                </a:lnTo>
                <a:lnTo>
                  <a:pt x="0" y="76"/>
                </a:lnTo>
                <a:lnTo>
                  <a:pt x="4" y="76"/>
                </a:lnTo>
                <a:lnTo>
                  <a:pt x="8" y="76"/>
                </a:lnTo>
                <a:lnTo>
                  <a:pt x="8" y="72"/>
                </a:lnTo>
                <a:lnTo>
                  <a:pt x="12" y="72"/>
                </a:lnTo>
                <a:lnTo>
                  <a:pt x="14" y="72"/>
                </a:lnTo>
                <a:lnTo>
                  <a:pt x="18" y="72"/>
                </a:lnTo>
                <a:lnTo>
                  <a:pt x="18" y="68"/>
                </a:lnTo>
                <a:lnTo>
                  <a:pt x="22" y="68"/>
                </a:lnTo>
                <a:lnTo>
                  <a:pt x="26" y="68"/>
                </a:lnTo>
                <a:lnTo>
                  <a:pt x="30" y="64"/>
                </a:lnTo>
                <a:lnTo>
                  <a:pt x="38" y="60"/>
                </a:lnTo>
                <a:lnTo>
                  <a:pt x="42" y="60"/>
                </a:lnTo>
                <a:lnTo>
                  <a:pt x="42" y="64"/>
                </a:lnTo>
                <a:lnTo>
                  <a:pt x="44" y="64"/>
                </a:lnTo>
                <a:lnTo>
                  <a:pt x="44" y="68"/>
                </a:lnTo>
                <a:lnTo>
                  <a:pt x="48" y="68"/>
                </a:lnTo>
                <a:lnTo>
                  <a:pt x="52" y="68"/>
                </a:lnTo>
                <a:lnTo>
                  <a:pt x="56" y="68"/>
                </a:lnTo>
                <a:lnTo>
                  <a:pt x="60" y="68"/>
                </a:lnTo>
                <a:lnTo>
                  <a:pt x="60" y="72"/>
                </a:lnTo>
                <a:lnTo>
                  <a:pt x="60" y="76"/>
                </a:lnTo>
                <a:lnTo>
                  <a:pt x="60" y="80"/>
                </a:lnTo>
                <a:lnTo>
                  <a:pt x="60" y="82"/>
                </a:lnTo>
                <a:lnTo>
                  <a:pt x="60" y="86"/>
                </a:lnTo>
                <a:lnTo>
                  <a:pt x="60" y="90"/>
                </a:lnTo>
                <a:lnTo>
                  <a:pt x="56" y="90"/>
                </a:lnTo>
                <a:lnTo>
                  <a:pt x="56" y="94"/>
                </a:lnTo>
                <a:lnTo>
                  <a:pt x="60" y="98"/>
                </a:lnTo>
                <a:lnTo>
                  <a:pt x="60" y="102"/>
                </a:lnTo>
                <a:lnTo>
                  <a:pt x="64" y="102"/>
                </a:lnTo>
                <a:lnTo>
                  <a:pt x="64" y="106"/>
                </a:lnTo>
                <a:lnTo>
                  <a:pt x="68" y="110"/>
                </a:lnTo>
                <a:lnTo>
                  <a:pt x="68" y="112"/>
                </a:lnTo>
                <a:lnTo>
                  <a:pt x="68" y="116"/>
                </a:lnTo>
                <a:lnTo>
                  <a:pt x="70" y="116"/>
                </a:lnTo>
                <a:lnTo>
                  <a:pt x="70" y="112"/>
                </a:lnTo>
                <a:lnTo>
                  <a:pt x="70" y="110"/>
                </a:lnTo>
                <a:lnTo>
                  <a:pt x="70" y="106"/>
                </a:lnTo>
                <a:lnTo>
                  <a:pt x="68" y="106"/>
                </a:lnTo>
                <a:lnTo>
                  <a:pt x="70" y="106"/>
                </a:lnTo>
                <a:lnTo>
                  <a:pt x="70" y="102"/>
                </a:lnTo>
                <a:lnTo>
                  <a:pt x="70" y="98"/>
                </a:lnTo>
                <a:lnTo>
                  <a:pt x="74" y="98"/>
                </a:lnTo>
                <a:lnTo>
                  <a:pt x="78" y="98"/>
                </a:lnTo>
                <a:lnTo>
                  <a:pt x="78" y="94"/>
                </a:lnTo>
                <a:lnTo>
                  <a:pt x="78" y="86"/>
                </a:lnTo>
                <a:lnTo>
                  <a:pt x="78" y="82"/>
                </a:lnTo>
                <a:lnTo>
                  <a:pt x="78" y="80"/>
                </a:lnTo>
                <a:lnTo>
                  <a:pt x="78" y="76"/>
                </a:lnTo>
                <a:lnTo>
                  <a:pt x="78" y="72"/>
                </a:lnTo>
                <a:lnTo>
                  <a:pt x="74" y="64"/>
                </a:lnTo>
                <a:lnTo>
                  <a:pt x="70" y="56"/>
                </a:lnTo>
                <a:lnTo>
                  <a:pt x="68" y="56"/>
                </a:lnTo>
                <a:lnTo>
                  <a:pt x="68" y="52"/>
                </a:lnTo>
                <a:lnTo>
                  <a:pt x="64" y="52"/>
                </a:lnTo>
                <a:lnTo>
                  <a:pt x="60" y="50"/>
                </a:lnTo>
                <a:lnTo>
                  <a:pt x="60" y="46"/>
                </a:lnTo>
                <a:lnTo>
                  <a:pt x="60" y="42"/>
                </a:lnTo>
                <a:lnTo>
                  <a:pt x="60" y="38"/>
                </a:lnTo>
                <a:lnTo>
                  <a:pt x="60" y="34"/>
                </a:lnTo>
                <a:lnTo>
                  <a:pt x="60" y="30"/>
                </a:lnTo>
                <a:lnTo>
                  <a:pt x="56" y="30"/>
                </a:lnTo>
                <a:lnTo>
                  <a:pt x="56" y="26"/>
                </a:lnTo>
                <a:lnTo>
                  <a:pt x="60" y="26"/>
                </a:lnTo>
                <a:lnTo>
                  <a:pt x="60" y="24"/>
                </a:lnTo>
                <a:lnTo>
                  <a:pt x="60" y="20"/>
                </a:lnTo>
                <a:lnTo>
                  <a:pt x="64" y="20"/>
                </a:lnTo>
                <a:lnTo>
                  <a:pt x="68" y="20"/>
                </a:lnTo>
                <a:lnTo>
                  <a:pt x="70" y="20"/>
                </a:lnTo>
                <a:lnTo>
                  <a:pt x="74" y="20"/>
                </a:lnTo>
                <a:lnTo>
                  <a:pt x="78" y="16"/>
                </a:lnTo>
                <a:lnTo>
                  <a:pt x="82" y="20"/>
                </a:lnTo>
                <a:lnTo>
                  <a:pt x="86" y="20"/>
                </a:lnTo>
                <a:lnTo>
                  <a:pt x="90" y="20"/>
                </a:lnTo>
                <a:lnTo>
                  <a:pt x="94" y="20"/>
                </a:lnTo>
                <a:lnTo>
                  <a:pt x="98" y="20"/>
                </a:lnTo>
                <a:lnTo>
                  <a:pt x="100" y="20"/>
                </a:lnTo>
                <a:lnTo>
                  <a:pt x="104" y="20"/>
                </a:lnTo>
                <a:lnTo>
                  <a:pt x="108" y="20"/>
                </a:lnTo>
                <a:lnTo>
                  <a:pt x="108" y="16"/>
                </a:lnTo>
                <a:lnTo>
                  <a:pt x="104" y="16"/>
                </a:lnTo>
                <a:lnTo>
                  <a:pt x="108" y="16"/>
                </a:lnTo>
                <a:lnTo>
                  <a:pt x="108" y="12"/>
                </a:lnTo>
                <a:lnTo>
                  <a:pt x="112" y="12"/>
                </a:lnTo>
                <a:lnTo>
                  <a:pt x="112" y="16"/>
                </a:lnTo>
                <a:lnTo>
                  <a:pt x="116" y="16"/>
                </a:lnTo>
                <a:lnTo>
                  <a:pt x="120" y="12"/>
                </a:lnTo>
                <a:lnTo>
                  <a:pt x="124" y="12"/>
                </a:lnTo>
                <a:lnTo>
                  <a:pt x="128" y="12"/>
                </a:lnTo>
                <a:lnTo>
                  <a:pt x="128" y="8"/>
                </a:lnTo>
                <a:lnTo>
                  <a:pt x="130" y="8"/>
                </a:lnTo>
                <a:lnTo>
                  <a:pt x="134" y="8"/>
                </a:lnTo>
                <a:lnTo>
                  <a:pt x="134" y="4"/>
                </a:lnTo>
                <a:lnTo>
                  <a:pt x="138" y="4"/>
                </a:lnTo>
                <a:lnTo>
                  <a:pt x="142" y="0"/>
                </a:lnTo>
                <a:lnTo>
                  <a:pt x="146" y="0"/>
                </a:lnTo>
                <a:lnTo>
                  <a:pt x="146" y="4"/>
                </a:lnTo>
                <a:lnTo>
                  <a:pt x="146" y="8"/>
                </a:lnTo>
                <a:lnTo>
                  <a:pt x="146" y="12"/>
                </a:lnTo>
                <a:lnTo>
                  <a:pt x="142" y="12"/>
                </a:lnTo>
                <a:lnTo>
                  <a:pt x="142" y="16"/>
                </a:lnTo>
                <a:lnTo>
                  <a:pt x="146" y="16"/>
                </a:lnTo>
                <a:lnTo>
                  <a:pt x="142" y="20"/>
                </a:lnTo>
                <a:lnTo>
                  <a:pt x="146" y="24"/>
                </a:lnTo>
                <a:lnTo>
                  <a:pt x="146" y="30"/>
                </a:lnTo>
                <a:lnTo>
                  <a:pt x="146" y="34"/>
                </a:lnTo>
                <a:lnTo>
                  <a:pt x="146" y="38"/>
                </a:lnTo>
                <a:lnTo>
                  <a:pt x="146" y="42"/>
                </a:lnTo>
                <a:lnTo>
                  <a:pt x="142" y="42"/>
                </a:lnTo>
                <a:lnTo>
                  <a:pt x="146" y="42"/>
                </a:lnTo>
                <a:lnTo>
                  <a:pt x="146" y="46"/>
                </a:lnTo>
                <a:lnTo>
                  <a:pt x="146" y="50"/>
                </a:lnTo>
                <a:lnTo>
                  <a:pt x="146" y="52"/>
                </a:lnTo>
                <a:lnTo>
                  <a:pt x="146" y="56"/>
                </a:lnTo>
                <a:lnTo>
                  <a:pt x="146" y="60"/>
                </a:lnTo>
                <a:lnTo>
                  <a:pt x="146" y="64"/>
                </a:lnTo>
                <a:lnTo>
                  <a:pt x="150" y="64"/>
                </a:lnTo>
                <a:lnTo>
                  <a:pt x="150" y="68"/>
                </a:lnTo>
                <a:lnTo>
                  <a:pt x="146" y="68"/>
                </a:lnTo>
                <a:lnTo>
                  <a:pt x="150" y="68"/>
                </a:lnTo>
                <a:lnTo>
                  <a:pt x="150" y="72"/>
                </a:lnTo>
                <a:lnTo>
                  <a:pt x="150" y="76"/>
                </a:lnTo>
                <a:lnTo>
                  <a:pt x="150" y="80"/>
                </a:lnTo>
                <a:lnTo>
                  <a:pt x="146" y="80"/>
                </a:lnTo>
                <a:lnTo>
                  <a:pt x="146" y="82"/>
                </a:lnTo>
                <a:lnTo>
                  <a:pt x="146" y="80"/>
                </a:lnTo>
                <a:lnTo>
                  <a:pt x="146" y="82"/>
                </a:lnTo>
                <a:lnTo>
                  <a:pt x="146" y="86"/>
                </a:lnTo>
                <a:lnTo>
                  <a:pt x="142" y="86"/>
                </a:lnTo>
                <a:lnTo>
                  <a:pt x="142" y="90"/>
                </a:lnTo>
                <a:lnTo>
                  <a:pt x="138" y="94"/>
                </a:lnTo>
                <a:lnTo>
                  <a:pt x="138" y="98"/>
                </a:lnTo>
                <a:lnTo>
                  <a:pt x="134" y="98"/>
                </a:lnTo>
                <a:lnTo>
                  <a:pt x="134" y="102"/>
                </a:lnTo>
                <a:lnTo>
                  <a:pt x="134" y="106"/>
                </a:lnTo>
                <a:lnTo>
                  <a:pt x="130" y="106"/>
                </a:lnTo>
                <a:lnTo>
                  <a:pt x="128" y="110"/>
                </a:lnTo>
                <a:lnTo>
                  <a:pt x="124" y="110"/>
                </a:lnTo>
                <a:lnTo>
                  <a:pt x="124" y="112"/>
                </a:lnTo>
                <a:lnTo>
                  <a:pt x="120" y="112"/>
                </a:lnTo>
                <a:lnTo>
                  <a:pt x="116" y="116"/>
                </a:lnTo>
                <a:lnTo>
                  <a:pt x="112" y="116"/>
                </a:lnTo>
                <a:lnTo>
                  <a:pt x="108" y="116"/>
                </a:lnTo>
                <a:lnTo>
                  <a:pt x="108" y="120"/>
                </a:lnTo>
                <a:lnTo>
                  <a:pt x="104" y="120"/>
                </a:lnTo>
                <a:lnTo>
                  <a:pt x="100" y="124"/>
                </a:lnTo>
                <a:lnTo>
                  <a:pt x="98" y="124"/>
                </a:lnTo>
                <a:lnTo>
                  <a:pt x="98" y="128"/>
                </a:lnTo>
                <a:lnTo>
                  <a:pt x="94" y="132"/>
                </a:lnTo>
                <a:lnTo>
                  <a:pt x="94" y="128"/>
                </a:lnTo>
                <a:lnTo>
                  <a:pt x="94" y="132"/>
                </a:lnTo>
                <a:lnTo>
                  <a:pt x="94" y="136"/>
                </a:lnTo>
                <a:lnTo>
                  <a:pt x="90" y="140"/>
                </a:lnTo>
                <a:lnTo>
                  <a:pt x="86" y="140"/>
                </a:lnTo>
                <a:lnTo>
                  <a:pt x="86" y="142"/>
                </a:lnTo>
                <a:lnTo>
                  <a:pt x="86" y="146"/>
                </a:lnTo>
                <a:lnTo>
                  <a:pt x="82" y="146"/>
                </a:lnTo>
                <a:lnTo>
                  <a:pt x="82" y="142"/>
                </a:lnTo>
                <a:lnTo>
                  <a:pt x="82" y="146"/>
                </a:lnTo>
                <a:lnTo>
                  <a:pt x="78" y="146"/>
                </a:lnTo>
                <a:lnTo>
                  <a:pt x="78" y="150"/>
                </a:lnTo>
                <a:lnTo>
                  <a:pt x="74" y="150"/>
                </a:lnTo>
                <a:lnTo>
                  <a:pt x="74" y="154"/>
                </a:lnTo>
                <a:lnTo>
                  <a:pt x="70" y="158"/>
                </a:lnTo>
                <a:lnTo>
                  <a:pt x="68" y="162"/>
                </a:lnTo>
                <a:lnTo>
                  <a:pt x="64" y="162"/>
                </a:lnTo>
                <a:lnTo>
                  <a:pt x="60" y="158"/>
                </a:lnTo>
                <a:lnTo>
                  <a:pt x="60" y="162"/>
                </a:lnTo>
                <a:lnTo>
                  <a:pt x="64" y="162"/>
                </a:lnTo>
                <a:lnTo>
                  <a:pt x="64" y="166"/>
                </a:lnTo>
                <a:lnTo>
                  <a:pt x="64" y="168"/>
                </a:lnTo>
                <a:lnTo>
                  <a:pt x="64" y="172"/>
                </a:lnTo>
                <a:lnTo>
                  <a:pt x="64" y="176"/>
                </a:lnTo>
                <a:lnTo>
                  <a:pt x="68" y="176"/>
                </a:lnTo>
                <a:lnTo>
                  <a:pt x="68" y="180"/>
                </a:lnTo>
                <a:lnTo>
                  <a:pt x="68" y="184"/>
                </a:lnTo>
                <a:lnTo>
                  <a:pt x="68" y="188"/>
                </a:lnTo>
                <a:lnTo>
                  <a:pt x="68" y="192"/>
                </a:lnTo>
                <a:lnTo>
                  <a:pt x="70" y="192"/>
                </a:lnTo>
                <a:lnTo>
                  <a:pt x="70" y="196"/>
                </a:lnTo>
                <a:lnTo>
                  <a:pt x="70" y="198"/>
                </a:lnTo>
                <a:lnTo>
                  <a:pt x="70" y="202"/>
                </a:lnTo>
                <a:lnTo>
                  <a:pt x="70" y="206"/>
                </a:lnTo>
                <a:lnTo>
                  <a:pt x="70" y="210"/>
                </a:lnTo>
                <a:lnTo>
                  <a:pt x="70" y="206"/>
                </a:lnTo>
                <a:lnTo>
                  <a:pt x="70" y="202"/>
                </a:lnTo>
                <a:lnTo>
                  <a:pt x="74" y="202"/>
                </a:lnTo>
                <a:lnTo>
                  <a:pt x="74" y="206"/>
                </a:lnTo>
                <a:lnTo>
                  <a:pt x="74" y="210"/>
                </a:lnTo>
                <a:lnTo>
                  <a:pt x="74" y="214"/>
                </a:lnTo>
                <a:lnTo>
                  <a:pt x="74" y="218"/>
                </a:lnTo>
                <a:lnTo>
                  <a:pt x="74" y="222"/>
                </a:lnTo>
                <a:lnTo>
                  <a:pt x="74" y="226"/>
                </a:lnTo>
                <a:lnTo>
                  <a:pt x="70" y="228"/>
                </a:lnTo>
                <a:lnTo>
                  <a:pt x="70" y="232"/>
                </a:lnTo>
                <a:lnTo>
                  <a:pt x="70" y="236"/>
                </a:lnTo>
                <a:lnTo>
                  <a:pt x="70" y="232"/>
                </a:lnTo>
                <a:lnTo>
                  <a:pt x="74" y="232"/>
                </a:lnTo>
                <a:lnTo>
                  <a:pt x="74" y="236"/>
                </a:lnTo>
                <a:lnTo>
                  <a:pt x="74" y="240"/>
                </a:lnTo>
                <a:lnTo>
                  <a:pt x="70" y="240"/>
                </a:lnTo>
                <a:lnTo>
                  <a:pt x="70" y="244"/>
                </a:lnTo>
                <a:lnTo>
                  <a:pt x="70" y="248"/>
                </a:lnTo>
                <a:lnTo>
                  <a:pt x="68" y="248"/>
                </a:lnTo>
                <a:lnTo>
                  <a:pt x="64" y="252"/>
                </a:lnTo>
                <a:lnTo>
                  <a:pt x="60" y="252"/>
                </a:lnTo>
                <a:lnTo>
                  <a:pt x="56" y="252"/>
                </a:lnTo>
                <a:lnTo>
                  <a:pt x="56" y="254"/>
                </a:lnTo>
                <a:lnTo>
                  <a:pt x="52" y="254"/>
                </a:lnTo>
                <a:lnTo>
                  <a:pt x="48" y="254"/>
                </a:lnTo>
                <a:lnTo>
                  <a:pt x="44" y="258"/>
                </a:lnTo>
                <a:lnTo>
                  <a:pt x="42" y="258"/>
                </a:lnTo>
                <a:lnTo>
                  <a:pt x="42" y="262"/>
                </a:lnTo>
                <a:lnTo>
                  <a:pt x="38" y="262"/>
                </a:lnTo>
                <a:lnTo>
                  <a:pt x="38" y="266"/>
                </a:lnTo>
                <a:lnTo>
                  <a:pt x="34" y="266"/>
                </a:lnTo>
                <a:lnTo>
                  <a:pt x="34" y="270"/>
                </a:lnTo>
                <a:lnTo>
                  <a:pt x="34" y="274"/>
                </a:lnTo>
                <a:lnTo>
                  <a:pt x="34" y="278"/>
                </a:lnTo>
                <a:lnTo>
                  <a:pt x="38" y="278"/>
                </a:lnTo>
                <a:lnTo>
                  <a:pt x="38" y="274"/>
                </a:lnTo>
                <a:lnTo>
                  <a:pt x="38" y="278"/>
                </a:lnTo>
                <a:lnTo>
                  <a:pt x="38" y="284"/>
                </a:lnTo>
                <a:lnTo>
                  <a:pt x="38" y="288"/>
                </a:lnTo>
                <a:lnTo>
                  <a:pt x="34" y="288"/>
                </a:lnTo>
                <a:lnTo>
                  <a:pt x="30" y="288"/>
                </a:lnTo>
                <a:lnTo>
                  <a:pt x="26" y="288"/>
                </a:lnTo>
                <a:lnTo>
                  <a:pt x="26" y="288"/>
                </a:lnTo>
                <a:lnTo>
                  <a:pt x="26" y="288"/>
                </a:lnTo>
                <a:close/>
                <a:moveTo>
                  <a:pt x="74" y="198"/>
                </a:moveTo>
                <a:lnTo>
                  <a:pt x="70" y="198"/>
                </a:lnTo>
                <a:lnTo>
                  <a:pt x="70" y="196"/>
                </a:lnTo>
                <a:lnTo>
                  <a:pt x="74" y="192"/>
                </a:lnTo>
                <a:lnTo>
                  <a:pt x="74" y="196"/>
                </a:lnTo>
                <a:lnTo>
                  <a:pt x="74" y="198"/>
                </a:lnTo>
                <a:lnTo>
                  <a:pt x="74" y="198"/>
                </a:lnTo>
                <a:lnTo>
                  <a:pt x="74" y="198"/>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53" name="Freeform 160"/>
          <p:cNvSpPr>
            <a:spLocks/>
          </p:cNvSpPr>
          <p:nvPr/>
        </p:nvSpPr>
        <p:spPr bwMode="auto">
          <a:xfrm>
            <a:off x="4452938" y="4045743"/>
            <a:ext cx="230981" cy="254794"/>
          </a:xfrm>
          <a:custGeom>
            <a:avLst/>
            <a:gdLst>
              <a:gd name="T0" fmla="*/ 120 w 194"/>
              <a:gd name="T1" fmla="*/ 124 h 214"/>
              <a:gd name="T2" fmla="*/ 120 w 194"/>
              <a:gd name="T3" fmla="*/ 140 h 214"/>
              <a:gd name="T4" fmla="*/ 120 w 194"/>
              <a:gd name="T5" fmla="*/ 154 h 214"/>
              <a:gd name="T6" fmla="*/ 120 w 194"/>
              <a:gd name="T7" fmla="*/ 184 h 214"/>
              <a:gd name="T8" fmla="*/ 120 w 194"/>
              <a:gd name="T9" fmla="*/ 202 h 214"/>
              <a:gd name="T10" fmla="*/ 108 w 194"/>
              <a:gd name="T11" fmla="*/ 210 h 214"/>
              <a:gd name="T12" fmla="*/ 96 w 194"/>
              <a:gd name="T13" fmla="*/ 214 h 214"/>
              <a:gd name="T14" fmla="*/ 86 w 194"/>
              <a:gd name="T15" fmla="*/ 210 h 214"/>
              <a:gd name="T16" fmla="*/ 82 w 194"/>
              <a:gd name="T17" fmla="*/ 198 h 214"/>
              <a:gd name="T18" fmla="*/ 74 w 194"/>
              <a:gd name="T19" fmla="*/ 198 h 214"/>
              <a:gd name="T20" fmla="*/ 66 w 194"/>
              <a:gd name="T21" fmla="*/ 206 h 214"/>
              <a:gd name="T22" fmla="*/ 60 w 194"/>
              <a:gd name="T23" fmla="*/ 194 h 214"/>
              <a:gd name="T24" fmla="*/ 56 w 194"/>
              <a:gd name="T25" fmla="*/ 190 h 214"/>
              <a:gd name="T26" fmla="*/ 52 w 194"/>
              <a:gd name="T27" fmla="*/ 176 h 214"/>
              <a:gd name="T28" fmla="*/ 48 w 194"/>
              <a:gd name="T29" fmla="*/ 166 h 214"/>
              <a:gd name="T30" fmla="*/ 44 w 194"/>
              <a:gd name="T31" fmla="*/ 154 h 214"/>
              <a:gd name="T32" fmla="*/ 44 w 194"/>
              <a:gd name="T33" fmla="*/ 140 h 214"/>
              <a:gd name="T34" fmla="*/ 40 w 194"/>
              <a:gd name="T35" fmla="*/ 128 h 214"/>
              <a:gd name="T36" fmla="*/ 40 w 194"/>
              <a:gd name="T37" fmla="*/ 114 h 214"/>
              <a:gd name="T38" fmla="*/ 40 w 194"/>
              <a:gd name="T39" fmla="*/ 98 h 214"/>
              <a:gd name="T40" fmla="*/ 34 w 194"/>
              <a:gd name="T41" fmla="*/ 86 h 214"/>
              <a:gd name="T42" fmla="*/ 30 w 194"/>
              <a:gd name="T43" fmla="*/ 76 h 214"/>
              <a:gd name="T44" fmla="*/ 22 w 194"/>
              <a:gd name="T45" fmla="*/ 64 h 214"/>
              <a:gd name="T46" fmla="*/ 18 w 194"/>
              <a:gd name="T47" fmla="*/ 54 h 214"/>
              <a:gd name="T48" fmla="*/ 14 w 194"/>
              <a:gd name="T49" fmla="*/ 42 h 214"/>
              <a:gd name="T50" fmla="*/ 8 w 194"/>
              <a:gd name="T51" fmla="*/ 30 h 214"/>
              <a:gd name="T52" fmla="*/ 4 w 194"/>
              <a:gd name="T53" fmla="*/ 20 h 214"/>
              <a:gd name="T54" fmla="*/ 4 w 194"/>
              <a:gd name="T55" fmla="*/ 8 h 214"/>
              <a:gd name="T56" fmla="*/ 14 w 194"/>
              <a:gd name="T57" fmla="*/ 4 h 214"/>
              <a:gd name="T58" fmla="*/ 30 w 194"/>
              <a:gd name="T59" fmla="*/ 4 h 214"/>
              <a:gd name="T60" fmla="*/ 40 w 194"/>
              <a:gd name="T61" fmla="*/ 8 h 214"/>
              <a:gd name="T62" fmla="*/ 64 w 194"/>
              <a:gd name="T63" fmla="*/ 8 h 214"/>
              <a:gd name="T64" fmla="*/ 90 w 194"/>
              <a:gd name="T65" fmla="*/ 8 h 214"/>
              <a:gd name="T66" fmla="*/ 100 w 194"/>
              <a:gd name="T67" fmla="*/ 16 h 214"/>
              <a:gd name="T68" fmla="*/ 116 w 194"/>
              <a:gd name="T69" fmla="*/ 16 h 214"/>
              <a:gd name="T70" fmla="*/ 126 w 194"/>
              <a:gd name="T71" fmla="*/ 20 h 214"/>
              <a:gd name="T72" fmla="*/ 138 w 194"/>
              <a:gd name="T73" fmla="*/ 20 h 214"/>
              <a:gd name="T74" fmla="*/ 160 w 194"/>
              <a:gd name="T75" fmla="*/ 12 h 214"/>
              <a:gd name="T76" fmla="*/ 176 w 194"/>
              <a:gd name="T77" fmla="*/ 8 h 214"/>
              <a:gd name="T78" fmla="*/ 190 w 194"/>
              <a:gd name="T79" fmla="*/ 8 h 214"/>
              <a:gd name="T80" fmla="*/ 186 w 194"/>
              <a:gd name="T81" fmla="*/ 16 h 214"/>
              <a:gd name="T82" fmla="*/ 178 w 194"/>
              <a:gd name="T83" fmla="*/ 20 h 214"/>
              <a:gd name="T84" fmla="*/ 172 w 194"/>
              <a:gd name="T85" fmla="*/ 28 h 214"/>
              <a:gd name="T86" fmla="*/ 164 w 194"/>
              <a:gd name="T87" fmla="*/ 20 h 214"/>
              <a:gd name="T88" fmla="*/ 146 w 194"/>
              <a:gd name="T89" fmla="*/ 24 h 214"/>
              <a:gd name="T90" fmla="*/ 134 w 194"/>
              <a:gd name="T91" fmla="*/ 30 h 214"/>
              <a:gd name="T92" fmla="*/ 134 w 194"/>
              <a:gd name="T93" fmla="*/ 68 h 214"/>
              <a:gd name="T94" fmla="*/ 134 w 194"/>
              <a:gd name="T95" fmla="*/ 86 h 214"/>
              <a:gd name="T96" fmla="*/ 122 w 194"/>
              <a:gd name="T97" fmla="*/ 90 h 214"/>
              <a:gd name="T98" fmla="*/ 120 w 194"/>
              <a:gd name="T99" fmla="*/ 102 h 214"/>
              <a:gd name="T100" fmla="*/ 120 w 194"/>
              <a:gd name="T101" fmla="*/ 11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4" h="214">
                <a:moveTo>
                  <a:pt x="120" y="114"/>
                </a:moveTo>
                <a:lnTo>
                  <a:pt x="120" y="116"/>
                </a:lnTo>
                <a:lnTo>
                  <a:pt x="120" y="120"/>
                </a:lnTo>
                <a:lnTo>
                  <a:pt x="120" y="124"/>
                </a:lnTo>
                <a:lnTo>
                  <a:pt x="120" y="128"/>
                </a:lnTo>
                <a:lnTo>
                  <a:pt x="120" y="132"/>
                </a:lnTo>
                <a:lnTo>
                  <a:pt x="120" y="136"/>
                </a:lnTo>
                <a:lnTo>
                  <a:pt x="120" y="140"/>
                </a:lnTo>
                <a:lnTo>
                  <a:pt x="120" y="144"/>
                </a:lnTo>
                <a:lnTo>
                  <a:pt x="120" y="146"/>
                </a:lnTo>
                <a:lnTo>
                  <a:pt x="120" y="150"/>
                </a:lnTo>
                <a:lnTo>
                  <a:pt x="120" y="154"/>
                </a:lnTo>
                <a:lnTo>
                  <a:pt x="120" y="158"/>
                </a:lnTo>
                <a:lnTo>
                  <a:pt x="120" y="168"/>
                </a:lnTo>
                <a:lnTo>
                  <a:pt x="120" y="180"/>
                </a:lnTo>
                <a:lnTo>
                  <a:pt x="120" y="184"/>
                </a:lnTo>
                <a:lnTo>
                  <a:pt x="120" y="186"/>
                </a:lnTo>
                <a:lnTo>
                  <a:pt x="120" y="194"/>
                </a:lnTo>
                <a:lnTo>
                  <a:pt x="120" y="198"/>
                </a:lnTo>
                <a:lnTo>
                  <a:pt x="120" y="202"/>
                </a:lnTo>
                <a:lnTo>
                  <a:pt x="116" y="206"/>
                </a:lnTo>
                <a:lnTo>
                  <a:pt x="112" y="206"/>
                </a:lnTo>
                <a:lnTo>
                  <a:pt x="112" y="210"/>
                </a:lnTo>
                <a:lnTo>
                  <a:pt x="108" y="210"/>
                </a:lnTo>
                <a:lnTo>
                  <a:pt x="108" y="214"/>
                </a:lnTo>
                <a:lnTo>
                  <a:pt x="104" y="214"/>
                </a:lnTo>
                <a:lnTo>
                  <a:pt x="100" y="210"/>
                </a:lnTo>
                <a:lnTo>
                  <a:pt x="96" y="214"/>
                </a:lnTo>
                <a:lnTo>
                  <a:pt x="94" y="214"/>
                </a:lnTo>
                <a:lnTo>
                  <a:pt x="90" y="214"/>
                </a:lnTo>
                <a:lnTo>
                  <a:pt x="90" y="210"/>
                </a:lnTo>
                <a:lnTo>
                  <a:pt x="86" y="210"/>
                </a:lnTo>
                <a:lnTo>
                  <a:pt x="82" y="210"/>
                </a:lnTo>
                <a:lnTo>
                  <a:pt x="82" y="206"/>
                </a:lnTo>
                <a:lnTo>
                  <a:pt x="82" y="202"/>
                </a:lnTo>
                <a:lnTo>
                  <a:pt x="82" y="198"/>
                </a:lnTo>
                <a:lnTo>
                  <a:pt x="82" y="202"/>
                </a:lnTo>
                <a:lnTo>
                  <a:pt x="78" y="202"/>
                </a:lnTo>
                <a:lnTo>
                  <a:pt x="78" y="198"/>
                </a:lnTo>
                <a:lnTo>
                  <a:pt x="74" y="198"/>
                </a:lnTo>
                <a:lnTo>
                  <a:pt x="74" y="202"/>
                </a:lnTo>
                <a:lnTo>
                  <a:pt x="74" y="206"/>
                </a:lnTo>
                <a:lnTo>
                  <a:pt x="70" y="206"/>
                </a:lnTo>
                <a:lnTo>
                  <a:pt x="66" y="206"/>
                </a:lnTo>
                <a:lnTo>
                  <a:pt x="64" y="202"/>
                </a:lnTo>
                <a:lnTo>
                  <a:pt x="64" y="198"/>
                </a:lnTo>
                <a:lnTo>
                  <a:pt x="60" y="198"/>
                </a:lnTo>
                <a:lnTo>
                  <a:pt x="60" y="194"/>
                </a:lnTo>
                <a:lnTo>
                  <a:pt x="56" y="194"/>
                </a:lnTo>
                <a:lnTo>
                  <a:pt x="60" y="194"/>
                </a:lnTo>
                <a:lnTo>
                  <a:pt x="56" y="194"/>
                </a:lnTo>
                <a:lnTo>
                  <a:pt x="56" y="190"/>
                </a:lnTo>
                <a:lnTo>
                  <a:pt x="52" y="186"/>
                </a:lnTo>
                <a:lnTo>
                  <a:pt x="52" y="184"/>
                </a:lnTo>
                <a:lnTo>
                  <a:pt x="52" y="180"/>
                </a:lnTo>
                <a:lnTo>
                  <a:pt x="52" y="176"/>
                </a:lnTo>
                <a:lnTo>
                  <a:pt x="48" y="172"/>
                </a:lnTo>
                <a:lnTo>
                  <a:pt x="52" y="172"/>
                </a:lnTo>
                <a:lnTo>
                  <a:pt x="48" y="168"/>
                </a:lnTo>
                <a:lnTo>
                  <a:pt x="48" y="166"/>
                </a:lnTo>
                <a:lnTo>
                  <a:pt x="48" y="162"/>
                </a:lnTo>
                <a:lnTo>
                  <a:pt x="48" y="158"/>
                </a:lnTo>
                <a:lnTo>
                  <a:pt x="44" y="158"/>
                </a:lnTo>
                <a:lnTo>
                  <a:pt x="44" y="154"/>
                </a:lnTo>
                <a:lnTo>
                  <a:pt x="44" y="150"/>
                </a:lnTo>
                <a:lnTo>
                  <a:pt x="44" y="146"/>
                </a:lnTo>
                <a:lnTo>
                  <a:pt x="44" y="144"/>
                </a:lnTo>
                <a:lnTo>
                  <a:pt x="44" y="140"/>
                </a:lnTo>
                <a:lnTo>
                  <a:pt x="44" y="136"/>
                </a:lnTo>
                <a:lnTo>
                  <a:pt x="40" y="136"/>
                </a:lnTo>
                <a:lnTo>
                  <a:pt x="40" y="132"/>
                </a:lnTo>
                <a:lnTo>
                  <a:pt x="40" y="128"/>
                </a:lnTo>
                <a:lnTo>
                  <a:pt x="40" y="124"/>
                </a:lnTo>
                <a:lnTo>
                  <a:pt x="40" y="120"/>
                </a:lnTo>
                <a:lnTo>
                  <a:pt x="40" y="116"/>
                </a:lnTo>
                <a:lnTo>
                  <a:pt x="40" y="114"/>
                </a:lnTo>
                <a:lnTo>
                  <a:pt x="40" y="110"/>
                </a:lnTo>
                <a:lnTo>
                  <a:pt x="40" y="106"/>
                </a:lnTo>
                <a:lnTo>
                  <a:pt x="40" y="102"/>
                </a:lnTo>
                <a:lnTo>
                  <a:pt x="40" y="98"/>
                </a:lnTo>
                <a:lnTo>
                  <a:pt x="40" y="94"/>
                </a:lnTo>
                <a:lnTo>
                  <a:pt x="38" y="90"/>
                </a:lnTo>
                <a:lnTo>
                  <a:pt x="38" y="86"/>
                </a:lnTo>
                <a:lnTo>
                  <a:pt x="34" y="86"/>
                </a:lnTo>
                <a:lnTo>
                  <a:pt x="34" y="84"/>
                </a:lnTo>
                <a:lnTo>
                  <a:pt x="34" y="80"/>
                </a:lnTo>
                <a:lnTo>
                  <a:pt x="30" y="80"/>
                </a:lnTo>
                <a:lnTo>
                  <a:pt x="30" y="76"/>
                </a:lnTo>
                <a:lnTo>
                  <a:pt x="30" y="72"/>
                </a:lnTo>
                <a:lnTo>
                  <a:pt x="26" y="68"/>
                </a:lnTo>
                <a:lnTo>
                  <a:pt x="26" y="64"/>
                </a:lnTo>
                <a:lnTo>
                  <a:pt x="22" y="64"/>
                </a:lnTo>
                <a:lnTo>
                  <a:pt x="22" y="60"/>
                </a:lnTo>
                <a:lnTo>
                  <a:pt x="22" y="58"/>
                </a:lnTo>
                <a:lnTo>
                  <a:pt x="22" y="54"/>
                </a:lnTo>
                <a:lnTo>
                  <a:pt x="18" y="54"/>
                </a:lnTo>
                <a:lnTo>
                  <a:pt x="18" y="50"/>
                </a:lnTo>
                <a:lnTo>
                  <a:pt x="18" y="46"/>
                </a:lnTo>
                <a:lnTo>
                  <a:pt x="14" y="46"/>
                </a:lnTo>
                <a:lnTo>
                  <a:pt x="14" y="42"/>
                </a:lnTo>
                <a:lnTo>
                  <a:pt x="14" y="38"/>
                </a:lnTo>
                <a:lnTo>
                  <a:pt x="12" y="34"/>
                </a:lnTo>
                <a:lnTo>
                  <a:pt x="12" y="30"/>
                </a:lnTo>
                <a:lnTo>
                  <a:pt x="8" y="30"/>
                </a:lnTo>
                <a:lnTo>
                  <a:pt x="8" y="28"/>
                </a:lnTo>
                <a:lnTo>
                  <a:pt x="8" y="24"/>
                </a:lnTo>
                <a:lnTo>
                  <a:pt x="4" y="24"/>
                </a:lnTo>
                <a:lnTo>
                  <a:pt x="4" y="20"/>
                </a:lnTo>
                <a:lnTo>
                  <a:pt x="4" y="16"/>
                </a:lnTo>
                <a:lnTo>
                  <a:pt x="0" y="12"/>
                </a:lnTo>
                <a:lnTo>
                  <a:pt x="0" y="8"/>
                </a:lnTo>
                <a:lnTo>
                  <a:pt x="4" y="8"/>
                </a:lnTo>
                <a:lnTo>
                  <a:pt x="4" y="4"/>
                </a:lnTo>
                <a:lnTo>
                  <a:pt x="8" y="4"/>
                </a:lnTo>
                <a:lnTo>
                  <a:pt x="12" y="4"/>
                </a:lnTo>
                <a:lnTo>
                  <a:pt x="14" y="4"/>
                </a:lnTo>
                <a:lnTo>
                  <a:pt x="18" y="0"/>
                </a:lnTo>
                <a:lnTo>
                  <a:pt x="22" y="0"/>
                </a:lnTo>
                <a:lnTo>
                  <a:pt x="26" y="0"/>
                </a:lnTo>
                <a:lnTo>
                  <a:pt x="30" y="4"/>
                </a:lnTo>
                <a:lnTo>
                  <a:pt x="34" y="4"/>
                </a:lnTo>
                <a:lnTo>
                  <a:pt x="34" y="8"/>
                </a:lnTo>
                <a:lnTo>
                  <a:pt x="38" y="8"/>
                </a:lnTo>
                <a:lnTo>
                  <a:pt x="40" y="8"/>
                </a:lnTo>
                <a:lnTo>
                  <a:pt x="44" y="8"/>
                </a:lnTo>
                <a:lnTo>
                  <a:pt x="48" y="8"/>
                </a:lnTo>
                <a:lnTo>
                  <a:pt x="56" y="8"/>
                </a:lnTo>
                <a:lnTo>
                  <a:pt x="64" y="8"/>
                </a:lnTo>
                <a:lnTo>
                  <a:pt x="70" y="8"/>
                </a:lnTo>
                <a:lnTo>
                  <a:pt x="82" y="8"/>
                </a:lnTo>
                <a:lnTo>
                  <a:pt x="86" y="8"/>
                </a:lnTo>
                <a:lnTo>
                  <a:pt x="90" y="8"/>
                </a:lnTo>
                <a:lnTo>
                  <a:pt x="94" y="8"/>
                </a:lnTo>
                <a:lnTo>
                  <a:pt x="96" y="8"/>
                </a:lnTo>
                <a:lnTo>
                  <a:pt x="100" y="12"/>
                </a:lnTo>
                <a:lnTo>
                  <a:pt x="100" y="16"/>
                </a:lnTo>
                <a:lnTo>
                  <a:pt x="104" y="16"/>
                </a:lnTo>
                <a:lnTo>
                  <a:pt x="108" y="16"/>
                </a:lnTo>
                <a:lnTo>
                  <a:pt x="112" y="16"/>
                </a:lnTo>
                <a:lnTo>
                  <a:pt x="116" y="16"/>
                </a:lnTo>
                <a:lnTo>
                  <a:pt x="120" y="16"/>
                </a:lnTo>
                <a:lnTo>
                  <a:pt x="122" y="16"/>
                </a:lnTo>
                <a:lnTo>
                  <a:pt x="126" y="16"/>
                </a:lnTo>
                <a:lnTo>
                  <a:pt x="126" y="20"/>
                </a:lnTo>
                <a:lnTo>
                  <a:pt x="130" y="20"/>
                </a:lnTo>
                <a:lnTo>
                  <a:pt x="134" y="16"/>
                </a:lnTo>
                <a:lnTo>
                  <a:pt x="138" y="16"/>
                </a:lnTo>
                <a:lnTo>
                  <a:pt x="138" y="20"/>
                </a:lnTo>
                <a:lnTo>
                  <a:pt x="146" y="16"/>
                </a:lnTo>
                <a:lnTo>
                  <a:pt x="152" y="16"/>
                </a:lnTo>
                <a:lnTo>
                  <a:pt x="156" y="16"/>
                </a:lnTo>
                <a:lnTo>
                  <a:pt x="160" y="12"/>
                </a:lnTo>
                <a:lnTo>
                  <a:pt x="164" y="12"/>
                </a:lnTo>
                <a:lnTo>
                  <a:pt x="168" y="12"/>
                </a:lnTo>
                <a:lnTo>
                  <a:pt x="172" y="12"/>
                </a:lnTo>
                <a:lnTo>
                  <a:pt x="176" y="8"/>
                </a:lnTo>
                <a:lnTo>
                  <a:pt x="178" y="8"/>
                </a:lnTo>
                <a:lnTo>
                  <a:pt x="182" y="8"/>
                </a:lnTo>
                <a:lnTo>
                  <a:pt x="186" y="8"/>
                </a:lnTo>
                <a:lnTo>
                  <a:pt x="190" y="8"/>
                </a:lnTo>
                <a:lnTo>
                  <a:pt x="190" y="12"/>
                </a:lnTo>
                <a:lnTo>
                  <a:pt x="194" y="16"/>
                </a:lnTo>
                <a:lnTo>
                  <a:pt x="190" y="16"/>
                </a:lnTo>
                <a:lnTo>
                  <a:pt x="186" y="16"/>
                </a:lnTo>
                <a:lnTo>
                  <a:pt x="182" y="20"/>
                </a:lnTo>
                <a:lnTo>
                  <a:pt x="182" y="16"/>
                </a:lnTo>
                <a:lnTo>
                  <a:pt x="178" y="16"/>
                </a:lnTo>
                <a:lnTo>
                  <a:pt x="178" y="20"/>
                </a:lnTo>
                <a:lnTo>
                  <a:pt x="176" y="20"/>
                </a:lnTo>
                <a:lnTo>
                  <a:pt x="176" y="24"/>
                </a:lnTo>
                <a:lnTo>
                  <a:pt x="172" y="24"/>
                </a:lnTo>
                <a:lnTo>
                  <a:pt x="172" y="28"/>
                </a:lnTo>
                <a:lnTo>
                  <a:pt x="168" y="28"/>
                </a:lnTo>
                <a:lnTo>
                  <a:pt x="168" y="24"/>
                </a:lnTo>
                <a:lnTo>
                  <a:pt x="168" y="20"/>
                </a:lnTo>
                <a:lnTo>
                  <a:pt x="164" y="20"/>
                </a:lnTo>
                <a:lnTo>
                  <a:pt x="156" y="20"/>
                </a:lnTo>
                <a:lnTo>
                  <a:pt x="152" y="20"/>
                </a:lnTo>
                <a:lnTo>
                  <a:pt x="150" y="20"/>
                </a:lnTo>
                <a:lnTo>
                  <a:pt x="146" y="24"/>
                </a:lnTo>
                <a:lnTo>
                  <a:pt x="138" y="24"/>
                </a:lnTo>
                <a:lnTo>
                  <a:pt x="134" y="24"/>
                </a:lnTo>
                <a:lnTo>
                  <a:pt x="134" y="28"/>
                </a:lnTo>
                <a:lnTo>
                  <a:pt x="134" y="30"/>
                </a:lnTo>
                <a:lnTo>
                  <a:pt x="134" y="38"/>
                </a:lnTo>
                <a:lnTo>
                  <a:pt x="134" y="54"/>
                </a:lnTo>
                <a:lnTo>
                  <a:pt x="134" y="58"/>
                </a:lnTo>
                <a:lnTo>
                  <a:pt x="134" y="68"/>
                </a:lnTo>
                <a:lnTo>
                  <a:pt x="134" y="72"/>
                </a:lnTo>
                <a:lnTo>
                  <a:pt x="134" y="76"/>
                </a:lnTo>
                <a:lnTo>
                  <a:pt x="134" y="84"/>
                </a:lnTo>
                <a:lnTo>
                  <a:pt x="134" y="86"/>
                </a:lnTo>
                <a:lnTo>
                  <a:pt x="134" y="90"/>
                </a:lnTo>
                <a:lnTo>
                  <a:pt x="130" y="90"/>
                </a:lnTo>
                <a:lnTo>
                  <a:pt x="126" y="90"/>
                </a:lnTo>
                <a:lnTo>
                  <a:pt x="122" y="90"/>
                </a:lnTo>
                <a:lnTo>
                  <a:pt x="120" y="90"/>
                </a:lnTo>
                <a:lnTo>
                  <a:pt x="120" y="94"/>
                </a:lnTo>
                <a:lnTo>
                  <a:pt x="120" y="98"/>
                </a:lnTo>
                <a:lnTo>
                  <a:pt x="120" y="102"/>
                </a:lnTo>
                <a:lnTo>
                  <a:pt x="120" y="106"/>
                </a:lnTo>
                <a:lnTo>
                  <a:pt x="120" y="110"/>
                </a:lnTo>
                <a:lnTo>
                  <a:pt x="120" y="114"/>
                </a:lnTo>
                <a:lnTo>
                  <a:pt x="120" y="114"/>
                </a:lnTo>
                <a:lnTo>
                  <a:pt x="120" y="114"/>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54" name="Freeform 161"/>
          <p:cNvSpPr>
            <a:spLocks/>
          </p:cNvSpPr>
          <p:nvPr/>
        </p:nvSpPr>
        <p:spPr bwMode="auto">
          <a:xfrm>
            <a:off x="4262437" y="3212306"/>
            <a:ext cx="266700" cy="247650"/>
          </a:xfrm>
          <a:custGeom>
            <a:avLst/>
            <a:gdLst>
              <a:gd name="T0" fmla="*/ 84 w 224"/>
              <a:gd name="T1" fmla="*/ 174 h 208"/>
              <a:gd name="T2" fmla="*/ 80 w 224"/>
              <a:gd name="T3" fmla="*/ 172 h 208"/>
              <a:gd name="T4" fmla="*/ 70 w 224"/>
              <a:gd name="T5" fmla="*/ 172 h 208"/>
              <a:gd name="T6" fmla="*/ 60 w 224"/>
              <a:gd name="T7" fmla="*/ 172 h 208"/>
              <a:gd name="T8" fmla="*/ 52 w 224"/>
              <a:gd name="T9" fmla="*/ 186 h 208"/>
              <a:gd name="T10" fmla="*/ 48 w 224"/>
              <a:gd name="T11" fmla="*/ 202 h 208"/>
              <a:gd name="T12" fmla="*/ 48 w 224"/>
              <a:gd name="T13" fmla="*/ 208 h 208"/>
              <a:gd name="T14" fmla="*/ 44 w 224"/>
              <a:gd name="T15" fmla="*/ 204 h 208"/>
              <a:gd name="T16" fmla="*/ 36 w 224"/>
              <a:gd name="T17" fmla="*/ 198 h 208"/>
              <a:gd name="T18" fmla="*/ 30 w 224"/>
              <a:gd name="T19" fmla="*/ 198 h 208"/>
              <a:gd name="T20" fmla="*/ 30 w 224"/>
              <a:gd name="T21" fmla="*/ 202 h 208"/>
              <a:gd name="T22" fmla="*/ 26 w 224"/>
              <a:gd name="T23" fmla="*/ 190 h 208"/>
              <a:gd name="T24" fmla="*/ 14 w 224"/>
              <a:gd name="T25" fmla="*/ 186 h 208"/>
              <a:gd name="T26" fmla="*/ 10 w 224"/>
              <a:gd name="T27" fmla="*/ 178 h 208"/>
              <a:gd name="T28" fmla="*/ 14 w 224"/>
              <a:gd name="T29" fmla="*/ 178 h 208"/>
              <a:gd name="T30" fmla="*/ 8 w 224"/>
              <a:gd name="T31" fmla="*/ 174 h 208"/>
              <a:gd name="T32" fmla="*/ 4 w 224"/>
              <a:gd name="T33" fmla="*/ 164 h 208"/>
              <a:gd name="T34" fmla="*/ 0 w 224"/>
              <a:gd name="T35" fmla="*/ 156 h 208"/>
              <a:gd name="T36" fmla="*/ 0 w 224"/>
              <a:gd name="T37" fmla="*/ 148 h 208"/>
              <a:gd name="T38" fmla="*/ 4 w 224"/>
              <a:gd name="T39" fmla="*/ 152 h 208"/>
              <a:gd name="T40" fmla="*/ 10 w 224"/>
              <a:gd name="T41" fmla="*/ 148 h 208"/>
              <a:gd name="T42" fmla="*/ 36 w 224"/>
              <a:gd name="T43" fmla="*/ 144 h 208"/>
              <a:gd name="T44" fmla="*/ 48 w 224"/>
              <a:gd name="T45" fmla="*/ 142 h 208"/>
              <a:gd name="T46" fmla="*/ 52 w 224"/>
              <a:gd name="T47" fmla="*/ 138 h 208"/>
              <a:gd name="T48" fmla="*/ 56 w 224"/>
              <a:gd name="T49" fmla="*/ 126 h 208"/>
              <a:gd name="T50" fmla="*/ 56 w 224"/>
              <a:gd name="T51" fmla="*/ 112 h 208"/>
              <a:gd name="T52" fmla="*/ 56 w 224"/>
              <a:gd name="T53" fmla="*/ 78 h 208"/>
              <a:gd name="T54" fmla="*/ 74 w 224"/>
              <a:gd name="T55" fmla="*/ 74 h 208"/>
              <a:gd name="T56" fmla="*/ 88 w 224"/>
              <a:gd name="T57" fmla="*/ 60 h 208"/>
              <a:gd name="T58" fmla="*/ 118 w 224"/>
              <a:gd name="T59" fmla="*/ 38 h 208"/>
              <a:gd name="T60" fmla="*/ 144 w 224"/>
              <a:gd name="T61" fmla="*/ 16 h 208"/>
              <a:gd name="T62" fmla="*/ 168 w 224"/>
              <a:gd name="T63" fmla="*/ 0 h 208"/>
              <a:gd name="T64" fmla="*/ 182 w 224"/>
              <a:gd name="T65" fmla="*/ 4 h 208"/>
              <a:gd name="T66" fmla="*/ 190 w 224"/>
              <a:gd name="T67" fmla="*/ 8 h 208"/>
              <a:gd name="T68" fmla="*/ 204 w 224"/>
              <a:gd name="T69" fmla="*/ 12 h 208"/>
              <a:gd name="T70" fmla="*/ 212 w 224"/>
              <a:gd name="T71" fmla="*/ 26 h 208"/>
              <a:gd name="T72" fmla="*/ 216 w 224"/>
              <a:gd name="T73" fmla="*/ 44 h 208"/>
              <a:gd name="T74" fmla="*/ 216 w 224"/>
              <a:gd name="T75" fmla="*/ 48 h 208"/>
              <a:gd name="T76" fmla="*/ 220 w 224"/>
              <a:gd name="T77" fmla="*/ 60 h 208"/>
              <a:gd name="T78" fmla="*/ 216 w 224"/>
              <a:gd name="T79" fmla="*/ 86 h 208"/>
              <a:gd name="T80" fmla="*/ 216 w 224"/>
              <a:gd name="T81" fmla="*/ 118 h 208"/>
              <a:gd name="T82" fmla="*/ 200 w 224"/>
              <a:gd name="T83" fmla="*/ 138 h 208"/>
              <a:gd name="T84" fmla="*/ 190 w 224"/>
              <a:gd name="T85" fmla="*/ 152 h 208"/>
              <a:gd name="T86" fmla="*/ 190 w 224"/>
              <a:gd name="T87" fmla="*/ 160 h 208"/>
              <a:gd name="T88" fmla="*/ 186 w 224"/>
              <a:gd name="T89" fmla="*/ 160 h 208"/>
              <a:gd name="T90" fmla="*/ 182 w 224"/>
              <a:gd name="T91" fmla="*/ 174 h 208"/>
              <a:gd name="T92" fmla="*/ 174 w 224"/>
              <a:gd name="T93" fmla="*/ 178 h 208"/>
              <a:gd name="T94" fmla="*/ 174 w 224"/>
              <a:gd name="T95" fmla="*/ 182 h 208"/>
              <a:gd name="T96" fmla="*/ 164 w 224"/>
              <a:gd name="T97" fmla="*/ 182 h 208"/>
              <a:gd name="T98" fmla="*/ 156 w 224"/>
              <a:gd name="T99" fmla="*/ 178 h 208"/>
              <a:gd name="T100" fmla="*/ 152 w 224"/>
              <a:gd name="T101" fmla="*/ 178 h 208"/>
              <a:gd name="T102" fmla="*/ 148 w 224"/>
              <a:gd name="T103" fmla="*/ 178 h 208"/>
              <a:gd name="T104" fmla="*/ 144 w 224"/>
              <a:gd name="T105" fmla="*/ 178 h 208"/>
              <a:gd name="T106" fmla="*/ 138 w 224"/>
              <a:gd name="T107" fmla="*/ 182 h 208"/>
              <a:gd name="T108" fmla="*/ 134 w 224"/>
              <a:gd name="T109" fmla="*/ 190 h 208"/>
              <a:gd name="T110" fmla="*/ 122 w 224"/>
              <a:gd name="T111" fmla="*/ 186 h 208"/>
              <a:gd name="T112" fmla="*/ 114 w 224"/>
              <a:gd name="T113" fmla="*/ 182 h 208"/>
              <a:gd name="T114" fmla="*/ 110 w 224"/>
              <a:gd name="T115" fmla="*/ 182 h 208"/>
              <a:gd name="T116" fmla="*/ 100 w 224"/>
              <a:gd name="T117" fmla="*/ 182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4" h="208">
                <a:moveTo>
                  <a:pt x="96" y="186"/>
                </a:moveTo>
                <a:lnTo>
                  <a:pt x="92" y="186"/>
                </a:lnTo>
                <a:lnTo>
                  <a:pt x="92" y="182"/>
                </a:lnTo>
                <a:lnTo>
                  <a:pt x="92" y="182"/>
                </a:lnTo>
                <a:lnTo>
                  <a:pt x="88" y="178"/>
                </a:lnTo>
                <a:lnTo>
                  <a:pt x="88" y="178"/>
                </a:lnTo>
                <a:lnTo>
                  <a:pt x="84" y="174"/>
                </a:lnTo>
                <a:lnTo>
                  <a:pt x="84" y="174"/>
                </a:lnTo>
                <a:lnTo>
                  <a:pt x="84" y="174"/>
                </a:lnTo>
                <a:lnTo>
                  <a:pt x="84" y="174"/>
                </a:lnTo>
                <a:lnTo>
                  <a:pt x="84" y="174"/>
                </a:lnTo>
                <a:lnTo>
                  <a:pt x="80" y="174"/>
                </a:lnTo>
                <a:lnTo>
                  <a:pt x="80" y="172"/>
                </a:lnTo>
                <a:lnTo>
                  <a:pt x="80" y="172"/>
                </a:lnTo>
                <a:lnTo>
                  <a:pt x="78" y="172"/>
                </a:lnTo>
                <a:lnTo>
                  <a:pt x="78" y="172"/>
                </a:lnTo>
                <a:lnTo>
                  <a:pt x="74" y="172"/>
                </a:lnTo>
                <a:lnTo>
                  <a:pt x="74" y="172"/>
                </a:lnTo>
                <a:lnTo>
                  <a:pt x="74" y="172"/>
                </a:lnTo>
                <a:lnTo>
                  <a:pt x="70" y="172"/>
                </a:lnTo>
                <a:lnTo>
                  <a:pt x="70" y="172"/>
                </a:lnTo>
                <a:lnTo>
                  <a:pt x="70" y="172"/>
                </a:lnTo>
                <a:lnTo>
                  <a:pt x="70" y="172"/>
                </a:lnTo>
                <a:lnTo>
                  <a:pt x="66" y="172"/>
                </a:lnTo>
                <a:lnTo>
                  <a:pt x="66" y="172"/>
                </a:lnTo>
                <a:lnTo>
                  <a:pt x="66" y="172"/>
                </a:lnTo>
                <a:lnTo>
                  <a:pt x="64" y="172"/>
                </a:lnTo>
                <a:lnTo>
                  <a:pt x="60" y="172"/>
                </a:lnTo>
                <a:lnTo>
                  <a:pt x="56" y="174"/>
                </a:lnTo>
                <a:lnTo>
                  <a:pt x="56" y="174"/>
                </a:lnTo>
                <a:lnTo>
                  <a:pt x="56" y="178"/>
                </a:lnTo>
                <a:lnTo>
                  <a:pt x="56" y="178"/>
                </a:lnTo>
                <a:lnTo>
                  <a:pt x="56" y="182"/>
                </a:lnTo>
                <a:lnTo>
                  <a:pt x="56" y="186"/>
                </a:lnTo>
                <a:lnTo>
                  <a:pt x="52" y="186"/>
                </a:lnTo>
                <a:lnTo>
                  <a:pt x="52" y="190"/>
                </a:lnTo>
                <a:lnTo>
                  <a:pt x="52" y="190"/>
                </a:lnTo>
                <a:lnTo>
                  <a:pt x="48" y="194"/>
                </a:lnTo>
                <a:lnTo>
                  <a:pt x="48" y="194"/>
                </a:lnTo>
                <a:lnTo>
                  <a:pt x="48" y="198"/>
                </a:lnTo>
                <a:lnTo>
                  <a:pt x="48" y="198"/>
                </a:lnTo>
                <a:lnTo>
                  <a:pt x="48" y="202"/>
                </a:lnTo>
                <a:lnTo>
                  <a:pt x="48" y="202"/>
                </a:lnTo>
                <a:lnTo>
                  <a:pt x="48" y="202"/>
                </a:lnTo>
                <a:lnTo>
                  <a:pt x="48" y="204"/>
                </a:lnTo>
                <a:lnTo>
                  <a:pt x="48" y="204"/>
                </a:lnTo>
                <a:lnTo>
                  <a:pt x="48" y="204"/>
                </a:lnTo>
                <a:lnTo>
                  <a:pt x="48" y="204"/>
                </a:lnTo>
                <a:lnTo>
                  <a:pt x="48" y="208"/>
                </a:lnTo>
                <a:lnTo>
                  <a:pt x="48" y="208"/>
                </a:lnTo>
                <a:lnTo>
                  <a:pt x="44" y="204"/>
                </a:lnTo>
                <a:lnTo>
                  <a:pt x="44" y="204"/>
                </a:lnTo>
                <a:lnTo>
                  <a:pt x="44" y="204"/>
                </a:lnTo>
                <a:lnTo>
                  <a:pt x="44" y="204"/>
                </a:lnTo>
                <a:lnTo>
                  <a:pt x="44" y="204"/>
                </a:lnTo>
                <a:lnTo>
                  <a:pt x="44" y="204"/>
                </a:lnTo>
                <a:lnTo>
                  <a:pt x="44" y="204"/>
                </a:lnTo>
                <a:lnTo>
                  <a:pt x="40" y="204"/>
                </a:lnTo>
                <a:lnTo>
                  <a:pt x="40" y="202"/>
                </a:lnTo>
                <a:lnTo>
                  <a:pt x="40" y="202"/>
                </a:lnTo>
                <a:lnTo>
                  <a:pt x="40" y="202"/>
                </a:lnTo>
                <a:lnTo>
                  <a:pt x="36" y="198"/>
                </a:lnTo>
                <a:lnTo>
                  <a:pt x="36" y="198"/>
                </a:lnTo>
                <a:lnTo>
                  <a:pt x="36" y="194"/>
                </a:lnTo>
                <a:lnTo>
                  <a:pt x="36" y="198"/>
                </a:lnTo>
                <a:lnTo>
                  <a:pt x="34" y="198"/>
                </a:lnTo>
                <a:lnTo>
                  <a:pt x="34" y="198"/>
                </a:lnTo>
                <a:lnTo>
                  <a:pt x="34" y="198"/>
                </a:lnTo>
                <a:lnTo>
                  <a:pt x="34" y="198"/>
                </a:lnTo>
                <a:lnTo>
                  <a:pt x="30" y="198"/>
                </a:lnTo>
                <a:lnTo>
                  <a:pt x="30" y="198"/>
                </a:lnTo>
                <a:lnTo>
                  <a:pt x="30" y="202"/>
                </a:lnTo>
                <a:lnTo>
                  <a:pt x="30" y="202"/>
                </a:lnTo>
                <a:lnTo>
                  <a:pt x="30" y="204"/>
                </a:lnTo>
                <a:lnTo>
                  <a:pt x="30" y="204"/>
                </a:lnTo>
                <a:lnTo>
                  <a:pt x="30" y="204"/>
                </a:lnTo>
                <a:lnTo>
                  <a:pt x="30" y="202"/>
                </a:lnTo>
                <a:lnTo>
                  <a:pt x="26" y="198"/>
                </a:lnTo>
                <a:lnTo>
                  <a:pt x="26" y="198"/>
                </a:lnTo>
                <a:lnTo>
                  <a:pt x="26" y="194"/>
                </a:lnTo>
                <a:lnTo>
                  <a:pt x="26" y="194"/>
                </a:lnTo>
                <a:lnTo>
                  <a:pt x="30" y="194"/>
                </a:lnTo>
                <a:lnTo>
                  <a:pt x="26" y="194"/>
                </a:lnTo>
                <a:lnTo>
                  <a:pt x="26" y="190"/>
                </a:lnTo>
                <a:lnTo>
                  <a:pt x="26" y="190"/>
                </a:lnTo>
                <a:lnTo>
                  <a:pt x="26" y="190"/>
                </a:lnTo>
                <a:lnTo>
                  <a:pt x="26" y="190"/>
                </a:lnTo>
                <a:lnTo>
                  <a:pt x="22" y="190"/>
                </a:lnTo>
                <a:lnTo>
                  <a:pt x="22" y="194"/>
                </a:lnTo>
                <a:lnTo>
                  <a:pt x="18" y="190"/>
                </a:lnTo>
                <a:lnTo>
                  <a:pt x="14" y="186"/>
                </a:lnTo>
                <a:lnTo>
                  <a:pt x="10" y="186"/>
                </a:lnTo>
                <a:lnTo>
                  <a:pt x="10" y="186"/>
                </a:lnTo>
                <a:lnTo>
                  <a:pt x="10" y="182"/>
                </a:lnTo>
                <a:lnTo>
                  <a:pt x="10" y="182"/>
                </a:lnTo>
                <a:lnTo>
                  <a:pt x="10" y="178"/>
                </a:lnTo>
                <a:lnTo>
                  <a:pt x="10" y="178"/>
                </a:lnTo>
                <a:lnTo>
                  <a:pt x="10" y="178"/>
                </a:lnTo>
                <a:lnTo>
                  <a:pt x="10" y="178"/>
                </a:lnTo>
                <a:lnTo>
                  <a:pt x="10" y="178"/>
                </a:lnTo>
                <a:lnTo>
                  <a:pt x="10" y="178"/>
                </a:lnTo>
                <a:lnTo>
                  <a:pt x="10" y="178"/>
                </a:lnTo>
                <a:lnTo>
                  <a:pt x="14" y="178"/>
                </a:lnTo>
                <a:lnTo>
                  <a:pt x="14" y="178"/>
                </a:lnTo>
                <a:lnTo>
                  <a:pt x="14" y="178"/>
                </a:lnTo>
                <a:lnTo>
                  <a:pt x="10" y="178"/>
                </a:lnTo>
                <a:lnTo>
                  <a:pt x="10" y="178"/>
                </a:lnTo>
                <a:lnTo>
                  <a:pt x="10" y="178"/>
                </a:lnTo>
                <a:lnTo>
                  <a:pt x="10" y="174"/>
                </a:lnTo>
                <a:lnTo>
                  <a:pt x="10" y="174"/>
                </a:lnTo>
                <a:lnTo>
                  <a:pt x="10" y="174"/>
                </a:lnTo>
                <a:lnTo>
                  <a:pt x="8" y="174"/>
                </a:lnTo>
                <a:lnTo>
                  <a:pt x="4" y="174"/>
                </a:lnTo>
                <a:lnTo>
                  <a:pt x="4" y="172"/>
                </a:lnTo>
                <a:lnTo>
                  <a:pt x="4" y="172"/>
                </a:lnTo>
                <a:lnTo>
                  <a:pt x="4" y="168"/>
                </a:lnTo>
                <a:lnTo>
                  <a:pt x="0" y="164"/>
                </a:lnTo>
                <a:lnTo>
                  <a:pt x="0" y="164"/>
                </a:lnTo>
                <a:lnTo>
                  <a:pt x="4" y="164"/>
                </a:lnTo>
                <a:lnTo>
                  <a:pt x="0" y="164"/>
                </a:lnTo>
                <a:lnTo>
                  <a:pt x="0" y="160"/>
                </a:lnTo>
                <a:lnTo>
                  <a:pt x="0" y="160"/>
                </a:lnTo>
                <a:lnTo>
                  <a:pt x="0" y="160"/>
                </a:lnTo>
                <a:lnTo>
                  <a:pt x="0" y="160"/>
                </a:lnTo>
                <a:lnTo>
                  <a:pt x="0" y="160"/>
                </a:lnTo>
                <a:lnTo>
                  <a:pt x="0" y="156"/>
                </a:lnTo>
                <a:lnTo>
                  <a:pt x="0" y="156"/>
                </a:lnTo>
                <a:lnTo>
                  <a:pt x="0" y="152"/>
                </a:lnTo>
                <a:lnTo>
                  <a:pt x="0" y="152"/>
                </a:lnTo>
                <a:lnTo>
                  <a:pt x="0" y="152"/>
                </a:lnTo>
                <a:lnTo>
                  <a:pt x="0" y="152"/>
                </a:lnTo>
                <a:lnTo>
                  <a:pt x="0" y="152"/>
                </a:lnTo>
                <a:lnTo>
                  <a:pt x="0" y="148"/>
                </a:lnTo>
                <a:lnTo>
                  <a:pt x="0" y="148"/>
                </a:lnTo>
                <a:lnTo>
                  <a:pt x="0" y="152"/>
                </a:lnTo>
                <a:lnTo>
                  <a:pt x="4" y="152"/>
                </a:lnTo>
                <a:lnTo>
                  <a:pt x="4" y="148"/>
                </a:lnTo>
                <a:lnTo>
                  <a:pt x="4" y="148"/>
                </a:lnTo>
                <a:lnTo>
                  <a:pt x="4" y="152"/>
                </a:lnTo>
                <a:lnTo>
                  <a:pt x="4" y="152"/>
                </a:lnTo>
                <a:lnTo>
                  <a:pt x="8" y="152"/>
                </a:lnTo>
                <a:lnTo>
                  <a:pt x="8" y="152"/>
                </a:lnTo>
                <a:lnTo>
                  <a:pt x="8" y="152"/>
                </a:lnTo>
                <a:lnTo>
                  <a:pt x="10" y="148"/>
                </a:lnTo>
                <a:lnTo>
                  <a:pt x="10" y="148"/>
                </a:lnTo>
                <a:lnTo>
                  <a:pt x="10" y="148"/>
                </a:lnTo>
                <a:lnTo>
                  <a:pt x="10" y="148"/>
                </a:lnTo>
                <a:lnTo>
                  <a:pt x="14" y="144"/>
                </a:lnTo>
                <a:lnTo>
                  <a:pt x="22" y="144"/>
                </a:lnTo>
                <a:lnTo>
                  <a:pt x="22" y="144"/>
                </a:lnTo>
                <a:lnTo>
                  <a:pt x="34" y="144"/>
                </a:lnTo>
                <a:lnTo>
                  <a:pt x="34" y="144"/>
                </a:lnTo>
                <a:lnTo>
                  <a:pt x="36" y="144"/>
                </a:lnTo>
                <a:lnTo>
                  <a:pt x="36" y="144"/>
                </a:lnTo>
                <a:lnTo>
                  <a:pt x="36" y="142"/>
                </a:lnTo>
                <a:lnTo>
                  <a:pt x="40" y="142"/>
                </a:lnTo>
                <a:lnTo>
                  <a:pt x="44" y="144"/>
                </a:lnTo>
                <a:lnTo>
                  <a:pt x="44" y="144"/>
                </a:lnTo>
                <a:lnTo>
                  <a:pt x="44" y="144"/>
                </a:lnTo>
                <a:lnTo>
                  <a:pt x="44" y="142"/>
                </a:lnTo>
                <a:lnTo>
                  <a:pt x="48" y="142"/>
                </a:lnTo>
                <a:lnTo>
                  <a:pt x="48" y="138"/>
                </a:lnTo>
                <a:lnTo>
                  <a:pt x="48" y="138"/>
                </a:lnTo>
                <a:lnTo>
                  <a:pt x="48" y="138"/>
                </a:lnTo>
                <a:lnTo>
                  <a:pt x="52" y="138"/>
                </a:lnTo>
                <a:lnTo>
                  <a:pt x="52" y="138"/>
                </a:lnTo>
                <a:lnTo>
                  <a:pt x="52" y="138"/>
                </a:lnTo>
                <a:lnTo>
                  <a:pt x="52" y="138"/>
                </a:lnTo>
                <a:lnTo>
                  <a:pt x="52" y="138"/>
                </a:lnTo>
                <a:lnTo>
                  <a:pt x="52" y="134"/>
                </a:lnTo>
                <a:lnTo>
                  <a:pt x="52" y="130"/>
                </a:lnTo>
                <a:lnTo>
                  <a:pt x="52" y="126"/>
                </a:lnTo>
                <a:lnTo>
                  <a:pt x="56" y="126"/>
                </a:lnTo>
                <a:lnTo>
                  <a:pt x="56" y="126"/>
                </a:lnTo>
                <a:lnTo>
                  <a:pt x="56" y="126"/>
                </a:lnTo>
                <a:lnTo>
                  <a:pt x="56" y="126"/>
                </a:lnTo>
                <a:lnTo>
                  <a:pt x="56" y="126"/>
                </a:lnTo>
                <a:lnTo>
                  <a:pt x="56" y="118"/>
                </a:lnTo>
                <a:lnTo>
                  <a:pt x="56" y="118"/>
                </a:lnTo>
                <a:lnTo>
                  <a:pt x="56" y="116"/>
                </a:lnTo>
                <a:lnTo>
                  <a:pt x="56" y="116"/>
                </a:lnTo>
                <a:lnTo>
                  <a:pt x="56" y="112"/>
                </a:lnTo>
                <a:lnTo>
                  <a:pt x="56" y="108"/>
                </a:lnTo>
                <a:lnTo>
                  <a:pt x="56" y="104"/>
                </a:lnTo>
                <a:lnTo>
                  <a:pt x="56" y="96"/>
                </a:lnTo>
                <a:lnTo>
                  <a:pt x="56" y="86"/>
                </a:lnTo>
                <a:lnTo>
                  <a:pt x="56" y="86"/>
                </a:lnTo>
                <a:lnTo>
                  <a:pt x="56" y="82"/>
                </a:lnTo>
                <a:lnTo>
                  <a:pt x="56" y="78"/>
                </a:lnTo>
                <a:lnTo>
                  <a:pt x="56" y="78"/>
                </a:lnTo>
                <a:lnTo>
                  <a:pt x="60" y="78"/>
                </a:lnTo>
                <a:lnTo>
                  <a:pt x="60" y="78"/>
                </a:lnTo>
                <a:lnTo>
                  <a:pt x="66" y="74"/>
                </a:lnTo>
                <a:lnTo>
                  <a:pt x="70" y="74"/>
                </a:lnTo>
                <a:lnTo>
                  <a:pt x="74" y="74"/>
                </a:lnTo>
                <a:lnTo>
                  <a:pt x="74" y="74"/>
                </a:lnTo>
                <a:lnTo>
                  <a:pt x="78" y="74"/>
                </a:lnTo>
                <a:lnTo>
                  <a:pt x="78" y="74"/>
                </a:lnTo>
                <a:lnTo>
                  <a:pt x="80" y="70"/>
                </a:lnTo>
                <a:lnTo>
                  <a:pt x="80" y="70"/>
                </a:lnTo>
                <a:lnTo>
                  <a:pt x="84" y="66"/>
                </a:lnTo>
                <a:lnTo>
                  <a:pt x="88" y="62"/>
                </a:lnTo>
                <a:lnTo>
                  <a:pt x="88" y="60"/>
                </a:lnTo>
                <a:lnTo>
                  <a:pt x="92" y="56"/>
                </a:lnTo>
                <a:lnTo>
                  <a:pt x="100" y="48"/>
                </a:lnTo>
                <a:lnTo>
                  <a:pt x="104" y="44"/>
                </a:lnTo>
                <a:lnTo>
                  <a:pt x="104" y="44"/>
                </a:lnTo>
                <a:lnTo>
                  <a:pt x="108" y="44"/>
                </a:lnTo>
                <a:lnTo>
                  <a:pt x="110" y="42"/>
                </a:lnTo>
                <a:lnTo>
                  <a:pt x="118" y="38"/>
                </a:lnTo>
                <a:lnTo>
                  <a:pt x="118" y="34"/>
                </a:lnTo>
                <a:lnTo>
                  <a:pt x="122" y="30"/>
                </a:lnTo>
                <a:lnTo>
                  <a:pt x="130" y="26"/>
                </a:lnTo>
                <a:lnTo>
                  <a:pt x="134" y="22"/>
                </a:lnTo>
                <a:lnTo>
                  <a:pt x="138" y="18"/>
                </a:lnTo>
                <a:lnTo>
                  <a:pt x="140" y="18"/>
                </a:lnTo>
                <a:lnTo>
                  <a:pt x="144" y="16"/>
                </a:lnTo>
                <a:lnTo>
                  <a:pt x="148" y="16"/>
                </a:lnTo>
                <a:lnTo>
                  <a:pt x="148" y="12"/>
                </a:lnTo>
                <a:lnTo>
                  <a:pt x="152" y="12"/>
                </a:lnTo>
                <a:lnTo>
                  <a:pt x="160" y="4"/>
                </a:lnTo>
                <a:lnTo>
                  <a:pt x="164" y="4"/>
                </a:lnTo>
                <a:lnTo>
                  <a:pt x="164" y="0"/>
                </a:lnTo>
                <a:lnTo>
                  <a:pt x="168" y="0"/>
                </a:lnTo>
                <a:lnTo>
                  <a:pt x="170" y="4"/>
                </a:lnTo>
                <a:lnTo>
                  <a:pt x="170" y="4"/>
                </a:lnTo>
                <a:lnTo>
                  <a:pt x="170" y="4"/>
                </a:lnTo>
                <a:lnTo>
                  <a:pt x="170" y="4"/>
                </a:lnTo>
                <a:lnTo>
                  <a:pt x="174" y="4"/>
                </a:lnTo>
                <a:lnTo>
                  <a:pt x="178" y="4"/>
                </a:lnTo>
                <a:lnTo>
                  <a:pt x="182" y="4"/>
                </a:lnTo>
                <a:lnTo>
                  <a:pt x="186" y="8"/>
                </a:lnTo>
                <a:lnTo>
                  <a:pt x="186" y="8"/>
                </a:lnTo>
                <a:lnTo>
                  <a:pt x="186" y="8"/>
                </a:lnTo>
                <a:lnTo>
                  <a:pt x="186" y="8"/>
                </a:lnTo>
                <a:lnTo>
                  <a:pt x="186" y="8"/>
                </a:lnTo>
                <a:lnTo>
                  <a:pt x="186" y="8"/>
                </a:lnTo>
                <a:lnTo>
                  <a:pt x="190" y="8"/>
                </a:lnTo>
                <a:lnTo>
                  <a:pt x="190" y="8"/>
                </a:lnTo>
                <a:lnTo>
                  <a:pt x="194" y="12"/>
                </a:lnTo>
                <a:lnTo>
                  <a:pt x="198" y="18"/>
                </a:lnTo>
                <a:lnTo>
                  <a:pt x="198" y="16"/>
                </a:lnTo>
                <a:lnTo>
                  <a:pt x="200" y="16"/>
                </a:lnTo>
                <a:lnTo>
                  <a:pt x="200" y="16"/>
                </a:lnTo>
                <a:lnTo>
                  <a:pt x="204" y="12"/>
                </a:lnTo>
                <a:lnTo>
                  <a:pt x="204" y="12"/>
                </a:lnTo>
                <a:lnTo>
                  <a:pt x="208" y="12"/>
                </a:lnTo>
                <a:lnTo>
                  <a:pt x="208" y="12"/>
                </a:lnTo>
                <a:lnTo>
                  <a:pt x="208" y="12"/>
                </a:lnTo>
                <a:lnTo>
                  <a:pt x="208" y="16"/>
                </a:lnTo>
                <a:lnTo>
                  <a:pt x="212" y="26"/>
                </a:lnTo>
                <a:lnTo>
                  <a:pt x="212" y="26"/>
                </a:lnTo>
                <a:lnTo>
                  <a:pt x="212" y="30"/>
                </a:lnTo>
                <a:lnTo>
                  <a:pt x="212" y="34"/>
                </a:lnTo>
                <a:lnTo>
                  <a:pt x="212" y="34"/>
                </a:lnTo>
                <a:lnTo>
                  <a:pt x="212" y="38"/>
                </a:lnTo>
                <a:lnTo>
                  <a:pt x="212" y="38"/>
                </a:lnTo>
                <a:lnTo>
                  <a:pt x="212" y="38"/>
                </a:lnTo>
                <a:lnTo>
                  <a:pt x="216" y="44"/>
                </a:lnTo>
                <a:lnTo>
                  <a:pt x="216" y="44"/>
                </a:lnTo>
                <a:lnTo>
                  <a:pt x="216" y="44"/>
                </a:lnTo>
                <a:lnTo>
                  <a:pt x="216" y="48"/>
                </a:lnTo>
                <a:lnTo>
                  <a:pt x="216" y="48"/>
                </a:lnTo>
                <a:lnTo>
                  <a:pt x="216" y="48"/>
                </a:lnTo>
                <a:lnTo>
                  <a:pt x="216" y="48"/>
                </a:lnTo>
                <a:lnTo>
                  <a:pt x="216" y="48"/>
                </a:lnTo>
                <a:lnTo>
                  <a:pt x="216" y="48"/>
                </a:lnTo>
                <a:lnTo>
                  <a:pt x="216" y="48"/>
                </a:lnTo>
                <a:lnTo>
                  <a:pt x="216" y="52"/>
                </a:lnTo>
                <a:lnTo>
                  <a:pt x="216" y="52"/>
                </a:lnTo>
                <a:lnTo>
                  <a:pt x="224" y="56"/>
                </a:lnTo>
                <a:lnTo>
                  <a:pt x="224" y="56"/>
                </a:lnTo>
                <a:lnTo>
                  <a:pt x="220" y="60"/>
                </a:lnTo>
                <a:lnTo>
                  <a:pt x="220" y="62"/>
                </a:lnTo>
                <a:lnTo>
                  <a:pt x="220" y="62"/>
                </a:lnTo>
                <a:lnTo>
                  <a:pt x="220" y="66"/>
                </a:lnTo>
                <a:lnTo>
                  <a:pt x="220" y="70"/>
                </a:lnTo>
                <a:lnTo>
                  <a:pt x="216" y="82"/>
                </a:lnTo>
                <a:lnTo>
                  <a:pt x="216" y="82"/>
                </a:lnTo>
                <a:lnTo>
                  <a:pt x="216" y="86"/>
                </a:lnTo>
                <a:lnTo>
                  <a:pt x="216" y="92"/>
                </a:lnTo>
                <a:lnTo>
                  <a:pt x="216" y="92"/>
                </a:lnTo>
                <a:lnTo>
                  <a:pt x="216" y="96"/>
                </a:lnTo>
                <a:lnTo>
                  <a:pt x="216" y="108"/>
                </a:lnTo>
                <a:lnTo>
                  <a:pt x="216" y="116"/>
                </a:lnTo>
                <a:lnTo>
                  <a:pt x="216" y="118"/>
                </a:lnTo>
                <a:lnTo>
                  <a:pt x="216" y="118"/>
                </a:lnTo>
                <a:lnTo>
                  <a:pt x="216" y="118"/>
                </a:lnTo>
                <a:lnTo>
                  <a:pt x="212" y="118"/>
                </a:lnTo>
                <a:lnTo>
                  <a:pt x="212" y="122"/>
                </a:lnTo>
                <a:lnTo>
                  <a:pt x="208" y="122"/>
                </a:lnTo>
                <a:lnTo>
                  <a:pt x="208" y="126"/>
                </a:lnTo>
                <a:lnTo>
                  <a:pt x="200" y="134"/>
                </a:lnTo>
                <a:lnTo>
                  <a:pt x="200" y="138"/>
                </a:lnTo>
                <a:lnTo>
                  <a:pt x="198" y="142"/>
                </a:lnTo>
                <a:lnTo>
                  <a:pt x="198" y="142"/>
                </a:lnTo>
                <a:lnTo>
                  <a:pt x="194" y="144"/>
                </a:lnTo>
                <a:lnTo>
                  <a:pt x="194" y="144"/>
                </a:lnTo>
                <a:lnTo>
                  <a:pt x="194" y="148"/>
                </a:lnTo>
                <a:lnTo>
                  <a:pt x="190" y="152"/>
                </a:lnTo>
                <a:lnTo>
                  <a:pt x="190" y="152"/>
                </a:lnTo>
                <a:lnTo>
                  <a:pt x="190" y="152"/>
                </a:lnTo>
                <a:lnTo>
                  <a:pt x="190" y="156"/>
                </a:lnTo>
                <a:lnTo>
                  <a:pt x="190" y="156"/>
                </a:lnTo>
                <a:lnTo>
                  <a:pt x="190" y="156"/>
                </a:lnTo>
                <a:lnTo>
                  <a:pt x="190" y="156"/>
                </a:lnTo>
                <a:lnTo>
                  <a:pt x="190" y="156"/>
                </a:lnTo>
                <a:lnTo>
                  <a:pt x="190" y="160"/>
                </a:lnTo>
                <a:lnTo>
                  <a:pt x="190" y="160"/>
                </a:lnTo>
                <a:lnTo>
                  <a:pt x="190" y="160"/>
                </a:lnTo>
                <a:lnTo>
                  <a:pt x="186" y="160"/>
                </a:lnTo>
                <a:lnTo>
                  <a:pt x="186" y="160"/>
                </a:lnTo>
                <a:lnTo>
                  <a:pt x="186" y="160"/>
                </a:lnTo>
                <a:lnTo>
                  <a:pt x="186" y="160"/>
                </a:lnTo>
                <a:lnTo>
                  <a:pt x="186" y="160"/>
                </a:lnTo>
                <a:lnTo>
                  <a:pt x="186" y="160"/>
                </a:lnTo>
                <a:lnTo>
                  <a:pt x="186" y="168"/>
                </a:lnTo>
                <a:lnTo>
                  <a:pt x="190" y="172"/>
                </a:lnTo>
                <a:lnTo>
                  <a:pt x="190" y="172"/>
                </a:lnTo>
                <a:lnTo>
                  <a:pt x="186" y="172"/>
                </a:lnTo>
                <a:lnTo>
                  <a:pt x="182" y="174"/>
                </a:lnTo>
                <a:lnTo>
                  <a:pt x="182" y="174"/>
                </a:lnTo>
                <a:lnTo>
                  <a:pt x="182" y="174"/>
                </a:lnTo>
                <a:lnTo>
                  <a:pt x="182" y="174"/>
                </a:lnTo>
                <a:lnTo>
                  <a:pt x="182" y="174"/>
                </a:lnTo>
                <a:lnTo>
                  <a:pt x="178" y="174"/>
                </a:lnTo>
                <a:lnTo>
                  <a:pt x="178" y="174"/>
                </a:lnTo>
                <a:lnTo>
                  <a:pt x="178" y="174"/>
                </a:lnTo>
                <a:lnTo>
                  <a:pt x="174" y="178"/>
                </a:lnTo>
                <a:lnTo>
                  <a:pt x="174" y="178"/>
                </a:lnTo>
                <a:lnTo>
                  <a:pt x="174" y="178"/>
                </a:lnTo>
                <a:lnTo>
                  <a:pt x="174" y="178"/>
                </a:lnTo>
                <a:lnTo>
                  <a:pt x="174" y="178"/>
                </a:lnTo>
                <a:lnTo>
                  <a:pt x="174" y="182"/>
                </a:lnTo>
                <a:lnTo>
                  <a:pt x="174" y="182"/>
                </a:lnTo>
                <a:lnTo>
                  <a:pt x="174" y="182"/>
                </a:lnTo>
                <a:lnTo>
                  <a:pt x="170" y="182"/>
                </a:lnTo>
                <a:lnTo>
                  <a:pt x="170" y="182"/>
                </a:lnTo>
                <a:lnTo>
                  <a:pt x="170" y="182"/>
                </a:lnTo>
                <a:lnTo>
                  <a:pt x="170" y="182"/>
                </a:lnTo>
                <a:lnTo>
                  <a:pt x="168" y="182"/>
                </a:lnTo>
                <a:lnTo>
                  <a:pt x="168" y="182"/>
                </a:lnTo>
                <a:lnTo>
                  <a:pt x="164" y="182"/>
                </a:lnTo>
                <a:lnTo>
                  <a:pt x="164" y="178"/>
                </a:lnTo>
                <a:lnTo>
                  <a:pt x="160" y="178"/>
                </a:lnTo>
                <a:lnTo>
                  <a:pt x="160" y="178"/>
                </a:lnTo>
                <a:lnTo>
                  <a:pt x="160" y="178"/>
                </a:lnTo>
                <a:lnTo>
                  <a:pt x="156" y="178"/>
                </a:lnTo>
                <a:lnTo>
                  <a:pt x="156" y="178"/>
                </a:lnTo>
                <a:lnTo>
                  <a:pt x="156" y="178"/>
                </a:lnTo>
                <a:lnTo>
                  <a:pt x="156" y="178"/>
                </a:lnTo>
                <a:lnTo>
                  <a:pt x="156" y="178"/>
                </a:lnTo>
                <a:lnTo>
                  <a:pt x="156" y="178"/>
                </a:lnTo>
                <a:lnTo>
                  <a:pt x="152" y="178"/>
                </a:lnTo>
                <a:lnTo>
                  <a:pt x="152" y="178"/>
                </a:lnTo>
                <a:lnTo>
                  <a:pt x="152" y="178"/>
                </a:lnTo>
                <a:lnTo>
                  <a:pt x="152" y="178"/>
                </a:lnTo>
                <a:lnTo>
                  <a:pt x="152" y="178"/>
                </a:lnTo>
                <a:lnTo>
                  <a:pt x="152" y="178"/>
                </a:lnTo>
                <a:lnTo>
                  <a:pt x="152" y="178"/>
                </a:lnTo>
                <a:lnTo>
                  <a:pt x="152" y="178"/>
                </a:lnTo>
                <a:lnTo>
                  <a:pt x="148" y="178"/>
                </a:lnTo>
                <a:lnTo>
                  <a:pt x="148" y="178"/>
                </a:lnTo>
                <a:lnTo>
                  <a:pt x="148" y="178"/>
                </a:lnTo>
                <a:lnTo>
                  <a:pt x="148" y="178"/>
                </a:lnTo>
                <a:lnTo>
                  <a:pt x="148" y="178"/>
                </a:lnTo>
                <a:lnTo>
                  <a:pt x="148" y="178"/>
                </a:lnTo>
                <a:lnTo>
                  <a:pt x="144" y="178"/>
                </a:lnTo>
                <a:lnTo>
                  <a:pt x="144" y="178"/>
                </a:lnTo>
                <a:lnTo>
                  <a:pt x="144" y="178"/>
                </a:lnTo>
                <a:lnTo>
                  <a:pt x="144" y="178"/>
                </a:lnTo>
                <a:lnTo>
                  <a:pt x="144" y="178"/>
                </a:lnTo>
                <a:lnTo>
                  <a:pt x="144" y="178"/>
                </a:lnTo>
                <a:lnTo>
                  <a:pt x="140" y="178"/>
                </a:lnTo>
                <a:lnTo>
                  <a:pt x="140" y="178"/>
                </a:lnTo>
                <a:lnTo>
                  <a:pt x="140" y="178"/>
                </a:lnTo>
                <a:lnTo>
                  <a:pt x="140" y="178"/>
                </a:lnTo>
                <a:lnTo>
                  <a:pt x="138" y="182"/>
                </a:lnTo>
                <a:lnTo>
                  <a:pt x="138" y="182"/>
                </a:lnTo>
                <a:lnTo>
                  <a:pt x="138" y="182"/>
                </a:lnTo>
                <a:lnTo>
                  <a:pt x="138" y="182"/>
                </a:lnTo>
                <a:lnTo>
                  <a:pt x="134" y="182"/>
                </a:lnTo>
                <a:lnTo>
                  <a:pt x="134" y="186"/>
                </a:lnTo>
                <a:lnTo>
                  <a:pt x="134" y="190"/>
                </a:lnTo>
                <a:lnTo>
                  <a:pt x="134" y="190"/>
                </a:lnTo>
                <a:lnTo>
                  <a:pt x="130" y="190"/>
                </a:lnTo>
                <a:lnTo>
                  <a:pt x="126" y="186"/>
                </a:lnTo>
                <a:lnTo>
                  <a:pt x="126" y="186"/>
                </a:lnTo>
                <a:lnTo>
                  <a:pt x="122" y="186"/>
                </a:lnTo>
                <a:lnTo>
                  <a:pt x="122" y="186"/>
                </a:lnTo>
                <a:lnTo>
                  <a:pt x="122" y="186"/>
                </a:lnTo>
                <a:lnTo>
                  <a:pt x="122" y="186"/>
                </a:lnTo>
                <a:lnTo>
                  <a:pt x="118" y="186"/>
                </a:lnTo>
                <a:lnTo>
                  <a:pt x="118" y="186"/>
                </a:lnTo>
                <a:lnTo>
                  <a:pt x="118" y="186"/>
                </a:lnTo>
                <a:lnTo>
                  <a:pt x="118" y="186"/>
                </a:lnTo>
                <a:lnTo>
                  <a:pt x="118" y="186"/>
                </a:lnTo>
                <a:lnTo>
                  <a:pt x="114" y="182"/>
                </a:lnTo>
                <a:lnTo>
                  <a:pt x="114" y="182"/>
                </a:lnTo>
                <a:lnTo>
                  <a:pt x="114" y="182"/>
                </a:lnTo>
                <a:lnTo>
                  <a:pt x="114" y="182"/>
                </a:lnTo>
                <a:lnTo>
                  <a:pt x="114" y="182"/>
                </a:lnTo>
                <a:lnTo>
                  <a:pt x="114" y="182"/>
                </a:lnTo>
                <a:lnTo>
                  <a:pt x="114" y="182"/>
                </a:lnTo>
                <a:lnTo>
                  <a:pt x="110" y="182"/>
                </a:lnTo>
                <a:lnTo>
                  <a:pt x="110" y="182"/>
                </a:lnTo>
                <a:lnTo>
                  <a:pt x="110" y="182"/>
                </a:lnTo>
                <a:lnTo>
                  <a:pt x="110" y="178"/>
                </a:lnTo>
                <a:lnTo>
                  <a:pt x="110" y="178"/>
                </a:lnTo>
                <a:lnTo>
                  <a:pt x="110" y="178"/>
                </a:lnTo>
                <a:lnTo>
                  <a:pt x="108" y="178"/>
                </a:lnTo>
                <a:lnTo>
                  <a:pt x="100" y="182"/>
                </a:lnTo>
                <a:lnTo>
                  <a:pt x="100" y="182"/>
                </a:lnTo>
                <a:lnTo>
                  <a:pt x="96" y="182"/>
                </a:lnTo>
                <a:lnTo>
                  <a:pt x="96" y="182"/>
                </a:lnTo>
                <a:lnTo>
                  <a:pt x="96" y="186"/>
                </a:lnTo>
                <a:lnTo>
                  <a:pt x="96" y="186"/>
                </a:lnTo>
                <a:lnTo>
                  <a:pt x="96" y="186"/>
                </a:lnTo>
                <a:lnTo>
                  <a:pt x="96" y="186"/>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55" name="Freeform 162"/>
          <p:cNvSpPr>
            <a:spLocks noEditPoints="1"/>
          </p:cNvSpPr>
          <p:nvPr/>
        </p:nvSpPr>
        <p:spPr bwMode="auto">
          <a:xfrm>
            <a:off x="4302919" y="3417093"/>
            <a:ext cx="202406" cy="195263"/>
          </a:xfrm>
          <a:custGeom>
            <a:avLst/>
            <a:gdLst>
              <a:gd name="T0" fmla="*/ 126 w 170"/>
              <a:gd name="T1" fmla="*/ 122 h 164"/>
              <a:gd name="T2" fmla="*/ 118 w 170"/>
              <a:gd name="T3" fmla="*/ 122 h 164"/>
              <a:gd name="T4" fmla="*/ 110 w 170"/>
              <a:gd name="T5" fmla="*/ 114 h 164"/>
              <a:gd name="T6" fmla="*/ 102 w 170"/>
              <a:gd name="T7" fmla="*/ 118 h 164"/>
              <a:gd name="T8" fmla="*/ 96 w 170"/>
              <a:gd name="T9" fmla="*/ 126 h 164"/>
              <a:gd name="T10" fmla="*/ 88 w 170"/>
              <a:gd name="T11" fmla="*/ 140 h 164"/>
              <a:gd name="T12" fmla="*/ 80 w 170"/>
              <a:gd name="T13" fmla="*/ 152 h 164"/>
              <a:gd name="T14" fmla="*/ 76 w 170"/>
              <a:gd name="T15" fmla="*/ 156 h 164"/>
              <a:gd name="T16" fmla="*/ 70 w 170"/>
              <a:gd name="T17" fmla="*/ 160 h 164"/>
              <a:gd name="T18" fmla="*/ 62 w 170"/>
              <a:gd name="T19" fmla="*/ 156 h 164"/>
              <a:gd name="T20" fmla="*/ 58 w 170"/>
              <a:gd name="T21" fmla="*/ 160 h 164"/>
              <a:gd name="T22" fmla="*/ 58 w 170"/>
              <a:gd name="T23" fmla="*/ 160 h 164"/>
              <a:gd name="T24" fmla="*/ 58 w 170"/>
              <a:gd name="T25" fmla="*/ 156 h 164"/>
              <a:gd name="T26" fmla="*/ 50 w 170"/>
              <a:gd name="T27" fmla="*/ 160 h 164"/>
              <a:gd name="T28" fmla="*/ 40 w 170"/>
              <a:gd name="T29" fmla="*/ 156 h 164"/>
              <a:gd name="T30" fmla="*/ 36 w 170"/>
              <a:gd name="T31" fmla="*/ 148 h 164"/>
              <a:gd name="T32" fmla="*/ 40 w 170"/>
              <a:gd name="T33" fmla="*/ 144 h 164"/>
              <a:gd name="T34" fmla="*/ 36 w 170"/>
              <a:gd name="T35" fmla="*/ 140 h 164"/>
              <a:gd name="T36" fmla="*/ 30 w 170"/>
              <a:gd name="T37" fmla="*/ 130 h 164"/>
              <a:gd name="T38" fmla="*/ 18 w 170"/>
              <a:gd name="T39" fmla="*/ 126 h 164"/>
              <a:gd name="T40" fmla="*/ 18 w 170"/>
              <a:gd name="T41" fmla="*/ 122 h 164"/>
              <a:gd name="T42" fmla="*/ 10 w 170"/>
              <a:gd name="T43" fmla="*/ 126 h 164"/>
              <a:gd name="T44" fmla="*/ 0 w 170"/>
              <a:gd name="T45" fmla="*/ 122 h 164"/>
              <a:gd name="T46" fmla="*/ 2 w 170"/>
              <a:gd name="T47" fmla="*/ 110 h 164"/>
              <a:gd name="T48" fmla="*/ 0 w 170"/>
              <a:gd name="T49" fmla="*/ 96 h 164"/>
              <a:gd name="T50" fmla="*/ 2 w 170"/>
              <a:gd name="T51" fmla="*/ 82 h 164"/>
              <a:gd name="T52" fmla="*/ 10 w 170"/>
              <a:gd name="T53" fmla="*/ 70 h 164"/>
              <a:gd name="T54" fmla="*/ 14 w 170"/>
              <a:gd name="T55" fmla="*/ 58 h 164"/>
              <a:gd name="T56" fmla="*/ 14 w 170"/>
              <a:gd name="T57" fmla="*/ 52 h 164"/>
              <a:gd name="T58" fmla="*/ 10 w 170"/>
              <a:gd name="T59" fmla="*/ 36 h 164"/>
              <a:gd name="T60" fmla="*/ 14 w 170"/>
              <a:gd name="T61" fmla="*/ 26 h 164"/>
              <a:gd name="T62" fmla="*/ 22 w 170"/>
              <a:gd name="T63" fmla="*/ 14 h 164"/>
              <a:gd name="T64" fmla="*/ 26 w 170"/>
              <a:gd name="T65" fmla="*/ 0 h 164"/>
              <a:gd name="T66" fmla="*/ 40 w 170"/>
              <a:gd name="T67" fmla="*/ 0 h 164"/>
              <a:gd name="T68" fmla="*/ 50 w 170"/>
              <a:gd name="T69" fmla="*/ 2 h 164"/>
              <a:gd name="T70" fmla="*/ 62 w 170"/>
              <a:gd name="T71" fmla="*/ 14 h 164"/>
              <a:gd name="T72" fmla="*/ 76 w 170"/>
              <a:gd name="T73" fmla="*/ 6 h 164"/>
              <a:gd name="T74" fmla="*/ 88 w 170"/>
              <a:gd name="T75" fmla="*/ 14 h 164"/>
              <a:gd name="T76" fmla="*/ 100 w 170"/>
              <a:gd name="T77" fmla="*/ 14 h 164"/>
              <a:gd name="T78" fmla="*/ 110 w 170"/>
              <a:gd name="T79" fmla="*/ 6 h 164"/>
              <a:gd name="T80" fmla="*/ 126 w 170"/>
              <a:gd name="T81" fmla="*/ 6 h 164"/>
              <a:gd name="T82" fmla="*/ 136 w 170"/>
              <a:gd name="T83" fmla="*/ 10 h 164"/>
              <a:gd name="T84" fmla="*/ 148 w 170"/>
              <a:gd name="T85" fmla="*/ 2 h 164"/>
              <a:gd name="T86" fmla="*/ 158 w 170"/>
              <a:gd name="T87" fmla="*/ 6 h 164"/>
              <a:gd name="T88" fmla="*/ 162 w 170"/>
              <a:gd name="T89" fmla="*/ 22 h 164"/>
              <a:gd name="T90" fmla="*/ 170 w 170"/>
              <a:gd name="T91" fmla="*/ 28 h 164"/>
              <a:gd name="T92" fmla="*/ 166 w 170"/>
              <a:gd name="T93" fmla="*/ 32 h 164"/>
              <a:gd name="T94" fmla="*/ 162 w 170"/>
              <a:gd name="T95" fmla="*/ 40 h 164"/>
              <a:gd name="T96" fmla="*/ 156 w 170"/>
              <a:gd name="T97" fmla="*/ 52 h 164"/>
              <a:gd name="T98" fmla="*/ 148 w 170"/>
              <a:gd name="T99" fmla="*/ 62 h 164"/>
              <a:gd name="T100" fmla="*/ 144 w 170"/>
              <a:gd name="T101" fmla="*/ 74 h 164"/>
              <a:gd name="T102" fmla="*/ 140 w 170"/>
              <a:gd name="T103" fmla="*/ 88 h 164"/>
              <a:gd name="T104" fmla="*/ 132 w 170"/>
              <a:gd name="T105" fmla="*/ 96 h 164"/>
              <a:gd name="T106" fmla="*/ 132 w 170"/>
              <a:gd name="T107" fmla="*/ 104 h 164"/>
              <a:gd name="T108" fmla="*/ 128 w 170"/>
              <a:gd name="T109" fmla="*/ 110 h 164"/>
              <a:gd name="T110" fmla="*/ 62 w 170"/>
              <a:gd name="T111" fmla="*/ 16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70" h="164">
                <a:moveTo>
                  <a:pt x="128" y="110"/>
                </a:moveTo>
                <a:lnTo>
                  <a:pt x="128" y="114"/>
                </a:lnTo>
                <a:lnTo>
                  <a:pt x="126" y="118"/>
                </a:lnTo>
                <a:lnTo>
                  <a:pt x="126" y="122"/>
                </a:lnTo>
                <a:lnTo>
                  <a:pt x="122" y="122"/>
                </a:lnTo>
                <a:lnTo>
                  <a:pt x="122" y="126"/>
                </a:lnTo>
                <a:lnTo>
                  <a:pt x="118" y="126"/>
                </a:lnTo>
                <a:lnTo>
                  <a:pt x="118" y="122"/>
                </a:lnTo>
                <a:lnTo>
                  <a:pt x="118" y="118"/>
                </a:lnTo>
                <a:lnTo>
                  <a:pt x="114" y="118"/>
                </a:lnTo>
                <a:lnTo>
                  <a:pt x="114" y="114"/>
                </a:lnTo>
                <a:lnTo>
                  <a:pt x="110" y="114"/>
                </a:lnTo>
                <a:lnTo>
                  <a:pt x="110" y="118"/>
                </a:lnTo>
                <a:lnTo>
                  <a:pt x="106" y="118"/>
                </a:lnTo>
                <a:lnTo>
                  <a:pt x="106" y="114"/>
                </a:lnTo>
                <a:lnTo>
                  <a:pt x="102" y="118"/>
                </a:lnTo>
                <a:lnTo>
                  <a:pt x="100" y="118"/>
                </a:lnTo>
                <a:lnTo>
                  <a:pt x="100" y="122"/>
                </a:lnTo>
                <a:lnTo>
                  <a:pt x="100" y="126"/>
                </a:lnTo>
                <a:lnTo>
                  <a:pt x="96" y="126"/>
                </a:lnTo>
                <a:lnTo>
                  <a:pt x="92" y="130"/>
                </a:lnTo>
                <a:lnTo>
                  <a:pt x="88" y="134"/>
                </a:lnTo>
                <a:lnTo>
                  <a:pt x="88" y="138"/>
                </a:lnTo>
                <a:lnTo>
                  <a:pt x="88" y="140"/>
                </a:lnTo>
                <a:lnTo>
                  <a:pt x="88" y="144"/>
                </a:lnTo>
                <a:lnTo>
                  <a:pt x="84" y="148"/>
                </a:lnTo>
                <a:lnTo>
                  <a:pt x="84" y="152"/>
                </a:lnTo>
                <a:lnTo>
                  <a:pt x="80" y="152"/>
                </a:lnTo>
                <a:lnTo>
                  <a:pt x="80" y="156"/>
                </a:lnTo>
                <a:lnTo>
                  <a:pt x="80" y="152"/>
                </a:lnTo>
                <a:lnTo>
                  <a:pt x="76" y="152"/>
                </a:lnTo>
                <a:lnTo>
                  <a:pt x="76" y="156"/>
                </a:lnTo>
                <a:lnTo>
                  <a:pt x="80" y="156"/>
                </a:lnTo>
                <a:lnTo>
                  <a:pt x="76" y="160"/>
                </a:lnTo>
                <a:lnTo>
                  <a:pt x="72" y="160"/>
                </a:lnTo>
                <a:lnTo>
                  <a:pt x="70" y="160"/>
                </a:lnTo>
                <a:lnTo>
                  <a:pt x="70" y="156"/>
                </a:lnTo>
                <a:lnTo>
                  <a:pt x="66" y="160"/>
                </a:lnTo>
                <a:lnTo>
                  <a:pt x="62" y="160"/>
                </a:lnTo>
                <a:lnTo>
                  <a:pt x="62" y="156"/>
                </a:lnTo>
                <a:lnTo>
                  <a:pt x="62" y="160"/>
                </a:lnTo>
                <a:lnTo>
                  <a:pt x="62" y="156"/>
                </a:lnTo>
                <a:lnTo>
                  <a:pt x="58" y="156"/>
                </a:lnTo>
                <a:lnTo>
                  <a:pt x="58" y="160"/>
                </a:lnTo>
                <a:lnTo>
                  <a:pt x="62" y="160"/>
                </a:lnTo>
                <a:lnTo>
                  <a:pt x="58" y="160"/>
                </a:lnTo>
                <a:lnTo>
                  <a:pt x="58" y="156"/>
                </a:lnTo>
                <a:lnTo>
                  <a:pt x="58" y="160"/>
                </a:lnTo>
                <a:lnTo>
                  <a:pt x="58" y="164"/>
                </a:lnTo>
                <a:lnTo>
                  <a:pt x="54" y="160"/>
                </a:lnTo>
                <a:lnTo>
                  <a:pt x="58" y="160"/>
                </a:lnTo>
                <a:lnTo>
                  <a:pt x="58" y="156"/>
                </a:lnTo>
                <a:lnTo>
                  <a:pt x="54" y="160"/>
                </a:lnTo>
                <a:lnTo>
                  <a:pt x="54" y="164"/>
                </a:lnTo>
                <a:lnTo>
                  <a:pt x="50" y="164"/>
                </a:lnTo>
                <a:lnTo>
                  <a:pt x="50" y="160"/>
                </a:lnTo>
                <a:lnTo>
                  <a:pt x="50" y="164"/>
                </a:lnTo>
                <a:lnTo>
                  <a:pt x="46" y="164"/>
                </a:lnTo>
                <a:lnTo>
                  <a:pt x="44" y="160"/>
                </a:lnTo>
                <a:lnTo>
                  <a:pt x="40" y="156"/>
                </a:lnTo>
                <a:lnTo>
                  <a:pt x="40" y="152"/>
                </a:lnTo>
                <a:lnTo>
                  <a:pt x="36" y="148"/>
                </a:lnTo>
                <a:lnTo>
                  <a:pt x="40" y="148"/>
                </a:lnTo>
                <a:lnTo>
                  <a:pt x="36" y="148"/>
                </a:lnTo>
                <a:lnTo>
                  <a:pt x="36" y="144"/>
                </a:lnTo>
                <a:lnTo>
                  <a:pt x="40" y="144"/>
                </a:lnTo>
                <a:lnTo>
                  <a:pt x="40" y="140"/>
                </a:lnTo>
                <a:lnTo>
                  <a:pt x="40" y="144"/>
                </a:lnTo>
                <a:lnTo>
                  <a:pt x="36" y="144"/>
                </a:lnTo>
                <a:lnTo>
                  <a:pt x="36" y="140"/>
                </a:lnTo>
                <a:lnTo>
                  <a:pt x="40" y="140"/>
                </a:lnTo>
                <a:lnTo>
                  <a:pt x="36" y="140"/>
                </a:lnTo>
                <a:lnTo>
                  <a:pt x="32" y="138"/>
                </a:lnTo>
                <a:lnTo>
                  <a:pt x="32" y="134"/>
                </a:lnTo>
                <a:lnTo>
                  <a:pt x="30" y="134"/>
                </a:lnTo>
                <a:lnTo>
                  <a:pt x="30" y="130"/>
                </a:lnTo>
                <a:lnTo>
                  <a:pt x="26" y="130"/>
                </a:lnTo>
                <a:lnTo>
                  <a:pt x="26" y="126"/>
                </a:lnTo>
                <a:lnTo>
                  <a:pt x="22" y="126"/>
                </a:lnTo>
                <a:lnTo>
                  <a:pt x="18" y="126"/>
                </a:lnTo>
                <a:lnTo>
                  <a:pt x="14" y="126"/>
                </a:lnTo>
                <a:lnTo>
                  <a:pt x="10" y="126"/>
                </a:lnTo>
                <a:lnTo>
                  <a:pt x="14" y="126"/>
                </a:lnTo>
                <a:lnTo>
                  <a:pt x="18" y="122"/>
                </a:lnTo>
                <a:lnTo>
                  <a:pt x="14" y="122"/>
                </a:lnTo>
                <a:lnTo>
                  <a:pt x="10" y="126"/>
                </a:lnTo>
                <a:lnTo>
                  <a:pt x="10" y="122"/>
                </a:lnTo>
                <a:lnTo>
                  <a:pt x="10" y="126"/>
                </a:lnTo>
                <a:lnTo>
                  <a:pt x="6" y="126"/>
                </a:lnTo>
                <a:lnTo>
                  <a:pt x="2" y="126"/>
                </a:lnTo>
                <a:lnTo>
                  <a:pt x="0" y="126"/>
                </a:lnTo>
                <a:lnTo>
                  <a:pt x="0" y="122"/>
                </a:lnTo>
                <a:lnTo>
                  <a:pt x="0" y="118"/>
                </a:lnTo>
                <a:lnTo>
                  <a:pt x="0" y="114"/>
                </a:lnTo>
                <a:lnTo>
                  <a:pt x="2" y="114"/>
                </a:lnTo>
                <a:lnTo>
                  <a:pt x="2" y="110"/>
                </a:lnTo>
                <a:lnTo>
                  <a:pt x="0" y="108"/>
                </a:lnTo>
                <a:lnTo>
                  <a:pt x="0" y="104"/>
                </a:lnTo>
                <a:lnTo>
                  <a:pt x="0" y="100"/>
                </a:lnTo>
                <a:lnTo>
                  <a:pt x="0" y="96"/>
                </a:lnTo>
                <a:lnTo>
                  <a:pt x="0" y="92"/>
                </a:lnTo>
                <a:lnTo>
                  <a:pt x="0" y="88"/>
                </a:lnTo>
                <a:lnTo>
                  <a:pt x="0" y="84"/>
                </a:lnTo>
                <a:lnTo>
                  <a:pt x="2" y="82"/>
                </a:lnTo>
                <a:lnTo>
                  <a:pt x="6" y="82"/>
                </a:lnTo>
                <a:lnTo>
                  <a:pt x="6" y="78"/>
                </a:lnTo>
                <a:lnTo>
                  <a:pt x="6" y="74"/>
                </a:lnTo>
                <a:lnTo>
                  <a:pt x="10" y="70"/>
                </a:lnTo>
                <a:lnTo>
                  <a:pt x="10" y="66"/>
                </a:lnTo>
                <a:lnTo>
                  <a:pt x="14" y="66"/>
                </a:lnTo>
                <a:lnTo>
                  <a:pt x="14" y="62"/>
                </a:lnTo>
                <a:lnTo>
                  <a:pt x="14" y="58"/>
                </a:lnTo>
                <a:lnTo>
                  <a:pt x="14" y="56"/>
                </a:lnTo>
                <a:lnTo>
                  <a:pt x="18" y="56"/>
                </a:lnTo>
                <a:lnTo>
                  <a:pt x="18" y="52"/>
                </a:lnTo>
                <a:lnTo>
                  <a:pt x="14" y="52"/>
                </a:lnTo>
                <a:lnTo>
                  <a:pt x="14" y="48"/>
                </a:lnTo>
                <a:lnTo>
                  <a:pt x="14" y="44"/>
                </a:lnTo>
                <a:lnTo>
                  <a:pt x="10" y="40"/>
                </a:lnTo>
                <a:lnTo>
                  <a:pt x="10" y="36"/>
                </a:lnTo>
                <a:lnTo>
                  <a:pt x="14" y="36"/>
                </a:lnTo>
                <a:lnTo>
                  <a:pt x="14" y="32"/>
                </a:lnTo>
                <a:lnTo>
                  <a:pt x="14" y="28"/>
                </a:lnTo>
                <a:lnTo>
                  <a:pt x="14" y="26"/>
                </a:lnTo>
                <a:lnTo>
                  <a:pt x="14" y="22"/>
                </a:lnTo>
                <a:lnTo>
                  <a:pt x="18" y="18"/>
                </a:lnTo>
                <a:lnTo>
                  <a:pt x="18" y="14"/>
                </a:lnTo>
                <a:lnTo>
                  <a:pt x="22" y="14"/>
                </a:lnTo>
                <a:lnTo>
                  <a:pt x="22" y="10"/>
                </a:lnTo>
                <a:lnTo>
                  <a:pt x="22" y="6"/>
                </a:lnTo>
                <a:lnTo>
                  <a:pt x="22" y="2"/>
                </a:lnTo>
                <a:lnTo>
                  <a:pt x="26" y="0"/>
                </a:lnTo>
                <a:lnTo>
                  <a:pt x="30" y="0"/>
                </a:lnTo>
                <a:lnTo>
                  <a:pt x="32" y="0"/>
                </a:lnTo>
                <a:lnTo>
                  <a:pt x="36" y="0"/>
                </a:lnTo>
                <a:lnTo>
                  <a:pt x="40" y="0"/>
                </a:lnTo>
                <a:lnTo>
                  <a:pt x="44" y="0"/>
                </a:lnTo>
                <a:lnTo>
                  <a:pt x="46" y="0"/>
                </a:lnTo>
                <a:lnTo>
                  <a:pt x="46" y="2"/>
                </a:lnTo>
                <a:lnTo>
                  <a:pt x="50" y="2"/>
                </a:lnTo>
                <a:lnTo>
                  <a:pt x="54" y="6"/>
                </a:lnTo>
                <a:lnTo>
                  <a:pt x="58" y="10"/>
                </a:lnTo>
                <a:lnTo>
                  <a:pt x="58" y="14"/>
                </a:lnTo>
                <a:lnTo>
                  <a:pt x="62" y="14"/>
                </a:lnTo>
                <a:lnTo>
                  <a:pt x="62" y="10"/>
                </a:lnTo>
                <a:lnTo>
                  <a:pt x="66" y="10"/>
                </a:lnTo>
                <a:lnTo>
                  <a:pt x="72" y="6"/>
                </a:lnTo>
                <a:lnTo>
                  <a:pt x="76" y="6"/>
                </a:lnTo>
                <a:lnTo>
                  <a:pt x="76" y="10"/>
                </a:lnTo>
                <a:lnTo>
                  <a:pt x="80" y="10"/>
                </a:lnTo>
                <a:lnTo>
                  <a:pt x="84" y="14"/>
                </a:lnTo>
                <a:lnTo>
                  <a:pt x="88" y="14"/>
                </a:lnTo>
                <a:lnTo>
                  <a:pt x="92" y="14"/>
                </a:lnTo>
                <a:lnTo>
                  <a:pt x="96" y="18"/>
                </a:lnTo>
                <a:lnTo>
                  <a:pt x="100" y="18"/>
                </a:lnTo>
                <a:lnTo>
                  <a:pt x="100" y="14"/>
                </a:lnTo>
                <a:lnTo>
                  <a:pt x="100" y="10"/>
                </a:lnTo>
                <a:lnTo>
                  <a:pt x="102" y="10"/>
                </a:lnTo>
                <a:lnTo>
                  <a:pt x="106" y="6"/>
                </a:lnTo>
                <a:lnTo>
                  <a:pt x="110" y="6"/>
                </a:lnTo>
                <a:lnTo>
                  <a:pt x="114" y="6"/>
                </a:lnTo>
                <a:lnTo>
                  <a:pt x="118" y="6"/>
                </a:lnTo>
                <a:lnTo>
                  <a:pt x="122" y="6"/>
                </a:lnTo>
                <a:lnTo>
                  <a:pt x="126" y="6"/>
                </a:lnTo>
                <a:lnTo>
                  <a:pt x="128" y="6"/>
                </a:lnTo>
                <a:lnTo>
                  <a:pt x="128" y="10"/>
                </a:lnTo>
                <a:lnTo>
                  <a:pt x="132" y="10"/>
                </a:lnTo>
                <a:lnTo>
                  <a:pt x="136" y="10"/>
                </a:lnTo>
                <a:lnTo>
                  <a:pt x="140" y="10"/>
                </a:lnTo>
                <a:lnTo>
                  <a:pt x="140" y="6"/>
                </a:lnTo>
                <a:lnTo>
                  <a:pt x="144" y="2"/>
                </a:lnTo>
                <a:lnTo>
                  <a:pt x="148" y="2"/>
                </a:lnTo>
                <a:lnTo>
                  <a:pt x="152" y="0"/>
                </a:lnTo>
                <a:lnTo>
                  <a:pt x="156" y="0"/>
                </a:lnTo>
                <a:lnTo>
                  <a:pt x="156" y="2"/>
                </a:lnTo>
                <a:lnTo>
                  <a:pt x="158" y="6"/>
                </a:lnTo>
                <a:lnTo>
                  <a:pt x="158" y="10"/>
                </a:lnTo>
                <a:lnTo>
                  <a:pt x="162" y="14"/>
                </a:lnTo>
                <a:lnTo>
                  <a:pt x="162" y="18"/>
                </a:lnTo>
                <a:lnTo>
                  <a:pt x="162" y="22"/>
                </a:lnTo>
                <a:lnTo>
                  <a:pt x="162" y="26"/>
                </a:lnTo>
                <a:lnTo>
                  <a:pt x="166" y="26"/>
                </a:lnTo>
                <a:lnTo>
                  <a:pt x="170" y="26"/>
                </a:lnTo>
                <a:lnTo>
                  <a:pt x="170" y="28"/>
                </a:lnTo>
                <a:lnTo>
                  <a:pt x="166" y="28"/>
                </a:lnTo>
                <a:lnTo>
                  <a:pt x="170" y="28"/>
                </a:lnTo>
                <a:lnTo>
                  <a:pt x="170" y="32"/>
                </a:lnTo>
                <a:lnTo>
                  <a:pt x="166" y="32"/>
                </a:lnTo>
                <a:lnTo>
                  <a:pt x="166" y="36"/>
                </a:lnTo>
                <a:lnTo>
                  <a:pt x="170" y="36"/>
                </a:lnTo>
                <a:lnTo>
                  <a:pt x="166" y="40"/>
                </a:lnTo>
                <a:lnTo>
                  <a:pt x="162" y="40"/>
                </a:lnTo>
                <a:lnTo>
                  <a:pt x="162" y="44"/>
                </a:lnTo>
                <a:lnTo>
                  <a:pt x="158" y="44"/>
                </a:lnTo>
                <a:lnTo>
                  <a:pt x="156" y="48"/>
                </a:lnTo>
                <a:lnTo>
                  <a:pt x="156" y="52"/>
                </a:lnTo>
                <a:lnTo>
                  <a:pt x="152" y="56"/>
                </a:lnTo>
                <a:lnTo>
                  <a:pt x="152" y="58"/>
                </a:lnTo>
                <a:lnTo>
                  <a:pt x="152" y="62"/>
                </a:lnTo>
                <a:lnTo>
                  <a:pt x="148" y="62"/>
                </a:lnTo>
                <a:lnTo>
                  <a:pt x="148" y="66"/>
                </a:lnTo>
                <a:lnTo>
                  <a:pt x="148" y="70"/>
                </a:lnTo>
                <a:lnTo>
                  <a:pt x="148" y="74"/>
                </a:lnTo>
                <a:lnTo>
                  <a:pt x="144" y="74"/>
                </a:lnTo>
                <a:lnTo>
                  <a:pt x="144" y="78"/>
                </a:lnTo>
                <a:lnTo>
                  <a:pt x="144" y="82"/>
                </a:lnTo>
                <a:lnTo>
                  <a:pt x="144" y="84"/>
                </a:lnTo>
                <a:lnTo>
                  <a:pt x="140" y="88"/>
                </a:lnTo>
                <a:lnTo>
                  <a:pt x="136" y="88"/>
                </a:lnTo>
                <a:lnTo>
                  <a:pt x="136" y="92"/>
                </a:lnTo>
                <a:lnTo>
                  <a:pt x="132" y="92"/>
                </a:lnTo>
                <a:lnTo>
                  <a:pt x="132" y="96"/>
                </a:lnTo>
                <a:lnTo>
                  <a:pt x="136" y="96"/>
                </a:lnTo>
                <a:lnTo>
                  <a:pt x="132" y="96"/>
                </a:lnTo>
                <a:lnTo>
                  <a:pt x="132" y="100"/>
                </a:lnTo>
                <a:lnTo>
                  <a:pt x="132" y="104"/>
                </a:lnTo>
                <a:lnTo>
                  <a:pt x="132" y="108"/>
                </a:lnTo>
                <a:lnTo>
                  <a:pt x="128" y="108"/>
                </a:lnTo>
                <a:lnTo>
                  <a:pt x="128" y="110"/>
                </a:lnTo>
                <a:lnTo>
                  <a:pt x="128" y="110"/>
                </a:lnTo>
                <a:lnTo>
                  <a:pt x="128" y="110"/>
                </a:lnTo>
                <a:close/>
                <a:moveTo>
                  <a:pt x="62" y="160"/>
                </a:moveTo>
                <a:lnTo>
                  <a:pt x="66" y="160"/>
                </a:lnTo>
                <a:lnTo>
                  <a:pt x="62" y="160"/>
                </a:lnTo>
                <a:lnTo>
                  <a:pt x="62" y="160"/>
                </a:lnTo>
                <a:lnTo>
                  <a:pt x="62" y="160"/>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56" name="Freeform 163"/>
          <p:cNvSpPr>
            <a:spLocks/>
          </p:cNvSpPr>
          <p:nvPr/>
        </p:nvSpPr>
        <p:spPr bwMode="auto">
          <a:xfrm>
            <a:off x="4745831" y="3719512"/>
            <a:ext cx="30956" cy="35719"/>
          </a:xfrm>
          <a:custGeom>
            <a:avLst/>
            <a:gdLst>
              <a:gd name="T0" fmla="*/ 0 w 26"/>
              <a:gd name="T1" fmla="*/ 30 h 30"/>
              <a:gd name="T2" fmla="*/ 0 w 26"/>
              <a:gd name="T3" fmla="*/ 30 h 30"/>
              <a:gd name="T4" fmla="*/ 0 w 26"/>
              <a:gd name="T5" fmla="*/ 22 h 30"/>
              <a:gd name="T6" fmla="*/ 4 w 26"/>
              <a:gd name="T7" fmla="*/ 22 h 30"/>
              <a:gd name="T8" fmla="*/ 4 w 26"/>
              <a:gd name="T9" fmla="*/ 18 h 30"/>
              <a:gd name="T10" fmla="*/ 4 w 26"/>
              <a:gd name="T11" fmla="*/ 18 h 30"/>
              <a:gd name="T12" fmla="*/ 4 w 26"/>
              <a:gd name="T13" fmla="*/ 14 h 30"/>
              <a:gd name="T14" fmla="*/ 4 w 26"/>
              <a:gd name="T15" fmla="*/ 14 h 30"/>
              <a:gd name="T16" fmla="*/ 4 w 26"/>
              <a:gd name="T17" fmla="*/ 6 h 30"/>
              <a:gd name="T18" fmla="*/ 8 w 26"/>
              <a:gd name="T19" fmla="*/ 6 h 30"/>
              <a:gd name="T20" fmla="*/ 8 w 26"/>
              <a:gd name="T21" fmla="*/ 6 h 30"/>
              <a:gd name="T22" fmla="*/ 8 w 26"/>
              <a:gd name="T23" fmla="*/ 6 h 30"/>
              <a:gd name="T24" fmla="*/ 10 w 26"/>
              <a:gd name="T25" fmla="*/ 6 h 30"/>
              <a:gd name="T26" fmla="*/ 10 w 26"/>
              <a:gd name="T27" fmla="*/ 6 h 30"/>
              <a:gd name="T28" fmla="*/ 14 w 26"/>
              <a:gd name="T29" fmla="*/ 6 h 30"/>
              <a:gd name="T30" fmla="*/ 14 w 26"/>
              <a:gd name="T31" fmla="*/ 6 h 30"/>
              <a:gd name="T32" fmla="*/ 18 w 26"/>
              <a:gd name="T33" fmla="*/ 4 h 30"/>
              <a:gd name="T34" fmla="*/ 18 w 26"/>
              <a:gd name="T35" fmla="*/ 4 h 30"/>
              <a:gd name="T36" fmla="*/ 22 w 26"/>
              <a:gd name="T37" fmla="*/ 0 h 30"/>
              <a:gd name="T38" fmla="*/ 22 w 26"/>
              <a:gd name="T39" fmla="*/ 4 h 30"/>
              <a:gd name="T40" fmla="*/ 22 w 26"/>
              <a:gd name="T41" fmla="*/ 6 h 30"/>
              <a:gd name="T42" fmla="*/ 26 w 26"/>
              <a:gd name="T43" fmla="*/ 6 h 30"/>
              <a:gd name="T44" fmla="*/ 26 w 26"/>
              <a:gd name="T45" fmla="*/ 10 h 30"/>
              <a:gd name="T46" fmla="*/ 26 w 26"/>
              <a:gd name="T47" fmla="*/ 14 h 30"/>
              <a:gd name="T48" fmla="*/ 26 w 26"/>
              <a:gd name="T49" fmla="*/ 18 h 30"/>
              <a:gd name="T50" fmla="*/ 26 w 26"/>
              <a:gd name="T51" fmla="*/ 22 h 30"/>
              <a:gd name="T52" fmla="*/ 26 w 26"/>
              <a:gd name="T53" fmla="*/ 22 h 30"/>
              <a:gd name="T54" fmla="*/ 26 w 26"/>
              <a:gd name="T55" fmla="*/ 22 h 30"/>
              <a:gd name="T56" fmla="*/ 22 w 26"/>
              <a:gd name="T57" fmla="*/ 22 h 30"/>
              <a:gd name="T58" fmla="*/ 22 w 26"/>
              <a:gd name="T59" fmla="*/ 22 h 30"/>
              <a:gd name="T60" fmla="*/ 18 w 26"/>
              <a:gd name="T61" fmla="*/ 22 h 30"/>
              <a:gd name="T62" fmla="*/ 14 w 26"/>
              <a:gd name="T63" fmla="*/ 26 h 30"/>
              <a:gd name="T64" fmla="*/ 14 w 26"/>
              <a:gd name="T65" fmla="*/ 22 h 30"/>
              <a:gd name="T66" fmla="*/ 14 w 26"/>
              <a:gd name="T67" fmla="*/ 30 h 30"/>
              <a:gd name="T68" fmla="*/ 10 w 26"/>
              <a:gd name="T69" fmla="*/ 30 h 30"/>
              <a:gd name="T70" fmla="*/ 10 w 26"/>
              <a:gd name="T71" fmla="*/ 30 h 30"/>
              <a:gd name="T72" fmla="*/ 8 w 26"/>
              <a:gd name="T73" fmla="*/ 30 h 30"/>
              <a:gd name="T74" fmla="*/ 8 w 26"/>
              <a:gd name="T75" fmla="*/ 30 h 30"/>
              <a:gd name="T76" fmla="*/ 4 w 26"/>
              <a:gd name="T77" fmla="*/ 30 h 30"/>
              <a:gd name="T78" fmla="*/ 4 w 26"/>
              <a:gd name="T79" fmla="*/ 30 h 30"/>
              <a:gd name="T80" fmla="*/ 4 w 26"/>
              <a:gd name="T81" fmla="*/ 30 h 30"/>
              <a:gd name="T82" fmla="*/ 0 w 26"/>
              <a:gd name="T83" fmla="*/ 26 h 30"/>
              <a:gd name="T84" fmla="*/ 0 w 26"/>
              <a:gd name="T85" fmla="*/ 30 h 30"/>
              <a:gd name="T86" fmla="*/ 0 w 26"/>
              <a:gd name="T8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 h="30">
                <a:moveTo>
                  <a:pt x="0" y="30"/>
                </a:moveTo>
                <a:lnTo>
                  <a:pt x="0" y="30"/>
                </a:lnTo>
                <a:lnTo>
                  <a:pt x="0" y="30"/>
                </a:lnTo>
                <a:lnTo>
                  <a:pt x="0" y="30"/>
                </a:lnTo>
                <a:lnTo>
                  <a:pt x="0" y="30"/>
                </a:lnTo>
                <a:lnTo>
                  <a:pt x="0" y="30"/>
                </a:lnTo>
                <a:lnTo>
                  <a:pt x="0" y="26"/>
                </a:lnTo>
                <a:lnTo>
                  <a:pt x="0" y="22"/>
                </a:lnTo>
                <a:lnTo>
                  <a:pt x="0" y="22"/>
                </a:lnTo>
                <a:lnTo>
                  <a:pt x="0" y="22"/>
                </a:lnTo>
                <a:lnTo>
                  <a:pt x="0" y="22"/>
                </a:lnTo>
                <a:lnTo>
                  <a:pt x="4" y="22"/>
                </a:lnTo>
                <a:lnTo>
                  <a:pt x="4" y="22"/>
                </a:lnTo>
                <a:lnTo>
                  <a:pt x="4" y="22"/>
                </a:lnTo>
                <a:lnTo>
                  <a:pt x="4" y="18"/>
                </a:lnTo>
                <a:lnTo>
                  <a:pt x="4" y="18"/>
                </a:lnTo>
                <a:lnTo>
                  <a:pt x="4" y="18"/>
                </a:lnTo>
                <a:lnTo>
                  <a:pt x="4" y="18"/>
                </a:lnTo>
                <a:lnTo>
                  <a:pt x="4" y="18"/>
                </a:lnTo>
                <a:lnTo>
                  <a:pt x="4" y="18"/>
                </a:lnTo>
                <a:lnTo>
                  <a:pt x="4" y="14"/>
                </a:lnTo>
                <a:lnTo>
                  <a:pt x="4" y="14"/>
                </a:lnTo>
                <a:lnTo>
                  <a:pt x="4" y="14"/>
                </a:lnTo>
                <a:lnTo>
                  <a:pt x="4" y="14"/>
                </a:lnTo>
                <a:lnTo>
                  <a:pt x="4" y="10"/>
                </a:lnTo>
                <a:lnTo>
                  <a:pt x="4" y="10"/>
                </a:lnTo>
                <a:lnTo>
                  <a:pt x="4" y="6"/>
                </a:lnTo>
                <a:lnTo>
                  <a:pt x="8" y="6"/>
                </a:lnTo>
                <a:lnTo>
                  <a:pt x="8" y="6"/>
                </a:lnTo>
                <a:lnTo>
                  <a:pt x="8" y="6"/>
                </a:lnTo>
                <a:lnTo>
                  <a:pt x="8" y="6"/>
                </a:lnTo>
                <a:lnTo>
                  <a:pt x="8" y="6"/>
                </a:lnTo>
                <a:lnTo>
                  <a:pt x="8" y="6"/>
                </a:lnTo>
                <a:lnTo>
                  <a:pt x="8" y="6"/>
                </a:lnTo>
                <a:lnTo>
                  <a:pt x="8" y="6"/>
                </a:lnTo>
                <a:lnTo>
                  <a:pt x="8" y="6"/>
                </a:lnTo>
                <a:lnTo>
                  <a:pt x="10" y="6"/>
                </a:lnTo>
                <a:lnTo>
                  <a:pt x="10" y="6"/>
                </a:lnTo>
                <a:lnTo>
                  <a:pt x="10" y="6"/>
                </a:lnTo>
                <a:lnTo>
                  <a:pt x="10" y="6"/>
                </a:lnTo>
                <a:lnTo>
                  <a:pt x="10" y="6"/>
                </a:lnTo>
                <a:lnTo>
                  <a:pt x="10" y="6"/>
                </a:lnTo>
                <a:lnTo>
                  <a:pt x="10" y="6"/>
                </a:lnTo>
                <a:lnTo>
                  <a:pt x="10" y="6"/>
                </a:lnTo>
                <a:lnTo>
                  <a:pt x="14" y="6"/>
                </a:lnTo>
                <a:lnTo>
                  <a:pt x="14" y="6"/>
                </a:lnTo>
                <a:lnTo>
                  <a:pt x="14" y="6"/>
                </a:lnTo>
                <a:lnTo>
                  <a:pt x="14" y="6"/>
                </a:lnTo>
                <a:lnTo>
                  <a:pt x="14" y="6"/>
                </a:lnTo>
                <a:lnTo>
                  <a:pt x="18" y="6"/>
                </a:lnTo>
                <a:lnTo>
                  <a:pt x="18" y="4"/>
                </a:lnTo>
                <a:lnTo>
                  <a:pt x="18" y="4"/>
                </a:lnTo>
                <a:lnTo>
                  <a:pt x="18" y="4"/>
                </a:lnTo>
                <a:lnTo>
                  <a:pt x="18" y="4"/>
                </a:lnTo>
                <a:lnTo>
                  <a:pt x="18" y="0"/>
                </a:lnTo>
                <a:lnTo>
                  <a:pt x="22" y="0"/>
                </a:lnTo>
                <a:lnTo>
                  <a:pt x="22" y="0"/>
                </a:lnTo>
                <a:lnTo>
                  <a:pt x="22" y="0"/>
                </a:lnTo>
                <a:lnTo>
                  <a:pt x="22" y="0"/>
                </a:lnTo>
                <a:lnTo>
                  <a:pt x="22" y="4"/>
                </a:lnTo>
                <a:lnTo>
                  <a:pt x="22" y="4"/>
                </a:lnTo>
                <a:lnTo>
                  <a:pt x="22" y="6"/>
                </a:lnTo>
                <a:lnTo>
                  <a:pt x="22" y="6"/>
                </a:lnTo>
                <a:lnTo>
                  <a:pt x="22" y="6"/>
                </a:lnTo>
                <a:lnTo>
                  <a:pt x="26" y="6"/>
                </a:lnTo>
                <a:lnTo>
                  <a:pt x="26" y="6"/>
                </a:lnTo>
                <a:lnTo>
                  <a:pt x="26" y="10"/>
                </a:lnTo>
                <a:lnTo>
                  <a:pt x="26" y="10"/>
                </a:lnTo>
                <a:lnTo>
                  <a:pt x="26" y="10"/>
                </a:lnTo>
                <a:lnTo>
                  <a:pt x="26" y="14"/>
                </a:lnTo>
                <a:lnTo>
                  <a:pt x="26" y="14"/>
                </a:lnTo>
                <a:lnTo>
                  <a:pt x="26" y="14"/>
                </a:lnTo>
                <a:lnTo>
                  <a:pt x="26" y="18"/>
                </a:lnTo>
                <a:lnTo>
                  <a:pt x="26" y="18"/>
                </a:lnTo>
                <a:lnTo>
                  <a:pt x="26" y="18"/>
                </a:lnTo>
                <a:lnTo>
                  <a:pt x="26" y="22"/>
                </a:lnTo>
                <a:lnTo>
                  <a:pt x="26" y="22"/>
                </a:lnTo>
                <a:lnTo>
                  <a:pt x="26" y="22"/>
                </a:lnTo>
                <a:lnTo>
                  <a:pt x="26" y="22"/>
                </a:lnTo>
                <a:lnTo>
                  <a:pt x="26" y="22"/>
                </a:lnTo>
                <a:lnTo>
                  <a:pt x="26" y="22"/>
                </a:lnTo>
                <a:lnTo>
                  <a:pt x="26" y="22"/>
                </a:lnTo>
                <a:lnTo>
                  <a:pt x="26" y="22"/>
                </a:lnTo>
                <a:lnTo>
                  <a:pt x="26" y="22"/>
                </a:lnTo>
                <a:lnTo>
                  <a:pt x="22" y="22"/>
                </a:lnTo>
                <a:lnTo>
                  <a:pt x="22" y="22"/>
                </a:lnTo>
                <a:lnTo>
                  <a:pt x="22" y="22"/>
                </a:lnTo>
                <a:lnTo>
                  <a:pt x="22" y="22"/>
                </a:lnTo>
                <a:lnTo>
                  <a:pt x="22" y="22"/>
                </a:lnTo>
                <a:lnTo>
                  <a:pt x="22" y="22"/>
                </a:lnTo>
                <a:lnTo>
                  <a:pt x="18" y="22"/>
                </a:lnTo>
                <a:lnTo>
                  <a:pt x="18" y="22"/>
                </a:lnTo>
                <a:lnTo>
                  <a:pt x="18" y="22"/>
                </a:lnTo>
                <a:lnTo>
                  <a:pt x="14" y="26"/>
                </a:lnTo>
                <a:lnTo>
                  <a:pt x="14" y="26"/>
                </a:lnTo>
                <a:lnTo>
                  <a:pt x="14" y="26"/>
                </a:lnTo>
                <a:lnTo>
                  <a:pt x="14" y="22"/>
                </a:lnTo>
                <a:lnTo>
                  <a:pt x="14" y="22"/>
                </a:lnTo>
                <a:lnTo>
                  <a:pt x="14" y="22"/>
                </a:lnTo>
                <a:lnTo>
                  <a:pt x="14" y="22"/>
                </a:lnTo>
                <a:lnTo>
                  <a:pt x="14" y="26"/>
                </a:lnTo>
                <a:lnTo>
                  <a:pt x="14" y="30"/>
                </a:lnTo>
                <a:lnTo>
                  <a:pt x="14" y="30"/>
                </a:lnTo>
                <a:lnTo>
                  <a:pt x="10" y="30"/>
                </a:lnTo>
                <a:lnTo>
                  <a:pt x="10" y="30"/>
                </a:lnTo>
                <a:lnTo>
                  <a:pt x="10" y="30"/>
                </a:lnTo>
                <a:lnTo>
                  <a:pt x="10" y="30"/>
                </a:lnTo>
                <a:lnTo>
                  <a:pt x="10" y="30"/>
                </a:lnTo>
                <a:lnTo>
                  <a:pt x="10" y="30"/>
                </a:lnTo>
                <a:lnTo>
                  <a:pt x="8" y="30"/>
                </a:lnTo>
                <a:lnTo>
                  <a:pt x="8" y="30"/>
                </a:lnTo>
                <a:lnTo>
                  <a:pt x="8" y="30"/>
                </a:lnTo>
                <a:lnTo>
                  <a:pt x="8" y="30"/>
                </a:lnTo>
                <a:lnTo>
                  <a:pt x="8" y="30"/>
                </a:lnTo>
                <a:lnTo>
                  <a:pt x="8" y="30"/>
                </a:lnTo>
                <a:lnTo>
                  <a:pt x="8" y="30"/>
                </a:lnTo>
                <a:lnTo>
                  <a:pt x="4" y="30"/>
                </a:lnTo>
                <a:lnTo>
                  <a:pt x="4" y="30"/>
                </a:lnTo>
                <a:lnTo>
                  <a:pt x="4" y="30"/>
                </a:lnTo>
                <a:lnTo>
                  <a:pt x="4" y="30"/>
                </a:lnTo>
                <a:lnTo>
                  <a:pt x="4" y="30"/>
                </a:lnTo>
                <a:lnTo>
                  <a:pt x="4" y="30"/>
                </a:lnTo>
                <a:lnTo>
                  <a:pt x="4" y="30"/>
                </a:lnTo>
                <a:lnTo>
                  <a:pt x="4" y="30"/>
                </a:lnTo>
                <a:lnTo>
                  <a:pt x="4" y="26"/>
                </a:lnTo>
                <a:lnTo>
                  <a:pt x="0" y="26"/>
                </a:lnTo>
                <a:lnTo>
                  <a:pt x="0" y="26"/>
                </a:lnTo>
                <a:lnTo>
                  <a:pt x="0" y="30"/>
                </a:lnTo>
                <a:lnTo>
                  <a:pt x="0" y="30"/>
                </a:lnTo>
                <a:lnTo>
                  <a:pt x="0" y="30"/>
                </a:lnTo>
                <a:lnTo>
                  <a:pt x="0" y="30"/>
                </a:lnTo>
                <a:lnTo>
                  <a:pt x="0" y="30"/>
                </a:lnTo>
                <a:lnTo>
                  <a:pt x="0" y="30"/>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57" name="Freeform 164"/>
          <p:cNvSpPr>
            <a:spLocks noEditPoints="1"/>
          </p:cNvSpPr>
          <p:nvPr/>
        </p:nvSpPr>
        <p:spPr bwMode="auto">
          <a:xfrm>
            <a:off x="4367212" y="3664744"/>
            <a:ext cx="14288" cy="30956"/>
          </a:xfrm>
          <a:custGeom>
            <a:avLst/>
            <a:gdLst>
              <a:gd name="T0" fmla="*/ 12 w 12"/>
              <a:gd name="T1" fmla="*/ 0 h 26"/>
              <a:gd name="T2" fmla="*/ 12 w 12"/>
              <a:gd name="T3" fmla="*/ 0 h 26"/>
              <a:gd name="T4" fmla="*/ 12 w 12"/>
              <a:gd name="T5" fmla="*/ 0 h 26"/>
              <a:gd name="T6" fmla="*/ 12 w 12"/>
              <a:gd name="T7" fmla="*/ 0 h 26"/>
              <a:gd name="T8" fmla="*/ 12 w 12"/>
              <a:gd name="T9" fmla="*/ 0 h 26"/>
              <a:gd name="T10" fmla="*/ 12 w 12"/>
              <a:gd name="T11" fmla="*/ 0 h 26"/>
              <a:gd name="T12" fmla="*/ 12 w 12"/>
              <a:gd name="T13" fmla="*/ 0 h 26"/>
              <a:gd name="T14" fmla="*/ 12 w 12"/>
              <a:gd name="T15" fmla="*/ 0 h 26"/>
              <a:gd name="T16" fmla="*/ 12 w 12"/>
              <a:gd name="T17" fmla="*/ 0 h 26"/>
              <a:gd name="T18" fmla="*/ 12 w 12"/>
              <a:gd name="T19" fmla="*/ 0 h 26"/>
              <a:gd name="T20" fmla="*/ 12 w 12"/>
              <a:gd name="T21" fmla="*/ 0 h 26"/>
              <a:gd name="T22" fmla="*/ 12 w 12"/>
              <a:gd name="T23" fmla="*/ 0 h 26"/>
              <a:gd name="T24" fmla="*/ 12 w 12"/>
              <a:gd name="T25" fmla="*/ 0 h 26"/>
              <a:gd name="T26" fmla="*/ 0 w 12"/>
              <a:gd name="T27" fmla="*/ 26 h 26"/>
              <a:gd name="T28" fmla="*/ 0 w 12"/>
              <a:gd name="T29" fmla="*/ 26 h 26"/>
              <a:gd name="T30" fmla="*/ 0 w 12"/>
              <a:gd name="T31" fmla="*/ 26 h 26"/>
              <a:gd name="T32" fmla="*/ 0 w 12"/>
              <a:gd name="T33" fmla="*/ 26 h 26"/>
              <a:gd name="T34" fmla="*/ 0 w 12"/>
              <a:gd name="T35" fmla="*/ 22 h 26"/>
              <a:gd name="T36" fmla="*/ 0 w 12"/>
              <a:gd name="T37" fmla="*/ 22 h 26"/>
              <a:gd name="T38" fmla="*/ 0 w 12"/>
              <a:gd name="T39" fmla="*/ 22 h 26"/>
              <a:gd name="T40" fmla="*/ 0 w 12"/>
              <a:gd name="T41" fmla="*/ 22 h 26"/>
              <a:gd name="T42" fmla="*/ 0 w 12"/>
              <a:gd name="T43" fmla="*/ 22 h 26"/>
              <a:gd name="T44" fmla="*/ 0 w 12"/>
              <a:gd name="T45" fmla="*/ 22 h 26"/>
              <a:gd name="T46" fmla="*/ 0 w 12"/>
              <a:gd name="T47" fmla="*/ 22 h 26"/>
              <a:gd name="T48" fmla="*/ 4 w 12"/>
              <a:gd name="T49" fmla="*/ 22 h 26"/>
              <a:gd name="T50" fmla="*/ 4 w 12"/>
              <a:gd name="T51" fmla="*/ 22 h 26"/>
              <a:gd name="T52" fmla="*/ 4 w 12"/>
              <a:gd name="T53" fmla="*/ 22 h 26"/>
              <a:gd name="T54" fmla="*/ 4 w 12"/>
              <a:gd name="T55" fmla="*/ 22 h 26"/>
              <a:gd name="T56" fmla="*/ 4 w 12"/>
              <a:gd name="T57" fmla="*/ 26 h 26"/>
              <a:gd name="T58" fmla="*/ 0 w 12"/>
              <a:gd name="T59" fmla="*/ 26 h 26"/>
              <a:gd name="T60" fmla="*/ 0 w 12"/>
              <a:gd name="T61" fmla="*/ 26 h 26"/>
              <a:gd name="T62" fmla="*/ 0 w 12"/>
              <a:gd name="T63" fmla="*/ 26 h 26"/>
              <a:gd name="T64" fmla="*/ 0 w 12"/>
              <a:gd name="T65" fmla="*/ 26 h 26"/>
              <a:gd name="T66" fmla="*/ 0 w 12"/>
              <a:gd name="T6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 h="26">
                <a:moveTo>
                  <a:pt x="12" y="0"/>
                </a:moveTo>
                <a:lnTo>
                  <a:pt x="12" y="0"/>
                </a:lnTo>
                <a:lnTo>
                  <a:pt x="12" y="0"/>
                </a:lnTo>
                <a:lnTo>
                  <a:pt x="12" y="0"/>
                </a:lnTo>
                <a:lnTo>
                  <a:pt x="12" y="0"/>
                </a:lnTo>
                <a:lnTo>
                  <a:pt x="12" y="0"/>
                </a:lnTo>
                <a:lnTo>
                  <a:pt x="12" y="0"/>
                </a:lnTo>
                <a:lnTo>
                  <a:pt x="12" y="0"/>
                </a:lnTo>
                <a:lnTo>
                  <a:pt x="12" y="0"/>
                </a:lnTo>
                <a:lnTo>
                  <a:pt x="12" y="0"/>
                </a:lnTo>
                <a:lnTo>
                  <a:pt x="12" y="0"/>
                </a:lnTo>
                <a:lnTo>
                  <a:pt x="12" y="0"/>
                </a:lnTo>
                <a:lnTo>
                  <a:pt x="12" y="0"/>
                </a:lnTo>
                <a:close/>
                <a:moveTo>
                  <a:pt x="0" y="26"/>
                </a:moveTo>
                <a:lnTo>
                  <a:pt x="0" y="26"/>
                </a:lnTo>
                <a:lnTo>
                  <a:pt x="0" y="26"/>
                </a:lnTo>
                <a:lnTo>
                  <a:pt x="0" y="26"/>
                </a:lnTo>
                <a:lnTo>
                  <a:pt x="0" y="22"/>
                </a:lnTo>
                <a:lnTo>
                  <a:pt x="0" y="22"/>
                </a:lnTo>
                <a:lnTo>
                  <a:pt x="0" y="22"/>
                </a:lnTo>
                <a:lnTo>
                  <a:pt x="0" y="22"/>
                </a:lnTo>
                <a:lnTo>
                  <a:pt x="0" y="22"/>
                </a:lnTo>
                <a:lnTo>
                  <a:pt x="0" y="22"/>
                </a:lnTo>
                <a:lnTo>
                  <a:pt x="0" y="22"/>
                </a:lnTo>
                <a:lnTo>
                  <a:pt x="4" y="22"/>
                </a:lnTo>
                <a:lnTo>
                  <a:pt x="4" y="22"/>
                </a:lnTo>
                <a:lnTo>
                  <a:pt x="4" y="22"/>
                </a:lnTo>
                <a:lnTo>
                  <a:pt x="4" y="22"/>
                </a:lnTo>
                <a:lnTo>
                  <a:pt x="4" y="26"/>
                </a:lnTo>
                <a:lnTo>
                  <a:pt x="0" y="26"/>
                </a:lnTo>
                <a:lnTo>
                  <a:pt x="0" y="26"/>
                </a:lnTo>
                <a:lnTo>
                  <a:pt x="0" y="26"/>
                </a:lnTo>
                <a:lnTo>
                  <a:pt x="0" y="26"/>
                </a:lnTo>
                <a:lnTo>
                  <a:pt x="0" y="26"/>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58" name="Freeform 165"/>
          <p:cNvSpPr>
            <a:spLocks/>
          </p:cNvSpPr>
          <p:nvPr/>
        </p:nvSpPr>
        <p:spPr bwMode="auto">
          <a:xfrm>
            <a:off x="3960019" y="3355180"/>
            <a:ext cx="107156" cy="90488"/>
          </a:xfrm>
          <a:custGeom>
            <a:avLst/>
            <a:gdLst>
              <a:gd name="T0" fmla="*/ 82 w 90"/>
              <a:gd name="T1" fmla="*/ 76 h 76"/>
              <a:gd name="T2" fmla="*/ 78 w 90"/>
              <a:gd name="T3" fmla="*/ 76 h 76"/>
              <a:gd name="T4" fmla="*/ 70 w 90"/>
              <a:gd name="T5" fmla="*/ 76 h 76"/>
              <a:gd name="T6" fmla="*/ 64 w 90"/>
              <a:gd name="T7" fmla="*/ 74 h 76"/>
              <a:gd name="T8" fmla="*/ 60 w 90"/>
              <a:gd name="T9" fmla="*/ 70 h 76"/>
              <a:gd name="T10" fmla="*/ 44 w 90"/>
              <a:gd name="T11" fmla="*/ 70 h 76"/>
              <a:gd name="T12" fmla="*/ 30 w 90"/>
              <a:gd name="T13" fmla="*/ 74 h 76"/>
              <a:gd name="T14" fmla="*/ 22 w 90"/>
              <a:gd name="T15" fmla="*/ 74 h 76"/>
              <a:gd name="T16" fmla="*/ 14 w 90"/>
              <a:gd name="T17" fmla="*/ 76 h 76"/>
              <a:gd name="T18" fmla="*/ 14 w 90"/>
              <a:gd name="T19" fmla="*/ 70 h 76"/>
              <a:gd name="T20" fmla="*/ 22 w 90"/>
              <a:gd name="T21" fmla="*/ 74 h 76"/>
              <a:gd name="T22" fmla="*/ 26 w 90"/>
              <a:gd name="T23" fmla="*/ 74 h 76"/>
              <a:gd name="T24" fmla="*/ 30 w 90"/>
              <a:gd name="T25" fmla="*/ 70 h 76"/>
              <a:gd name="T26" fmla="*/ 30 w 90"/>
              <a:gd name="T27" fmla="*/ 70 h 76"/>
              <a:gd name="T28" fmla="*/ 26 w 90"/>
              <a:gd name="T29" fmla="*/ 70 h 76"/>
              <a:gd name="T30" fmla="*/ 22 w 90"/>
              <a:gd name="T31" fmla="*/ 70 h 76"/>
              <a:gd name="T32" fmla="*/ 14 w 90"/>
              <a:gd name="T33" fmla="*/ 70 h 76"/>
              <a:gd name="T34" fmla="*/ 12 w 90"/>
              <a:gd name="T35" fmla="*/ 74 h 76"/>
              <a:gd name="T36" fmla="*/ 12 w 90"/>
              <a:gd name="T37" fmla="*/ 66 h 76"/>
              <a:gd name="T38" fmla="*/ 26 w 90"/>
              <a:gd name="T39" fmla="*/ 62 h 76"/>
              <a:gd name="T40" fmla="*/ 34 w 90"/>
              <a:gd name="T41" fmla="*/ 58 h 76"/>
              <a:gd name="T42" fmla="*/ 38 w 90"/>
              <a:gd name="T43" fmla="*/ 54 h 76"/>
              <a:gd name="T44" fmla="*/ 42 w 90"/>
              <a:gd name="T45" fmla="*/ 58 h 76"/>
              <a:gd name="T46" fmla="*/ 44 w 90"/>
              <a:gd name="T47" fmla="*/ 62 h 76"/>
              <a:gd name="T48" fmla="*/ 52 w 90"/>
              <a:gd name="T49" fmla="*/ 58 h 76"/>
              <a:gd name="T50" fmla="*/ 56 w 90"/>
              <a:gd name="T51" fmla="*/ 54 h 76"/>
              <a:gd name="T52" fmla="*/ 48 w 90"/>
              <a:gd name="T53" fmla="*/ 54 h 76"/>
              <a:gd name="T54" fmla="*/ 44 w 90"/>
              <a:gd name="T55" fmla="*/ 54 h 76"/>
              <a:gd name="T56" fmla="*/ 42 w 90"/>
              <a:gd name="T57" fmla="*/ 54 h 76"/>
              <a:gd name="T58" fmla="*/ 42 w 90"/>
              <a:gd name="T59" fmla="*/ 52 h 76"/>
              <a:gd name="T60" fmla="*/ 34 w 90"/>
              <a:gd name="T61" fmla="*/ 52 h 76"/>
              <a:gd name="T62" fmla="*/ 30 w 90"/>
              <a:gd name="T63" fmla="*/ 54 h 76"/>
              <a:gd name="T64" fmla="*/ 14 w 90"/>
              <a:gd name="T65" fmla="*/ 54 h 76"/>
              <a:gd name="T66" fmla="*/ 14 w 90"/>
              <a:gd name="T67" fmla="*/ 52 h 76"/>
              <a:gd name="T68" fmla="*/ 14 w 90"/>
              <a:gd name="T69" fmla="*/ 48 h 76"/>
              <a:gd name="T70" fmla="*/ 18 w 90"/>
              <a:gd name="T71" fmla="*/ 44 h 76"/>
              <a:gd name="T72" fmla="*/ 14 w 90"/>
              <a:gd name="T73" fmla="*/ 48 h 76"/>
              <a:gd name="T74" fmla="*/ 12 w 90"/>
              <a:gd name="T75" fmla="*/ 40 h 76"/>
              <a:gd name="T76" fmla="*/ 8 w 90"/>
              <a:gd name="T77" fmla="*/ 36 h 76"/>
              <a:gd name="T78" fmla="*/ 4 w 90"/>
              <a:gd name="T79" fmla="*/ 36 h 76"/>
              <a:gd name="T80" fmla="*/ 8 w 90"/>
              <a:gd name="T81" fmla="*/ 32 h 76"/>
              <a:gd name="T82" fmla="*/ 12 w 90"/>
              <a:gd name="T83" fmla="*/ 22 h 76"/>
              <a:gd name="T84" fmla="*/ 14 w 90"/>
              <a:gd name="T85" fmla="*/ 18 h 76"/>
              <a:gd name="T86" fmla="*/ 18 w 90"/>
              <a:gd name="T87" fmla="*/ 6 h 76"/>
              <a:gd name="T88" fmla="*/ 22 w 90"/>
              <a:gd name="T89" fmla="*/ 2 h 76"/>
              <a:gd name="T90" fmla="*/ 30 w 90"/>
              <a:gd name="T91" fmla="*/ 2 h 76"/>
              <a:gd name="T92" fmla="*/ 38 w 90"/>
              <a:gd name="T93" fmla="*/ 2 h 76"/>
              <a:gd name="T94" fmla="*/ 44 w 90"/>
              <a:gd name="T95" fmla="*/ 2 h 76"/>
              <a:gd name="T96" fmla="*/ 56 w 90"/>
              <a:gd name="T97" fmla="*/ 10 h 76"/>
              <a:gd name="T98" fmla="*/ 60 w 90"/>
              <a:gd name="T99" fmla="*/ 14 h 76"/>
              <a:gd name="T100" fmla="*/ 68 w 90"/>
              <a:gd name="T101" fmla="*/ 26 h 76"/>
              <a:gd name="T102" fmla="*/ 68 w 90"/>
              <a:gd name="T103" fmla="*/ 28 h 76"/>
              <a:gd name="T104" fmla="*/ 74 w 90"/>
              <a:gd name="T105" fmla="*/ 32 h 76"/>
              <a:gd name="T106" fmla="*/ 78 w 90"/>
              <a:gd name="T107" fmla="*/ 40 h 76"/>
              <a:gd name="T108" fmla="*/ 82 w 90"/>
              <a:gd name="T109" fmla="*/ 48 h 76"/>
              <a:gd name="T110" fmla="*/ 78 w 90"/>
              <a:gd name="T111" fmla="*/ 52 h 76"/>
              <a:gd name="T112" fmla="*/ 82 w 90"/>
              <a:gd name="T113" fmla="*/ 58 h 76"/>
              <a:gd name="T114" fmla="*/ 86 w 90"/>
              <a:gd name="T115" fmla="*/ 62 h 76"/>
              <a:gd name="T116" fmla="*/ 90 w 90"/>
              <a:gd name="T117" fmla="*/ 7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0" h="76">
                <a:moveTo>
                  <a:pt x="90" y="74"/>
                </a:moveTo>
                <a:lnTo>
                  <a:pt x="90" y="74"/>
                </a:lnTo>
                <a:lnTo>
                  <a:pt x="86" y="74"/>
                </a:lnTo>
                <a:lnTo>
                  <a:pt x="86" y="74"/>
                </a:lnTo>
                <a:lnTo>
                  <a:pt x="86" y="74"/>
                </a:lnTo>
                <a:lnTo>
                  <a:pt x="86" y="74"/>
                </a:lnTo>
                <a:lnTo>
                  <a:pt x="86" y="76"/>
                </a:lnTo>
                <a:lnTo>
                  <a:pt x="82" y="76"/>
                </a:lnTo>
                <a:lnTo>
                  <a:pt x="82" y="76"/>
                </a:lnTo>
                <a:lnTo>
                  <a:pt x="82" y="76"/>
                </a:lnTo>
                <a:lnTo>
                  <a:pt x="82" y="74"/>
                </a:lnTo>
                <a:lnTo>
                  <a:pt x="78" y="74"/>
                </a:lnTo>
                <a:lnTo>
                  <a:pt x="78" y="76"/>
                </a:lnTo>
                <a:lnTo>
                  <a:pt x="78" y="76"/>
                </a:lnTo>
                <a:lnTo>
                  <a:pt x="78" y="76"/>
                </a:lnTo>
                <a:lnTo>
                  <a:pt x="78" y="76"/>
                </a:lnTo>
                <a:lnTo>
                  <a:pt x="74" y="76"/>
                </a:lnTo>
                <a:lnTo>
                  <a:pt x="74" y="76"/>
                </a:lnTo>
                <a:lnTo>
                  <a:pt x="74" y="76"/>
                </a:lnTo>
                <a:lnTo>
                  <a:pt x="74" y="76"/>
                </a:lnTo>
                <a:lnTo>
                  <a:pt x="74" y="74"/>
                </a:lnTo>
                <a:lnTo>
                  <a:pt x="74" y="74"/>
                </a:lnTo>
                <a:lnTo>
                  <a:pt x="70" y="76"/>
                </a:lnTo>
                <a:lnTo>
                  <a:pt x="70" y="76"/>
                </a:lnTo>
                <a:lnTo>
                  <a:pt x="70" y="74"/>
                </a:lnTo>
                <a:lnTo>
                  <a:pt x="68" y="74"/>
                </a:lnTo>
                <a:lnTo>
                  <a:pt x="68" y="74"/>
                </a:lnTo>
                <a:lnTo>
                  <a:pt x="68" y="74"/>
                </a:lnTo>
                <a:lnTo>
                  <a:pt x="68" y="74"/>
                </a:lnTo>
                <a:lnTo>
                  <a:pt x="68" y="74"/>
                </a:lnTo>
                <a:lnTo>
                  <a:pt x="68" y="74"/>
                </a:lnTo>
                <a:lnTo>
                  <a:pt x="64" y="74"/>
                </a:lnTo>
                <a:lnTo>
                  <a:pt x="64" y="74"/>
                </a:lnTo>
                <a:lnTo>
                  <a:pt x="64" y="74"/>
                </a:lnTo>
                <a:lnTo>
                  <a:pt x="64" y="74"/>
                </a:lnTo>
                <a:lnTo>
                  <a:pt x="68" y="74"/>
                </a:lnTo>
                <a:lnTo>
                  <a:pt x="64" y="70"/>
                </a:lnTo>
                <a:lnTo>
                  <a:pt x="64" y="70"/>
                </a:lnTo>
                <a:lnTo>
                  <a:pt x="60" y="70"/>
                </a:lnTo>
                <a:lnTo>
                  <a:pt x="60" y="70"/>
                </a:lnTo>
                <a:lnTo>
                  <a:pt x="56" y="70"/>
                </a:lnTo>
                <a:lnTo>
                  <a:pt x="56" y="70"/>
                </a:lnTo>
                <a:lnTo>
                  <a:pt x="52" y="70"/>
                </a:lnTo>
                <a:lnTo>
                  <a:pt x="52" y="70"/>
                </a:lnTo>
                <a:lnTo>
                  <a:pt x="48" y="70"/>
                </a:lnTo>
                <a:lnTo>
                  <a:pt x="48" y="70"/>
                </a:lnTo>
                <a:lnTo>
                  <a:pt x="44" y="70"/>
                </a:lnTo>
                <a:lnTo>
                  <a:pt x="44" y="70"/>
                </a:lnTo>
                <a:lnTo>
                  <a:pt x="42" y="70"/>
                </a:lnTo>
                <a:lnTo>
                  <a:pt x="42" y="70"/>
                </a:lnTo>
                <a:lnTo>
                  <a:pt x="38" y="70"/>
                </a:lnTo>
                <a:lnTo>
                  <a:pt x="34" y="70"/>
                </a:lnTo>
                <a:lnTo>
                  <a:pt x="34" y="70"/>
                </a:lnTo>
                <a:lnTo>
                  <a:pt x="34" y="74"/>
                </a:lnTo>
                <a:lnTo>
                  <a:pt x="30" y="74"/>
                </a:lnTo>
                <a:lnTo>
                  <a:pt x="30" y="74"/>
                </a:lnTo>
                <a:lnTo>
                  <a:pt x="26" y="74"/>
                </a:lnTo>
                <a:lnTo>
                  <a:pt x="26" y="74"/>
                </a:lnTo>
                <a:lnTo>
                  <a:pt x="26" y="74"/>
                </a:lnTo>
                <a:lnTo>
                  <a:pt x="22" y="74"/>
                </a:lnTo>
                <a:lnTo>
                  <a:pt x="22" y="74"/>
                </a:lnTo>
                <a:lnTo>
                  <a:pt x="22" y="74"/>
                </a:lnTo>
                <a:lnTo>
                  <a:pt x="22" y="74"/>
                </a:lnTo>
                <a:lnTo>
                  <a:pt x="22" y="74"/>
                </a:lnTo>
                <a:lnTo>
                  <a:pt x="22" y="74"/>
                </a:lnTo>
                <a:lnTo>
                  <a:pt x="18" y="74"/>
                </a:lnTo>
                <a:lnTo>
                  <a:pt x="18" y="76"/>
                </a:lnTo>
                <a:lnTo>
                  <a:pt x="14" y="76"/>
                </a:lnTo>
                <a:lnTo>
                  <a:pt x="14" y="76"/>
                </a:lnTo>
                <a:lnTo>
                  <a:pt x="14" y="76"/>
                </a:lnTo>
                <a:lnTo>
                  <a:pt x="14" y="76"/>
                </a:lnTo>
                <a:lnTo>
                  <a:pt x="14" y="76"/>
                </a:lnTo>
                <a:lnTo>
                  <a:pt x="14" y="76"/>
                </a:lnTo>
                <a:lnTo>
                  <a:pt x="14" y="76"/>
                </a:lnTo>
                <a:lnTo>
                  <a:pt x="12" y="74"/>
                </a:lnTo>
                <a:lnTo>
                  <a:pt x="12" y="74"/>
                </a:lnTo>
                <a:lnTo>
                  <a:pt x="12" y="74"/>
                </a:lnTo>
                <a:lnTo>
                  <a:pt x="12" y="74"/>
                </a:lnTo>
                <a:lnTo>
                  <a:pt x="12" y="74"/>
                </a:lnTo>
                <a:lnTo>
                  <a:pt x="14" y="70"/>
                </a:lnTo>
                <a:lnTo>
                  <a:pt x="14" y="74"/>
                </a:lnTo>
                <a:lnTo>
                  <a:pt x="18" y="74"/>
                </a:lnTo>
                <a:lnTo>
                  <a:pt x="18" y="74"/>
                </a:lnTo>
                <a:lnTo>
                  <a:pt x="18" y="74"/>
                </a:lnTo>
                <a:lnTo>
                  <a:pt x="18" y="74"/>
                </a:lnTo>
                <a:lnTo>
                  <a:pt x="18" y="74"/>
                </a:lnTo>
                <a:lnTo>
                  <a:pt x="22" y="74"/>
                </a:lnTo>
                <a:lnTo>
                  <a:pt x="22" y="74"/>
                </a:lnTo>
                <a:lnTo>
                  <a:pt x="22" y="70"/>
                </a:lnTo>
                <a:lnTo>
                  <a:pt x="22" y="70"/>
                </a:lnTo>
                <a:lnTo>
                  <a:pt x="22" y="74"/>
                </a:lnTo>
                <a:lnTo>
                  <a:pt x="26" y="74"/>
                </a:lnTo>
                <a:lnTo>
                  <a:pt x="26" y="74"/>
                </a:lnTo>
                <a:lnTo>
                  <a:pt x="26" y="74"/>
                </a:lnTo>
                <a:lnTo>
                  <a:pt x="26" y="74"/>
                </a:lnTo>
                <a:lnTo>
                  <a:pt x="26" y="74"/>
                </a:lnTo>
                <a:lnTo>
                  <a:pt x="26" y="74"/>
                </a:lnTo>
                <a:lnTo>
                  <a:pt x="30" y="74"/>
                </a:lnTo>
                <a:lnTo>
                  <a:pt x="30" y="74"/>
                </a:lnTo>
                <a:lnTo>
                  <a:pt x="30" y="74"/>
                </a:lnTo>
                <a:lnTo>
                  <a:pt x="30" y="70"/>
                </a:lnTo>
                <a:lnTo>
                  <a:pt x="30" y="70"/>
                </a:lnTo>
                <a:lnTo>
                  <a:pt x="30" y="70"/>
                </a:lnTo>
                <a:lnTo>
                  <a:pt x="30" y="70"/>
                </a:lnTo>
                <a:lnTo>
                  <a:pt x="30" y="70"/>
                </a:lnTo>
                <a:lnTo>
                  <a:pt x="34" y="70"/>
                </a:lnTo>
                <a:lnTo>
                  <a:pt x="34" y="66"/>
                </a:lnTo>
                <a:lnTo>
                  <a:pt x="30" y="66"/>
                </a:lnTo>
                <a:lnTo>
                  <a:pt x="30" y="70"/>
                </a:lnTo>
                <a:lnTo>
                  <a:pt x="30" y="70"/>
                </a:lnTo>
                <a:lnTo>
                  <a:pt x="30" y="70"/>
                </a:lnTo>
                <a:lnTo>
                  <a:pt x="30" y="70"/>
                </a:lnTo>
                <a:lnTo>
                  <a:pt x="30" y="70"/>
                </a:lnTo>
                <a:lnTo>
                  <a:pt x="30" y="70"/>
                </a:lnTo>
                <a:lnTo>
                  <a:pt x="30" y="74"/>
                </a:lnTo>
                <a:lnTo>
                  <a:pt x="30" y="74"/>
                </a:lnTo>
                <a:lnTo>
                  <a:pt x="30" y="74"/>
                </a:lnTo>
                <a:lnTo>
                  <a:pt x="30" y="74"/>
                </a:lnTo>
                <a:lnTo>
                  <a:pt x="26" y="70"/>
                </a:lnTo>
                <a:lnTo>
                  <a:pt x="26" y="70"/>
                </a:lnTo>
                <a:lnTo>
                  <a:pt x="26" y="74"/>
                </a:lnTo>
                <a:lnTo>
                  <a:pt x="26" y="74"/>
                </a:lnTo>
                <a:lnTo>
                  <a:pt x="22" y="70"/>
                </a:lnTo>
                <a:lnTo>
                  <a:pt x="22" y="70"/>
                </a:lnTo>
                <a:lnTo>
                  <a:pt x="22" y="70"/>
                </a:lnTo>
                <a:lnTo>
                  <a:pt x="22" y="70"/>
                </a:lnTo>
                <a:lnTo>
                  <a:pt x="22" y="70"/>
                </a:lnTo>
                <a:lnTo>
                  <a:pt x="22" y="70"/>
                </a:lnTo>
                <a:lnTo>
                  <a:pt x="22" y="74"/>
                </a:lnTo>
                <a:lnTo>
                  <a:pt x="22" y="70"/>
                </a:lnTo>
                <a:lnTo>
                  <a:pt x="18" y="74"/>
                </a:lnTo>
                <a:lnTo>
                  <a:pt x="18" y="74"/>
                </a:lnTo>
                <a:lnTo>
                  <a:pt x="18" y="74"/>
                </a:lnTo>
                <a:lnTo>
                  <a:pt x="18" y="74"/>
                </a:lnTo>
                <a:lnTo>
                  <a:pt x="18" y="74"/>
                </a:lnTo>
                <a:lnTo>
                  <a:pt x="14" y="70"/>
                </a:lnTo>
                <a:lnTo>
                  <a:pt x="14" y="70"/>
                </a:lnTo>
                <a:lnTo>
                  <a:pt x="14" y="70"/>
                </a:lnTo>
                <a:lnTo>
                  <a:pt x="14" y="70"/>
                </a:lnTo>
                <a:lnTo>
                  <a:pt x="14" y="70"/>
                </a:lnTo>
                <a:lnTo>
                  <a:pt x="14" y="70"/>
                </a:lnTo>
                <a:lnTo>
                  <a:pt x="14" y="70"/>
                </a:lnTo>
                <a:lnTo>
                  <a:pt x="14" y="74"/>
                </a:lnTo>
                <a:lnTo>
                  <a:pt x="12" y="74"/>
                </a:lnTo>
                <a:lnTo>
                  <a:pt x="12" y="74"/>
                </a:lnTo>
                <a:lnTo>
                  <a:pt x="12" y="70"/>
                </a:lnTo>
                <a:lnTo>
                  <a:pt x="12" y="70"/>
                </a:lnTo>
                <a:lnTo>
                  <a:pt x="12" y="66"/>
                </a:lnTo>
                <a:lnTo>
                  <a:pt x="12" y="66"/>
                </a:lnTo>
                <a:lnTo>
                  <a:pt x="12" y="66"/>
                </a:lnTo>
                <a:lnTo>
                  <a:pt x="12" y="66"/>
                </a:lnTo>
                <a:lnTo>
                  <a:pt x="12" y="66"/>
                </a:lnTo>
                <a:lnTo>
                  <a:pt x="12" y="62"/>
                </a:lnTo>
                <a:lnTo>
                  <a:pt x="12" y="62"/>
                </a:lnTo>
                <a:lnTo>
                  <a:pt x="14" y="62"/>
                </a:lnTo>
                <a:lnTo>
                  <a:pt x="14" y="62"/>
                </a:lnTo>
                <a:lnTo>
                  <a:pt x="22" y="62"/>
                </a:lnTo>
                <a:lnTo>
                  <a:pt x="26" y="62"/>
                </a:lnTo>
                <a:lnTo>
                  <a:pt x="26" y="62"/>
                </a:lnTo>
                <a:lnTo>
                  <a:pt x="26" y="62"/>
                </a:lnTo>
                <a:lnTo>
                  <a:pt x="26" y="62"/>
                </a:lnTo>
                <a:lnTo>
                  <a:pt x="26" y="58"/>
                </a:lnTo>
                <a:lnTo>
                  <a:pt x="30" y="58"/>
                </a:lnTo>
                <a:lnTo>
                  <a:pt x="34" y="58"/>
                </a:lnTo>
                <a:lnTo>
                  <a:pt x="34" y="58"/>
                </a:lnTo>
                <a:lnTo>
                  <a:pt x="34" y="58"/>
                </a:lnTo>
                <a:lnTo>
                  <a:pt x="34" y="58"/>
                </a:lnTo>
                <a:lnTo>
                  <a:pt x="34" y="58"/>
                </a:lnTo>
                <a:lnTo>
                  <a:pt x="34" y="58"/>
                </a:lnTo>
                <a:lnTo>
                  <a:pt x="34" y="58"/>
                </a:lnTo>
                <a:lnTo>
                  <a:pt x="34" y="58"/>
                </a:lnTo>
                <a:lnTo>
                  <a:pt x="34" y="54"/>
                </a:lnTo>
                <a:lnTo>
                  <a:pt x="34" y="54"/>
                </a:lnTo>
                <a:lnTo>
                  <a:pt x="34" y="54"/>
                </a:lnTo>
                <a:lnTo>
                  <a:pt x="38" y="54"/>
                </a:lnTo>
                <a:lnTo>
                  <a:pt x="38" y="54"/>
                </a:lnTo>
                <a:lnTo>
                  <a:pt x="38" y="54"/>
                </a:lnTo>
                <a:lnTo>
                  <a:pt x="38" y="54"/>
                </a:lnTo>
                <a:lnTo>
                  <a:pt x="38" y="54"/>
                </a:lnTo>
                <a:lnTo>
                  <a:pt x="38" y="54"/>
                </a:lnTo>
                <a:lnTo>
                  <a:pt x="38" y="58"/>
                </a:lnTo>
                <a:lnTo>
                  <a:pt x="38" y="58"/>
                </a:lnTo>
                <a:lnTo>
                  <a:pt x="42" y="58"/>
                </a:lnTo>
                <a:lnTo>
                  <a:pt x="42" y="58"/>
                </a:lnTo>
                <a:lnTo>
                  <a:pt x="42" y="58"/>
                </a:lnTo>
                <a:lnTo>
                  <a:pt x="42" y="58"/>
                </a:lnTo>
                <a:lnTo>
                  <a:pt x="42" y="58"/>
                </a:lnTo>
                <a:lnTo>
                  <a:pt x="42" y="58"/>
                </a:lnTo>
                <a:lnTo>
                  <a:pt x="42" y="58"/>
                </a:lnTo>
                <a:lnTo>
                  <a:pt x="44" y="58"/>
                </a:lnTo>
                <a:lnTo>
                  <a:pt x="44" y="58"/>
                </a:lnTo>
                <a:lnTo>
                  <a:pt x="44" y="62"/>
                </a:lnTo>
                <a:lnTo>
                  <a:pt x="48" y="62"/>
                </a:lnTo>
                <a:lnTo>
                  <a:pt x="48" y="62"/>
                </a:lnTo>
                <a:lnTo>
                  <a:pt x="48" y="62"/>
                </a:lnTo>
                <a:lnTo>
                  <a:pt x="48" y="62"/>
                </a:lnTo>
                <a:lnTo>
                  <a:pt x="48" y="58"/>
                </a:lnTo>
                <a:lnTo>
                  <a:pt x="52" y="58"/>
                </a:lnTo>
                <a:lnTo>
                  <a:pt x="52" y="58"/>
                </a:lnTo>
                <a:lnTo>
                  <a:pt x="52" y="58"/>
                </a:lnTo>
                <a:lnTo>
                  <a:pt x="52" y="58"/>
                </a:lnTo>
                <a:lnTo>
                  <a:pt x="52" y="58"/>
                </a:lnTo>
                <a:lnTo>
                  <a:pt x="52" y="58"/>
                </a:lnTo>
                <a:lnTo>
                  <a:pt x="56" y="58"/>
                </a:lnTo>
                <a:lnTo>
                  <a:pt x="56" y="58"/>
                </a:lnTo>
                <a:lnTo>
                  <a:pt x="56" y="58"/>
                </a:lnTo>
                <a:lnTo>
                  <a:pt x="56" y="58"/>
                </a:lnTo>
                <a:lnTo>
                  <a:pt x="56" y="54"/>
                </a:lnTo>
                <a:lnTo>
                  <a:pt x="52" y="54"/>
                </a:lnTo>
                <a:lnTo>
                  <a:pt x="52" y="54"/>
                </a:lnTo>
                <a:lnTo>
                  <a:pt x="52" y="54"/>
                </a:lnTo>
                <a:lnTo>
                  <a:pt x="52" y="54"/>
                </a:lnTo>
                <a:lnTo>
                  <a:pt x="52" y="54"/>
                </a:lnTo>
                <a:lnTo>
                  <a:pt x="52" y="54"/>
                </a:lnTo>
                <a:lnTo>
                  <a:pt x="48" y="54"/>
                </a:lnTo>
                <a:lnTo>
                  <a:pt x="48" y="54"/>
                </a:lnTo>
                <a:lnTo>
                  <a:pt x="48" y="54"/>
                </a:lnTo>
                <a:lnTo>
                  <a:pt x="48" y="54"/>
                </a:lnTo>
                <a:lnTo>
                  <a:pt x="48" y="58"/>
                </a:lnTo>
                <a:lnTo>
                  <a:pt x="44" y="58"/>
                </a:lnTo>
                <a:lnTo>
                  <a:pt x="44" y="54"/>
                </a:lnTo>
                <a:lnTo>
                  <a:pt x="44" y="54"/>
                </a:lnTo>
                <a:lnTo>
                  <a:pt x="44" y="54"/>
                </a:lnTo>
                <a:lnTo>
                  <a:pt x="44" y="54"/>
                </a:lnTo>
                <a:lnTo>
                  <a:pt x="44" y="54"/>
                </a:lnTo>
                <a:lnTo>
                  <a:pt x="44" y="54"/>
                </a:lnTo>
                <a:lnTo>
                  <a:pt x="44" y="54"/>
                </a:lnTo>
                <a:lnTo>
                  <a:pt x="44" y="54"/>
                </a:lnTo>
                <a:lnTo>
                  <a:pt x="44" y="54"/>
                </a:lnTo>
                <a:lnTo>
                  <a:pt x="44" y="54"/>
                </a:lnTo>
                <a:lnTo>
                  <a:pt x="44" y="54"/>
                </a:lnTo>
                <a:lnTo>
                  <a:pt x="42" y="54"/>
                </a:lnTo>
                <a:lnTo>
                  <a:pt x="42" y="54"/>
                </a:lnTo>
                <a:lnTo>
                  <a:pt x="42" y="54"/>
                </a:lnTo>
                <a:lnTo>
                  <a:pt x="42" y="54"/>
                </a:lnTo>
                <a:lnTo>
                  <a:pt x="42" y="54"/>
                </a:lnTo>
                <a:lnTo>
                  <a:pt x="42" y="54"/>
                </a:lnTo>
                <a:lnTo>
                  <a:pt x="42" y="52"/>
                </a:lnTo>
                <a:lnTo>
                  <a:pt x="42" y="52"/>
                </a:lnTo>
                <a:lnTo>
                  <a:pt x="42" y="52"/>
                </a:lnTo>
                <a:lnTo>
                  <a:pt x="42" y="52"/>
                </a:lnTo>
                <a:lnTo>
                  <a:pt x="42" y="52"/>
                </a:lnTo>
                <a:lnTo>
                  <a:pt x="42" y="52"/>
                </a:lnTo>
                <a:lnTo>
                  <a:pt x="38" y="52"/>
                </a:lnTo>
                <a:lnTo>
                  <a:pt x="38" y="52"/>
                </a:lnTo>
                <a:lnTo>
                  <a:pt x="34" y="52"/>
                </a:lnTo>
                <a:lnTo>
                  <a:pt x="34" y="52"/>
                </a:lnTo>
                <a:lnTo>
                  <a:pt x="34" y="52"/>
                </a:lnTo>
                <a:lnTo>
                  <a:pt x="34" y="52"/>
                </a:lnTo>
                <a:lnTo>
                  <a:pt x="34" y="52"/>
                </a:lnTo>
                <a:lnTo>
                  <a:pt x="34" y="52"/>
                </a:lnTo>
                <a:lnTo>
                  <a:pt x="34" y="52"/>
                </a:lnTo>
                <a:lnTo>
                  <a:pt x="30" y="52"/>
                </a:lnTo>
                <a:lnTo>
                  <a:pt x="30" y="52"/>
                </a:lnTo>
                <a:lnTo>
                  <a:pt x="30" y="52"/>
                </a:lnTo>
                <a:lnTo>
                  <a:pt x="30" y="54"/>
                </a:lnTo>
                <a:lnTo>
                  <a:pt x="30" y="54"/>
                </a:lnTo>
                <a:lnTo>
                  <a:pt x="30" y="54"/>
                </a:lnTo>
                <a:lnTo>
                  <a:pt x="30" y="54"/>
                </a:lnTo>
                <a:lnTo>
                  <a:pt x="30" y="54"/>
                </a:lnTo>
                <a:lnTo>
                  <a:pt x="26" y="54"/>
                </a:lnTo>
                <a:lnTo>
                  <a:pt x="22" y="54"/>
                </a:lnTo>
                <a:lnTo>
                  <a:pt x="22" y="54"/>
                </a:lnTo>
                <a:lnTo>
                  <a:pt x="14" y="54"/>
                </a:lnTo>
                <a:lnTo>
                  <a:pt x="14" y="54"/>
                </a:lnTo>
                <a:lnTo>
                  <a:pt x="14" y="52"/>
                </a:lnTo>
                <a:lnTo>
                  <a:pt x="14" y="52"/>
                </a:lnTo>
                <a:lnTo>
                  <a:pt x="14" y="52"/>
                </a:lnTo>
                <a:lnTo>
                  <a:pt x="14" y="52"/>
                </a:lnTo>
                <a:lnTo>
                  <a:pt x="14" y="52"/>
                </a:lnTo>
                <a:lnTo>
                  <a:pt x="14" y="52"/>
                </a:lnTo>
                <a:lnTo>
                  <a:pt x="14" y="52"/>
                </a:lnTo>
                <a:lnTo>
                  <a:pt x="14" y="52"/>
                </a:lnTo>
                <a:lnTo>
                  <a:pt x="14" y="48"/>
                </a:lnTo>
                <a:lnTo>
                  <a:pt x="14" y="52"/>
                </a:lnTo>
                <a:lnTo>
                  <a:pt x="14" y="52"/>
                </a:lnTo>
                <a:lnTo>
                  <a:pt x="12" y="52"/>
                </a:lnTo>
                <a:lnTo>
                  <a:pt x="12" y="52"/>
                </a:lnTo>
                <a:lnTo>
                  <a:pt x="12" y="48"/>
                </a:lnTo>
                <a:lnTo>
                  <a:pt x="14" y="48"/>
                </a:lnTo>
                <a:lnTo>
                  <a:pt x="14" y="48"/>
                </a:lnTo>
                <a:lnTo>
                  <a:pt x="14" y="48"/>
                </a:lnTo>
                <a:lnTo>
                  <a:pt x="14" y="48"/>
                </a:lnTo>
                <a:lnTo>
                  <a:pt x="14" y="48"/>
                </a:lnTo>
                <a:lnTo>
                  <a:pt x="14" y="48"/>
                </a:lnTo>
                <a:lnTo>
                  <a:pt x="14" y="48"/>
                </a:lnTo>
                <a:lnTo>
                  <a:pt x="14" y="48"/>
                </a:lnTo>
                <a:lnTo>
                  <a:pt x="18" y="44"/>
                </a:lnTo>
                <a:lnTo>
                  <a:pt x="18" y="44"/>
                </a:lnTo>
                <a:lnTo>
                  <a:pt x="18" y="44"/>
                </a:lnTo>
                <a:lnTo>
                  <a:pt x="18" y="44"/>
                </a:lnTo>
                <a:lnTo>
                  <a:pt x="18" y="44"/>
                </a:lnTo>
                <a:lnTo>
                  <a:pt x="14" y="44"/>
                </a:lnTo>
                <a:lnTo>
                  <a:pt x="14" y="48"/>
                </a:lnTo>
                <a:lnTo>
                  <a:pt x="14" y="48"/>
                </a:lnTo>
                <a:lnTo>
                  <a:pt x="14" y="48"/>
                </a:lnTo>
                <a:lnTo>
                  <a:pt x="14" y="48"/>
                </a:lnTo>
                <a:lnTo>
                  <a:pt x="12" y="48"/>
                </a:lnTo>
                <a:lnTo>
                  <a:pt x="12" y="48"/>
                </a:lnTo>
                <a:lnTo>
                  <a:pt x="12" y="44"/>
                </a:lnTo>
                <a:lnTo>
                  <a:pt x="12" y="44"/>
                </a:lnTo>
                <a:lnTo>
                  <a:pt x="12" y="44"/>
                </a:lnTo>
                <a:lnTo>
                  <a:pt x="12" y="44"/>
                </a:lnTo>
                <a:lnTo>
                  <a:pt x="12" y="40"/>
                </a:lnTo>
                <a:lnTo>
                  <a:pt x="12" y="40"/>
                </a:lnTo>
                <a:lnTo>
                  <a:pt x="8" y="40"/>
                </a:lnTo>
                <a:lnTo>
                  <a:pt x="8" y="40"/>
                </a:lnTo>
                <a:lnTo>
                  <a:pt x="8" y="40"/>
                </a:lnTo>
                <a:lnTo>
                  <a:pt x="8" y="40"/>
                </a:lnTo>
                <a:lnTo>
                  <a:pt x="8" y="40"/>
                </a:lnTo>
                <a:lnTo>
                  <a:pt x="8" y="36"/>
                </a:lnTo>
                <a:lnTo>
                  <a:pt x="8" y="36"/>
                </a:lnTo>
                <a:lnTo>
                  <a:pt x="8" y="36"/>
                </a:lnTo>
                <a:lnTo>
                  <a:pt x="8" y="36"/>
                </a:lnTo>
                <a:lnTo>
                  <a:pt x="8" y="36"/>
                </a:lnTo>
                <a:lnTo>
                  <a:pt x="4" y="36"/>
                </a:lnTo>
                <a:lnTo>
                  <a:pt x="4" y="36"/>
                </a:lnTo>
                <a:lnTo>
                  <a:pt x="4" y="36"/>
                </a:lnTo>
                <a:lnTo>
                  <a:pt x="4" y="36"/>
                </a:lnTo>
                <a:lnTo>
                  <a:pt x="4" y="36"/>
                </a:lnTo>
                <a:lnTo>
                  <a:pt x="4" y="36"/>
                </a:lnTo>
                <a:lnTo>
                  <a:pt x="0" y="36"/>
                </a:lnTo>
                <a:lnTo>
                  <a:pt x="4" y="32"/>
                </a:lnTo>
                <a:lnTo>
                  <a:pt x="4" y="32"/>
                </a:lnTo>
                <a:lnTo>
                  <a:pt x="4" y="32"/>
                </a:lnTo>
                <a:lnTo>
                  <a:pt x="4" y="32"/>
                </a:lnTo>
                <a:lnTo>
                  <a:pt x="8" y="32"/>
                </a:lnTo>
                <a:lnTo>
                  <a:pt x="8" y="32"/>
                </a:lnTo>
                <a:lnTo>
                  <a:pt x="8" y="32"/>
                </a:lnTo>
                <a:lnTo>
                  <a:pt x="8" y="32"/>
                </a:lnTo>
                <a:lnTo>
                  <a:pt x="8" y="32"/>
                </a:lnTo>
                <a:lnTo>
                  <a:pt x="12" y="28"/>
                </a:lnTo>
                <a:lnTo>
                  <a:pt x="12" y="26"/>
                </a:lnTo>
                <a:lnTo>
                  <a:pt x="12" y="26"/>
                </a:lnTo>
                <a:lnTo>
                  <a:pt x="12" y="26"/>
                </a:lnTo>
                <a:lnTo>
                  <a:pt x="12" y="22"/>
                </a:lnTo>
                <a:lnTo>
                  <a:pt x="12" y="22"/>
                </a:lnTo>
                <a:lnTo>
                  <a:pt x="14" y="22"/>
                </a:lnTo>
                <a:lnTo>
                  <a:pt x="14" y="22"/>
                </a:lnTo>
                <a:lnTo>
                  <a:pt x="14" y="22"/>
                </a:lnTo>
                <a:lnTo>
                  <a:pt x="14" y="22"/>
                </a:lnTo>
                <a:lnTo>
                  <a:pt x="14" y="18"/>
                </a:lnTo>
                <a:lnTo>
                  <a:pt x="14" y="18"/>
                </a:lnTo>
                <a:lnTo>
                  <a:pt x="14" y="18"/>
                </a:lnTo>
                <a:lnTo>
                  <a:pt x="14" y="18"/>
                </a:lnTo>
                <a:lnTo>
                  <a:pt x="14" y="14"/>
                </a:lnTo>
                <a:lnTo>
                  <a:pt x="14" y="10"/>
                </a:lnTo>
                <a:lnTo>
                  <a:pt x="14" y="10"/>
                </a:lnTo>
                <a:lnTo>
                  <a:pt x="18" y="10"/>
                </a:lnTo>
                <a:lnTo>
                  <a:pt x="18" y="6"/>
                </a:lnTo>
                <a:lnTo>
                  <a:pt x="18" y="6"/>
                </a:lnTo>
                <a:lnTo>
                  <a:pt x="18" y="6"/>
                </a:lnTo>
                <a:lnTo>
                  <a:pt x="18" y="6"/>
                </a:lnTo>
                <a:lnTo>
                  <a:pt x="18" y="2"/>
                </a:lnTo>
                <a:lnTo>
                  <a:pt x="18" y="2"/>
                </a:lnTo>
                <a:lnTo>
                  <a:pt x="22" y="2"/>
                </a:lnTo>
                <a:lnTo>
                  <a:pt x="22" y="2"/>
                </a:lnTo>
                <a:lnTo>
                  <a:pt x="22" y="2"/>
                </a:lnTo>
                <a:lnTo>
                  <a:pt x="22" y="2"/>
                </a:lnTo>
                <a:lnTo>
                  <a:pt x="22" y="2"/>
                </a:lnTo>
                <a:lnTo>
                  <a:pt x="26" y="2"/>
                </a:lnTo>
                <a:lnTo>
                  <a:pt x="26" y="2"/>
                </a:lnTo>
                <a:lnTo>
                  <a:pt x="26" y="2"/>
                </a:lnTo>
                <a:lnTo>
                  <a:pt x="26" y="2"/>
                </a:lnTo>
                <a:lnTo>
                  <a:pt x="26" y="2"/>
                </a:lnTo>
                <a:lnTo>
                  <a:pt x="30" y="2"/>
                </a:lnTo>
                <a:lnTo>
                  <a:pt x="30" y="2"/>
                </a:lnTo>
                <a:lnTo>
                  <a:pt x="30" y="2"/>
                </a:lnTo>
                <a:lnTo>
                  <a:pt x="30" y="2"/>
                </a:lnTo>
                <a:lnTo>
                  <a:pt x="34" y="2"/>
                </a:lnTo>
                <a:lnTo>
                  <a:pt x="34" y="2"/>
                </a:lnTo>
                <a:lnTo>
                  <a:pt x="38" y="2"/>
                </a:lnTo>
                <a:lnTo>
                  <a:pt x="38" y="2"/>
                </a:lnTo>
                <a:lnTo>
                  <a:pt x="38" y="2"/>
                </a:lnTo>
                <a:lnTo>
                  <a:pt x="38" y="0"/>
                </a:lnTo>
                <a:lnTo>
                  <a:pt x="38" y="2"/>
                </a:lnTo>
                <a:lnTo>
                  <a:pt x="38" y="2"/>
                </a:lnTo>
                <a:lnTo>
                  <a:pt x="38" y="2"/>
                </a:lnTo>
                <a:lnTo>
                  <a:pt x="38" y="2"/>
                </a:lnTo>
                <a:lnTo>
                  <a:pt x="42" y="2"/>
                </a:lnTo>
                <a:lnTo>
                  <a:pt x="42" y="2"/>
                </a:lnTo>
                <a:lnTo>
                  <a:pt x="42" y="2"/>
                </a:lnTo>
                <a:lnTo>
                  <a:pt x="44" y="2"/>
                </a:lnTo>
                <a:lnTo>
                  <a:pt x="44" y="2"/>
                </a:lnTo>
                <a:lnTo>
                  <a:pt x="44" y="2"/>
                </a:lnTo>
                <a:lnTo>
                  <a:pt x="48" y="2"/>
                </a:lnTo>
                <a:lnTo>
                  <a:pt x="48" y="2"/>
                </a:lnTo>
                <a:lnTo>
                  <a:pt x="52" y="6"/>
                </a:lnTo>
                <a:lnTo>
                  <a:pt x="52" y="6"/>
                </a:lnTo>
                <a:lnTo>
                  <a:pt x="52" y="10"/>
                </a:lnTo>
                <a:lnTo>
                  <a:pt x="56" y="10"/>
                </a:lnTo>
                <a:lnTo>
                  <a:pt x="56" y="10"/>
                </a:lnTo>
                <a:lnTo>
                  <a:pt x="56" y="10"/>
                </a:lnTo>
                <a:lnTo>
                  <a:pt x="56" y="10"/>
                </a:lnTo>
                <a:lnTo>
                  <a:pt x="56" y="10"/>
                </a:lnTo>
                <a:lnTo>
                  <a:pt x="56" y="10"/>
                </a:lnTo>
                <a:lnTo>
                  <a:pt x="56" y="10"/>
                </a:lnTo>
                <a:lnTo>
                  <a:pt x="60" y="10"/>
                </a:lnTo>
                <a:lnTo>
                  <a:pt x="60" y="10"/>
                </a:lnTo>
                <a:lnTo>
                  <a:pt x="60" y="14"/>
                </a:lnTo>
                <a:lnTo>
                  <a:pt x="64" y="18"/>
                </a:lnTo>
                <a:lnTo>
                  <a:pt x="64" y="18"/>
                </a:lnTo>
                <a:lnTo>
                  <a:pt x="64" y="22"/>
                </a:lnTo>
                <a:lnTo>
                  <a:pt x="64" y="22"/>
                </a:lnTo>
                <a:lnTo>
                  <a:pt x="64" y="22"/>
                </a:lnTo>
                <a:lnTo>
                  <a:pt x="68" y="22"/>
                </a:lnTo>
                <a:lnTo>
                  <a:pt x="68" y="26"/>
                </a:lnTo>
                <a:lnTo>
                  <a:pt x="68" y="26"/>
                </a:lnTo>
                <a:lnTo>
                  <a:pt x="68" y="26"/>
                </a:lnTo>
                <a:lnTo>
                  <a:pt x="68" y="26"/>
                </a:lnTo>
                <a:lnTo>
                  <a:pt x="68" y="26"/>
                </a:lnTo>
                <a:lnTo>
                  <a:pt x="68" y="26"/>
                </a:lnTo>
                <a:lnTo>
                  <a:pt x="68" y="26"/>
                </a:lnTo>
                <a:lnTo>
                  <a:pt x="68" y="26"/>
                </a:lnTo>
                <a:lnTo>
                  <a:pt x="68" y="26"/>
                </a:lnTo>
                <a:lnTo>
                  <a:pt x="68" y="28"/>
                </a:lnTo>
                <a:lnTo>
                  <a:pt x="70" y="28"/>
                </a:lnTo>
                <a:lnTo>
                  <a:pt x="70" y="28"/>
                </a:lnTo>
                <a:lnTo>
                  <a:pt x="70" y="28"/>
                </a:lnTo>
                <a:lnTo>
                  <a:pt x="70" y="28"/>
                </a:lnTo>
                <a:lnTo>
                  <a:pt x="74" y="28"/>
                </a:lnTo>
                <a:lnTo>
                  <a:pt x="74" y="32"/>
                </a:lnTo>
                <a:lnTo>
                  <a:pt x="74" y="32"/>
                </a:lnTo>
                <a:lnTo>
                  <a:pt x="74" y="32"/>
                </a:lnTo>
                <a:lnTo>
                  <a:pt x="74" y="32"/>
                </a:lnTo>
                <a:lnTo>
                  <a:pt x="78" y="32"/>
                </a:lnTo>
                <a:lnTo>
                  <a:pt x="78" y="36"/>
                </a:lnTo>
                <a:lnTo>
                  <a:pt x="78" y="36"/>
                </a:lnTo>
                <a:lnTo>
                  <a:pt x="78" y="40"/>
                </a:lnTo>
                <a:lnTo>
                  <a:pt x="78" y="40"/>
                </a:lnTo>
                <a:lnTo>
                  <a:pt x="78" y="40"/>
                </a:lnTo>
                <a:lnTo>
                  <a:pt x="78" y="40"/>
                </a:lnTo>
                <a:lnTo>
                  <a:pt x="78" y="44"/>
                </a:lnTo>
                <a:lnTo>
                  <a:pt x="82" y="44"/>
                </a:lnTo>
                <a:lnTo>
                  <a:pt x="82" y="44"/>
                </a:lnTo>
                <a:lnTo>
                  <a:pt x="78" y="48"/>
                </a:lnTo>
                <a:lnTo>
                  <a:pt x="78" y="48"/>
                </a:lnTo>
                <a:lnTo>
                  <a:pt x="78" y="48"/>
                </a:lnTo>
                <a:lnTo>
                  <a:pt x="82" y="48"/>
                </a:lnTo>
                <a:lnTo>
                  <a:pt x="82" y="48"/>
                </a:lnTo>
                <a:lnTo>
                  <a:pt x="82" y="48"/>
                </a:lnTo>
                <a:lnTo>
                  <a:pt x="82" y="52"/>
                </a:lnTo>
                <a:lnTo>
                  <a:pt x="82" y="52"/>
                </a:lnTo>
                <a:lnTo>
                  <a:pt x="82" y="52"/>
                </a:lnTo>
                <a:lnTo>
                  <a:pt x="82" y="52"/>
                </a:lnTo>
                <a:lnTo>
                  <a:pt x="82" y="52"/>
                </a:lnTo>
                <a:lnTo>
                  <a:pt x="82" y="52"/>
                </a:lnTo>
                <a:lnTo>
                  <a:pt x="78" y="52"/>
                </a:lnTo>
                <a:lnTo>
                  <a:pt x="78" y="52"/>
                </a:lnTo>
                <a:lnTo>
                  <a:pt x="78" y="52"/>
                </a:lnTo>
                <a:lnTo>
                  <a:pt x="78" y="54"/>
                </a:lnTo>
                <a:lnTo>
                  <a:pt x="78" y="54"/>
                </a:lnTo>
                <a:lnTo>
                  <a:pt x="78" y="54"/>
                </a:lnTo>
                <a:lnTo>
                  <a:pt x="82" y="54"/>
                </a:lnTo>
                <a:lnTo>
                  <a:pt x="82" y="58"/>
                </a:lnTo>
                <a:lnTo>
                  <a:pt x="82" y="58"/>
                </a:lnTo>
                <a:lnTo>
                  <a:pt x="82" y="58"/>
                </a:lnTo>
                <a:lnTo>
                  <a:pt x="82" y="58"/>
                </a:lnTo>
                <a:lnTo>
                  <a:pt x="82" y="58"/>
                </a:lnTo>
                <a:lnTo>
                  <a:pt x="86" y="58"/>
                </a:lnTo>
                <a:lnTo>
                  <a:pt x="86" y="58"/>
                </a:lnTo>
                <a:lnTo>
                  <a:pt x="86" y="58"/>
                </a:lnTo>
                <a:lnTo>
                  <a:pt x="86" y="58"/>
                </a:lnTo>
                <a:lnTo>
                  <a:pt x="86" y="62"/>
                </a:lnTo>
                <a:lnTo>
                  <a:pt x="86" y="62"/>
                </a:lnTo>
                <a:lnTo>
                  <a:pt x="86" y="62"/>
                </a:lnTo>
                <a:lnTo>
                  <a:pt x="86" y="62"/>
                </a:lnTo>
                <a:lnTo>
                  <a:pt x="90" y="62"/>
                </a:lnTo>
                <a:lnTo>
                  <a:pt x="90" y="66"/>
                </a:lnTo>
                <a:lnTo>
                  <a:pt x="90" y="66"/>
                </a:lnTo>
                <a:lnTo>
                  <a:pt x="90" y="66"/>
                </a:lnTo>
                <a:lnTo>
                  <a:pt x="90" y="70"/>
                </a:lnTo>
                <a:lnTo>
                  <a:pt x="90" y="74"/>
                </a:lnTo>
                <a:lnTo>
                  <a:pt x="90" y="74"/>
                </a:lnTo>
                <a:lnTo>
                  <a:pt x="90" y="74"/>
                </a:lnTo>
                <a:lnTo>
                  <a:pt x="90" y="74"/>
                </a:lnTo>
                <a:lnTo>
                  <a:pt x="90" y="74"/>
                </a:lnTo>
                <a:lnTo>
                  <a:pt x="90" y="74"/>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59" name="Freeform 166"/>
          <p:cNvSpPr>
            <a:spLocks noEditPoints="1"/>
          </p:cNvSpPr>
          <p:nvPr/>
        </p:nvSpPr>
        <p:spPr bwMode="auto">
          <a:xfrm>
            <a:off x="5033962" y="3788568"/>
            <a:ext cx="159544" cy="102394"/>
          </a:xfrm>
          <a:custGeom>
            <a:avLst/>
            <a:gdLst>
              <a:gd name="T0" fmla="*/ 4 w 134"/>
              <a:gd name="T1" fmla="*/ 86 h 86"/>
              <a:gd name="T2" fmla="*/ 4 w 134"/>
              <a:gd name="T3" fmla="*/ 86 h 86"/>
              <a:gd name="T4" fmla="*/ 0 w 134"/>
              <a:gd name="T5" fmla="*/ 86 h 86"/>
              <a:gd name="T6" fmla="*/ 0 w 134"/>
              <a:gd name="T7" fmla="*/ 86 h 86"/>
              <a:gd name="T8" fmla="*/ 0 w 134"/>
              <a:gd name="T9" fmla="*/ 86 h 86"/>
              <a:gd name="T10" fmla="*/ 0 w 134"/>
              <a:gd name="T11" fmla="*/ 86 h 86"/>
              <a:gd name="T12" fmla="*/ 0 w 134"/>
              <a:gd name="T13" fmla="*/ 86 h 86"/>
              <a:gd name="T14" fmla="*/ 0 w 134"/>
              <a:gd name="T15" fmla="*/ 86 h 86"/>
              <a:gd name="T16" fmla="*/ 0 w 134"/>
              <a:gd name="T17" fmla="*/ 86 h 86"/>
              <a:gd name="T18" fmla="*/ 4 w 134"/>
              <a:gd name="T19" fmla="*/ 86 h 86"/>
              <a:gd name="T20" fmla="*/ 4 w 134"/>
              <a:gd name="T21" fmla="*/ 86 h 86"/>
              <a:gd name="T22" fmla="*/ 4 w 134"/>
              <a:gd name="T23" fmla="*/ 86 h 86"/>
              <a:gd name="T24" fmla="*/ 4 w 134"/>
              <a:gd name="T25" fmla="*/ 86 h 86"/>
              <a:gd name="T26" fmla="*/ 4 w 134"/>
              <a:gd name="T27" fmla="*/ 82 h 86"/>
              <a:gd name="T28" fmla="*/ 4 w 134"/>
              <a:gd name="T29" fmla="*/ 82 h 86"/>
              <a:gd name="T30" fmla="*/ 4 w 134"/>
              <a:gd name="T31" fmla="*/ 82 h 86"/>
              <a:gd name="T32" fmla="*/ 8 w 134"/>
              <a:gd name="T33" fmla="*/ 82 h 86"/>
              <a:gd name="T34" fmla="*/ 8 w 134"/>
              <a:gd name="T35" fmla="*/ 86 h 86"/>
              <a:gd name="T36" fmla="*/ 8 w 134"/>
              <a:gd name="T37" fmla="*/ 86 h 86"/>
              <a:gd name="T38" fmla="*/ 4 w 134"/>
              <a:gd name="T39" fmla="*/ 86 h 86"/>
              <a:gd name="T40" fmla="*/ 4 w 134"/>
              <a:gd name="T41" fmla="*/ 86 h 86"/>
              <a:gd name="T42" fmla="*/ 4 w 134"/>
              <a:gd name="T43" fmla="*/ 86 h 86"/>
              <a:gd name="T44" fmla="*/ 4 w 134"/>
              <a:gd name="T45" fmla="*/ 86 h 86"/>
              <a:gd name="T46" fmla="*/ 4 w 134"/>
              <a:gd name="T47" fmla="*/ 86 h 86"/>
              <a:gd name="T48" fmla="*/ 4 w 134"/>
              <a:gd name="T49" fmla="*/ 86 h 86"/>
              <a:gd name="T50" fmla="*/ 4 w 134"/>
              <a:gd name="T51" fmla="*/ 86 h 86"/>
              <a:gd name="T52" fmla="*/ 4 w 134"/>
              <a:gd name="T53" fmla="*/ 86 h 86"/>
              <a:gd name="T54" fmla="*/ 4 w 134"/>
              <a:gd name="T55" fmla="*/ 86 h 86"/>
              <a:gd name="T56" fmla="*/ 4 w 134"/>
              <a:gd name="T57" fmla="*/ 86 h 86"/>
              <a:gd name="T58" fmla="*/ 4 w 134"/>
              <a:gd name="T59" fmla="*/ 86 h 86"/>
              <a:gd name="T60" fmla="*/ 134 w 134"/>
              <a:gd name="T61" fmla="*/ 4 h 86"/>
              <a:gd name="T62" fmla="*/ 134 w 134"/>
              <a:gd name="T63" fmla="*/ 4 h 86"/>
              <a:gd name="T64" fmla="*/ 134 w 134"/>
              <a:gd name="T65" fmla="*/ 4 h 86"/>
              <a:gd name="T66" fmla="*/ 134 w 134"/>
              <a:gd name="T67" fmla="*/ 4 h 86"/>
              <a:gd name="T68" fmla="*/ 130 w 134"/>
              <a:gd name="T69" fmla="*/ 4 h 86"/>
              <a:gd name="T70" fmla="*/ 130 w 134"/>
              <a:gd name="T71" fmla="*/ 0 h 86"/>
              <a:gd name="T72" fmla="*/ 130 w 134"/>
              <a:gd name="T73" fmla="*/ 0 h 86"/>
              <a:gd name="T74" fmla="*/ 134 w 134"/>
              <a:gd name="T75" fmla="*/ 0 h 86"/>
              <a:gd name="T76" fmla="*/ 134 w 134"/>
              <a:gd name="T77" fmla="*/ 4 h 86"/>
              <a:gd name="T78" fmla="*/ 134 w 134"/>
              <a:gd name="T79" fmla="*/ 4 h 86"/>
              <a:gd name="T80" fmla="*/ 134 w 134"/>
              <a:gd name="T81" fmla="*/ 4 h 86"/>
              <a:gd name="T82" fmla="*/ 134 w 134"/>
              <a:gd name="T83" fmla="*/ 4 h 86"/>
              <a:gd name="T84" fmla="*/ 134 w 134"/>
              <a:gd name="T85" fmla="*/ 4 h 86"/>
              <a:gd name="T86" fmla="*/ 134 w 134"/>
              <a:gd name="T87" fmla="*/ 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4" h="86">
                <a:moveTo>
                  <a:pt x="4" y="86"/>
                </a:moveTo>
                <a:lnTo>
                  <a:pt x="4" y="86"/>
                </a:lnTo>
                <a:lnTo>
                  <a:pt x="0" y="86"/>
                </a:lnTo>
                <a:lnTo>
                  <a:pt x="0" y="86"/>
                </a:lnTo>
                <a:lnTo>
                  <a:pt x="0" y="86"/>
                </a:lnTo>
                <a:lnTo>
                  <a:pt x="0" y="86"/>
                </a:lnTo>
                <a:lnTo>
                  <a:pt x="0" y="86"/>
                </a:lnTo>
                <a:lnTo>
                  <a:pt x="0" y="86"/>
                </a:lnTo>
                <a:lnTo>
                  <a:pt x="0" y="86"/>
                </a:lnTo>
                <a:lnTo>
                  <a:pt x="4" y="86"/>
                </a:lnTo>
                <a:lnTo>
                  <a:pt x="4" y="86"/>
                </a:lnTo>
                <a:lnTo>
                  <a:pt x="4" y="86"/>
                </a:lnTo>
                <a:lnTo>
                  <a:pt x="4" y="86"/>
                </a:lnTo>
                <a:lnTo>
                  <a:pt x="4" y="82"/>
                </a:lnTo>
                <a:lnTo>
                  <a:pt x="4" y="82"/>
                </a:lnTo>
                <a:lnTo>
                  <a:pt x="4" y="82"/>
                </a:lnTo>
                <a:lnTo>
                  <a:pt x="8" y="82"/>
                </a:lnTo>
                <a:lnTo>
                  <a:pt x="8" y="86"/>
                </a:lnTo>
                <a:lnTo>
                  <a:pt x="8" y="86"/>
                </a:lnTo>
                <a:lnTo>
                  <a:pt x="4" y="86"/>
                </a:lnTo>
                <a:lnTo>
                  <a:pt x="4" y="86"/>
                </a:lnTo>
                <a:lnTo>
                  <a:pt x="4" y="86"/>
                </a:lnTo>
                <a:lnTo>
                  <a:pt x="4" y="86"/>
                </a:lnTo>
                <a:lnTo>
                  <a:pt x="4" y="86"/>
                </a:lnTo>
                <a:lnTo>
                  <a:pt x="4" y="86"/>
                </a:lnTo>
                <a:lnTo>
                  <a:pt x="4" y="86"/>
                </a:lnTo>
                <a:lnTo>
                  <a:pt x="4" y="86"/>
                </a:lnTo>
                <a:lnTo>
                  <a:pt x="4" y="86"/>
                </a:lnTo>
                <a:lnTo>
                  <a:pt x="4" y="86"/>
                </a:lnTo>
                <a:lnTo>
                  <a:pt x="4" y="86"/>
                </a:lnTo>
                <a:close/>
                <a:moveTo>
                  <a:pt x="134" y="4"/>
                </a:moveTo>
                <a:lnTo>
                  <a:pt x="134" y="4"/>
                </a:lnTo>
                <a:lnTo>
                  <a:pt x="134" y="4"/>
                </a:lnTo>
                <a:lnTo>
                  <a:pt x="134" y="4"/>
                </a:lnTo>
                <a:lnTo>
                  <a:pt x="130" y="4"/>
                </a:lnTo>
                <a:lnTo>
                  <a:pt x="130" y="0"/>
                </a:lnTo>
                <a:lnTo>
                  <a:pt x="130" y="0"/>
                </a:lnTo>
                <a:lnTo>
                  <a:pt x="134" y="0"/>
                </a:lnTo>
                <a:lnTo>
                  <a:pt x="134" y="4"/>
                </a:lnTo>
                <a:lnTo>
                  <a:pt x="134" y="4"/>
                </a:lnTo>
                <a:lnTo>
                  <a:pt x="134" y="4"/>
                </a:lnTo>
                <a:lnTo>
                  <a:pt x="134" y="4"/>
                </a:lnTo>
                <a:lnTo>
                  <a:pt x="134" y="4"/>
                </a:lnTo>
                <a:lnTo>
                  <a:pt x="134" y="4"/>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60" name="Freeform 167"/>
          <p:cNvSpPr>
            <a:spLocks noEditPoints="1"/>
          </p:cNvSpPr>
          <p:nvPr/>
        </p:nvSpPr>
        <p:spPr bwMode="auto">
          <a:xfrm>
            <a:off x="4036218" y="3495675"/>
            <a:ext cx="47625" cy="64294"/>
          </a:xfrm>
          <a:custGeom>
            <a:avLst/>
            <a:gdLst>
              <a:gd name="T0" fmla="*/ 22 w 40"/>
              <a:gd name="T1" fmla="*/ 50 h 54"/>
              <a:gd name="T2" fmla="*/ 18 w 40"/>
              <a:gd name="T3" fmla="*/ 50 h 54"/>
              <a:gd name="T4" fmla="*/ 10 w 40"/>
              <a:gd name="T5" fmla="*/ 46 h 54"/>
              <a:gd name="T6" fmla="*/ 10 w 40"/>
              <a:gd name="T7" fmla="*/ 42 h 54"/>
              <a:gd name="T8" fmla="*/ 10 w 40"/>
              <a:gd name="T9" fmla="*/ 42 h 54"/>
              <a:gd name="T10" fmla="*/ 14 w 40"/>
              <a:gd name="T11" fmla="*/ 42 h 54"/>
              <a:gd name="T12" fmla="*/ 10 w 40"/>
              <a:gd name="T13" fmla="*/ 42 h 54"/>
              <a:gd name="T14" fmla="*/ 6 w 40"/>
              <a:gd name="T15" fmla="*/ 38 h 54"/>
              <a:gd name="T16" fmla="*/ 4 w 40"/>
              <a:gd name="T17" fmla="*/ 34 h 54"/>
              <a:gd name="T18" fmla="*/ 4 w 40"/>
              <a:gd name="T19" fmla="*/ 30 h 54"/>
              <a:gd name="T20" fmla="*/ 4 w 40"/>
              <a:gd name="T21" fmla="*/ 30 h 54"/>
              <a:gd name="T22" fmla="*/ 0 w 40"/>
              <a:gd name="T23" fmla="*/ 26 h 54"/>
              <a:gd name="T24" fmla="*/ 0 w 40"/>
              <a:gd name="T25" fmla="*/ 26 h 54"/>
              <a:gd name="T26" fmla="*/ 0 w 40"/>
              <a:gd name="T27" fmla="*/ 26 h 54"/>
              <a:gd name="T28" fmla="*/ 4 w 40"/>
              <a:gd name="T29" fmla="*/ 22 h 54"/>
              <a:gd name="T30" fmla="*/ 4 w 40"/>
              <a:gd name="T31" fmla="*/ 22 h 54"/>
              <a:gd name="T32" fmla="*/ 0 w 40"/>
              <a:gd name="T33" fmla="*/ 22 h 54"/>
              <a:gd name="T34" fmla="*/ 0 w 40"/>
              <a:gd name="T35" fmla="*/ 20 h 54"/>
              <a:gd name="T36" fmla="*/ 0 w 40"/>
              <a:gd name="T37" fmla="*/ 16 h 54"/>
              <a:gd name="T38" fmla="*/ 0 w 40"/>
              <a:gd name="T39" fmla="*/ 16 h 54"/>
              <a:gd name="T40" fmla="*/ 0 w 40"/>
              <a:gd name="T41" fmla="*/ 16 h 54"/>
              <a:gd name="T42" fmla="*/ 4 w 40"/>
              <a:gd name="T43" fmla="*/ 12 h 54"/>
              <a:gd name="T44" fmla="*/ 4 w 40"/>
              <a:gd name="T45" fmla="*/ 12 h 54"/>
              <a:gd name="T46" fmla="*/ 6 w 40"/>
              <a:gd name="T47" fmla="*/ 8 h 54"/>
              <a:gd name="T48" fmla="*/ 6 w 40"/>
              <a:gd name="T49" fmla="*/ 4 h 54"/>
              <a:gd name="T50" fmla="*/ 14 w 40"/>
              <a:gd name="T51" fmla="*/ 0 h 54"/>
              <a:gd name="T52" fmla="*/ 14 w 40"/>
              <a:gd name="T53" fmla="*/ 0 h 54"/>
              <a:gd name="T54" fmla="*/ 22 w 40"/>
              <a:gd name="T55" fmla="*/ 0 h 54"/>
              <a:gd name="T56" fmla="*/ 26 w 40"/>
              <a:gd name="T57" fmla="*/ 0 h 54"/>
              <a:gd name="T58" fmla="*/ 30 w 40"/>
              <a:gd name="T59" fmla="*/ 4 h 54"/>
              <a:gd name="T60" fmla="*/ 34 w 40"/>
              <a:gd name="T61" fmla="*/ 8 h 54"/>
              <a:gd name="T62" fmla="*/ 36 w 40"/>
              <a:gd name="T63" fmla="*/ 12 h 54"/>
              <a:gd name="T64" fmla="*/ 34 w 40"/>
              <a:gd name="T65" fmla="*/ 16 h 54"/>
              <a:gd name="T66" fmla="*/ 36 w 40"/>
              <a:gd name="T67" fmla="*/ 16 h 54"/>
              <a:gd name="T68" fmla="*/ 36 w 40"/>
              <a:gd name="T69" fmla="*/ 20 h 54"/>
              <a:gd name="T70" fmla="*/ 36 w 40"/>
              <a:gd name="T71" fmla="*/ 22 h 54"/>
              <a:gd name="T72" fmla="*/ 36 w 40"/>
              <a:gd name="T73" fmla="*/ 26 h 54"/>
              <a:gd name="T74" fmla="*/ 40 w 40"/>
              <a:gd name="T75" fmla="*/ 26 h 54"/>
              <a:gd name="T76" fmla="*/ 40 w 40"/>
              <a:gd name="T77" fmla="*/ 30 h 54"/>
              <a:gd name="T78" fmla="*/ 36 w 40"/>
              <a:gd name="T79" fmla="*/ 30 h 54"/>
              <a:gd name="T80" fmla="*/ 36 w 40"/>
              <a:gd name="T81" fmla="*/ 34 h 54"/>
              <a:gd name="T82" fmla="*/ 34 w 40"/>
              <a:gd name="T83" fmla="*/ 38 h 54"/>
              <a:gd name="T84" fmla="*/ 34 w 40"/>
              <a:gd name="T85" fmla="*/ 42 h 54"/>
              <a:gd name="T86" fmla="*/ 30 w 40"/>
              <a:gd name="T87" fmla="*/ 46 h 54"/>
              <a:gd name="T88" fmla="*/ 30 w 40"/>
              <a:gd name="T89" fmla="*/ 46 h 54"/>
              <a:gd name="T90" fmla="*/ 26 w 40"/>
              <a:gd name="T91" fmla="*/ 50 h 54"/>
              <a:gd name="T92" fmla="*/ 26 w 40"/>
              <a:gd name="T93" fmla="*/ 54 h 54"/>
              <a:gd name="T94" fmla="*/ 22 w 40"/>
              <a:gd name="T95" fmla="*/ 54 h 54"/>
              <a:gd name="T96" fmla="*/ 6 w 40"/>
              <a:gd name="T97" fmla="*/ 38 h 54"/>
              <a:gd name="T98" fmla="*/ 10 w 40"/>
              <a:gd name="T99" fmla="*/ 42 h 54"/>
              <a:gd name="T100" fmla="*/ 6 w 40"/>
              <a:gd name="T101" fmla="*/ 42 h 54"/>
              <a:gd name="T102" fmla="*/ 6 w 40"/>
              <a:gd name="T103" fmla="*/ 42 h 54"/>
              <a:gd name="T104" fmla="*/ 6 w 40"/>
              <a:gd name="T105" fmla="*/ 42 h 54"/>
              <a:gd name="T106" fmla="*/ 4 w 40"/>
              <a:gd name="T107" fmla="*/ 4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0" h="54">
                <a:moveTo>
                  <a:pt x="22" y="54"/>
                </a:moveTo>
                <a:lnTo>
                  <a:pt x="22" y="54"/>
                </a:lnTo>
                <a:lnTo>
                  <a:pt x="22" y="54"/>
                </a:lnTo>
                <a:lnTo>
                  <a:pt x="22" y="50"/>
                </a:lnTo>
                <a:lnTo>
                  <a:pt x="22" y="50"/>
                </a:lnTo>
                <a:lnTo>
                  <a:pt x="18" y="50"/>
                </a:lnTo>
                <a:lnTo>
                  <a:pt x="18" y="50"/>
                </a:lnTo>
                <a:lnTo>
                  <a:pt x="18" y="50"/>
                </a:lnTo>
                <a:lnTo>
                  <a:pt x="18" y="50"/>
                </a:lnTo>
                <a:lnTo>
                  <a:pt x="10" y="46"/>
                </a:lnTo>
                <a:lnTo>
                  <a:pt x="10" y="46"/>
                </a:lnTo>
                <a:lnTo>
                  <a:pt x="10" y="46"/>
                </a:lnTo>
                <a:lnTo>
                  <a:pt x="10" y="46"/>
                </a:lnTo>
                <a:lnTo>
                  <a:pt x="10" y="46"/>
                </a:lnTo>
                <a:lnTo>
                  <a:pt x="10" y="42"/>
                </a:lnTo>
                <a:lnTo>
                  <a:pt x="10" y="42"/>
                </a:lnTo>
                <a:lnTo>
                  <a:pt x="10" y="42"/>
                </a:lnTo>
                <a:lnTo>
                  <a:pt x="10" y="42"/>
                </a:lnTo>
                <a:lnTo>
                  <a:pt x="10" y="42"/>
                </a:lnTo>
                <a:lnTo>
                  <a:pt x="10" y="42"/>
                </a:lnTo>
                <a:lnTo>
                  <a:pt x="14" y="42"/>
                </a:lnTo>
                <a:lnTo>
                  <a:pt x="14" y="42"/>
                </a:lnTo>
                <a:lnTo>
                  <a:pt x="14" y="42"/>
                </a:lnTo>
                <a:lnTo>
                  <a:pt x="14" y="42"/>
                </a:lnTo>
                <a:lnTo>
                  <a:pt x="10" y="42"/>
                </a:lnTo>
                <a:lnTo>
                  <a:pt x="10" y="42"/>
                </a:lnTo>
                <a:lnTo>
                  <a:pt x="10" y="42"/>
                </a:lnTo>
                <a:lnTo>
                  <a:pt x="10" y="42"/>
                </a:lnTo>
                <a:lnTo>
                  <a:pt x="10" y="42"/>
                </a:lnTo>
                <a:lnTo>
                  <a:pt x="6" y="38"/>
                </a:lnTo>
                <a:lnTo>
                  <a:pt x="6" y="38"/>
                </a:lnTo>
                <a:lnTo>
                  <a:pt x="6" y="38"/>
                </a:lnTo>
                <a:lnTo>
                  <a:pt x="6" y="38"/>
                </a:lnTo>
                <a:lnTo>
                  <a:pt x="4" y="38"/>
                </a:lnTo>
                <a:lnTo>
                  <a:pt x="4" y="34"/>
                </a:lnTo>
                <a:lnTo>
                  <a:pt x="4" y="34"/>
                </a:lnTo>
                <a:lnTo>
                  <a:pt x="4" y="34"/>
                </a:lnTo>
                <a:lnTo>
                  <a:pt x="4" y="30"/>
                </a:lnTo>
                <a:lnTo>
                  <a:pt x="4" y="30"/>
                </a:lnTo>
                <a:lnTo>
                  <a:pt x="4" y="30"/>
                </a:lnTo>
                <a:lnTo>
                  <a:pt x="4" y="30"/>
                </a:lnTo>
                <a:lnTo>
                  <a:pt x="4" y="30"/>
                </a:lnTo>
                <a:lnTo>
                  <a:pt x="4" y="30"/>
                </a:lnTo>
                <a:lnTo>
                  <a:pt x="4" y="30"/>
                </a:lnTo>
                <a:lnTo>
                  <a:pt x="0" y="30"/>
                </a:lnTo>
                <a:lnTo>
                  <a:pt x="0" y="30"/>
                </a:lnTo>
                <a:lnTo>
                  <a:pt x="0" y="26"/>
                </a:lnTo>
                <a:lnTo>
                  <a:pt x="0" y="26"/>
                </a:lnTo>
                <a:lnTo>
                  <a:pt x="0" y="26"/>
                </a:lnTo>
                <a:lnTo>
                  <a:pt x="0" y="26"/>
                </a:lnTo>
                <a:lnTo>
                  <a:pt x="0" y="26"/>
                </a:lnTo>
                <a:lnTo>
                  <a:pt x="0" y="26"/>
                </a:lnTo>
                <a:lnTo>
                  <a:pt x="0" y="26"/>
                </a:lnTo>
                <a:lnTo>
                  <a:pt x="4" y="26"/>
                </a:lnTo>
                <a:lnTo>
                  <a:pt x="4" y="26"/>
                </a:lnTo>
                <a:lnTo>
                  <a:pt x="0" y="26"/>
                </a:lnTo>
                <a:lnTo>
                  <a:pt x="0" y="26"/>
                </a:lnTo>
                <a:lnTo>
                  <a:pt x="0" y="26"/>
                </a:lnTo>
                <a:lnTo>
                  <a:pt x="0" y="26"/>
                </a:lnTo>
                <a:lnTo>
                  <a:pt x="4" y="22"/>
                </a:lnTo>
                <a:lnTo>
                  <a:pt x="4" y="22"/>
                </a:lnTo>
                <a:lnTo>
                  <a:pt x="4" y="22"/>
                </a:lnTo>
                <a:lnTo>
                  <a:pt x="4" y="22"/>
                </a:lnTo>
                <a:lnTo>
                  <a:pt x="4" y="22"/>
                </a:lnTo>
                <a:lnTo>
                  <a:pt x="4" y="22"/>
                </a:lnTo>
                <a:lnTo>
                  <a:pt x="0" y="22"/>
                </a:lnTo>
                <a:lnTo>
                  <a:pt x="0" y="22"/>
                </a:lnTo>
                <a:lnTo>
                  <a:pt x="0" y="22"/>
                </a:lnTo>
                <a:lnTo>
                  <a:pt x="0" y="22"/>
                </a:lnTo>
                <a:lnTo>
                  <a:pt x="0" y="22"/>
                </a:lnTo>
                <a:lnTo>
                  <a:pt x="0" y="20"/>
                </a:lnTo>
                <a:lnTo>
                  <a:pt x="0" y="20"/>
                </a:lnTo>
                <a:lnTo>
                  <a:pt x="0" y="20"/>
                </a:lnTo>
                <a:lnTo>
                  <a:pt x="0" y="20"/>
                </a:lnTo>
                <a:lnTo>
                  <a:pt x="0" y="20"/>
                </a:lnTo>
                <a:lnTo>
                  <a:pt x="0" y="16"/>
                </a:lnTo>
                <a:lnTo>
                  <a:pt x="0" y="16"/>
                </a:lnTo>
                <a:lnTo>
                  <a:pt x="0" y="16"/>
                </a:lnTo>
                <a:lnTo>
                  <a:pt x="0" y="16"/>
                </a:lnTo>
                <a:lnTo>
                  <a:pt x="0" y="16"/>
                </a:lnTo>
                <a:lnTo>
                  <a:pt x="0" y="16"/>
                </a:lnTo>
                <a:lnTo>
                  <a:pt x="0" y="16"/>
                </a:lnTo>
                <a:lnTo>
                  <a:pt x="0" y="16"/>
                </a:lnTo>
                <a:lnTo>
                  <a:pt x="0" y="16"/>
                </a:lnTo>
                <a:lnTo>
                  <a:pt x="0" y="16"/>
                </a:lnTo>
                <a:lnTo>
                  <a:pt x="4" y="16"/>
                </a:lnTo>
                <a:lnTo>
                  <a:pt x="4" y="16"/>
                </a:lnTo>
                <a:lnTo>
                  <a:pt x="4" y="12"/>
                </a:lnTo>
                <a:lnTo>
                  <a:pt x="4" y="12"/>
                </a:lnTo>
                <a:lnTo>
                  <a:pt x="4" y="12"/>
                </a:lnTo>
                <a:lnTo>
                  <a:pt x="4" y="12"/>
                </a:lnTo>
                <a:lnTo>
                  <a:pt x="4" y="12"/>
                </a:lnTo>
                <a:lnTo>
                  <a:pt x="4" y="12"/>
                </a:lnTo>
                <a:lnTo>
                  <a:pt x="4" y="12"/>
                </a:lnTo>
                <a:lnTo>
                  <a:pt x="6" y="8"/>
                </a:lnTo>
                <a:lnTo>
                  <a:pt x="6" y="8"/>
                </a:lnTo>
                <a:lnTo>
                  <a:pt x="6" y="8"/>
                </a:lnTo>
                <a:lnTo>
                  <a:pt x="6" y="4"/>
                </a:lnTo>
                <a:lnTo>
                  <a:pt x="6" y="4"/>
                </a:lnTo>
                <a:lnTo>
                  <a:pt x="6" y="4"/>
                </a:lnTo>
                <a:lnTo>
                  <a:pt x="10" y="0"/>
                </a:lnTo>
                <a:lnTo>
                  <a:pt x="10" y="0"/>
                </a:lnTo>
                <a:lnTo>
                  <a:pt x="14" y="0"/>
                </a:lnTo>
                <a:lnTo>
                  <a:pt x="14" y="0"/>
                </a:lnTo>
                <a:lnTo>
                  <a:pt x="14" y="0"/>
                </a:lnTo>
                <a:lnTo>
                  <a:pt x="14" y="0"/>
                </a:lnTo>
                <a:lnTo>
                  <a:pt x="14" y="0"/>
                </a:lnTo>
                <a:lnTo>
                  <a:pt x="14" y="0"/>
                </a:lnTo>
                <a:lnTo>
                  <a:pt x="18" y="0"/>
                </a:lnTo>
                <a:lnTo>
                  <a:pt x="18" y="0"/>
                </a:lnTo>
                <a:lnTo>
                  <a:pt x="18" y="0"/>
                </a:lnTo>
                <a:lnTo>
                  <a:pt x="22" y="0"/>
                </a:lnTo>
                <a:lnTo>
                  <a:pt x="22" y="0"/>
                </a:lnTo>
                <a:lnTo>
                  <a:pt x="22" y="0"/>
                </a:lnTo>
                <a:lnTo>
                  <a:pt x="26" y="0"/>
                </a:lnTo>
                <a:lnTo>
                  <a:pt x="26" y="0"/>
                </a:lnTo>
                <a:lnTo>
                  <a:pt x="30" y="0"/>
                </a:lnTo>
                <a:lnTo>
                  <a:pt x="30" y="0"/>
                </a:lnTo>
                <a:lnTo>
                  <a:pt x="30" y="0"/>
                </a:lnTo>
                <a:lnTo>
                  <a:pt x="30" y="4"/>
                </a:lnTo>
                <a:lnTo>
                  <a:pt x="30" y="4"/>
                </a:lnTo>
                <a:lnTo>
                  <a:pt x="30" y="4"/>
                </a:lnTo>
                <a:lnTo>
                  <a:pt x="34" y="4"/>
                </a:lnTo>
                <a:lnTo>
                  <a:pt x="34" y="8"/>
                </a:lnTo>
                <a:lnTo>
                  <a:pt x="34" y="8"/>
                </a:lnTo>
                <a:lnTo>
                  <a:pt x="34" y="12"/>
                </a:lnTo>
                <a:lnTo>
                  <a:pt x="36" y="12"/>
                </a:lnTo>
                <a:lnTo>
                  <a:pt x="36" y="12"/>
                </a:lnTo>
                <a:lnTo>
                  <a:pt x="34" y="12"/>
                </a:lnTo>
                <a:lnTo>
                  <a:pt x="34" y="12"/>
                </a:lnTo>
                <a:lnTo>
                  <a:pt x="34" y="16"/>
                </a:lnTo>
                <a:lnTo>
                  <a:pt x="34" y="16"/>
                </a:lnTo>
                <a:lnTo>
                  <a:pt x="34" y="16"/>
                </a:lnTo>
                <a:lnTo>
                  <a:pt x="36" y="16"/>
                </a:lnTo>
                <a:lnTo>
                  <a:pt x="36" y="16"/>
                </a:lnTo>
                <a:lnTo>
                  <a:pt x="36" y="16"/>
                </a:lnTo>
                <a:lnTo>
                  <a:pt x="36" y="16"/>
                </a:lnTo>
                <a:lnTo>
                  <a:pt x="36" y="16"/>
                </a:lnTo>
                <a:lnTo>
                  <a:pt x="36" y="20"/>
                </a:lnTo>
                <a:lnTo>
                  <a:pt x="36" y="20"/>
                </a:lnTo>
                <a:lnTo>
                  <a:pt x="36" y="20"/>
                </a:lnTo>
                <a:lnTo>
                  <a:pt x="36" y="22"/>
                </a:lnTo>
                <a:lnTo>
                  <a:pt x="36" y="22"/>
                </a:lnTo>
                <a:lnTo>
                  <a:pt x="36" y="22"/>
                </a:lnTo>
                <a:lnTo>
                  <a:pt x="34" y="26"/>
                </a:lnTo>
                <a:lnTo>
                  <a:pt x="34" y="26"/>
                </a:lnTo>
                <a:lnTo>
                  <a:pt x="36" y="26"/>
                </a:lnTo>
                <a:lnTo>
                  <a:pt x="36" y="26"/>
                </a:lnTo>
                <a:lnTo>
                  <a:pt x="36" y="26"/>
                </a:lnTo>
                <a:lnTo>
                  <a:pt x="36" y="26"/>
                </a:lnTo>
                <a:lnTo>
                  <a:pt x="36" y="26"/>
                </a:lnTo>
                <a:lnTo>
                  <a:pt x="40" y="26"/>
                </a:lnTo>
                <a:lnTo>
                  <a:pt x="40" y="22"/>
                </a:lnTo>
                <a:lnTo>
                  <a:pt x="40" y="26"/>
                </a:lnTo>
                <a:lnTo>
                  <a:pt x="40" y="26"/>
                </a:lnTo>
                <a:lnTo>
                  <a:pt x="40" y="30"/>
                </a:lnTo>
                <a:lnTo>
                  <a:pt x="40" y="30"/>
                </a:lnTo>
                <a:lnTo>
                  <a:pt x="40" y="30"/>
                </a:lnTo>
                <a:lnTo>
                  <a:pt x="36" y="30"/>
                </a:lnTo>
                <a:lnTo>
                  <a:pt x="36" y="30"/>
                </a:lnTo>
                <a:lnTo>
                  <a:pt x="36" y="30"/>
                </a:lnTo>
                <a:lnTo>
                  <a:pt x="36" y="30"/>
                </a:lnTo>
                <a:lnTo>
                  <a:pt x="36" y="34"/>
                </a:lnTo>
                <a:lnTo>
                  <a:pt x="36" y="34"/>
                </a:lnTo>
                <a:lnTo>
                  <a:pt x="36" y="38"/>
                </a:lnTo>
                <a:lnTo>
                  <a:pt x="36" y="38"/>
                </a:lnTo>
                <a:lnTo>
                  <a:pt x="34" y="38"/>
                </a:lnTo>
                <a:lnTo>
                  <a:pt x="34" y="38"/>
                </a:lnTo>
                <a:lnTo>
                  <a:pt x="34" y="38"/>
                </a:lnTo>
                <a:lnTo>
                  <a:pt x="34" y="38"/>
                </a:lnTo>
                <a:lnTo>
                  <a:pt x="34" y="42"/>
                </a:lnTo>
                <a:lnTo>
                  <a:pt x="34" y="42"/>
                </a:lnTo>
                <a:lnTo>
                  <a:pt x="34" y="42"/>
                </a:lnTo>
                <a:lnTo>
                  <a:pt x="34" y="42"/>
                </a:lnTo>
                <a:lnTo>
                  <a:pt x="34" y="42"/>
                </a:lnTo>
                <a:lnTo>
                  <a:pt x="30" y="46"/>
                </a:lnTo>
                <a:lnTo>
                  <a:pt x="30" y="46"/>
                </a:lnTo>
                <a:lnTo>
                  <a:pt x="30" y="46"/>
                </a:lnTo>
                <a:lnTo>
                  <a:pt x="30" y="46"/>
                </a:lnTo>
                <a:lnTo>
                  <a:pt x="30" y="46"/>
                </a:lnTo>
                <a:lnTo>
                  <a:pt x="26" y="46"/>
                </a:lnTo>
                <a:lnTo>
                  <a:pt x="26" y="46"/>
                </a:lnTo>
                <a:lnTo>
                  <a:pt x="26" y="46"/>
                </a:lnTo>
                <a:lnTo>
                  <a:pt x="26" y="50"/>
                </a:lnTo>
                <a:lnTo>
                  <a:pt x="26" y="50"/>
                </a:lnTo>
                <a:lnTo>
                  <a:pt x="26" y="50"/>
                </a:lnTo>
                <a:lnTo>
                  <a:pt x="26" y="50"/>
                </a:lnTo>
                <a:lnTo>
                  <a:pt x="26" y="54"/>
                </a:lnTo>
                <a:lnTo>
                  <a:pt x="22" y="54"/>
                </a:lnTo>
                <a:lnTo>
                  <a:pt x="22" y="54"/>
                </a:lnTo>
                <a:lnTo>
                  <a:pt x="22" y="54"/>
                </a:lnTo>
                <a:lnTo>
                  <a:pt x="22" y="54"/>
                </a:lnTo>
                <a:close/>
                <a:moveTo>
                  <a:pt x="4" y="42"/>
                </a:moveTo>
                <a:lnTo>
                  <a:pt x="6" y="38"/>
                </a:lnTo>
                <a:lnTo>
                  <a:pt x="6" y="38"/>
                </a:lnTo>
                <a:lnTo>
                  <a:pt x="6" y="38"/>
                </a:lnTo>
                <a:lnTo>
                  <a:pt x="6" y="38"/>
                </a:lnTo>
                <a:lnTo>
                  <a:pt x="6" y="38"/>
                </a:lnTo>
                <a:lnTo>
                  <a:pt x="6" y="42"/>
                </a:lnTo>
                <a:lnTo>
                  <a:pt x="10" y="42"/>
                </a:lnTo>
                <a:lnTo>
                  <a:pt x="10" y="42"/>
                </a:lnTo>
                <a:lnTo>
                  <a:pt x="6" y="42"/>
                </a:lnTo>
                <a:lnTo>
                  <a:pt x="6" y="42"/>
                </a:lnTo>
                <a:lnTo>
                  <a:pt x="6" y="42"/>
                </a:lnTo>
                <a:lnTo>
                  <a:pt x="6" y="42"/>
                </a:lnTo>
                <a:lnTo>
                  <a:pt x="6" y="42"/>
                </a:lnTo>
                <a:lnTo>
                  <a:pt x="6" y="42"/>
                </a:lnTo>
                <a:lnTo>
                  <a:pt x="6" y="42"/>
                </a:lnTo>
                <a:lnTo>
                  <a:pt x="6" y="42"/>
                </a:lnTo>
                <a:lnTo>
                  <a:pt x="6" y="42"/>
                </a:lnTo>
                <a:lnTo>
                  <a:pt x="6" y="42"/>
                </a:lnTo>
                <a:lnTo>
                  <a:pt x="6" y="42"/>
                </a:lnTo>
                <a:lnTo>
                  <a:pt x="4" y="42"/>
                </a:lnTo>
                <a:lnTo>
                  <a:pt x="4" y="42"/>
                </a:lnTo>
                <a:lnTo>
                  <a:pt x="4" y="42"/>
                </a:lnTo>
                <a:lnTo>
                  <a:pt x="4" y="42"/>
                </a:lnTo>
                <a:lnTo>
                  <a:pt x="4" y="42"/>
                </a:lnTo>
                <a:lnTo>
                  <a:pt x="4" y="42"/>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61" name="Freeform 168"/>
          <p:cNvSpPr>
            <a:spLocks/>
          </p:cNvSpPr>
          <p:nvPr/>
        </p:nvSpPr>
        <p:spPr bwMode="auto">
          <a:xfrm>
            <a:off x="4950618" y="3450430"/>
            <a:ext cx="171450" cy="280988"/>
          </a:xfrm>
          <a:custGeom>
            <a:avLst/>
            <a:gdLst>
              <a:gd name="T0" fmla="*/ 78 w 144"/>
              <a:gd name="T1" fmla="*/ 24 h 236"/>
              <a:gd name="T2" fmla="*/ 92 w 144"/>
              <a:gd name="T3" fmla="*/ 16 h 236"/>
              <a:gd name="T4" fmla="*/ 108 w 144"/>
              <a:gd name="T5" fmla="*/ 12 h 236"/>
              <a:gd name="T6" fmla="*/ 118 w 144"/>
              <a:gd name="T7" fmla="*/ 12 h 236"/>
              <a:gd name="T8" fmla="*/ 134 w 144"/>
              <a:gd name="T9" fmla="*/ 8 h 236"/>
              <a:gd name="T10" fmla="*/ 140 w 144"/>
              <a:gd name="T11" fmla="*/ 4 h 236"/>
              <a:gd name="T12" fmla="*/ 140 w 144"/>
              <a:gd name="T13" fmla="*/ 16 h 236"/>
              <a:gd name="T14" fmla="*/ 140 w 144"/>
              <a:gd name="T15" fmla="*/ 30 h 236"/>
              <a:gd name="T16" fmla="*/ 140 w 144"/>
              <a:gd name="T17" fmla="*/ 30 h 236"/>
              <a:gd name="T18" fmla="*/ 136 w 144"/>
              <a:gd name="T19" fmla="*/ 46 h 236"/>
              <a:gd name="T20" fmla="*/ 130 w 144"/>
              <a:gd name="T21" fmla="*/ 58 h 236"/>
              <a:gd name="T22" fmla="*/ 126 w 144"/>
              <a:gd name="T23" fmla="*/ 68 h 236"/>
              <a:gd name="T24" fmla="*/ 122 w 144"/>
              <a:gd name="T25" fmla="*/ 80 h 236"/>
              <a:gd name="T26" fmla="*/ 114 w 144"/>
              <a:gd name="T27" fmla="*/ 88 h 236"/>
              <a:gd name="T28" fmla="*/ 110 w 144"/>
              <a:gd name="T29" fmla="*/ 102 h 236"/>
              <a:gd name="T30" fmla="*/ 104 w 144"/>
              <a:gd name="T31" fmla="*/ 120 h 236"/>
              <a:gd name="T32" fmla="*/ 96 w 144"/>
              <a:gd name="T33" fmla="*/ 128 h 236"/>
              <a:gd name="T34" fmla="*/ 88 w 144"/>
              <a:gd name="T35" fmla="*/ 140 h 236"/>
              <a:gd name="T36" fmla="*/ 82 w 144"/>
              <a:gd name="T37" fmla="*/ 150 h 236"/>
              <a:gd name="T38" fmla="*/ 74 w 144"/>
              <a:gd name="T39" fmla="*/ 162 h 236"/>
              <a:gd name="T40" fmla="*/ 62 w 144"/>
              <a:gd name="T41" fmla="*/ 170 h 236"/>
              <a:gd name="T42" fmla="*/ 56 w 144"/>
              <a:gd name="T43" fmla="*/ 176 h 236"/>
              <a:gd name="T44" fmla="*/ 44 w 144"/>
              <a:gd name="T45" fmla="*/ 188 h 236"/>
              <a:gd name="T46" fmla="*/ 36 w 144"/>
              <a:gd name="T47" fmla="*/ 196 h 236"/>
              <a:gd name="T48" fmla="*/ 26 w 144"/>
              <a:gd name="T49" fmla="*/ 206 h 236"/>
              <a:gd name="T50" fmla="*/ 18 w 144"/>
              <a:gd name="T51" fmla="*/ 214 h 236"/>
              <a:gd name="T52" fmla="*/ 10 w 144"/>
              <a:gd name="T53" fmla="*/ 226 h 236"/>
              <a:gd name="T54" fmla="*/ 6 w 144"/>
              <a:gd name="T55" fmla="*/ 236 h 236"/>
              <a:gd name="T56" fmla="*/ 0 w 144"/>
              <a:gd name="T57" fmla="*/ 206 h 236"/>
              <a:gd name="T58" fmla="*/ 4 w 144"/>
              <a:gd name="T59" fmla="*/ 154 h 236"/>
              <a:gd name="T60" fmla="*/ 14 w 144"/>
              <a:gd name="T61" fmla="*/ 136 h 236"/>
              <a:gd name="T62" fmla="*/ 26 w 144"/>
              <a:gd name="T63" fmla="*/ 132 h 236"/>
              <a:gd name="T64" fmla="*/ 32 w 144"/>
              <a:gd name="T65" fmla="*/ 124 h 236"/>
              <a:gd name="T66" fmla="*/ 48 w 144"/>
              <a:gd name="T67" fmla="*/ 124 h 236"/>
              <a:gd name="T68" fmla="*/ 62 w 144"/>
              <a:gd name="T69" fmla="*/ 114 h 236"/>
              <a:gd name="T70" fmla="*/ 70 w 144"/>
              <a:gd name="T71" fmla="*/ 102 h 236"/>
              <a:gd name="T72" fmla="*/ 92 w 144"/>
              <a:gd name="T73" fmla="*/ 76 h 236"/>
              <a:gd name="T74" fmla="*/ 82 w 144"/>
              <a:gd name="T75" fmla="*/ 72 h 236"/>
              <a:gd name="T76" fmla="*/ 70 w 144"/>
              <a:gd name="T77" fmla="*/ 64 h 236"/>
              <a:gd name="T78" fmla="*/ 48 w 144"/>
              <a:gd name="T79" fmla="*/ 58 h 236"/>
              <a:gd name="T80" fmla="*/ 32 w 144"/>
              <a:gd name="T81" fmla="*/ 46 h 236"/>
              <a:gd name="T82" fmla="*/ 26 w 144"/>
              <a:gd name="T83" fmla="*/ 34 h 236"/>
              <a:gd name="T84" fmla="*/ 26 w 144"/>
              <a:gd name="T85" fmla="*/ 24 h 236"/>
              <a:gd name="T86" fmla="*/ 30 w 144"/>
              <a:gd name="T87" fmla="*/ 12 h 236"/>
              <a:gd name="T88" fmla="*/ 36 w 144"/>
              <a:gd name="T89" fmla="*/ 24 h 236"/>
              <a:gd name="T90" fmla="*/ 48 w 144"/>
              <a:gd name="T91" fmla="*/ 30 h 236"/>
              <a:gd name="T92" fmla="*/ 56 w 144"/>
              <a:gd name="T93" fmla="*/ 28 h 236"/>
              <a:gd name="T94" fmla="*/ 62 w 144"/>
              <a:gd name="T95" fmla="*/ 2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4" h="236">
                <a:moveTo>
                  <a:pt x="66" y="24"/>
                </a:moveTo>
                <a:lnTo>
                  <a:pt x="70" y="24"/>
                </a:lnTo>
                <a:lnTo>
                  <a:pt x="74" y="24"/>
                </a:lnTo>
                <a:lnTo>
                  <a:pt x="78" y="24"/>
                </a:lnTo>
                <a:lnTo>
                  <a:pt x="82" y="20"/>
                </a:lnTo>
                <a:lnTo>
                  <a:pt x="84" y="20"/>
                </a:lnTo>
                <a:lnTo>
                  <a:pt x="88" y="16"/>
                </a:lnTo>
                <a:lnTo>
                  <a:pt x="92" y="16"/>
                </a:lnTo>
                <a:lnTo>
                  <a:pt x="96" y="16"/>
                </a:lnTo>
                <a:lnTo>
                  <a:pt x="100" y="16"/>
                </a:lnTo>
                <a:lnTo>
                  <a:pt x="104" y="12"/>
                </a:lnTo>
                <a:lnTo>
                  <a:pt x="108" y="12"/>
                </a:lnTo>
                <a:lnTo>
                  <a:pt x="108" y="16"/>
                </a:lnTo>
                <a:lnTo>
                  <a:pt x="110" y="16"/>
                </a:lnTo>
                <a:lnTo>
                  <a:pt x="114" y="16"/>
                </a:lnTo>
                <a:lnTo>
                  <a:pt x="118" y="12"/>
                </a:lnTo>
                <a:lnTo>
                  <a:pt x="122" y="12"/>
                </a:lnTo>
                <a:lnTo>
                  <a:pt x="126" y="12"/>
                </a:lnTo>
                <a:lnTo>
                  <a:pt x="130" y="8"/>
                </a:lnTo>
                <a:lnTo>
                  <a:pt x="134" y="8"/>
                </a:lnTo>
                <a:lnTo>
                  <a:pt x="134" y="4"/>
                </a:lnTo>
                <a:lnTo>
                  <a:pt x="136" y="0"/>
                </a:lnTo>
                <a:lnTo>
                  <a:pt x="136" y="4"/>
                </a:lnTo>
                <a:lnTo>
                  <a:pt x="140" y="4"/>
                </a:lnTo>
                <a:lnTo>
                  <a:pt x="144" y="4"/>
                </a:lnTo>
                <a:lnTo>
                  <a:pt x="140" y="8"/>
                </a:lnTo>
                <a:lnTo>
                  <a:pt x="140" y="12"/>
                </a:lnTo>
                <a:lnTo>
                  <a:pt x="140" y="16"/>
                </a:lnTo>
                <a:lnTo>
                  <a:pt x="140" y="20"/>
                </a:lnTo>
                <a:lnTo>
                  <a:pt x="140" y="24"/>
                </a:lnTo>
                <a:lnTo>
                  <a:pt x="140" y="28"/>
                </a:lnTo>
                <a:lnTo>
                  <a:pt x="140" y="30"/>
                </a:lnTo>
                <a:lnTo>
                  <a:pt x="140" y="28"/>
                </a:lnTo>
                <a:lnTo>
                  <a:pt x="144" y="28"/>
                </a:lnTo>
                <a:lnTo>
                  <a:pt x="144" y="30"/>
                </a:lnTo>
                <a:lnTo>
                  <a:pt x="140" y="30"/>
                </a:lnTo>
                <a:lnTo>
                  <a:pt x="136" y="30"/>
                </a:lnTo>
                <a:lnTo>
                  <a:pt x="136" y="34"/>
                </a:lnTo>
                <a:lnTo>
                  <a:pt x="136" y="42"/>
                </a:lnTo>
                <a:lnTo>
                  <a:pt x="136" y="46"/>
                </a:lnTo>
                <a:lnTo>
                  <a:pt x="136" y="50"/>
                </a:lnTo>
                <a:lnTo>
                  <a:pt x="134" y="50"/>
                </a:lnTo>
                <a:lnTo>
                  <a:pt x="134" y="54"/>
                </a:lnTo>
                <a:lnTo>
                  <a:pt x="130" y="58"/>
                </a:lnTo>
                <a:lnTo>
                  <a:pt x="130" y="60"/>
                </a:lnTo>
                <a:lnTo>
                  <a:pt x="130" y="64"/>
                </a:lnTo>
                <a:lnTo>
                  <a:pt x="126" y="64"/>
                </a:lnTo>
                <a:lnTo>
                  <a:pt x="126" y="68"/>
                </a:lnTo>
                <a:lnTo>
                  <a:pt x="126" y="72"/>
                </a:lnTo>
                <a:lnTo>
                  <a:pt x="122" y="72"/>
                </a:lnTo>
                <a:lnTo>
                  <a:pt x="122" y="76"/>
                </a:lnTo>
                <a:lnTo>
                  <a:pt x="122" y="80"/>
                </a:lnTo>
                <a:lnTo>
                  <a:pt x="118" y="80"/>
                </a:lnTo>
                <a:lnTo>
                  <a:pt x="118" y="84"/>
                </a:lnTo>
                <a:lnTo>
                  <a:pt x="118" y="88"/>
                </a:lnTo>
                <a:lnTo>
                  <a:pt x="114" y="88"/>
                </a:lnTo>
                <a:lnTo>
                  <a:pt x="114" y="90"/>
                </a:lnTo>
                <a:lnTo>
                  <a:pt x="114" y="94"/>
                </a:lnTo>
                <a:lnTo>
                  <a:pt x="110" y="98"/>
                </a:lnTo>
                <a:lnTo>
                  <a:pt x="110" y="102"/>
                </a:lnTo>
                <a:lnTo>
                  <a:pt x="108" y="110"/>
                </a:lnTo>
                <a:lnTo>
                  <a:pt x="108" y="114"/>
                </a:lnTo>
                <a:lnTo>
                  <a:pt x="104" y="118"/>
                </a:lnTo>
                <a:lnTo>
                  <a:pt x="104" y="120"/>
                </a:lnTo>
                <a:lnTo>
                  <a:pt x="100" y="120"/>
                </a:lnTo>
                <a:lnTo>
                  <a:pt x="100" y="124"/>
                </a:lnTo>
                <a:lnTo>
                  <a:pt x="100" y="128"/>
                </a:lnTo>
                <a:lnTo>
                  <a:pt x="96" y="128"/>
                </a:lnTo>
                <a:lnTo>
                  <a:pt x="96" y="132"/>
                </a:lnTo>
                <a:lnTo>
                  <a:pt x="92" y="136"/>
                </a:lnTo>
                <a:lnTo>
                  <a:pt x="92" y="140"/>
                </a:lnTo>
                <a:lnTo>
                  <a:pt x="88" y="140"/>
                </a:lnTo>
                <a:lnTo>
                  <a:pt x="88" y="144"/>
                </a:lnTo>
                <a:lnTo>
                  <a:pt x="84" y="146"/>
                </a:lnTo>
                <a:lnTo>
                  <a:pt x="84" y="150"/>
                </a:lnTo>
                <a:lnTo>
                  <a:pt x="82" y="150"/>
                </a:lnTo>
                <a:lnTo>
                  <a:pt x="78" y="154"/>
                </a:lnTo>
                <a:lnTo>
                  <a:pt x="78" y="158"/>
                </a:lnTo>
                <a:lnTo>
                  <a:pt x="74" y="158"/>
                </a:lnTo>
                <a:lnTo>
                  <a:pt x="74" y="162"/>
                </a:lnTo>
                <a:lnTo>
                  <a:pt x="70" y="162"/>
                </a:lnTo>
                <a:lnTo>
                  <a:pt x="70" y="166"/>
                </a:lnTo>
                <a:lnTo>
                  <a:pt x="66" y="170"/>
                </a:lnTo>
                <a:lnTo>
                  <a:pt x="62" y="170"/>
                </a:lnTo>
                <a:lnTo>
                  <a:pt x="62" y="174"/>
                </a:lnTo>
                <a:lnTo>
                  <a:pt x="58" y="174"/>
                </a:lnTo>
                <a:lnTo>
                  <a:pt x="58" y="176"/>
                </a:lnTo>
                <a:lnTo>
                  <a:pt x="56" y="176"/>
                </a:lnTo>
                <a:lnTo>
                  <a:pt x="52" y="176"/>
                </a:lnTo>
                <a:lnTo>
                  <a:pt x="48" y="180"/>
                </a:lnTo>
                <a:lnTo>
                  <a:pt x="44" y="184"/>
                </a:lnTo>
                <a:lnTo>
                  <a:pt x="44" y="188"/>
                </a:lnTo>
                <a:lnTo>
                  <a:pt x="40" y="188"/>
                </a:lnTo>
                <a:lnTo>
                  <a:pt x="40" y="192"/>
                </a:lnTo>
                <a:lnTo>
                  <a:pt x="36" y="192"/>
                </a:lnTo>
                <a:lnTo>
                  <a:pt x="36" y="196"/>
                </a:lnTo>
                <a:lnTo>
                  <a:pt x="32" y="200"/>
                </a:lnTo>
                <a:lnTo>
                  <a:pt x="30" y="200"/>
                </a:lnTo>
                <a:lnTo>
                  <a:pt x="30" y="204"/>
                </a:lnTo>
                <a:lnTo>
                  <a:pt x="26" y="206"/>
                </a:lnTo>
                <a:lnTo>
                  <a:pt x="26" y="210"/>
                </a:lnTo>
                <a:lnTo>
                  <a:pt x="22" y="210"/>
                </a:lnTo>
                <a:lnTo>
                  <a:pt x="22" y="214"/>
                </a:lnTo>
                <a:lnTo>
                  <a:pt x="18" y="214"/>
                </a:lnTo>
                <a:lnTo>
                  <a:pt x="18" y="218"/>
                </a:lnTo>
                <a:lnTo>
                  <a:pt x="14" y="222"/>
                </a:lnTo>
                <a:lnTo>
                  <a:pt x="14" y="226"/>
                </a:lnTo>
                <a:lnTo>
                  <a:pt x="10" y="226"/>
                </a:lnTo>
                <a:lnTo>
                  <a:pt x="10" y="230"/>
                </a:lnTo>
                <a:lnTo>
                  <a:pt x="10" y="234"/>
                </a:lnTo>
                <a:lnTo>
                  <a:pt x="6" y="234"/>
                </a:lnTo>
                <a:lnTo>
                  <a:pt x="6" y="236"/>
                </a:lnTo>
                <a:lnTo>
                  <a:pt x="4" y="234"/>
                </a:lnTo>
                <a:lnTo>
                  <a:pt x="0" y="226"/>
                </a:lnTo>
                <a:lnTo>
                  <a:pt x="0" y="222"/>
                </a:lnTo>
                <a:lnTo>
                  <a:pt x="0" y="206"/>
                </a:lnTo>
                <a:lnTo>
                  <a:pt x="0" y="184"/>
                </a:lnTo>
                <a:lnTo>
                  <a:pt x="0" y="170"/>
                </a:lnTo>
                <a:lnTo>
                  <a:pt x="0" y="162"/>
                </a:lnTo>
                <a:lnTo>
                  <a:pt x="4" y="154"/>
                </a:lnTo>
                <a:lnTo>
                  <a:pt x="10" y="144"/>
                </a:lnTo>
                <a:lnTo>
                  <a:pt x="10" y="140"/>
                </a:lnTo>
                <a:lnTo>
                  <a:pt x="14" y="140"/>
                </a:lnTo>
                <a:lnTo>
                  <a:pt x="14" y="136"/>
                </a:lnTo>
                <a:lnTo>
                  <a:pt x="18" y="136"/>
                </a:lnTo>
                <a:lnTo>
                  <a:pt x="22" y="136"/>
                </a:lnTo>
                <a:lnTo>
                  <a:pt x="26" y="136"/>
                </a:lnTo>
                <a:lnTo>
                  <a:pt x="26" y="132"/>
                </a:lnTo>
                <a:lnTo>
                  <a:pt x="26" y="128"/>
                </a:lnTo>
                <a:lnTo>
                  <a:pt x="30" y="128"/>
                </a:lnTo>
                <a:lnTo>
                  <a:pt x="32" y="128"/>
                </a:lnTo>
                <a:lnTo>
                  <a:pt x="32" y="124"/>
                </a:lnTo>
                <a:lnTo>
                  <a:pt x="36" y="124"/>
                </a:lnTo>
                <a:lnTo>
                  <a:pt x="40" y="124"/>
                </a:lnTo>
                <a:lnTo>
                  <a:pt x="44" y="124"/>
                </a:lnTo>
                <a:lnTo>
                  <a:pt x="48" y="124"/>
                </a:lnTo>
                <a:lnTo>
                  <a:pt x="56" y="124"/>
                </a:lnTo>
                <a:lnTo>
                  <a:pt x="56" y="120"/>
                </a:lnTo>
                <a:lnTo>
                  <a:pt x="58" y="118"/>
                </a:lnTo>
                <a:lnTo>
                  <a:pt x="62" y="114"/>
                </a:lnTo>
                <a:lnTo>
                  <a:pt x="62" y="110"/>
                </a:lnTo>
                <a:lnTo>
                  <a:pt x="66" y="106"/>
                </a:lnTo>
                <a:lnTo>
                  <a:pt x="70" y="106"/>
                </a:lnTo>
                <a:lnTo>
                  <a:pt x="70" y="102"/>
                </a:lnTo>
                <a:lnTo>
                  <a:pt x="78" y="94"/>
                </a:lnTo>
                <a:lnTo>
                  <a:pt x="82" y="88"/>
                </a:lnTo>
                <a:lnTo>
                  <a:pt x="88" y="80"/>
                </a:lnTo>
                <a:lnTo>
                  <a:pt x="92" y="76"/>
                </a:lnTo>
                <a:lnTo>
                  <a:pt x="96" y="72"/>
                </a:lnTo>
                <a:lnTo>
                  <a:pt x="92" y="72"/>
                </a:lnTo>
                <a:lnTo>
                  <a:pt x="84" y="72"/>
                </a:lnTo>
                <a:lnTo>
                  <a:pt x="82" y="72"/>
                </a:lnTo>
                <a:lnTo>
                  <a:pt x="82" y="68"/>
                </a:lnTo>
                <a:lnTo>
                  <a:pt x="78" y="68"/>
                </a:lnTo>
                <a:lnTo>
                  <a:pt x="74" y="68"/>
                </a:lnTo>
                <a:lnTo>
                  <a:pt x="70" y="64"/>
                </a:lnTo>
                <a:lnTo>
                  <a:pt x="62" y="64"/>
                </a:lnTo>
                <a:lnTo>
                  <a:pt x="58" y="60"/>
                </a:lnTo>
                <a:lnTo>
                  <a:pt x="56" y="60"/>
                </a:lnTo>
                <a:lnTo>
                  <a:pt x="48" y="58"/>
                </a:lnTo>
                <a:lnTo>
                  <a:pt x="40" y="54"/>
                </a:lnTo>
                <a:lnTo>
                  <a:pt x="36" y="50"/>
                </a:lnTo>
                <a:lnTo>
                  <a:pt x="32" y="50"/>
                </a:lnTo>
                <a:lnTo>
                  <a:pt x="32" y="46"/>
                </a:lnTo>
                <a:lnTo>
                  <a:pt x="30" y="42"/>
                </a:lnTo>
                <a:lnTo>
                  <a:pt x="30" y="38"/>
                </a:lnTo>
                <a:lnTo>
                  <a:pt x="26" y="38"/>
                </a:lnTo>
                <a:lnTo>
                  <a:pt x="26" y="34"/>
                </a:lnTo>
                <a:lnTo>
                  <a:pt x="22" y="30"/>
                </a:lnTo>
                <a:lnTo>
                  <a:pt x="22" y="28"/>
                </a:lnTo>
                <a:lnTo>
                  <a:pt x="22" y="24"/>
                </a:lnTo>
                <a:lnTo>
                  <a:pt x="26" y="24"/>
                </a:lnTo>
                <a:lnTo>
                  <a:pt x="26" y="20"/>
                </a:lnTo>
                <a:lnTo>
                  <a:pt x="26" y="16"/>
                </a:lnTo>
                <a:lnTo>
                  <a:pt x="30" y="16"/>
                </a:lnTo>
                <a:lnTo>
                  <a:pt x="30" y="12"/>
                </a:lnTo>
                <a:lnTo>
                  <a:pt x="32" y="12"/>
                </a:lnTo>
                <a:lnTo>
                  <a:pt x="32" y="16"/>
                </a:lnTo>
                <a:lnTo>
                  <a:pt x="36" y="20"/>
                </a:lnTo>
                <a:lnTo>
                  <a:pt x="36" y="24"/>
                </a:lnTo>
                <a:lnTo>
                  <a:pt x="40" y="24"/>
                </a:lnTo>
                <a:lnTo>
                  <a:pt x="44" y="28"/>
                </a:lnTo>
                <a:lnTo>
                  <a:pt x="44" y="30"/>
                </a:lnTo>
                <a:lnTo>
                  <a:pt x="48" y="30"/>
                </a:lnTo>
                <a:lnTo>
                  <a:pt x="52" y="28"/>
                </a:lnTo>
                <a:lnTo>
                  <a:pt x="52" y="30"/>
                </a:lnTo>
                <a:lnTo>
                  <a:pt x="56" y="30"/>
                </a:lnTo>
                <a:lnTo>
                  <a:pt x="56" y="28"/>
                </a:lnTo>
                <a:lnTo>
                  <a:pt x="58" y="28"/>
                </a:lnTo>
                <a:lnTo>
                  <a:pt x="58" y="24"/>
                </a:lnTo>
                <a:lnTo>
                  <a:pt x="58" y="28"/>
                </a:lnTo>
                <a:lnTo>
                  <a:pt x="62" y="24"/>
                </a:lnTo>
                <a:lnTo>
                  <a:pt x="66" y="24"/>
                </a:lnTo>
                <a:lnTo>
                  <a:pt x="66" y="24"/>
                </a:lnTo>
                <a:lnTo>
                  <a:pt x="66" y="24"/>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62" name="Freeform 169"/>
          <p:cNvSpPr>
            <a:spLocks/>
          </p:cNvSpPr>
          <p:nvPr/>
        </p:nvSpPr>
        <p:spPr bwMode="auto">
          <a:xfrm>
            <a:off x="4776788" y="4229100"/>
            <a:ext cx="21431" cy="35719"/>
          </a:xfrm>
          <a:custGeom>
            <a:avLst/>
            <a:gdLst>
              <a:gd name="T0" fmla="*/ 0 w 18"/>
              <a:gd name="T1" fmla="*/ 18 h 30"/>
              <a:gd name="T2" fmla="*/ 0 w 18"/>
              <a:gd name="T3" fmla="*/ 22 h 30"/>
              <a:gd name="T4" fmla="*/ 0 w 18"/>
              <a:gd name="T5" fmla="*/ 22 h 30"/>
              <a:gd name="T6" fmla="*/ 0 w 18"/>
              <a:gd name="T7" fmla="*/ 18 h 30"/>
              <a:gd name="T8" fmla="*/ 0 w 18"/>
              <a:gd name="T9" fmla="*/ 18 h 30"/>
              <a:gd name="T10" fmla="*/ 0 w 18"/>
              <a:gd name="T11" fmla="*/ 18 h 30"/>
              <a:gd name="T12" fmla="*/ 0 w 18"/>
              <a:gd name="T13" fmla="*/ 18 h 30"/>
              <a:gd name="T14" fmla="*/ 0 w 18"/>
              <a:gd name="T15" fmla="*/ 14 h 30"/>
              <a:gd name="T16" fmla="*/ 0 w 18"/>
              <a:gd name="T17" fmla="*/ 14 h 30"/>
              <a:gd name="T18" fmla="*/ 0 w 18"/>
              <a:gd name="T19" fmla="*/ 14 h 30"/>
              <a:gd name="T20" fmla="*/ 0 w 18"/>
              <a:gd name="T21" fmla="*/ 14 h 30"/>
              <a:gd name="T22" fmla="*/ 0 w 18"/>
              <a:gd name="T23" fmla="*/ 12 h 30"/>
              <a:gd name="T24" fmla="*/ 4 w 18"/>
              <a:gd name="T25" fmla="*/ 12 h 30"/>
              <a:gd name="T26" fmla="*/ 4 w 18"/>
              <a:gd name="T27" fmla="*/ 12 h 30"/>
              <a:gd name="T28" fmla="*/ 4 w 18"/>
              <a:gd name="T29" fmla="*/ 8 h 30"/>
              <a:gd name="T30" fmla="*/ 4 w 18"/>
              <a:gd name="T31" fmla="*/ 8 h 30"/>
              <a:gd name="T32" fmla="*/ 4 w 18"/>
              <a:gd name="T33" fmla="*/ 8 h 30"/>
              <a:gd name="T34" fmla="*/ 4 w 18"/>
              <a:gd name="T35" fmla="*/ 8 h 30"/>
              <a:gd name="T36" fmla="*/ 4 w 18"/>
              <a:gd name="T37" fmla="*/ 8 h 30"/>
              <a:gd name="T38" fmla="*/ 4 w 18"/>
              <a:gd name="T39" fmla="*/ 4 h 30"/>
              <a:gd name="T40" fmla="*/ 6 w 18"/>
              <a:gd name="T41" fmla="*/ 0 h 30"/>
              <a:gd name="T42" fmla="*/ 6 w 18"/>
              <a:gd name="T43" fmla="*/ 0 h 30"/>
              <a:gd name="T44" fmla="*/ 10 w 18"/>
              <a:gd name="T45" fmla="*/ 4 h 30"/>
              <a:gd name="T46" fmla="*/ 10 w 18"/>
              <a:gd name="T47" fmla="*/ 4 h 30"/>
              <a:gd name="T48" fmla="*/ 14 w 18"/>
              <a:gd name="T49" fmla="*/ 4 h 30"/>
              <a:gd name="T50" fmla="*/ 14 w 18"/>
              <a:gd name="T51" fmla="*/ 4 h 30"/>
              <a:gd name="T52" fmla="*/ 14 w 18"/>
              <a:gd name="T53" fmla="*/ 8 h 30"/>
              <a:gd name="T54" fmla="*/ 14 w 18"/>
              <a:gd name="T55" fmla="*/ 4 h 30"/>
              <a:gd name="T56" fmla="*/ 14 w 18"/>
              <a:gd name="T57" fmla="*/ 8 h 30"/>
              <a:gd name="T58" fmla="*/ 18 w 18"/>
              <a:gd name="T59" fmla="*/ 8 h 30"/>
              <a:gd name="T60" fmla="*/ 18 w 18"/>
              <a:gd name="T61" fmla="*/ 8 h 30"/>
              <a:gd name="T62" fmla="*/ 18 w 18"/>
              <a:gd name="T63" fmla="*/ 12 h 30"/>
              <a:gd name="T64" fmla="*/ 18 w 18"/>
              <a:gd name="T65" fmla="*/ 14 h 30"/>
              <a:gd name="T66" fmla="*/ 18 w 18"/>
              <a:gd name="T67" fmla="*/ 14 h 30"/>
              <a:gd name="T68" fmla="*/ 18 w 18"/>
              <a:gd name="T69" fmla="*/ 14 h 30"/>
              <a:gd name="T70" fmla="*/ 18 w 18"/>
              <a:gd name="T71" fmla="*/ 22 h 30"/>
              <a:gd name="T72" fmla="*/ 18 w 18"/>
              <a:gd name="T73" fmla="*/ 22 h 30"/>
              <a:gd name="T74" fmla="*/ 18 w 18"/>
              <a:gd name="T75" fmla="*/ 22 h 30"/>
              <a:gd name="T76" fmla="*/ 14 w 18"/>
              <a:gd name="T77" fmla="*/ 22 h 30"/>
              <a:gd name="T78" fmla="*/ 14 w 18"/>
              <a:gd name="T79" fmla="*/ 26 h 30"/>
              <a:gd name="T80" fmla="*/ 14 w 18"/>
              <a:gd name="T81" fmla="*/ 26 h 30"/>
              <a:gd name="T82" fmla="*/ 14 w 18"/>
              <a:gd name="T83" fmla="*/ 26 h 30"/>
              <a:gd name="T84" fmla="*/ 14 w 18"/>
              <a:gd name="T85" fmla="*/ 30 h 30"/>
              <a:gd name="T86" fmla="*/ 14 w 18"/>
              <a:gd name="T87" fmla="*/ 30 h 30"/>
              <a:gd name="T88" fmla="*/ 14 w 18"/>
              <a:gd name="T89" fmla="*/ 30 h 30"/>
              <a:gd name="T90" fmla="*/ 14 w 18"/>
              <a:gd name="T91" fmla="*/ 30 h 30"/>
              <a:gd name="T92" fmla="*/ 14 w 18"/>
              <a:gd name="T93" fmla="*/ 30 h 30"/>
              <a:gd name="T94" fmla="*/ 14 w 18"/>
              <a:gd name="T95" fmla="*/ 30 h 30"/>
              <a:gd name="T96" fmla="*/ 10 w 18"/>
              <a:gd name="T97" fmla="*/ 30 h 30"/>
              <a:gd name="T98" fmla="*/ 10 w 18"/>
              <a:gd name="T99" fmla="*/ 30 h 30"/>
              <a:gd name="T100" fmla="*/ 6 w 18"/>
              <a:gd name="T101" fmla="*/ 30 h 30"/>
              <a:gd name="T102" fmla="*/ 6 w 18"/>
              <a:gd name="T103" fmla="*/ 30 h 30"/>
              <a:gd name="T104" fmla="*/ 4 w 18"/>
              <a:gd name="T105" fmla="*/ 30 h 30"/>
              <a:gd name="T106" fmla="*/ 4 w 18"/>
              <a:gd name="T107" fmla="*/ 30 h 30"/>
              <a:gd name="T108" fmla="*/ 4 w 18"/>
              <a:gd name="T109" fmla="*/ 26 h 30"/>
              <a:gd name="T110" fmla="*/ 4 w 18"/>
              <a:gd name="T111" fmla="*/ 22 h 30"/>
              <a:gd name="T112" fmla="*/ 0 w 18"/>
              <a:gd name="T113" fmla="*/ 22 h 30"/>
              <a:gd name="T114" fmla="*/ 0 w 18"/>
              <a:gd name="T115" fmla="*/ 18 h 30"/>
              <a:gd name="T116" fmla="*/ 0 w 18"/>
              <a:gd name="T117" fmla="*/ 18 h 30"/>
              <a:gd name="T118" fmla="*/ 0 w 18"/>
              <a:gd name="T119" fmla="*/ 1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 h="30">
                <a:moveTo>
                  <a:pt x="0" y="18"/>
                </a:moveTo>
                <a:lnTo>
                  <a:pt x="0" y="22"/>
                </a:lnTo>
                <a:lnTo>
                  <a:pt x="0" y="22"/>
                </a:lnTo>
                <a:lnTo>
                  <a:pt x="0" y="18"/>
                </a:lnTo>
                <a:lnTo>
                  <a:pt x="0" y="18"/>
                </a:lnTo>
                <a:lnTo>
                  <a:pt x="0" y="18"/>
                </a:lnTo>
                <a:lnTo>
                  <a:pt x="0" y="18"/>
                </a:lnTo>
                <a:lnTo>
                  <a:pt x="0" y="14"/>
                </a:lnTo>
                <a:lnTo>
                  <a:pt x="0" y="14"/>
                </a:lnTo>
                <a:lnTo>
                  <a:pt x="0" y="14"/>
                </a:lnTo>
                <a:lnTo>
                  <a:pt x="0" y="14"/>
                </a:lnTo>
                <a:lnTo>
                  <a:pt x="0" y="12"/>
                </a:lnTo>
                <a:lnTo>
                  <a:pt x="4" y="12"/>
                </a:lnTo>
                <a:lnTo>
                  <a:pt x="4" y="12"/>
                </a:lnTo>
                <a:lnTo>
                  <a:pt x="4" y="8"/>
                </a:lnTo>
                <a:lnTo>
                  <a:pt x="4" y="8"/>
                </a:lnTo>
                <a:lnTo>
                  <a:pt x="4" y="8"/>
                </a:lnTo>
                <a:lnTo>
                  <a:pt x="4" y="8"/>
                </a:lnTo>
                <a:lnTo>
                  <a:pt x="4" y="8"/>
                </a:lnTo>
                <a:lnTo>
                  <a:pt x="4" y="4"/>
                </a:lnTo>
                <a:lnTo>
                  <a:pt x="6" y="0"/>
                </a:lnTo>
                <a:lnTo>
                  <a:pt x="6" y="0"/>
                </a:lnTo>
                <a:lnTo>
                  <a:pt x="10" y="4"/>
                </a:lnTo>
                <a:lnTo>
                  <a:pt x="10" y="4"/>
                </a:lnTo>
                <a:lnTo>
                  <a:pt x="14" y="4"/>
                </a:lnTo>
                <a:lnTo>
                  <a:pt x="14" y="4"/>
                </a:lnTo>
                <a:lnTo>
                  <a:pt x="14" y="8"/>
                </a:lnTo>
                <a:lnTo>
                  <a:pt x="14" y="4"/>
                </a:lnTo>
                <a:lnTo>
                  <a:pt x="14" y="8"/>
                </a:lnTo>
                <a:lnTo>
                  <a:pt x="18" y="8"/>
                </a:lnTo>
                <a:lnTo>
                  <a:pt x="18" y="8"/>
                </a:lnTo>
                <a:lnTo>
                  <a:pt x="18" y="12"/>
                </a:lnTo>
                <a:lnTo>
                  <a:pt x="18" y="14"/>
                </a:lnTo>
                <a:lnTo>
                  <a:pt x="18" y="14"/>
                </a:lnTo>
                <a:lnTo>
                  <a:pt x="18" y="14"/>
                </a:lnTo>
                <a:lnTo>
                  <a:pt x="18" y="22"/>
                </a:lnTo>
                <a:lnTo>
                  <a:pt x="18" y="22"/>
                </a:lnTo>
                <a:lnTo>
                  <a:pt x="18" y="22"/>
                </a:lnTo>
                <a:lnTo>
                  <a:pt x="14" y="22"/>
                </a:lnTo>
                <a:lnTo>
                  <a:pt x="14" y="26"/>
                </a:lnTo>
                <a:lnTo>
                  <a:pt x="14" y="26"/>
                </a:lnTo>
                <a:lnTo>
                  <a:pt x="14" y="26"/>
                </a:lnTo>
                <a:lnTo>
                  <a:pt x="14" y="30"/>
                </a:lnTo>
                <a:lnTo>
                  <a:pt x="14" y="30"/>
                </a:lnTo>
                <a:lnTo>
                  <a:pt x="14" y="30"/>
                </a:lnTo>
                <a:lnTo>
                  <a:pt x="14" y="30"/>
                </a:lnTo>
                <a:lnTo>
                  <a:pt x="14" y="30"/>
                </a:lnTo>
                <a:lnTo>
                  <a:pt x="14" y="30"/>
                </a:lnTo>
                <a:lnTo>
                  <a:pt x="10" y="30"/>
                </a:lnTo>
                <a:lnTo>
                  <a:pt x="10" y="30"/>
                </a:lnTo>
                <a:lnTo>
                  <a:pt x="6" y="30"/>
                </a:lnTo>
                <a:lnTo>
                  <a:pt x="6" y="30"/>
                </a:lnTo>
                <a:lnTo>
                  <a:pt x="4" y="30"/>
                </a:lnTo>
                <a:lnTo>
                  <a:pt x="4" y="30"/>
                </a:lnTo>
                <a:lnTo>
                  <a:pt x="4" y="26"/>
                </a:lnTo>
                <a:lnTo>
                  <a:pt x="4" y="22"/>
                </a:lnTo>
                <a:lnTo>
                  <a:pt x="0" y="22"/>
                </a:lnTo>
                <a:lnTo>
                  <a:pt x="0" y="18"/>
                </a:lnTo>
                <a:lnTo>
                  <a:pt x="0" y="18"/>
                </a:lnTo>
                <a:lnTo>
                  <a:pt x="0" y="18"/>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63" name="Freeform 170"/>
          <p:cNvSpPr>
            <a:spLocks noEditPoints="1"/>
          </p:cNvSpPr>
          <p:nvPr/>
        </p:nvSpPr>
        <p:spPr bwMode="auto">
          <a:xfrm>
            <a:off x="4748212" y="3719512"/>
            <a:ext cx="188119" cy="216694"/>
          </a:xfrm>
          <a:custGeom>
            <a:avLst/>
            <a:gdLst>
              <a:gd name="T0" fmla="*/ 64 w 158"/>
              <a:gd name="T1" fmla="*/ 148 h 182"/>
              <a:gd name="T2" fmla="*/ 52 w 158"/>
              <a:gd name="T3" fmla="*/ 144 h 182"/>
              <a:gd name="T4" fmla="*/ 42 w 158"/>
              <a:gd name="T5" fmla="*/ 136 h 182"/>
              <a:gd name="T6" fmla="*/ 30 w 158"/>
              <a:gd name="T7" fmla="*/ 130 h 182"/>
              <a:gd name="T8" fmla="*/ 22 w 158"/>
              <a:gd name="T9" fmla="*/ 122 h 182"/>
              <a:gd name="T10" fmla="*/ 20 w 158"/>
              <a:gd name="T11" fmla="*/ 110 h 182"/>
              <a:gd name="T12" fmla="*/ 16 w 158"/>
              <a:gd name="T13" fmla="*/ 100 h 182"/>
              <a:gd name="T14" fmla="*/ 4 w 158"/>
              <a:gd name="T15" fmla="*/ 88 h 182"/>
              <a:gd name="T16" fmla="*/ 4 w 158"/>
              <a:gd name="T17" fmla="*/ 74 h 182"/>
              <a:gd name="T18" fmla="*/ 0 w 158"/>
              <a:gd name="T19" fmla="*/ 62 h 182"/>
              <a:gd name="T20" fmla="*/ 12 w 158"/>
              <a:gd name="T21" fmla="*/ 54 h 182"/>
              <a:gd name="T22" fmla="*/ 20 w 158"/>
              <a:gd name="T23" fmla="*/ 44 h 182"/>
              <a:gd name="T24" fmla="*/ 22 w 158"/>
              <a:gd name="T25" fmla="*/ 34 h 182"/>
              <a:gd name="T26" fmla="*/ 20 w 158"/>
              <a:gd name="T27" fmla="*/ 22 h 182"/>
              <a:gd name="T28" fmla="*/ 22 w 158"/>
              <a:gd name="T29" fmla="*/ 10 h 182"/>
              <a:gd name="T30" fmla="*/ 20 w 158"/>
              <a:gd name="T31" fmla="*/ 0 h 182"/>
              <a:gd name="T32" fmla="*/ 34 w 158"/>
              <a:gd name="T33" fmla="*/ 0 h 182"/>
              <a:gd name="T34" fmla="*/ 56 w 158"/>
              <a:gd name="T35" fmla="*/ 0 h 182"/>
              <a:gd name="T36" fmla="*/ 80 w 158"/>
              <a:gd name="T37" fmla="*/ 6 h 182"/>
              <a:gd name="T38" fmla="*/ 98 w 158"/>
              <a:gd name="T39" fmla="*/ 18 h 182"/>
              <a:gd name="T40" fmla="*/ 112 w 158"/>
              <a:gd name="T41" fmla="*/ 30 h 182"/>
              <a:gd name="T42" fmla="*/ 120 w 158"/>
              <a:gd name="T43" fmla="*/ 40 h 182"/>
              <a:gd name="T44" fmla="*/ 132 w 158"/>
              <a:gd name="T45" fmla="*/ 54 h 182"/>
              <a:gd name="T46" fmla="*/ 142 w 158"/>
              <a:gd name="T47" fmla="*/ 66 h 182"/>
              <a:gd name="T48" fmla="*/ 136 w 158"/>
              <a:gd name="T49" fmla="*/ 80 h 182"/>
              <a:gd name="T50" fmla="*/ 140 w 158"/>
              <a:gd name="T51" fmla="*/ 92 h 182"/>
              <a:gd name="T52" fmla="*/ 146 w 158"/>
              <a:gd name="T53" fmla="*/ 104 h 182"/>
              <a:gd name="T54" fmla="*/ 142 w 158"/>
              <a:gd name="T55" fmla="*/ 114 h 182"/>
              <a:gd name="T56" fmla="*/ 142 w 158"/>
              <a:gd name="T57" fmla="*/ 126 h 182"/>
              <a:gd name="T58" fmla="*/ 142 w 158"/>
              <a:gd name="T59" fmla="*/ 134 h 182"/>
              <a:gd name="T60" fmla="*/ 146 w 158"/>
              <a:gd name="T61" fmla="*/ 140 h 182"/>
              <a:gd name="T62" fmla="*/ 150 w 158"/>
              <a:gd name="T63" fmla="*/ 156 h 182"/>
              <a:gd name="T64" fmla="*/ 158 w 158"/>
              <a:gd name="T65" fmla="*/ 156 h 182"/>
              <a:gd name="T66" fmla="*/ 150 w 158"/>
              <a:gd name="T67" fmla="*/ 166 h 182"/>
              <a:gd name="T68" fmla="*/ 142 w 158"/>
              <a:gd name="T69" fmla="*/ 174 h 182"/>
              <a:gd name="T70" fmla="*/ 128 w 158"/>
              <a:gd name="T71" fmla="*/ 178 h 182"/>
              <a:gd name="T72" fmla="*/ 120 w 158"/>
              <a:gd name="T73" fmla="*/ 178 h 182"/>
              <a:gd name="T74" fmla="*/ 116 w 158"/>
              <a:gd name="T75" fmla="*/ 182 h 182"/>
              <a:gd name="T76" fmla="*/ 102 w 158"/>
              <a:gd name="T77" fmla="*/ 182 h 182"/>
              <a:gd name="T78" fmla="*/ 86 w 158"/>
              <a:gd name="T79" fmla="*/ 182 h 182"/>
              <a:gd name="T80" fmla="*/ 80 w 158"/>
              <a:gd name="T81" fmla="*/ 174 h 182"/>
              <a:gd name="T82" fmla="*/ 80 w 158"/>
              <a:gd name="T83" fmla="*/ 164 h 182"/>
              <a:gd name="T84" fmla="*/ 76 w 158"/>
              <a:gd name="T85" fmla="*/ 152 h 182"/>
              <a:gd name="T86" fmla="*/ 72 w 158"/>
              <a:gd name="T87" fmla="*/ 144 h 182"/>
              <a:gd name="T88" fmla="*/ 150 w 158"/>
              <a:gd name="T89" fmla="*/ 70 h 182"/>
              <a:gd name="T90" fmla="*/ 150 w 158"/>
              <a:gd name="T91" fmla="*/ 74 h 182"/>
              <a:gd name="T92" fmla="*/ 142 w 158"/>
              <a:gd name="T93" fmla="*/ 84 h 182"/>
              <a:gd name="T94" fmla="*/ 146 w 158"/>
              <a:gd name="T95" fmla="*/ 88 h 182"/>
              <a:gd name="T96" fmla="*/ 142 w 158"/>
              <a:gd name="T97" fmla="*/ 84 h 182"/>
              <a:gd name="T98" fmla="*/ 150 w 158"/>
              <a:gd name="T99" fmla="*/ 114 h 182"/>
              <a:gd name="T100" fmla="*/ 146 w 158"/>
              <a:gd name="T101" fmla="*/ 118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8" h="182">
                <a:moveTo>
                  <a:pt x="72" y="144"/>
                </a:moveTo>
                <a:lnTo>
                  <a:pt x="68" y="144"/>
                </a:lnTo>
                <a:lnTo>
                  <a:pt x="68" y="148"/>
                </a:lnTo>
                <a:lnTo>
                  <a:pt x="64" y="148"/>
                </a:lnTo>
                <a:lnTo>
                  <a:pt x="60" y="148"/>
                </a:lnTo>
                <a:lnTo>
                  <a:pt x="60" y="144"/>
                </a:lnTo>
                <a:lnTo>
                  <a:pt x="56" y="144"/>
                </a:lnTo>
                <a:lnTo>
                  <a:pt x="52" y="144"/>
                </a:lnTo>
                <a:lnTo>
                  <a:pt x="50" y="140"/>
                </a:lnTo>
                <a:lnTo>
                  <a:pt x="46" y="140"/>
                </a:lnTo>
                <a:lnTo>
                  <a:pt x="46" y="136"/>
                </a:lnTo>
                <a:lnTo>
                  <a:pt x="42" y="136"/>
                </a:lnTo>
                <a:lnTo>
                  <a:pt x="38" y="136"/>
                </a:lnTo>
                <a:lnTo>
                  <a:pt x="38" y="134"/>
                </a:lnTo>
                <a:lnTo>
                  <a:pt x="34" y="134"/>
                </a:lnTo>
                <a:lnTo>
                  <a:pt x="30" y="130"/>
                </a:lnTo>
                <a:lnTo>
                  <a:pt x="26" y="130"/>
                </a:lnTo>
                <a:lnTo>
                  <a:pt x="22" y="130"/>
                </a:lnTo>
                <a:lnTo>
                  <a:pt x="22" y="126"/>
                </a:lnTo>
                <a:lnTo>
                  <a:pt x="22" y="122"/>
                </a:lnTo>
                <a:lnTo>
                  <a:pt x="22" y="118"/>
                </a:lnTo>
                <a:lnTo>
                  <a:pt x="20" y="118"/>
                </a:lnTo>
                <a:lnTo>
                  <a:pt x="20" y="114"/>
                </a:lnTo>
                <a:lnTo>
                  <a:pt x="20" y="110"/>
                </a:lnTo>
                <a:lnTo>
                  <a:pt x="16" y="110"/>
                </a:lnTo>
                <a:lnTo>
                  <a:pt x="16" y="108"/>
                </a:lnTo>
                <a:lnTo>
                  <a:pt x="16" y="104"/>
                </a:lnTo>
                <a:lnTo>
                  <a:pt x="16" y="100"/>
                </a:lnTo>
                <a:lnTo>
                  <a:pt x="12" y="100"/>
                </a:lnTo>
                <a:lnTo>
                  <a:pt x="8" y="96"/>
                </a:lnTo>
                <a:lnTo>
                  <a:pt x="4" y="92"/>
                </a:lnTo>
                <a:lnTo>
                  <a:pt x="4" y="88"/>
                </a:lnTo>
                <a:lnTo>
                  <a:pt x="4" y="84"/>
                </a:lnTo>
                <a:lnTo>
                  <a:pt x="4" y="80"/>
                </a:lnTo>
                <a:lnTo>
                  <a:pt x="4" y="78"/>
                </a:lnTo>
                <a:lnTo>
                  <a:pt x="4" y="74"/>
                </a:lnTo>
                <a:lnTo>
                  <a:pt x="4" y="70"/>
                </a:lnTo>
                <a:lnTo>
                  <a:pt x="0" y="70"/>
                </a:lnTo>
                <a:lnTo>
                  <a:pt x="0" y="66"/>
                </a:lnTo>
                <a:lnTo>
                  <a:pt x="0" y="62"/>
                </a:lnTo>
                <a:lnTo>
                  <a:pt x="4" y="62"/>
                </a:lnTo>
                <a:lnTo>
                  <a:pt x="4" y="58"/>
                </a:lnTo>
                <a:lnTo>
                  <a:pt x="8" y="58"/>
                </a:lnTo>
                <a:lnTo>
                  <a:pt x="12" y="54"/>
                </a:lnTo>
                <a:lnTo>
                  <a:pt x="16" y="50"/>
                </a:lnTo>
                <a:lnTo>
                  <a:pt x="16" y="48"/>
                </a:lnTo>
                <a:lnTo>
                  <a:pt x="16" y="44"/>
                </a:lnTo>
                <a:lnTo>
                  <a:pt x="20" y="44"/>
                </a:lnTo>
                <a:lnTo>
                  <a:pt x="20" y="40"/>
                </a:lnTo>
                <a:lnTo>
                  <a:pt x="22" y="40"/>
                </a:lnTo>
                <a:lnTo>
                  <a:pt x="22" y="36"/>
                </a:lnTo>
                <a:lnTo>
                  <a:pt x="22" y="34"/>
                </a:lnTo>
                <a:lnTo>
                  <a:pt x="20" y="34"/>
                </a:lnTo>
                <a:lnTo>
                  <a:pt x="16" y="34"/>
                </a:lnTo>
                <a:lnTo>
                  <a:pt x="20" y="26"/>
                </a:lnTo>
                <a:lnTo>
                  <a:pt x="20" y="22"/>
                </a:lnTo>
                <a:lnTo>
                  <a:pt x="22" y="22"/>
                </a:lnTo>
                <a:lnTo>
                  <a:pt x="22" y="18"/>
                </a:lnTo>
                <a:lnTo>
                  <a:pt x="22" y="14"/>
                </a:lnTo>
                <a:lnTo>
                  <a:pt x="22" y="10"/>
                </a:lnTo>
                <a:lnTo>
                  <a:pt x="22" y="6"/>
                </a:lnTo>
                <a:lnTo>
                  <a:pt x="20" y="6"/>
                </a:lnTo>
                <a:lnTo>
                  <a:pt x="20" y="4"/>
                </a:lnTo>
                <a:lnTo>
                  <a:pt x="20" y="0"/>
                </a:lnTo>
                <a:lnTo>
                  <a:pt x="22" y="0"/>
                </a:lnTo>
                <a:lnTo>
                  <a:pt x="26" y="0"/>
                </a:lnTo>
                <a:lnTo>
                  <a:pt x="30" y="0"/>
                </a:lnTo>
                <a:lnTo>
                  <a:pt x="34" y="0"/>
                </a:lnTo>
                <a:lnTo>
                  <a:pt x="46" y="0"/>
                </a:lnTo>
                <a:lnTo>
                  <a:pt x="50" y="0"/>
                </a:lnTo>
                <a:lnTo>
                  <a:pt x="52" y="0"/>
                </a:lnTo>
                <a:lnTo>
                  <a:pt x="56" y="0"/>
                </a:lnTo>
                <a:lnTo>
                  <a:pt x="60" y="0"/>
                </a:lnTo>
                <a:lnTo>
                  <a:pt x="68" y="0"/>
                </a:lnTo>
                <a:lnTo>
                  <a:pt x="76" y="4"/>
                </a:lnTo>
                <a:lnTo>
                  <a:pt x="80" y="6"/>
                </a:lnTo>
                <a:lnTo>
                  <a:pt x="86" y="10"/>
                </a:lnTo>
                <a:lnTo>
                  <a:pt x="90" y="14"/>
                </a:lnTo>
                <a:lnTo>
                  <a:pt x="94" y="18"/>
                </a:lnTo>
                <a:lnTo>
                  <a:pt x="98" y="18"/>
                </a:lnTo>
                <a:lnTo>
                  <a:pt x="98" y="22"/>
                </a:lnTo>
                <a:lnTo>
                  <a:pt x="102" y="22"/>
                </a:lnTo>
                <a:lnTo>
                  <a:pt x="106" y="26"/>
                </a:lnTo>
                <a:lnTo>
                  <a:pt x="112" y="30"/>
                </a:lnTo>
                <a:lnTo>
                  <a:pt x="116" y="34"/>
                </a:lnTo>
                <a:lnTo>
                  <a:pt x="120" y="34"/>
                </a:lnTo>
                <a:lnTo>
                  <a:pt x="120" y="36"/>
                </a:lnTo>
                <a:lnTo>
                  <a:pt x="120" y="40"/>
                </a:lnTo>
                <a:lnTo>
                  <a:pt x="120" y="44"/>
                </a:lnTo>
                <a:lnTo>
                  <a:pt x="124" y="44"/>
                </a:lnTo>
                <a:lnTo>
                  <a:pt x="132" y="50"/>
                </a:lnTo>
                <a:lnTo>
                  <a:pt x="132" y="54"/>
                </a:lnTo>
                <a:lnTo>
                  <a:pt x="136" y="54"/>
                </a:lnTo>
                <a:lnTo>
                  <a:pt x="140" y="58"/>
                </a:lnTo>
                <a:lnTo>
                  <a:pt x="142" y="62"/>
                </a:lnTo>
                <a:lnTo>
                  <a:pt x="142" y="66"/>
                </a:lnTo>
                <a:lnTo>
                  <a:pt x="140" y="70"/>
                </a:lnTo>
                <a:lnTo>
                  <a:pt x="140" y="74"/>
                </a:lnTo>
                <a:lnTo>
                  <a:pt x="140" y="78"/>
                </a:lnTo>
                <a:lnTo>
                  <a:pt x="136" y="80"/>
                </a:lnTo>
                <a:lnTo>
                  <a:pt x="136" y="84"/>
                </a:lnTo>
                <a:lnTo>
                  <a:pt x="136" y="88"/>
                </a:lnTo>
                <a:lnTo>
                  <a:pt x="136" y="92"/>
                </a:lnTo>
                <a:lnTo>
                  <a:pt x="140" y="92"/>
                </a:lnTo>
                <a:lnTo>
                  <a:pt x="142" y="96"/>
                </a:lnTo>
                <a:lnTo>
                  <a:pt x="142" y="100"/>
                </a:lnTo>
                <a:lnTo>
                  <a:pt x="146" y="100"/>
                </a:lnTo>
                <a:lnTo>
                  <a:pt x="146" y="104"/>
                </a:lnTo>
                <a:lnTo>
                  <a:pt x="146" y="108"/>
                </a:lnTo>
                <a:lnTo>
                  <a:pt x="142" y="108"/>
                </a:lnTo>
                <a:lnTo>
                  <a:pt x="142" y="110"/>
                </a:lnTo>
                <a:lnTo>
                  <a:pt x="142" y="114"/>
                </a:lnTo>
                <a:lnTo>
                  <a:pt x="146" y="114"/>
                </a:lnTo>
                <a:lnTo>
                  <a:pt x="146" y="118"/>
                </a:lnTo>
                <a:lnTo>
                  <a:pt x="142" y="122"/>
                </a:lnTo>
                <a:lnTo>
                  <a:pt x="142" y="126"/>
                </a:lnTo>
                <a:lnTo>
                  <a:pt x="142" y="122"/>
                </a:lnTo>
                <a:lnTo>
                  <a:pt x="142" y="126"/>
                </a:lnTo>
                <a:lnTo>
                  <a:pt x="142" y="130"/>
                </a:lnTo>
                <a:lnTo>
                  <a:pt x="142" y="134"/>
                </a:lnTo>
                <a:lnTo>
                  <a:pt x="146" y="134"/>
                </a:lnTo>
                <a:lnTo>
                  <a:pt x="142" y="134"/>
                </a:lnTo>
                <a:lnTo>
                  <a:pt x="146" y="136"/>
                </a:lnTo>
                <a:lnTo>
                  <a:pt x="146" y="140"/>
                </a:lnTo>
                <a:lnTo>
                  <a:pt x="150" y="144"/>
                </a:lnTo>
                <a:lnTo>
                  <a:pt x="150" y="148"/>
                </a:lnTo>
                <a:lnTo>
                  <a:pt x="150" y="152"/>
                </a:lnTo>
                <a:lnTo>
                  <a:pt x="150" y="156"/>
                </a:lnTo>
                <a:lnTo>
                  <a:pt x="154" y="156"/>
                </a:lnTo>
                <a:lnTo>
                  <a:pt x="154" y="160"/>
                </a:lnTo>
                <a:lnTo>
                  <a:pt x="158" y="160"/>
                </a:lnTo>
                <a:lnTo>
                  <a:pt x="158" y="156"/>
                </a:lnTo>
                <a:lnTo>
                  <a:pt x="158" y="160"/>
                </a:lnTo>
                <a:lnTo>
                  <a:pt x="158" y="164"/>
                </a:lnTo>
                <a:lnTo>
                  <a:pt x="154" y="166"/>
                </a:lnTo>
                <a:lnTo>
                  <a:pt x="150" y="166"/>
                </a:lnTo>
                <a:lnTo>
                  <a:pt x="150" y="170"/>
                </a:lnTo>
                <a:lnTo>
                  <a:pt x="146" y="170"/>
                </a:lnTo>
                <a:lnTo>
                  <a:pt x="142" y="170"/>
                </a:lnTo>
                <a:lnTo>
                  <a:pt x="142" y="174"/>
                </a:lnTo>
                <a:lnTo>
                  <a:pt x="140" y="174"/>
                </a:lnTo>
                <a:lnTo>
                  <a:pt x="136" y="174"/>
                </a:lnTo>
                <a:lnTo>
                  <a:pt x="132" y="178"/>
                </a:lnTo>
                <a:lnTo>
                  <a:pt x="128" y="178"/>
                </a:lnTo>
                <a:lnTo>
                  <a:pt x="128" y="174"/>
                </a:lnTo>
                <a:lnTo>
                  <a:pt x="124" y="174"/>
                </a:lnTo>
                <a:lnTo>
                  <a:pt x="124" y="178"/>
                </a:lnTo>
                <a:lnTo>
                  <a:pt x="120" y="178"/>
                </a:lnTo>
                <a:lnTo>
                  <a:pt x="124" y="178"/>
                </a:lnTo>
                <a:lnTo>
                  <a:pt x="124" y="182"/>
                </a:lnTo>
                <a:lnTo>
                  <a:pt x="120" y="182"/>
                </a:lnTo>
                <a:lnTo>
                  <a:pt x="116" y="182"/>
                </a:lnTo>
                <a:lnTo>
                  <a:pt x="112" y="182"/>
                </a:lnTo>
                <a:lnTo>
                  <a:pt x="110" y="182"/>
                </a:lnTo>
                <a:lnTo>
                  <a:pt x="106" y="182"/>
                </a:lnTo>
                <a:lnTo>
                  <a:pt x="102" y="182"/>
                </a:lnTo>
                <a:lnTo>
                  <a:pt x="98" y="182"/>
                </a:lnTo>
                <a:lnTo>
                  <a:pt x="94" y="178"/>
                </a:lnTo>
                <a:lnTo>
                  <a:pt x="90" y="182"/>
                </a:lnTo>
                <a:lnTo>
                  <a:pt x="86" y="182"/>
                </a:lnTo>
                <a:lnTo>
                  <a:pt x="82" y="182"/>
                </a:lnTo>
                <a:lnTo>
                  <a:pt x="82" y="178"/>
                </a:lnTo>
                <a:lnTo>
                  <a:pt x="80" y="178"/>
                </a:lnTo>
                <a:lnTo>
                  <a:pt x="80" y="174"/>
                </a:lnTo>
                <a:lnTo>
                  <a:pt x="76" y="174"/>
                </a:lnTo>
                <a:lnTo>
                  <a:pt x="76" y="170"/>
                </a:lnTo>
                <a:lnTo>
                  <a:pt x="80" y="166"/>
                </a:lnTo>
                <a:lnTo>
                  <a:pt x="80" y="164"/>
                </a:lnTo>
                <a:lnTo>
                  <a:pt x="76" y="164"/>
                </a:lnTo>
                <a:lnTo>
                  <a:pt x="76" y="160"/>
                </a:lnTo>
                <a:lnTo>
                  <a:pt x="76" y="156"/>
                </a:lnTo>
                <a:lnTo>
                  <a:pt x="76" y="152"/>
                </a:lnTo>
                <a:lnTo>
                  <a:pt x="72" y="152"/>
                </a:lnTo>
                <a:lnTo>
                  <a:pt x="72" y="148"/>
                </a:lnTo>
                <a:lnTo>
                  <a:pt x="72" y="144"/>
                </a:lnTo>
                <a:lnTo>
                  <a:pt x="72" y="144"/>
                </a:lnTo>
                <a:lnTo>
                  <a:pt x="72" y="144"/>
                </a:lnTo>
                <a:close/>
                <a:moveTo>
                  <a:pt x="150" y="70"/>
                </a:moveTo>
                <a:lnTo>
                  <a:pt x="150" y="66"/>
                </a:lnTo>
                <a:lnTo>
                  <a:pt x="150" y="70"/>
                </a:lnTo>
                <a:lnTo>
                  <a:pt x="150" y="74"/>
                </a:lnTo>
                <a:lnTo>
                  <a:pt x="150" y="78"/>
                </a:lnTo>
                <a:lnTo>
                  <a:pt x="146" y="74"/>
                </a:lnTo>
                <a:lnTo>
                  <a:pt x="150" y="74"/>
                </a:lnTo>
                <a:lnTo>
                  <a:pt x="150" y="70"/>
                </a:lnTo>
                <a:lnTo>
                  <a:pt x="150" y="70"/>
                </a:lnTo>
                <a:lnTo>
                  <a:pt x="150" y="70"/>
                </a:lnTo>
                <a:close/>
                <a:moveTo>
                  <a:pt x="142" y="84"/>
                </a:moveTo>
                <a:lnTo>
                  <a:pt x="142" y="80"/>
                </a:lnTo>
                <a:lnTo>
                  <a:pt x="142" y="84"/>
                </a:lnTo>
                <a:lnTo>
                  <a:pt x="146" y="84"/>
                </a:lnTo>
                <a:lnTo>
                  <a:pt x="146" y="88"/>
                </a:lnTo>
                <a:lnTo>
                  <a:pt x="146" y="92"/>
                </a:lnTo>
                <a:lnTo>
                  <a:pt x="146" y="88"/>
                </a:lnTo>
                <a:lnTo>
                  <a:pt x="142" y="88"/>
                </a:lnTo>
                <a:lnTo>
                  <a:pt x="142" y="84"/>
                </a:lnTo>
                <a:lnTo>
                  <a:pt x="142" y="84"/>
                </a:lnTo>
                <a:lnTo>
                  <a:pt x="142" y="84"/>
                </a:lnTo>
                <a:close/>
                <a:moveTo>
                  <a:pt x="146" y="118"/>
                </a:moveTo>
                <a:lnTo>
                  <a:pt x="150" y="114"/>
                </a:lnTo>
                <a:lnTo>
                  <a:pt x="150" y="118"/>
                </a:lnTo>
                <a:lnTo>
                  <a:pt x="146" y="118"/>
                </a:lnTo>
                <a:lnTo>
                  <a:pt x="146" y="118"/>
                </a:lnTo>
                <a:lnTo>
                  <a:pt x="146" y="118"/>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64" name="Freeform 171"/>
          <p:cNvSpPr>
            <a:spLocks/>
          </p:cNvSpPr>
          <p:nvPr/>
        </p:nvSpPr>
        <p:spPr bwMode="auto">
          <a:xfrm>
            <a:off x="3971925" y="3417094"/>
            <a:ext cx="54769" cy="11906"/>
          </a:xfrm>
          <a:custGeom>
            <a:avLst/>
            <a:gdLst>
              <a:gd name="T0" fmla="*/ 4 w 46"/>
              <a:gd name="T1" fmla="*/ 6 h 10"/>
              <a:gd name="T2" fmla="*/ 4 w 46"/>
              <a:gd name="T3" fmla="*/ 6 h 10"/>
              <a:gd name="T4" fmla="*/ 4 w 46"/>
              <a:gd name="T5" fmla="*/ 6 h 10"/>
              <a:gd name="T6" fmla="*/ 8 w 46"/>
              <a:gd name="T7" fmla="*/ 10 h 10"/>
              <a:gd name="T8" fmla="*/ 8 w 46"/>
              <a:gd name="T9" fmla="*/ 6 h 10"/>
              <a:gd name="T10" fmla="*/ 12 w 46"/>
              <a:gd name="T11" fmla="*/ 6 h 10"/>
              <a:gd name="T12" fmla="*/ 12 w 46"/>
              <a:gd name="T13" fmla="*/ 6 h 10"/>
              <a:gd name="T14" fmla="*/ 8 w 46"/>
              <a:gd name="T15" fmla="*/ 6 h 10"/>
              <a:gd name="T16" fmla="*/ 12 w 46"/>
              <a:gd name="T17" fmla="*/ 6 h 10"/>
              <a:gd name="T18" fmla="*/ 20 w 46"/>
              <a:gd name="T19" fmla="*/ 6 h 10"/>
              <a:gd name="T20" fmla="*/ 24 w 46"/>
              <a:gd name="T21" fmla="*/ 6 h 10"/>
              <a:gd name="T22" fmla="*/ 24 w 46"/>
              <a:gd name="T23" fmla="*/ 6 h 10"/>
              <a:gd name="T24" fmla="*/ 24 w 46"/>
              <a:gd name="T25" fmla="*/ 2 h 10"/>
              <a:gd name="T26" fmla="*/ 24 w 46"/>
              <a:gd name="T27" fmla="*/ 6 h 10"/>
              <a:gd name="T28" fmla="*/ 20 w 46"/>
              <a:gd name="T29" fmla="*/ 2 h 10"/>
              <a:gd name="T30" fmla="*/ 12 w 46"/>
              <a:gd name="T31" fmla="*/ 6 h 10"/>
              <a:gd name="T32" fmla="*/ 12 w 46"/>
              <a:gd name="T33" fmla="*/ 6 h 10"/>
              <a:gd name="T34" fmla="*/ 8 w 46"/>
              <a:gd name="T35" fmla="*/ 6 h 10"/>
              <a:gd name="T36" fmla="*/ 4 w 46"/>
              <a:gd name="T37" fmla="*/ 6 h 10"/>
              <a:gd name="T38" fmla="*/ 4 w 46"/>
              <a:gd name="T39" fmla="*/ 2 h 10"/>
              <a:gd name="T40" fmla="*/ 12 w 46"/>
              <a:gd name="T41" fmla="*/ 2 h 10"/>
              <a:gd name="T42" fmla="*/ 20 w 46"/>
              <a:gd name="T43" fmla="*/ 2 h 10"/>
              <a:gd name="T44" fmla="*/ 20 w 46"/>
              <a:gd name="T45" fmla="*/ 2 h 10"/>
              <a:gd name="T46" fmla="*/ 20 w 46"/>
              <a:gd name="T47" fmla="*/ 0 h 10"/>
              <a:gd name="T48" fmla="*/ 24 w 46"/>
              <a:gd name="T49" fmla="*/ 0 h 10"/>
              <a:gd name="T50" fmla="*/ 24 w 46"/>
              <a:gd name="T51" fmla="*/ 0 h 10"/>
              <a:gd name="T52" fmla="*/ 26 w 46"/>
              <a:gd name="T53" fmla="*/ 0 h 10"/>
              <a:gd name="T54" fmla="*/ 30 w 46"/>
              <a:gd name="T55" fmla="*/ 0 h 10"/>
              <a:gd name="T56" fmla="*/ 30 w 46"/>
              <a:gd name="T57" fmla="*/ 0 h 10"/>
              <a:gd name="T58" fmla="*/ 30 w 46"/>
              <a:gd name="T59" fmla="*/ 2 h 10"/>
              <a:gd name="T60" fmla="*/ 30 w 46"/>
              <a:gd name="T61" fmla="*/ 2 h 10"/>
              <a:gd name="T62" fmla="*/ 34 w 46"/>
              <a:gd name="T63" fmla="*/ 2 h 10"/>
              <a:gd name="T64" fmla="*/ 34 w 46"/>
              <a:gd name="T65" fmla="*/ 2 h 10"/>
              <a:gd name="T66" fmla="*/ 34 w 46"/>
              <a:gd name="T67" fmla="*/ 2 h 10"/>
              <a:gd name="T68" fmla="*/ 34 w 46"/>
              <a:gd name="T69" fmla="*/ 6 h 10"/>
              <a:gd name="T70" fmla="*/ 38 w 46"/>
              <a:gd name="T71" fmla="*/ 2 h 10"/>
              <a:gd name="T72" fmla="*/ 42 w 46"/>
              <a:gd name="T73" fmla="*/ 2 h 10"/>
              <a:gd name="T74" fmla="*/ 42 w 46"/>
              <a:gd name="T75" fmla="*/ 2 h 10"/>
              <a:gd name="T76" fmla="*/ 46 w 46"/>
              <a:gd name="T77" fmla="*/ 2 h 10"/>
              <a:gd name="T78" fmla="*/ 46 w 46"/>
              <a:gd name="T79" fmla="*/ 6 h 10"/>
              <a:gd name="T80" fmla="*/ 42 w 46"/>
              <a:gd name="T81" fmla="*/ 6 h 10"/>
              <a:gd name="T82" fmla="*/ 42 w 46"/>
              <a:gd name="T83" fmla="*/ 6 h 10"/>
              <a:gd name="T84" fmla="*/ 38 w 46"/>
              <a:gd name="T85" fmla="*/ 10 h 10"/>
              <a:gd name="T86" fmla="*/ 38 w 46"/>
              <a:gd name="T87" fmla="*/ 10 h 10"/>
              <a:gd name="T88" fmla="*/ 34 w 46"/>
              <a:gd name="T89" fmla="*/ 6 h 10"/>
              <a:gd name="T90" fmla="*/ 30 w 46"/>
              <a:gd name="T91" fmla="*/ 6 h 10"/>
              <a:gd name="T92" fmla="*/ 30 w 46"/>
              <a:gd name="T93" fmla="*/ 6 h 10"/>
              <a:gd name="T94" fmla="*/ 26 w 46"/>
              <a:gd name="T95" fmla="*/ 6 h 10"/>
              <a:gd name="T96" fmla="*/ 26 w 46"/>
              <a:gd name="T97" fmla="*/ 2 h 10"/>
              <a:gd name="T98" fmla="*/ 26 w 46"/>
              <a:gd name="T99" fmla="*/ 2 h 10"/>
              <a:gd name="T100" fmla="*/ 24 w 46"/>
              <a:gd name="T101" fmla="*/ 2 h 10"/>
              <a:gd name="T102" fmla="*/ 24 w 46"/>
              <a:gd name="T103" fmla="*/ 6 h 10"/>
              <a:gd name="T104" fmla="*/ 24 w 46"/>
              <a:gd name="T105" fmla="*/ 6 h 10"/>
              <a:gd name="T106" fmla="*/ 20 w 46"/>
              <a:gd name="T107" fmla="*/ 6 h 10"/>
              <a:gd name="T108" fmla="*/ 16 w 46"/>
              <a:gd name="T109" fmla="*/ 10 h 10"/>
              <a:gd name="T110" fmla="*/ 12 w 46"/>
              <a:gd name="T111" fmla="*/ 10 h 10"/>
              <a:gd name="T112" fmla="*/ 0 w 46"/>
              <a:gd name="T113" fmla="*/ 10 h 10"/>
              <a:gd name="T114" fmla="*/ 0 w 46"/>
              <a:gd name="T115" fmla="*/ 6 h 10"/>
              <a:gd name="T116" fmla="*/ 0 w 46"/>
              <a:gd name="T117" fmla="*/ 6 h 10"/>
              <a:gd name="T118" fmla="*/ 4 w 46"/>
              <a:gd name="T119" fmla="*/ 2 h 10"/>
              <a:gd name="T120" fmla="*/ 4 w 46"/>
              <a:gd name="T121"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6" h="10">
                <a:moveTo>
                  <a:pt x="4" y="6"/>
                </a:moveTo>
                <a:lnTo>
                  <a:pt x="4" y="6"/>
                </a:lnTo>
                <a:lnTo>
                  <a:pt x="4" y="6"/>
                </a:lnTo>
                <a:lnTo>
                  <a:pt x="4" y="6"/>
                </a:lnTo>
                <a:lnTo>
                  <a:pt x="4" y="6"/>
                </a:lnTo>
                <a:lnTo>
                  <a:pt x="4" y="6"/>
                </a:lnTo>
                <a:lnTo>
                  <a:pt x="4" y="6"/>
                </a:lnTo>
                <a:lnTo>
                  <a:pt x="4" y="6"/>
                </a:lnTo>
                <a:lnTo>
                  <a:pt x="4" y="6"/>
                </a:lnTo>
                <a:lnTo>
                  <a:pt x="4" y="6"/>
                </a:lnTo>
                <a:lnTo>
                  <a:pt x="4" y="6"/>
                </a:lnTo>
                <a:lnTo>
                  <a:pt x="8" y="10"/>
                </a:lnTo>
                <a:lnTo>
                  <a:pt x="8" y="6"/>
                </a:lnTo>
                <a:lnTo>
                  <a:pt x="8" y="6"/>
                </a:lnTo>
                <a:lnTo>
                  <a:pt x="8" y="6"/>
                </a:lnTo>
                <a:lnTo>
                  <a:pt x="8" y="6"/>
                </a:lnTo>
                <a:lnTo>
                  <a:pt x="12" y="10"/>
                </a:lnTo>
                <a:lnTo>
                  <a:pt x="12" y="6"/>
                </a:lnTo>
                <a:lnTo>
                  <a:pt x="12" y="6"/>
                </a:lnTo>
                <a:lnTo>
                  <a:pt x="12" y="6"/>
                </a:lnTo>
                <a:lnTo>
                  <a:pt x="12" y="6"/>
                </a:lnTo>
                <a:lnTo>
                  <a:pt x="8" y="6"/>
                </a:lnTo>
                <a:lnTo>
                  <a:pt x="8" y="6"/>
                </a:lnTo>
                <a:lnTo>
                  <a:pt x="8" y="6"/>
                </a:lnTo>
                <a:lnTo>
                  <a:pt x="12" y="6"/>
                </a:lnTo>
                <a:lnTo>
                  <a:pt x="12" y="6"/>
                </a:lnTo>
                <a:lnTo>
                  <a:pt x="12" y="6"/>
                </a:lnTo>
                <a:lnTo>
                  <a:pt x="12" y="6"/>
                </a:lnTo>
                <a:lnTo>
                  <a:pt x="16" y="6"/>
                </a:lnTo>
                <a:lnTo>
                  <a:pt x="20" y="6"/>
                </a:lnTo>
                <a:lnTo>
                  <a:pt x="20" y="2"/>
                </a:lnTo>
                <a:lnTo>
                  <a:pt x="20" y="2"/>
                </a:lnTo>
                <a:lnTo>
                  <a:pt x="24" y="6"/>
                </a:lnTo>
                <a:lnTo>
                  <a:pt x="24" y="6"/>
                </a:lnTo>
                <a:lnTo>
                  <a:pt x="24" y="6"/>
                </a:lnTo>
                <a:lnTo>
                  <a:pt x="24" y="6"/>
                </a:lnTo>
                <a:lnTo>
                  <a:pt x="24" y="2"/>
                </a:lnTo>
                <a:lnTo>
                  <a:pt x="24" y="2"/>
                </a:lnTo>
                <a:lnTo>
                  <a:pt x="24" y="2"/>
                </a:lnTo>
                <a:lnTo>
                  <a:pt x="24" y="6"/>
                </a:lnTo>
                <a:lnTo>
                  <a:pt x="24" y="6"/>
                </a:lnTo>
                <a:lnTo>
                  <a:pt x="24" y="6"/>
                </a:lnTo>
                <a:lnTo>
                  <a:pt x="20" y="2"/>
                </a:lnTo>
                <a:lnTo>
                  <a:pt x="20" y="2"/>
                </a:lnTo>
                <a:lnTo>
                  <a:pt x="20" y="2"/>
                </a:lnTo>
                <a:lnTo>
                  <a:pt x="16" y="2"/>
                </a:lnTo>
                <a:lnTo>
                  <a:pt x="16" y="6"/>
                </a:lnTo>
                <a:lnTo>
                  <a:pt x="12" y="6"/>
                </a:lnTo>
                <a:lnTo>
                  <a:pt x="12" y="6"/>
                </a:lnTo>
                <a:lnTo>
                  <a:pt x="12" y="6"/>
                </a:lnTo>
                <a:lnTo>
                  <a:pt x="12" y="6"/>
                </a:lnTo>
                <a:lnTo>
                  <a:pt x="8" y="6"/>
                </a:lnTo>
                <a:lnTo>
                  <a:pt x="8" y="6"/>
                </a:lnTo>
                <a:lnTo>
                  <a:pt x="8" y="6"/>
                </a:lnTo>
                <a:lnTo>
                  <a:pt x="8" y="6"/>
                </a:lnTo>
                <a:lnTo>
                  <a:pt x="4" y="6"/>
                </a:lnTo>
                <a:lnTo>
                  <a:pt x="4" y="6"/>
                </a:lnTo>
                <a:lnTo>
                  <a:pt x="4" y="6"/>
                </a:lnTo>
                <a:lnTo>
                  <a:pt x="4" y="6"/>
                </a:lnTo>
                <a:lnTo>
                  <a:pt x="4" y="2"/>
                </a:lnTo>
                <a:lnTo>
                  <a:pt x="4" y="2"/>
                </a:lnTo>
                <a:lnTo>
                  <a:pt x="12" y="2"/>
                </a:lnTo>
                <a:lnTo>
                  <a:pt x="12" y="2"/>
                </a:lnTo>
                <a:lnTo>
                  <a:pt x="16" y="2"/>
                </a:lnTo>
                <a:lnTo>
                  <a:pt x="20" y="2"/>
                </a:lnTo>
                <a:lnTo>
                  <a:pt x="20" y="2"/>
                </a:lnTo>
                <a:lnTo>
                  <a:pt x="20" y="2"/>
                </a:lnTo>
                <a:lnTo>
                  <a:pt x="20" y="2"/>
                </a:lnTo>
                <a:lnTo>
                  <a:pt x="20" y="2"/>
                </a:lnTo>
                <a:lnTo>
                  <a:pt x="20" y="0"/>
                </a:lnTo>
                <a:lnTo>
                  <a:pt x="20" y="0"/>
                </a:lnTo>
                <a:lnTo>
                  <a:pt x="20" y="0"/>
                </a:lnTo>
                <a:lnTo>
                  <a:pt x="24" y="0"/>
                </a:lnTo>
                <a:lnTo>
                  <a:pt x="24" y="0"/>
                </a:lnTo>
                <a:lnTo>
                  <a:pt x="24" y="0"/>
                </a:lnTo>
                <a:lnTo>
                  <a:pt x="24" y="0"/>
                </a:lnTo>
                <a:lnTo>
                  <a:pt x="24" y="0"/>
                </a:lnTo>
                <a:lnTo>
                  <a:pt x="24" y="0"/>
                </a:lnTo>
                <a:lnTo>
                  <a:pt x="24" y="0"/>
                </a:lnTo>
                <a:lnTo>
                  <a:pt x="26" y="0"/>
                </a:lnTo>
                <a:lnTo>
                  <a:pt x="26" y="0"/>
                </a:lnTo>
                <a:lnTo>
                  <a:pt x="30" y="0"/>
                </a:lnTo>
                <a:lnTo>
                  <a:pt x="30" y="0"/>
                </a:lnTo>
                <a:lnTo>
                  <a:pt x="30" y="0"/>
                </a:lnTo>
                <a:lnTo>
                  <a:pt x="30" y="0"/>
                </a:lnTo>
                <a:lnTo>
                  <a:pt x="30" y="0"/>
                </a:lnTo>
                <a:lnTo>
                  <a:pt x="30" y="0"/>
                </a:lnTo>
                <a:lnTo>
                  <a:pt x="30" y="2"/>
                </a:lnTo>
                <a:lnTo>
                  <a:pt x="30" y="2"/>
                </a:lnTo>
                <a:lnTo>
                  <a:pt x="30" y="2"/>
                </a:lnTo>
                <a:lnTo>
                  <a:pt x="30" y="2"/>
                </a:lnTo>
                <a:lnTo>
                  <a:pt x="30" y="2"/>
                </a:lnTo>
                <a:lnTo>
                  <a:pt x="30" y="2"/>
                </a:lnTo>
                <a:lnTo>
                  <a:pt x="34" y="2"/>
                </a:lnTo>
                <a:lnTo>
                  <a:pt x="34" y="2"/>
                </a:lnTo>
                <a:lnTo>
                  <a:pt x="34" y="2"/>
                </a:lnTo>
                <a:lnTo>
                  <a:pt x="34" y="2"/>
                </a:lnTo>
                <a:lnTo>
                  <a:pt x="34" y="2"/>
                </a:lnTo>
                <a:lnTo>
                  <a:pt x="34" y="2"/>
                </a:lnTo>
                <a:lnTo>
                  <a:pt x="34" y="2"/>
                </a:lnTo>
                <a:lnTo>
                  <a:pt x="34" y="2"/>
                </a:lnTo>
                <a:lnTo>
                  <a:pt x="34" y="2"/>
                </a:lnTo>
                <a:lnTo>
                  <a:pt x="34" y="2"/>
                </a:lnTo>
                <a:lnTo>
                  <a:pt x="34" y="2"/>
                </a:lnTo>
                <a:lnTo>
                  <a:pt x="34" y="6"/>
                </a:lnTo>
                <a:lnTo>
                  <a:pt x="38" y="6"/>
                </a:lnTo>
                <a:lnTo>
                  <a:pt x="38" y="2"/>
                </a:lnTo>
                <a:lnTo>
                  <a:pt x="38" y="2"/>
                </a:lnTo>
                <a:lnTo>
                  <a:pt x="38" y="2"/>
                </a:lnTo>
                <a:lnTo>
                  <a:pt x="38" y="2"/>
                </a:lnTo>
                <a:lnTo>
                  <a:pt x="42" y="2"/>
                </a:lnTo>
                <a:lnTo>
                  <a:pt x="42" y="2"/>
                </a:lnTo>
                <a:lnTo>
                  <a:pt x="42" y="2"/>
                </a:lnTo>
                <a:lnTo>
                  <a:pt x="42" y="2"/>
                </a:lnTo>
                <a:lnTo>
                  <a:pt x="42" y="2"/>
                </a:lnTo>
                <a:lnTo>
                  <a:pt x="42" y="2"/>
                </a:lnTo>
                <a:lnTo>
                  <a:pt x="46" y="2"/>
                </a:lnTo>
                <a:lnTo>
                  <a:pt x="46" y="6"/>
                </a:lnTo>
                <a:lnTo>
                  <a:pt x="46" y="6"/>
                </a:lnTo>
                <a:lnTo>
                  <a:pt x="46" y="6"/>
                </a:lnTo>
                <a:lnTo>
                  <a:pt x="46" y="6"/>
                </a:lnTo>
                <a:lnTo>
                  <a:pt x="42" y="6"/>
                </a:lnTo>
                <a:lnTo>
                  <a:pt x="42" y="6"/>
                </a:lnTo>
                <a:lnTo>
                  <a:pt x="42" y="6"/>
                </a:lnTo>
                <a:lnTo>
                  <a:pt x="42" y="6"/>
                </a:lnTo>
                <a:lnTo>
                  <a:pt x="42" y="6"/>
                </a:lnTo>
                <a:lnTo>
                  <a:pt x="42" y="6"/>
                </a:lnTo>
                <a:lnTo>
                  <a:pt x="38" y="6"/>
                </a:lnTo>
                <a:lnTo>
                  <a:pt x="38" y="10"/>
                </a:lnTo>
                <a:lnTo>
                  <a:pt x="38" y="10"/>
                </a:lnTo>
                <a:lnTo>
                  <a:pt x="38" y="10"/>
                </a:lnTo>
                <a:lnTo>
                  <a:pt x="38" y="10"/>
                </a:lnTo>
                <a:lnTo>
                  <a:pt x="34" y="10"/>
                </a:lnTo>
                <a:lnTo>
                  <a:pt x="34" y="6"/>
                </a:lnTo>
                <a:lnTo>
                  <a:pt x="34" y="6"/>
                </a:lnTo>
                <a:lnTo>
                  <a:pt x="30" y="6"/>
                </a:lnTo>
                <a:lnTo>
                  <a:pt x="30" y="6"/>
                </a:lnTo>
                <a:lnTo>
                  <a:pt x="30" y="6"/>
                </a:lnTo>
                <a:lnTo>
                  <a:pt x="30" y="6"/>
                </a:lnTo>
                <a:lnTo>
                  <a:pt x="30" y="6"/>
                </a:lnTo>
                <a:lnTo>
                  <a:pt x="30" y="6"/>
                </a:lnTo>
                <a:lnTo>
                  <a:pt x="30" y="6"/>
                </a:lnTo>
                <a:lnTo>
                  <a:pt x="26" y="6"/>
                </a:lnTo>
                <a:lnTo>
                  <a:pt x="26" y="6"/>
                </a:lnTo>
                <a:lnTo>
                  <a:pt x="26" y="2"/>
                </a:lnTo>
                <a:lnTo>
                  <a:pt x="26" y="2"/>
                </a:lnTo>
                <a:lnTo>
                  <a:pt x="26" y="2"/>
                </a:lnTo>
                <a:lnTo>
                  <a:pt x="26" y="2"/>
                </a:lnTo>
                <a:lnTo>
                  <a:pt x="26" y="2"/>
                </a:lnTo>
                <a:lnTo>
                  <a:pt x="26" y="2"/>
                </a:lnTo>
                <a:lnTo>
                  <a:pt x="24" y="2"/>
                </a:lnTo>
                <a:lnTo>
                  <a:pt x="24" y="2"/>
                </a:lnTo>
                <a:lnTo>
                  <a:pt x="24" y="2"/>
                </a:lnTo>
                <a:lnTo>
                  <a:pt x="24" y="6"/>
                </a:lnTo>
                <a:lnTo>
                  <a:pt x="24" y="6"/>
                </a:lnTo>
                <a:lnTo>
                  <a:pt x="24" y="6"/>
                </a:lnTo>
                <a:lnTo>
                  <a:pt x="24" y="6"/>
                </a:lnTo>
                <a:lnTo>
                  <a:pt x="24" y="6"/>
                </a:lnTo>
                <a:lnTo>
                  <a:pt x="24" y="6"/>
                </a:lnTo>
                <a:lnTo>
                  <a:pt x="24" y="6"/>
                </a:lnTo>
                <a:lnTo>
                  <a:pt x="24" y="6"/>
                </a:lnTo>
                <a:lnTo>
                  <a:pt x="20" y="6"/>
                </a:lnTo>
                <a:lnTo>
                  <a:pt x="16" y="6"/>
                </a:lnTo>
                <a:lnTo>
                  <a:pt x="16" y="10"/>
                </a:lnTo>
                <a:lnTo>
                  <a:pt x="16" y="10"/>
                </a:lnTo>
                <a:lnTo>
                  <a:pt x="16" y="10"/>
                </a:lnTo>
                <a:lnTo>
                  <a:pt x="16" y="10"/>
                </a:lnTo>
                <a:lnTo>
                  <a:pt x="12" y="10"/>
                </a:lnTo>
                <a:lnTo>
                  <a:pt x="4" y="10"/>
                </a:lnTo>
                <a:lnTo>
                  <a:pt x="4" y="10"/>
                </a:lnTo>
                <a:lnTo>
                  <a:pt x="0" y="10"/>
                </a:lnTo>
                <a:lnTo>
                  <a:pt x="0" y="10"/>
                </a:lnTo>
                <a:lnTo>
                  <a:pt x="0" y="6"/>
                </a:lnTo>
                <a:lnTo>
                  <a:pt x="0" y="6"/>
                </a:lnTo>
                <a:lnTo>
                  <a:pt x="0" y="6"/>
                </a:lnTo>
                <a:lnTo>
                  <a:pt x="0" y="6"/>
                </a:lnTo>
                <a:lnTo>
                  <a:pt x="0" y="6"/>
                </a:lnTo>
                <a:lnTo>
                  <a:pt x="4" y="6"/>
                </a:lnTo>
                <a:lnTo>
                  <a:pt x="4" y="6"/>
                </a:lnTo>
                <a:lnTo>
                  <a:pt x="4" y="2"/>
                </a:lnTo>
                <a:lnTo>
                  <a:pt x="4" y="2"/>
                </a:lnTo>
                <a:lnTo>
                  <a:pt x="4" y="6"/>
                </a:lnTo>
                <a:lnTo>
                  <a:pt x="4" y="6"/>
                </a:lnTo>
                <a:lnTo>
                  <a:pt x="4" y="6"/>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65" name="Freeform 172"/>
          <p:cNvSpPr>
            <a:spLocks/>
          </p:cNvSpPr>
          <p:nvPr/>
        </p:nvSpPr>
        <p:spPr bwMode="auto">
          <a:xfrm>
            <a:off x="4252912" y="3469481"/>
            <a:ext cx="35719" cy="107156"/>
          </a:xfrm>
          <a:custGeom>
            <a:avLst/>
            <a:gdLst>
              <a:gd name="T0" fmla="*/ 26 w 30"/>
              <a:gd name="T1" fmla="*/ 68 h 90"/>
              <a:gd name="T2" fmla="*/ 26 w 30"/>
              <a:gd name="T3" fmla="*/ 74 h 90"/>
              <a:gd name="T4" fmla="*/ 26 w 30"/>
              <a:gd name="T5" fmla="*/ 78 h 90"/>
              <a:gd name="T6" fmla="*/ 26 w 30"/>
              <a:gd name="T7" fmla="*/ 78 h 90"/>
              <a:gd name="T8" fmla="*/ 30 w 30"/>
              <a:gd name="T9" fmla="*/ 82 h 90"/>
              <a:gd name="T10" fmla="*/ 26 w 30"/>
              <a:gd name="T11" fmla="*/ 86 h 90"/>
              <a:gd name="T12" fmla="*/ 26 w 30"/>
              <a:gd name="T13" fmla="*/ 86 h 90"/>
              <a:gd name="T14" fmla="*/ 24 w 30"/>
              <a:gd name="T15" fmla="*/ 86 h 90"/>
              <a:gd name="T16" fmla="*/ 20 w 30"/>
              <a:gd name="T17" fmla="*/ 86 h 90"/>
              <a:gd name="T18" fmla="*/ 16 w 30"/>
              <a:gd name="T19" fmla="*/ 82 h 90"/>
              <a:gd name="T20" fmla="*/ 16 w 30"/>
              <a:gd name="T21" fmla="*/ 82 h 90"/>
              <a:gd name="T22" fmla="*/ 16 w 30"/>
              <a:gd name="T23" fmla="*/ 78 h 90"/>
              <a:gd name="T24" fmla="*/ 12 w 30"/>
              <a:gd name="T25" fmla="*/ 78 h 90"/>
              <a:gd name="T26" fmla="*/ 12 w 30"/>
              <a:gd name="T27" fmla="*/ 70 h 90"/>
              <a:gd name="T28" fmla="*/ 12 w 30"/>
              <a:gd name="T29" fmla="*/ 68 h 90"/>
              <a:gd name="T30" fmla="*/ 12 w 30"/>
              <a:gd name="T31" fmla="*/ 64 h 90"/>
              <a:gd name="T32" fmla="*/ 12 w 30"/>
              <a:gd name="T33" fmla="*/ 64 h 90"/>
              <a:gd name="T34" fmla="*/ 12 w 30"/>
              <a:gd name="T35" fmla="*/ 52 h 90"/>
              <a:gd name="T36" fmla="*/ 16 w 30"/>
              <a:gd name="T37" fmla="*/ 48 h 90"/>
              <a:gd name="T38" fmla="*/ 12 w 30"/>
              <a:gd name="T39" fmla="*/ 48 h 90"/>
              <a:gd name="T40" fmla="*/ 8 w 30"/>
              <a:gd name="T41" fmla="*/ 42 h 90"/>
              <a:gd name="T42" fmla="*/ 12 w 30"/>
              <a:gd name="T43" fmla="*/ 42 h 90"/>
              <a:gd name="T44" fmla="*/ 12 w 30"/>
              <a:gd name="T45" fmla="*/ 38 h 90"/>
              <a:gd name="T46" fmla="*/ 12 w 30"/>
              <a:gd name="T47" fmla="*/ 30 h 90"/>
              <a:gd name="T48" fmla="*/ 12 w 30"/>
              <a:gd name="T49" fmla="*/ 30 h 90"/>
              <a:gd name="T50" fmla="*/ 8 w 30"/>
              <a:gd name="T51" fmla="*/ 30 h 90"/>
              <a:gd name="T52" fmla="*/ 8 w 30"/>
              <a:gd name="T53" fmla="*/ 26 h 90"/>
              <a:gd name="T54" fmla="*/ 12 w 30"/>
              <a:gd name="T55" fmla="*/ 18 h 90"/>
              <a:gd name="T56" fmla="*/ 8 w 30"/>
              <a:gd name="T57" fmla="*/ 18 h 90"/>
              <a:gd name="T58" fmla="*/ 8 w 30"/>
              <a:gd name="T59" fmla="*/ 16 h 90"/>
              <a:gd name="T60" fmla="*/ 4 w 30"/>
              <a:gd name="T61" fmla="*/ 12 h 90"/>
              <a:gd name="T62" fmla="*/ 4 w 30"/>
              <a:gd name="T63" fmla="*/ 8 h 90"/>
              <a:gd name="T64" fmla="*/ 4 w 30"/>
              <a:gd name="T65" fmla="*/ 4 h 90"/>
              <a:gd name="T66" fmla="*/ 4 w 30"/>
              <a:gd name="T67" fmla="*/ 4 h 90"/>
              <a:gd name="T68" fmla="*/ 4 w 30"/>
              <a:gd name="T69" fmla="*/ 0 h 90"/>
              <a:gd name="T70" fmla="*/ 12 w 30"/>
              <a:gd name="T71" fmla="*/ 4 h 90"/>
              <a:gd name="T72" fmla="*/ 12 w 30"/>
              <a:gd name="T73" fmla="*/ 4 h 90"/>
              <a:gd name="T74" fmla="*/ 16 w 30"/>
              <a:gd name="T75" fmla="*/ 4 h 90"/>
              <a:gd name="T76" fmla="*/ 16 w 30"/>
              <a:gd name="T77" fmla="*/ 8 h 90"/>
              <a:gd name="T78" fmla="*/ 16 w 30"/>
              <a:gd name="T79" fmla="*/ 12 h 90"/>
              <a:gd name="T80" fmla="*/ 16 w 30"/>
              <a:gd name="T81" fmla="*/ 12 h 90"/>
              <a:gd name="T82" fmla="*/ 20 w 30"/>
              <a:gd name="T83" fmla="*/ 18 h 90"/>
              <a:gd name="T84" fmla="*/ 24 w 30"/>
              <a:gd name="T85" fmla="*/ 22 h 90"/>
              <a:gd name="T86" fmla="*/ 24 w 30"/>
              <a:gd name="T87" fmla="*/ 30 h 90"/>
              <a:gd name="T88" fmla="*/ 24 w 30"/>
              <a:gd name="T89" fmla="*/ 30 h 90"/>
              <a:gd name="T90" fmla="*/ 26 w 30"/>
              <a:gd name="T91" fmla="*/ 34 h 90"/>
              <a:gd name="T92" fmla="*/ 26 w 30"/>
              <a:gd name="T93" fmla="*/ 34 h 90"/>
              <a:gd name="T94" fmla="*/ 26 w 30"/>
              <a:gd name="T95" fmla="*/ 42 h 90"/>
              <a:gd name="T96" fmla="*/ 26 w 30"/>
              <a:gd name="T97" fmla="*/ 48 h 90"/>
              <a:gd name="T98" fmla="*/ 26 w 30"/>
              <a:gd name="T99" fmla="*/ 6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0" h="90">
                <a:moveTo>
                  <a:pt x="26" y="64"/>
                </a:moveTo>
                <a:lnTo>
                  <a:pt x="26" y="64"/>
                </a:lnTo>
                <a:lnTo>
                  <a:pt x="26" y="64"/>
                </a:lnTo>
                <a:lnTo>
                  <a:pt x="26" y="68"/>
                </a:lnTo>
                <a:lnTo>
                  <a:pt x="26" y="68"/>
                </a:lnTo>
                <a:lnTo>
                  <a:pt x="26" y="70"/>
                </a:lnTo>
                <a:lnTo>
                  <a:pt x="26" y="70"/>
                </a:lnTo>
                <a:lnTo>
                  <a:pt x="26" y="74"/>
                </a:lnTo>
                <a:lnTo>
                  <a:pt x="26" y="74"/>
                </a:lnTo>
                <a:lnTo>
                  <a:pt x="26" y="74"/>
                </a:lnTo>
                <a:lnTo>
                  <a:pt x="26" y="74"/>
                </a:lnTo>
                <a:lnTo>
                  <a:pt x="26" y="78"/>
                </a:lnTo>
                <a:lnTo>
                  <a:pt x="26" y="78"/>
                </a:lnTo>
                <a:lnTo>
                  <a:pt x="26" y="78"/>
                </a:lnTo>
                <a:lnTo>
                  <a:pt x="26" y="78"/>
                </a:lnTo>
                <a:lnTo>
                  <a:pt x="26" y="78"/>
                </a:lnTo>
                <a:lnTo>
                  <a:pt x="26" y="78"/>
                </a:lnTo>
                <a:lnTo>
                  <a:pt x="26" y="78"/>
                </a:lnTo>
                <a:lnTo>
                  <a:pt x="30" y="82"/>
                </a:lnTo>
                <a:lnTo>
                  <a:pt x="30" y="82"/>
                </a:lnTo>
                <a:lnTo>
                  <a:pt x="30" y="86"/>
                </a:lnTo>
                <a:lnTo>
                  <a:pt x="30" y="86"/>
                </a:lnTo>
                <a:lnTo>
                  <a:pt x="30" y="86"/>
                </a:lnTo>
                <a:lnTo>
                  <a:pt x="26" y="86"/>
                </a:lnTo>
                <a:lnTo>
                  <a:pt x="26" y="86"/>
                </a:lnTo>
                <a:lnTo>
                  <a:pt x="26" y="86"/>
                </a:lnTo>
                <a:lnTo>
                  <a:pt x="26" y="86"/>
                </a:lnTo>
                <a:lnTo>
                  <a:pt x="26" y="86"/>
                </a:lnTo>
                <a:lnTo>
                  <a:pt x="26" y="86"/>
                </a:lnTo>
                <a:lnTo>
                  <a:pt x="24" y="86"/>
                </a:lnTo>
                <a:lnTo>
                  <a:pt x="24" y="86"/>
                </a:lnTo>
                <a:lnTo>
                  <a:pt x="24" y="86"/>
                </a:lnTo>
                <a:lnTo>
                  <a:pt x="24" y="90"/>
                </a:lnTo>
                <a:lnTo>
                  <a:pt x="24" y="86"/>
                </a:lnTo>
                <a:lnTo>
                  <a:pt x="24" y="86"/>
                </a:lnTo>
                <a:lnTo>
                  <a:pt x="20" y="86"/>
                </a:lnTo>
                <a:lnTo>
                  <a:pt x="20" y="86"/>
                </a:lnTo>
                <a:lnTo>
                  <a:pt x="20" y="86"/>
                </a:lnTo>
                <a:lnTo>
                  <a:pt x="20" y="82"/>
                </a:lnTo>
                <a:lnTo>
                  <a:pt x="16" y="82"/>
                </a:lnTo>
                <a:lnTo>
                  <a:pt x="16" y="82"/>
                </a:lnTo>
                <a:lnTo>
                  <a:pt x="16" y="82"/>
                </a:lnTo>
                <a:lnTo>
                  <a:pt x="16" y="82"/>
                </a:lnTo>
                <a:lnTo>
                  <a:pt x="16" y="82"/>
                </a:lnTo>
                <a:lnTo>
                  <a:pt x="16" y="82"/>
                </a:lnTo>
                <a:lnTo>
                  <a:pt x="16" y="78"/>
                </a:lnTo>
                <a:lnTo>
                  <a:pt x="16" y="78"/>
                </a:lnTo>
                <a:lnTo>
                  <a:pt x="16" y="78"/>
                </a:lnTo>
                <a:lnTo>
                  <a:pt x="16" y="78"/>
                </a:lnTo>
                <a:lnTo>
                  <a:pt x="12" y="78"/>
                </a:lnTo>
                <a:lnTo>
                  <a:pt x="12" y="78"/>
                </a:lnTo>
                <a:lnTo>
                  <a:pt x="12" y="78"/>
                </a:lnTo>
                <a:lnTo>
                  <a:pt x="12" y="78"/>
                </a:lnTo>
                <a:lnTo>
                  <a:pt x="12" y="74"/>
                </a:lnTo>
                <a:lnTo>
                  <a:pt x="12" y="74"/>
                </a:lnTo>
                <a:lnTo>
                  <a:pt x="12" y="70"/>
                </a:lnTo>
                <a:lnTo>
                  <a:pt x="12" y="70"/>
                </a:lnTo>
                <a:lnTo>
                  <a:pt x="12" y="68"/>
                </a:lnTo>
                <a:lnTo>
                  <a:pt x="12" y="68"/>
                </a:lnTo>
                <a:lnTo>
                  <a:pt x="12" y="68"/>
                </a:lnTo>
                <a:lnTo>
                  <a:pt x="12" y="68"/>
                </a:lnTo>
                <a:lnTo>
                  <a:pt x="12" y="68"/>
                </a:lnTo>
                <a:lnTo>
                  <a:pt x="12" y="68"/>
                </a:lnTo>
                <a:lnTo>
                  <a:pt x="12" y="64"/>
                </a:lnTo>
                <a:lnTo>
                  <a:pt x="12" y="64"/>
                </a:lnTo>
                <a:lnTo>
                  <a:pt x="12" y="64"/>
                </a:lnTo>
                <a:lnTo>
                  <a:pt x="12" y="64"/>
                </a:lnTo>
                <a:lnTo>
                  <a:pt x="12" y="64"/>
                </a:lnTo>
                <a:lnTo>
                  <a:pt x="12" y="60"/>
                </a:lnTo>
                <a:lnTo>
                  <a:pt x="12" y="56"/>
                </a:lnTo>
                <a:lnTo>
                  <a:pt x="12" y="52"/>
                </a:lnTo>
                <a:lnTo>
                  <a:pt x="12" y="52"/>
                </a:lnTo>
                <a:lnTo>
                  <a:pt x="12" y="52"/>
                </a:lnTo>
                <a:lnTo>
                  <a:pt x="16" y="52"/>
                </a:lnTo>
                <a:lnTo>
                  <a:pt x="16" y="52"/>
                </a:lnTo>
                <a:lnTo>
                  <a:pt x="16" y="48"/>
                </a:lnTo>
                <a:lnTo>
                  <a:pt x="16" y="48"/>
                </a:lnTo>
                <a:lnTo>
                  <a:pt x="16" y="48"/>
                </a:lnTo>
                <a:lnTo>
                  <a:pt x="12" y="48"/>
                </a:lnTo>
                <a:lnTo>
                  <a:pt x="12" y="48"/>
                </a:lnTo>
                <a:lnTo>
                  <a:pt x="12" y="44"/>
                </a:lnTo>
                <a:lnTo>
                  <a:pt x="12" y="44"/>
                </a:lnTo>
                <a:lnTo>
                  <a:pt x="12" y="44"/>
                </a:lnTo>
                <a:lnTo>
                  <a:pt x="8" y="42"/>
                </a:lnTo>
                <a:lnTo>
                  <a:pt x="8" y="42"/>
                </a:lnTo>
                <a:lnTo>
                  <a:pt x="12" y="42"/>
                </a:lnTo>
                <a:lnTo>
                  <a:pt x="12" y="42"/>
                </a:lnTo>
                <a:lnTo>
                  <a:pt x="12" y="42"/>
                </a:lnTo>
                <a:lnTo>
                  <a:pt x="12" y="42"/>
                </a:lnTo>
                <a:lnTo>
                  <a:pt x="12" y="42"/>
                </a:lnTo>
                <a:lnTo>
                  <a:pt x="12" y="38"/>
                </a:lnTo>
                <a:lnTo>
                  <a:pt x="12" y="38"/>
                </a:lnTo>
                <a:lnTo>
                  <a:pt x="12" y="34"/>
                </a:lnTo>
                <a:lnTo>
                  <a:pt x="12" y="34"/>
                </a:lnTo>
                <a:lnTo>
                  <a:pt x="12" y="34"/>
                </a:lnTo>
                <a:lnTo>
                  <a:pt x="12" y="30"/>
                </a:lnTo>
                <a:lnTo>
                  <a:pt x="12" y="30"/>
                </a:lnTo>
                <a:lnTo>
                  <a:pt x="12" y="30"/>
                </a:lnTo>
                <a:lnTo>
                  <a:pt x="12" y="30"/>
                </a:lnTo>
                <a:lnTo>
                  <a:pt x="12" y="30"/>
                </a:lnTo>
                <a:lnTo>
                  <a:pt x="8" y="30"/>
                </a:lnTo>
                <a:lnTo>
                  <a:pt x="8" y="30"/>
                </a:lnTo>
                <a:lnTo>
                  <a:pt x="8" y="30"/>
                </a:lnTo>
                <a:lnTo>
                  <a:pt x="8" y="30"/>
                </a:lnTo>
                <a:lnTo>
                  <a:pt x="8" y="30"/>
                </a:lnTo>
                <a:lnTo>
                  <a:pt x="8" y="30"/>
                </a:lnTo>
                <a:lnTo>
                  <a:pt x="8" y="30"/>
                </a:lnTo>
                <a:lnTo>
                  <a:pt x="8" y="26"/>
                </a:lnTo>
                <a:lnTo>
                  <a:pt x="8" y="26"/>
                </a:lnTo>
                <a:lnTo>
                  <a:pt x="8" y="18"/>
                </a:lnTo>
                <a:lnTo>
                  <a:pt x="12" y="18"/>
                </a:lnTo>
                <a:lnTo>
                  <a:pt x="12" y="18"/>
                </a:lnTo>
                <a:lnTo>
                  <a:pt x="8" y="18"/>
                </a:lnTo>
                <a:lnTo>
                  <a:pt x="8" y="18"/>
                </a:lnTo>
                <a:lnTo>
                  <a:pt x="8" y="18"/>
                </a:lnTo>
                <a:lnTo>
                  <a:pt x="8" y="18"/>
                </a:lnTo>
                <a:lnTo>
                  <a:pt x="8" y="16"/>
                </a:lnTo>
                <a:lnTo>
                  <a:pt x="8" y="16"/>
                </a:lnTo>
                <a:lnTo>
                  <a:pt x="8" y="16"/>
                </a:lnTo>
                <a:lnTo>
                  <a:pt x="8" y="16"/>
                </a:lnTo>
                <a:lnTo>
                  <a:pt x="4" y="12"/>
                </a:lnTo>
                <a:lnTo>
                  <a:pt x="4" y="12"/>
                </a:lnTo>
                <a:lnTo>
                  <a:pt x="4" y="12"/>
                </a:lnTo>
                <a:lnTo>
                  <a:pt x="4" y="12"/>
                </a:lnTo>
                <a:lnTo>
                  <a:pt x="4" y="12"/>
                </a:lnTo>
                <a:lnTo>
                  <a:pt x="4" y="8"/>
                </a:lnTo>
                <a:lnTo>
                  <a:pt x="4" y="8"/>
                </a:lnTo>
                <a:lnTo>
                  <a:pt x="4" y="8"/>
                </a:lnTo>
                <a:lnTo>
                  <a:pt x="4" y="8"/>
                </a:lnTo>
                <a:lnTo>
                  <a:pt x="4" y="4"/>
                </a:lnTo>
                <a:lnTo>
                  <a:pt x="4" y="4"/>
                </a:lnTo>
                <a:lnTo>
                  <a:pt x="4" y="4"/>
                </a:lnTo>
                <a:lnTo>
                  <a:pt x="4" y="0"/>
                </a:lnTo>
                <a:lnTo>
                  <a:pt x="4" y="0"/>
                </a:lnTo>
                <a:lnTo>
                  <a:pt x="4" y="4"/>
                </a:lnTo>
                <a:lnTo>
                  <a:pt x="4" y="4"/>
                </a:lnTo>
                <a:lnTo>
                  <a:pt x="0" y="0"/>
                </a:lnTo>
                <a:lnTo>
                  <a:pt x="0" y="0"/>
                </a:lnTo>
                <a:lnTo>
                  <a:pt x="0" y="0"/>
                </a:lnTo>
                <a:lnTo>
                  <a:pt x="4" y="0"/>
                </a:lnTo>
                <a:lnTo>
                  <a:pt x="4" y="0"/>
                </a:lnTo>
                <a:lnTo>
                  <a:pt x="8" y="4"/>
                </a:lnTo>
                <a:lnTo>
                  <a:pt x="8" y="4"/>
                </a:lnTo>
                <a:lnTo>
                  <a:pt x="12" y="4"/>
                </a:lnTo>
                <a:lnTo>
                  <a:pt x="12" y="4"/>
                </a:lnTo>
                <a:lnTo>
                  <a:pt x="12" y="4"/>
                </a:lnTo>
                <a:lnTo>
                  <a:pt x="12" y="4"/>
                </a:lnTo>
                <a:lnTo>
                  <a:pt x="12" y="4"/>
                </a:lnTo>
                <a:lnTo>
                  <a:pt x="16" y="4"/>
                </a:lnTo>
                <a:lnTo>
                  <a:pt x="16" y="4"/>
                </a:lnTo>
                <a:lnTo>
                  <a:pt x="16" y="4"/>
                </a:lnTo>
                <a:lnTo>
                  <a:pt x="16" y="4"/>
                </a:lnTo>
                <a:lnTo>
                  <a:pt x="16" y="4"/>
                </a:lnTo>
                <a:lnTo>
                  <a:pt x="16" y="8"/>
                </a:lnTo>
                <a:lnTo>
                  <a:pt x="16" y="8"/>
                </a:lnTo>
                <a:lnTo>
                  <a:pt x="16" y="8"/>
                </a:lnTo>
                <a:lnTo>
                  <a:pt x="16" y="8"/>
                </a:lnTo>
                <a:lnTo>
                  <a:pt x="16" y="8"/>
                </a:lnTo>
                <a:lnTo>
                  <a:pt x="16" y="8"/>
                </a:lnTo>
                <a:lnTo>
                  <a:pt x="16" y="12"/>
                </a:lnTo>
                <a:lnTo>
                  <a:pt x="16" y="12"/>
                </a:lnTo>
                <a:lnTo>
                  <a:pt x="16" y="12"/>
                </a:lnTo>
                <a:lnTo>
                  <a:pt x="16" y="12"/>
                </a:lnTo>
                <a:lnTo>
                  <a:pt x="16" y="12"/>
                </a:lnTo>
                <a:lnTo>
                  <a:pt x="16" y="16"/>
                </a:lnTo>
                <a:lnTo>
                  <a:pt x="20" y="18"/>
                </a:lnTo>
                <a:lnTo>
                  <a:pt x="20" y="18"/>
                </a:lnTo>
                <a:lnTo>
                  <a:pt x="20" y="18"/>
                </a:lnTo>
                <a:lnTo>
                  <a:pt x="24" y="18"/>
                </a:lnTo>
                <a:lnTo>
                  <a:pt x="24" y="18"/>
                </a:lnTo>
                <a:lnTo>
                  <a:pt x="24" y="22"/>
                </a:lnTo>
                <a:lnTo>
                  <a:pt x="24" y="22"/>
                </a:lnTo>
                <a:lnTo>
                  <a:pt x="24" y="26"/>
                </a:lnTo>
                <a:lnTo>
                  <a:pt x="24" y="26"/>
                </a:lnTo>
                <a:lnTo>
                  <a:pt x="24" y="30"/>
                </a:lnTo>
                <a:lnTo>
                  <a:pt x="24" y="30"/>
                </a:lnTo>
                <a:lnTo>
                  <a:pt x="24" y="30"/>
                </a:lnTo>
                <a:lnTo>
                  <a:pt x="24" y="30"/>
                </a:lnTo>
                <a:lnTo>
                  <a:pt x="24" y="30"/>
                </a:lnTo>
                <a:lnTo>
                  <a:pt x="24" y="30"/>
                </a:lnTo>
                <a:lnTo>
                  <a:pt x="24" y="34"/>
                </a:lnTo>
                <a:lnTo>
                  <a:pt x="24" y="34"/>
                </a:lnTo>
                <a:lnTo>
                  <a:pt x="24" y="34"/>
                </a:lnTo>
                <a:lnTo>
                  <a:pt x="26" y="34"/>
                </a:lnTo>
                <a:lnTo>
                  <a:pt x="26" y="34"/>
                </a:lnTo>
                <a:lnTo>
                  <a:pt x="26" y="34"/>
                </a:lnTo>
                <a:lnTo>
                  <a:pt x="26" y="34"/>
                </a:lnTo>
                <a:lnTo>
                  <a:pt x="26" y="34"/>
                </a:lnTo>
                <a:lnTo>
                  <a:pt x="26" y="38"/>
                </a:lnTo>
                <a:lnTo>
                  <a:pt x="26" y="38"/>
                </a:lnTo>
                <a:lnTo>
                  <a:pt x="26" y="42"/>
                </a:lnTo>
                <a:lnTo>
                  <a:pt x="26" y="42"/>
                </a:lnTo>
                <a:lnTo>
                  <a:pt x="26" y="44"/>
                </a:lnTo>
                <a:lnTo>
                  <a:pt x="26" y="48"/>
                </a:lnTo>
                <a:lnTo>
                  <a:pt x="26" y="48"/>
                </a:lnTo>
                <a:lnTo>
                  <a:pt x="26" y="48"/>
                </a:lnTo>
                <a:lnTo>
                  <a:pt x="26" y="56"/>
                </a:lnTo>
                <a:lnTo>
                  <a:pt x="26" y="60"/>
                </a:lnTo>
                <a:lnTo>
                  <a:pt x="26" y="64"/>
                </a:lnTo>
                <a:lnTo>
                  <a:pt x="26" y="64"/>
                </a:lnTo>
                <a:lnTo>
                  <a:pt x="26" y="64"/>
                </a:lnTo>
                <a:lnTo>
                  <a:pt x="26" y="64"/>
                </a:lnTo>
                <a:lnTo>
                  <a:pt x="26" y="64"/>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66" name="Freeform 173"/>
          <p:cNvSpPr>
            <a:spLocks noEditPoints="1"/>
          </p:cNvSpPr>
          <p:nvPr/>
        </p:nvSpPr>
        <p:spPr bwMode="auto">
          <a:xfrm>
            <a:off x="4381499" y="2909887"/>
            <a:ext cx="71438" cy="161925"/>
          </a:xfrm>
          <a:custGeom>
            <a:avLst/>
            <a:gdLst>
              <a:gd name="T0" fmla="*/ 40 w 60"/>
              <a:gd name="T1" fmla="*/ 12 h 136"/>
              <a:gd name="T2" fmla="*/ 44 w 60"/>
              <a:gd name="T3" fmla="*/ 12 h 136"/>
              <a:gd name="T4" fmla="*/ 44 w 60"/>
              <a:gd name="T5" fmla="*/ 8 h 136"/>
              <a:gd name="T6" fmla="*/ 48 w 60"/>
              <a:gd name="T7" fmla="*/ 8 h 136"/>
              <a:gd name="T8" fmla="*/ 48 w 60"/>
              <a:gd name="T9" fmla="*/ 14 h 136"/>
              <a:gd name="T10" fmla="*/ 48 w 60"/>
              <a:gd name="T11" fmla="*/ 18 h 136"/>
              <a:gd name="T12" fmla="*/ 44 w 60"/>
              <a:gd name="T13" fmla="*/ 18 h 136"/>
              <a:gd name="T14" fmla="*/ 44 w 60"/>
              <a:gd name="T15" fmla="*/ 30 h 136"/>
              <a:gd name="T16" fmla="*/ 48 w 60"/>
              <a:gd name="T17" fmla="*/ 34 h 136"/>
              <a:gd name="T18" fmla="*/ 52 w 60"/>
              <a:gd name="T19" fmla="*/ 34 h 136"/>
              <a:gd name="T20" fmla="*/ 52 w 60"/>
              <a:gd name="T21" fmla="*/ 42 h 136"/>
              <a:gd name="T22" fmla="*/ 48 w 60"/>
              <a:gd name="T23" fmla="*/ 52 h 136"/>
              <a:gd name="T24" fmla="*/ 44 w 60"/>
              <a:gd name="T25" fmla="*/ 56 h 136"/>
              <a:gd name="T26" fmla="*/ 38 w 60"/>
              <a:gd name="T27" fmla="*/ 60 h 136"/>
              <a:gd name="T28" fmla="*/ 38 w 60"/>
              <a:gd name="T29" fmla="*/ 64 h 136"/>
              <a:gd name="T30" fmla="*/ 40 w 60"/>
              <a:gd name="T31" fmla="*/ 72 h 136"/>
              <a:gd name="T32" fmla="*/ 44 w 60"/>
              <a:gd name="T33" fmla="*/ 72 h 136"/>
              <a:gd name="T34" fmla="*/ 48 w 60"/>
              <a:gd name="T35" fmla="*/ 74 h 136"/>
              <a:gd name="T36" fmla="*/ 52 w 60"/>
              <a:gd name="T37" fmla="*/ 72 h 136"/>
              <a:gd name="T38" fmla="*/ 52 w 60"/>
              <a:gd name="T39" fmla="*/ 74 h 136"/>
              <a:gd name="T40" fmla="*/ 56 w 60"/>
              <a:gd name="T41" fmla="*/ 78 h 136"/>
              <a:gd name="T42" fmla="*/ 60 w 60"/>
              <a:gd name="T43" fmla="*/ 82 h 136"/>
              <a:gd name="T44" fmla="*/ 60 w 60"/>
              <a:gd name="T45" fmla="*/ 90 h 136"/>
              <a:gd name="T46" fmla="*/ 60 w 60"/>
              <a:gd name="T47" fmla="*/ 94 h 136"/>
              <a:gd name="T48" fmla="*/ 48 w 60"/>
              <a:gd name="T49" fmla="*/ 102 h 136"/>
              <a:gd name="T50" fmla="*/ 44 w 60"/>
              <a:gd name="T51" fmla="*/ 106 h 136"/>
              <a:gd name="T52" fmla="*/ 38 w 60"/>
              <a:gd name="T53" fmla="*/ 108 h 136"/>
              <a:gd name="T54" fmla="*/ 40 w 60"/>
              <a:gd name="T55" fmla="*/ 124 h 136"/>
              <a:gd name="T56" fmla="*/ 34 w 60"/>
              <a:gd name="T57" fmla="*/ 132 h 136"/>
              <a:gd name="T58" fmla="*/ 30 w 60"/>
              <a:gd name="T59" fmla="*/ 124 h 136"/>
              <a:gd name="T60" fmla="*/ 22 w 60"/>
              <a:gd name="T61" fmla="*/ 102 h 136"/>
              <a:gd name="T62" fmla="*/ 14 w 60"/>
              <a:gd name="T63" fmla="*/ 90 h 136"/>
              <a:gd name="T64" fmla="*/ 10 w 60"/>
              <a:gd name="T65" fmla="*/ 82 h 136"/>
              <a:gd name="T66" fmla="*/ 4 w 60"/>
              <a:gd name="T67" fmla="*/ 78 h 136"/>
              <a:gd name="T68" fmla="*/ 4 w 60"/>
              <a:gd name="T69" fmla="*/ 68 h 136"/>
              <a:gd name="T70" fmla="*/ 4 w 60"/>
              <a:gd name="T71" fmla="*/ 64 h 136"/>
              <a:gd name="T72" fmla="*/ 4 w 60"/>
              <a:gd name="T73" fmla="*/ 60 h 136"/>
              <a:gd name="T74" fmla="*/ 10 w 60"/>
              <a:gd name="T75" fmla="*/ 52 h 136"/>
              <a:gd name="T76" fmla="*/ 10 w 60"/>
              <a:gd name="T77" fmla="*/ 48 h 136"/>
              <a:gd name="T78" fmla="*/ 14 w 60"/>
              <a:gd name="T79" fmla="*/ 42 h 136"/>
              <a:gd name="T80" fmla="*/ 14 w 60"/>
              <a:gd name="T81" fmla="*/ 34 h 136"/>
              <a:gd name="T82" fmla="*/ 10 w 60"/>
              <a:gd name="T83" fmla="*/ 30 h 136"/>
              <a:gd name="T84" fmla="*/ 14 w 60"/>
              <a:gd name="T85" fmla="*/ 22 h 136"/>
              <a:gd name="T86" fmla="*/ 10 w 60"/>
              <a:gd name="T87" fmla="*/ 14 h 136"/>
              <a:gd name="T88" fmla="*/ 10 w 60"/>
              <a:gd name="T89" fmla="*/ 14 h 136"/>
              <a:gd name="T90" fmla="*/ 18 w 60"/>
              <a:gd name="T91" fmla="*/ 8 h 136"/>
              <a:gd name="T92" fmla="*/ 22 w 60"/>
              <a:gd name="T93" fmla="*/ 8 h 136"/>
              <a:gd name="T94" fmla="*/ 22 w 60"/>
              <a:gd name="T95" fmla="*/ 4 h 136"/>
              <a:gd name="T96" fmla="*/ 34 w 60"/>
              <a:gd name="T97" fmla="*/ 0 h 136"/>
              <a:gd name="T98" fmla="*/ 34 w 60"/>
              <a:gd name="T99" fmla="*/ 4 h 136"/>
              <a:gd name="T100" fmla="*/ 40 w 60"/>
              <a:gd name="T101" fmla="*/ 4 h 136"/>
              <a:gd name="T102" fmla="*/ 40 w 60"/>
              <a:gd name="T103" fmla="*/ 8 h 136"/>
              <a:gd name="T104" fmla="*/ 52 w 60"/>
              <a:gd name="T105" fmla="*/ 52 h 136"/>
              <a:gd name="T106" fmla="*/ 56 w 60"/>
              <a:gd name="T107" fmla="*/ 48 h 136"/>
              <a:gd name="T108" fmla="*/ 52 w 60"/>
              <a:gd name="T109" fmla="*/ 52 h 136"/>
              <a:gd name="T110" fmla="*/ 48 w 60"/>
              <a:gd name="T111" fmla="*/ 68 h 136"/>
              <a:gd name="T112" fmla="*/ 48 w 60"/>
              <a:gd name="T113" fmla="*/ 68 h 136"/>
              <a:gd name="T114" fmla="*/ 48 w 60"/>
              <a:gd name="T115" fmla="*/ 68 h 136"/>
              <a:gd name="T116" fmla="*/ 52 w 60"/>
              <a:gd name="T117" fmla="*/ 68 h 136"/>
              <a:gd name="T118" fmla="*/ 48 w 60"/>
              <a:gd name="T119" fmla="*/ 7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0" h="136">
                <a:moveTo>
                  <a:pt x="40" y="8"/>
                </a:moveTo>
                <a:lnTo>
                  <a:pt x="40" y="8"/>
                </a:lnTo>
                <a:lnTo>
                  <a:pt x="40" y="12"/>
                </a:lnTo>
                <a:lnTo>
                  <a:pt x="40" y="12"/>
                </a:lnTo>
                <a:lnTo>
                  <a:pt x="40" y="12"/>
                </a:lnTo>
                <a:lnTo>
                  <a:pt x="40" y="12"/>
                </a:lnTo>
                <a:lnTo>
                  <a:pt x="40" y="12"/>
                </a:lnTo>
                <a:lnTo>
                  <a:pt x="40" y="12"/>
                </a:lnTo>
                <a:lnTo>
                  <a:pt x="40" y="12"/>
                </a:lnTo>
                <a:lnTo>
                  <a:pt x="40" y="12"/>
                </a:lnTo>
                <a:lnTo>
                  <a:pt x="40" y="12"/>
                </a:lnTo>
                <a:lnTo>
                  <a:pt x="40" y="12"/>
                </a:lnTo>
                <a:lnTo>
                  <a:pt x="40" y="12"/>
                </a:lnTo>
                <a:lnTo>
                  <a:pt x="44" y="12"/>
                </a:lnTo>
                <a:lnTo>
                  <a:pt x="44" y="12"/>
                </a:lnTo>
                <a:lnTo>
                  <a:pt x="44" y="12"/>
                </a:lnTo>
                <a:lnTo>
                  <a:pt x="44" y="12"/>
                </a:lnTo>
                <a:lnTo>
                  <a:pt x="44" y="12"/>
                </a:lnTo>
                <a:lnTo>
                  <a:pt x="44" y="12"/>
                </a:lnTo>
                <a:lnTo>
                  <a:pt x="44" y="12"/>
                </a:lnTo>
                <a:lnTo>
                  <a:pt x="44" y="8"/>
                </a:lnTo>
                <a:lnTo>
                  <a:pt x="44" y="8"/>
                </a:lnTo>
                <a:lnTo>
                  <a:pt x="44" y="8"/>
                </a:lnTo>
                <a:lnTo>
                  <a:pt x="48" y="8"/>
                </a:lnTo>
                <a:lnTo>
                  <a:pt x="48" y="8"/>
                </a:lnTo>
                <a:lnTo>
                  <a:pt x="48" y="8"/>
                </a:lnTo>
                <a:lnTo>
                  <a:pt x="48" y="8"/>
                </a:lnTo>
                <a:lnTo>
                  <a:pt x="48" y="8"/>
                </a:lnTo>
                <a:lnTo>
                  <a:pt x="52" y="4"/>
                </a:lnTo>
                <a:lnTo>
                  <a:pt x="52" y="8"/>
                </a:lnTo>
                <a:lnTo>
                  <a:pt x="52" y="8"/>
                </a:lnTo>
                <a:lnTo>
                  <a:pt x="52" y="12"/>
                </a:lnTo>
                <a:lnTo>
                  <a:pt x="52" y="12"/>
                </a:lnTo>
                <a:lnTo>
                  <a:pt x="52" y="12"/>
                </a:lnTo>
                <a:lnTo>
                  <a:pt x="48" y="14"/>
                </a:lnTo>
                <a:lnTo>
                  <a:pt x="48" y="14"/>
                </a:lnTo>
                <a:lnTo>
                  <a:pt x="48" y="14"/>
                </a:lnTo>
                <a:lnTo>
                  <a:pt x="48" y="14"/>
                </a:lnTo>
                <a:lnTo>
                  <a:pt x="48" y="14"/>
                </a:lnTo>
                <a:lnTo>
                  <a:pt x="48" y="18"/>
                </a:lnTo>
                <a:lnTo>
                  <a:pt x="48" y="18"/>
                </a:lnTo>
                <a:lnTo>
                  <a:pt x="48" y="18"/>
                </a:lnTo>
                <a:lnTo>
                  <a:pt x="44" y="18"/>
                </a:lnTo>
                <a:lnTo>
                  <a:pt x="44" y="18"/>
                </a:lnTo>
                <a:lnTo>
                  <a:pt x="44" y="18"/>
                </a:lnTo>
                <a:lnTo>
                  <a:pt x="44" y="18"/>
                </a:lnTo>
                <a:lnTo>
                  <a:pt x="44" y="18"/>
                </a:lnTo>
                <a:lnTo>
                  <a:pt x="44" y="18"/>
                </a:lnTo>
                <a:lnTo>
                  <a:pt x="44" y="18"/>
                </a:lnTo>
                <a:lnTo>
                  <a:pt x="44" y="22"/>
                </a:lnTo>
                <a:lnTo>
                  <a:pt x="44" y="22"/>
                </a:lnTo>
                <a:lnTo>
                  <a:pt x="44" y="22"/>
                </a:lnTo>
                <a:lnTo>
                  <a:pt x="44" y="26"/>
                </a:lnTo>
                <a:lnTo>
                  <a:pt x="44" y="26"/>
                </a:lnTo>
                <a:lnTo>
                  <a:pt x="44" y="30"/>
                </a:lnTo>
                <a:lnTo>
                  <a:pt x="44" y="30"/>
                </a:lnTo>
                <a:lnTo>
                  <a:pt x="48" y="30"/>
                </a:lnTo>
                <a:lnTo>
                  <a:pt x="48" y="30"/>
                </a:lnTo>
                <a:lnTo>
                  <a:pt x="48" y="30"/>
                </a:lnTo>
                <a:lnTo>
                  <a:pt x="48" y="30"/>
                </a:lnTo>
                <a:lnTo>
                  <a:pt x="48" y="30"/>
                </a:lnTo>
                <a:lnTo>
                  <a:pt x="48" y="34"/>
                </a:lnTo>
                <a:lnTo>
                  <a:pt x="48" y="34"/>
                </a:lnTo>
                <a:lnTo>
                  <a:pt x="48" y="34"/>
                </a:lnTo>
                <a:lnTo>
                  <a:pt x="52" y="34"/>
                </a:lnTo>
                <a:lnTo>
                  <a:pt x="52" y="34"/>
                </a:lnTo>
                <a:lnTo>
                  <a:pt x="52" y="34"/>
                </a:lnTo>
                <a:lnTo>
                  <a:pt x="52" y="34"/>
                </a:lnTo>
                <a:lnTo>
                  <a:pt x="52" y="34"/>
                </a:lnTo>
                <a:lnTo>
                  <a:pt x="52" y="34"/>
                </a:lnTo>
                <a:lnTo>
                  <a:pt x="52" y="38"/>
                </a:lnTo>
                <a:lnTo>
                  <a:pt x="52" y="38"/>
                </a:lnTo>
                <a:lnTo>
                  <a:pt x="52" y="38"/>
                </a:lnTo>
                <a:lnTo>
                  <a:pt x="52" y="42"/>
                </a:lnTo>
                <a:lnTo>
                  <a:pt x="52" y="42"/>
                </a:lnTo>
                <a:lnTo>
                  <a:pt x="52" y="42"/>
                </a:lnTo>
                <a:lnTo>
                  <a:pt x="52" y="42"/>
                </a:lnTo>
                <a:lnTo>
                  <a:pt x="52" y="42"/>
                </a:lnTo>
                <a:lnTo>
                  <a:pt x="52" y="42"/>
                </a:lnTo>
                <a:lnTo>
                  <a:pt x="52" y="44"/>
                </a:lnTo>
                <a:lnTo>
                  <a:pt x="52" y="44"/>
                </a:lnTo>
                <a:lnTo>
                  <a:pt x="48" y="48"/>
                </a:lnTo>
                <a:lnTo>
                  <a:pt x="48" y="48"/>
                </a:lnTo>
                <a:lnTo>
                  <a:pt x="48" y="52"/>
                </a:lnTo>
                <a:lnTo>
                  <a:pt x="48" y="52"/>
                </a:lnTo>
                <a:lnTo>
                  <a:pt x="48" y="52"/>
                </a:lnTo>
                <a:lnTo>
                  <a:pt x="44" y="52"/>
                </a:lnTo>
                <a:lnTo>
                  <a:pt x="44" y="52"/>
                </a:lnTo>
                <a:lnTo>
                  <a:pt x="44" y="52"/>
                </a:lnTo>
                <a:lnTo>
                  <a:pt x="44" y="52"/>
                </a:lnTo>
                <a:lnTo>
                  <a:pt x="44" y="56"/>
                </a:lnTo>
                <a:lnTo>
                  <a:pt x="40" y="56"/>
                </a:lnTo>
                <a:lnTo>
                  <a:pt x="40" y="56"/>
                </a:lnTo>
                <a:lnTo>
                  <a:pt x="40" y="56"/>
                </a:lnTo>
                <a:lnTo>
                  <a:pt x="40" y="56"/>
                </a:lnTo>
                <a:lnTo>
                  <a:pt x="38" y="56"/>
                </a:lnTo>
                <a:lnTo>
                  <a:pt x="38" y="60"/>
                </a:lnTo>
                <a:lnTo>
                  <a:pt x="38" y="60"/>
                </a:lnTo>
                <a:lnTo>
                  <a:pt x="38" y="60"/>
                </a:lnTo>
                <a:lnTo>
                  <a:pt x="38" y="60"/>
                </a:lnTo>
                <a:lnTo>
                  <a:pt x="38" y="60"/>
                </a:lnTo>
                <a:lnTo>
                  <a:pt x="38" y="64"/>
                </a:lnTo>
                <a:lnTo>
                  <a:pt x="38" y="64"/>
                </a:lnTo>
                <a:lnTo>
                  <a:pt x="38" y="64"/>
                </a:lnTo>
                <a:lnTo>
                  <a:pt x="38" y="64"/>
                </a:lnTo>
                <a:lnTo>
                  <a:pt x="38" y="64"/>
                </a:lnTo>
                <a:lnTo>
                  <a:pt x="38" y="64"/>
                </a:lnTo>
                <a:lnTo>
                  <a:pt x="40" y="68"/>
                </a:lnTo>
                <a:lnTo>
                  <a:pt x="40" y="68"/>
                </a:lnTo>
                <a:lnTo>
                  <a:pt x="40" y="68"/>
                </a:lnTo>
                <a:lnTo>
                  <a:pt x="40" y="72"/>
                </a:lnTo>
                <a:lnTo>
                  <a:pt x="40" y="72"/>
                </a:lnTo>
                <a:lnTo>
                  <a:pt x="40" y="72"/>
                </a:lnTo>
                <a:lnTo>
                  <a:pt x="44" y="72"/>
                </a:lnTo>
                <a:lnTo>
                  <a:pt x="44" y="72"/>
                </a:lnTo>
                <a:lnTo>
                  <a:pt x="44" y="72"/>
                </a:lnTo>
                <a:lnTo>
                  <a:pt x="44" y="72"/>
                </a:lnTo>
                <a:lnTo>
                  <a:pt x="44" y="72"/>
                </a:lnTo>
                <a:lnTo>
                  <a:pt x="44" y="72"/>
                </a:lnTo>
                <a:lnTo>
                  <a:pt x="48" y="68"/>
                </a:lnTo>
                <a:lnTo>
                  <a:pt x="48" y="68"/>
                </a:lnTo>
                <a:lnTo>
                  <a:pt x="48" y="72"/>
                </a:lnTo>
                <a:lnTo>
                  <a:pt x="48" y="72"/>
                </a:lnTo>
                <a:lnTo>
                  <a:pt x="48" y="72"/>
                </a:lnTo>
                <a:lnTo>
                  <a:pt x="48" y="72"/>
                </a:lnTo>
                <a:lnTo>
                  <a:pt x="48" y="74"/>
                </a:lnTo>
                <a:lnTo>
                  <a:pt x="48" y="74"/>
                </a:lnTo>
                <a:lnTo>
                  <a:pt x="48" y="72"/>
                </a:lnTo>
                <a:lnTo>
                  <a:pt x="48" y="72"/>
                </a:lnTo>
                <a:lnTo>
                  <a:pt x="48" y="72"/>
                </a:lnTo>
                <a:lnTo>
                  <a:pt x="48" y="72"/>
                </a:lnTo>
                <a:lnTo>
                  <a:pt x="48" y="72"/>
                </a:lnTo>
                <a:lnTo>
                  <a:pt x="52" y="72"/>
                </a:lnTo>
                <a:lnTo>
                  <a:pt x="52" y="72"/>
                </a:lnTo>
                <a:lnTo>
                  <a:pt x="52" y="72"/>
                </a:lnTo>
                <a:lnTo>
                  <a:pt x="52" y="72"/>
                </a:lnTo>
                <a:lnTo>
                  <a:pt x="52" y="72"/>
                </a:lnTo>
                <a:lnTo>
                  <a:pt x="52" y="72"/>
                </a:lnTo>
                <a:lnTo>
                  <a:pt x="52" y="72"/>
                </a:lnTo>
                <a:lnTo>
                  <a:pt x="52" y="74"/>
                </a:lnTo>
                <a:lnTo>
                  <a:pt x="52" y="74"/>
                </a:lnTo>
                <a:lnTo>
                  <a:pt x="52" y="74"/>
                </a:lnTo>
                <a:lnTo>
                  <a:pt x="52" y="78"/>
                </a:lnTo>
                <a:lnTo>
                  <a:pt x="52" y="78"/>
                </a:lnTo>
                <a:lnTo>
                  <a:pt x="56" y="78"/>
                </a:lnTo>
                <a:lnTo>
                  <a:pt x="56" y="78"/>
                </a:lnTo>
                <a:lnTo>
                  <a:pt x="56" y="78"/>
                </a:lnTo>
                <a:lnTo>
                  <a:pt x="60" y="78"/>
                </a:lnTo>
                <a:lnTo>
                  <a:pt x="60" y="78"/>
                </a:lnTo>
                <a:lnTo>
                  <a:pt x="60" y="78"/>
                </a:lnTo>
                <a:lnTo>
                  <a:pt x="60" y="78"/>
                </a:lnTo>
                <a:lnTo>
                  <a:pt x="60" y="82"/>
                </a:lnTo>
                <a:lnTo>
                  <a:pt x="60" y="82"/>
                </a:lnTo>
                <a:lnTo>
                  <a:pt x="60" y="82"/>
                </a:lnTo>
                <a:lnTo>
                  <a:pt x="60" y="82"/>
                </a:lnTo>
                <a:lnTo>
                  <a:pt x="60" y="86"/>
                </a:lnTo>
                <a:lnTo>
                  <a:pt x="60" y="90"/>
                </a:lnTo>
                <a:lnTo>
                  <a:pt x="60" y="90"/>
                </a:lnTo>
                <a:lnTo>
                  <a:pt x="60" y="90"/>
                </a:lnTo>
                <a:lnTo>
                  <a:pt x="60" y="90"/>
                </a:lnTo>
                <a:lnTo>
                  <a:pt x="60" y="90"/>
                </a:lnTo>
                <a:lnTo>
                  <a:pt x="60" y="90"/>
                </a:lnTo>
                <a:lnTo>
                  <a:pt x="60" y="90"/>
                </a:lnTo>
                <a:lnTo>
                  <a:pt x="60" y="94"/>
                </a:lnTo>
                <a:lnTo>
                  <a:pt x="60" y="94"/>
                </a:lnTo>
                <a:lnTo>
                  <a:pt x="60" y="94"/>
                </a:lnTo>
                <a:lnTo>
                  <a:pt x="60" y="94"/>
                </a:lnTo>
                <a:lnTo>
                  <a:pt x="60" y="94"/>
                </a:lnTo>
                <a:lnTo>
                  <a:pt x="56" y="94"/>
                </a:lnTo>
                <a:lnTo>
                  <a:pt x="56" y="94"/>
                </a:lnTo>
                <a:lnTo>
                  <a:pt x="52" y="98"/>
                </a:lnTo>
                <a:lnTo>
                  <a:pt x="52" y="98"/>
                </a:lnTo>
                <a:lnTo>
                  <a:pt x="52" y="98"/>
                </a:lnTo>
                <a:lnTo>
                  <a:pt x="48" y="98"/>
                </a:lnTo>
                <a:lnTo>
                  <a:pt x="48" y="102"/>
                </a:lnTo>
                <a:lnTo>
                  <a:pt x="48" y="102"/>
                </a:lnTo>
                <a:lnTo>
                  <a:pt x="48" y="102"/>
                </a:lnTo>
                <a:lnTo>
                  <a:pt x="48" y="102"/>
                </a:lnTo>
                <a:lnTo>
                  <a:pt x="44" y="106"/>
                </a:lnTo>
                <a:lnTo>
                  <a:pt x="44" y="106"/>
                </a:lnTo>
                <a:lnTo>
                  <a:pt x="44" y="106"/>
                </a:lnTo>
                <a:lnTo>
                  <a:pt x="44" y="106"/>
                </a:lnTo>
                <a:lnTo>
                  <a:pt x="44" y="106"/>
                </a:lnTo>
                <a:lnTo>
                  <a:pt x="44" y="106"/>
                </a:lnTo>
                <a:lnTo>
                  <a:pt x="40" y="106"/>
                </a:lnTo>
                <a:lnTo>
                  <a:pt x="40" y="106"/>
                </a:lnTo>
                <a:lnTo>
                  <a:pt x="40" y="106"/>
                </a:lnTo>
                <a:lnTo>
                  <a:pt x="40" y="106"/>
                </a:lnTo>
                <a:lnTo>
                  <a:pt x="38" y="108"/>
                </a:lnTo>
                <a:lnTo>
                  <a:pt x="38" y="112"/>
                </a:lnTo>
                <a:lnTo>
                  <a:pt x="40" y="112"/>
                </a:lnTo>
                <a:lnTo>
                  <a:pt x="40" y="116"/>
                </a:lnTo>
                <a:lnTo>
                  <a:pt x="40" y="120"/>
                </a:lnTo>
                <a:lnTo>
                  <a:pt x="40" y="120"/>
                </a:lnTo>
                <a:lnTo>
                  <a:pt x="40" y="124"/>
                </a:lnTo>
                <a:lnTo>
                  <a:pt x="40" y="124"/>
                </a:lnTo>
                <a:lnTo>
                  <a:pt x="40" y="124"/>
                </a:lnTo>
                <a:lnTo>
                  <a:pt x="38" y="128"/>
                </a:lnTo>
                <a:lnTo>
                  <a:pt x="38" y="132"/>
                </a:lnTo>
                <a:lnTo>
                  <a:pt x="38" y="132"/>
                </a:lnTo>
                <a:lnTo>
                  <a:pt x="34" y="132"/>
                </a:lnTo>
                <a:lnTo>
                  <a:pt x="34" y="132"/>
                </a:lnTo>
                <a:lnTo>
                  <a:pt x="34" y="132"/>
                </a:lnTo>
                <a:lnTo>
                  <a:pt x="34" y="132"/>
                </a:lnTo>
                <a:lnTo>
                  <a:pt x="30" y="136"/>
                </a:lnTo>
                <a:lnTo>
                  <a:pt x="30" y="136"/>
                </a:lnTo>
                <a:lnTo>
                  <a:pt x="30" y="132"/>
                </a:lnTo>
                <a:lnTo>
                  <a:pt x="30" y="128"/>
                </a:lnTo>
                <a:lnTo>
                  <a:pt x="30" y="128"/>
                </a:lnTo>
                <a:lnTo>
                  <a:pt x="30" y="124"/>
                </a:lnTo>
                <a:lnTo>
                  <a:pt x="26" y="120"/>
                </a:lnTo>
                <a:lnTo>
                  <a:pt x="26" y="116"/>
                </a:lnTo>
                <a:lnTo>
                  <a:pt x="26" y="108"/>
                </a:lnTo>
                <a:lnTo>
                  <a:pt x="26" y="108"/>
                </a:lnTo>
                <a:lnTo>
                  <a:pt x="26" y="102"/>
                </a:lnTo>
                <a:lnTo>
                  <a:pt x="22" y="102"/>
                </a:lnTo>
                <a:lnTo>
                  <a:pt x="22" y="102"/>
                </a:lnTo>
                <a:lnTo>
                  <a:pt x="22" y="98"/>
                </a:lnTo>
                <a:lnTo>
                  <a:pt x="22" y="98"/>
                </a:lnTo>
                <a:lnTo>
                  <a:pt x="18" y="94"/>
                </a:lnTo>
                <a:lnTo>
                  <a:pt x="14" y="94"/>
                </a:lnTo>
                <a:lnTo>
                  <a:pt x="14" y="94"/>
                </a:lnTo>
                <a:lnTo>
                  <a:pt x="14" y="90"/>
                </a:lnTo>
                <a:lnTo>
                  <a:pt x="14" y="90"/>
                </a:lnTo>
                <a:lnTo>
                  <a:pt x="14" y="90"/>
                </a:lnTo>
                <a:lnTo>
                  <a:pt x="14" y="86"/>
                </a:lnTo>
                <a:lnTo>
                  <a:pt x="14" y="86"/>
                </a:lnTo>
                <a:lnTo>
                  <a:pt x="14" y="86"/>
                </a:lnTo>
                <a:lnTo>
                  <a:pt x="14" y="86"/>
                </a:lnTo>
                <a:lnTo>
                  <a:pt x="10" y="86"/>
                </a:lnTo>
                <a:lnTo>
                  <a:pt x="10" y="82"/>
                </a:lnTo>
                <a:lnTo>
                  <a:pt x="10" y="78"/>
                </a:lnTo>
                <a:lnTo>
                  <a:pt x="10" y="78"/>
                </a:lnTo>
                <a:lnTo>
                  <a:pt x="6" y="78"/>
                </a:lnTo>
                <a:lnTo>
                  <a:pt x="4" y="78"/>
                </a:lnTo>
                <a:lnTo>
                  <a:pt x="4" y="78"/>
                </a:lnTo>
                <a:lnTo>
                  <a:pt x="4" y="78"/>
                </a:lnTo>
                <a:lnTo>
                  <a:pt x="4" y="78"/>
                </a:lnTo>
                <a:lnTo>
                  <a:pt x="4" y="74"/>
                </a:lnTo>
                <a:lnTo>
                  <a:pt x="4" y="74"/>
                </a:lnTo>
                <a:lnTo>
                  <a:pt x="4" y="74"/>
                </a:lnTo>
                <a:lnTo>
                  <a:pt x="4" y="74"/>
                </a:lnTo>
                <a:lnTo>
                  <a:pt x="4" y="72"/>
                </a:lnTo>
                <a:lnTo>
                  <a:pt x="4" y="72"/>
                </a:lnTo>
                <a:lnTo>
                  <a:pt x="4" y="68"/>
                </a:lnTo>
                <a:lnTo>
                  <a:pt x="0" y="68"/>
                </a:lnTo>
                <a:lnTo>
                  <a:pt x="0" y="64"/>
                </a:lnTo>
                <a:lnTo>
                  <a:pt x="0" y="64"/>
                </a:lnTo>
                <a:lnTo>
                  <a:pt x="0" y="64"/>
                </a:lnTo>
                <a:lnTo>
                  <a:pt x="4" y="64"/>
                </a:lnTo>
                <a:lnTo>
                  <a:pt x="4" y="64"/>
                </a:lnTo>
                <a:lnTo>
                  <a:pt x="4" y="64"/>
                </a:lnTo>
                <a:lnTo>
                  <a:pt x="4" y="60"/>
                </a:lnTo>
                <a:lnTo>
                  <a:pt x="4" y="60"/>
                </a:lnTo>
                <a:lnTo>
                  <a:pt x="4" y="60"/>
                </a:lnTo>
                <a:lnTo>
                  <a:pt x="4" y="60"/>
                </a:lnTo>
                <a:lnTo>
                  <a:pt x="4" y="60"/>
                </a:lnTo>
                <a:lnTo>
                  <a:pt x="4" y="60"/>
                </a:lnTo>
                <a:lnTo>
                  <a:pt x="4" y="60"/>
                </a:lnTo>
                <a:lnTo>
                  <a:pt x="6" y="60"/>
                </a:lnTo>
                <a:lnTo>
                  <a:pt x="6" y="56"/>
                </a:lnTo>
                <a:lnTo>
                  <a:pt x="6" y="56"/>
                </a:lnTo>
                <a:lnTo>
                  <a:pt x="6" y="56"/>
                </a:lnTo>
                <a:lnTo>
                  <a:pt x="6" y="56"/>
                </a:lnTo>
                <a:lnTo>
                  <a:pt x="6" y="52"/>
                </a:lnTo>
                <a:lnTo>
                  <a:pt x="10" y="52"/>
                </a:lnTo>
                <a:lnTo>
                  <a:pt x="10" y="52"/>
                </a:lnTo>
                <a:lnTo>
                  <a:pt x="10" y="52"/>
                </a:lnTo>
                <a:lnTo>
                  <a:pt x="10" y="52"/>
                </a:lnTo>
                <a:lnTo>
                  <a:pt x="10" y="52"/>
                </a:lnTo>
                <a:lnTo>
                  <a:pt x="10" y="52"/>
                </a:lnTo>
                <a:lnTo>
                  <a:pt x="10" y="48"/>
                </a:lnTo>
                <a:lnTo>
                  <a:pt x="10" y="48"/>
                </a:lnTo>
                <a:lnTo>
                  <a:pt x="10" y="48"/>
                </a:lnTo>
                <a:lnTo>
                  <a:pt x="10" y="48"/>
                </a:lnTo>
                <a:lnTo>
                  <a:pt x="10" y="48"/>
                </a:lnTo>
                <a:lnTo>
                  <a:pt x="10" y="44"/>
                </a:lnTo>
                <a:lnTo>
                  <a:pt x="14" y="42"/>
                </a:lnTo>
                <a:lnTo>
                  <a:pt x="14" y="42"/>
                </a:lnTo>
                <a:lnTo>
                  <a:pt x="14" y="42"/>
                </a:lnTo>
                <a:lnTo>
                  <a:pt x="14" y="38"/>
                </a:lnTo>
                <a:lnTo>
                  <a:pt x="14" y="38"/>
                </a:lnTo>
                <a:lnTo>
                  <a:pt x="14" y="38"/>
                </a:lnTo>
                <a:lnTo>
                  <a:pt x="14" y="38"/>
                </a:lnTo>
                <a:lnTo>
                  <a:pt x="14" y="38"/>
                </a:lnTo>
                <a:lnTo>
                  <a:pt x="14" y="38"/>
                </a:lnTo>
                <a:lnTo>
                  <a:pt x="14" y="34"/>
                </a:lnTo>
                <a:lnTo>
                  <a:pt x="14" y="34"/>
                </a:lnTo>
                <a:lnTo>
                  <a:pt x="14" y="34"/>
                </a:lnTo>
                <a:lnTo>
                  <a:pt x="14" y="34"/>
                </a:lnTo>
                <a:lnTo>
                  <a:pt x="14" y="30"/>
                </a:lnTo>
                <a:lnTo>
                  <a:pt x="10" y="30"/>
                </a:lnTo>
                <a:lnTo>
                  <a:pt x="10" y="30"/>
                </a:lnTo>
                <a:lnTo>
                  <a:pt x="10" y="30"/>
                </a:lnTo>
                <a:lnTo>
                  <a:pt x="10" y="30"/>
                </a:lnTo>
                <a:lnTo>
                  <a:pt x="10" y="30"/>
                </a:lnTo>
                <a:lnTo>
                  <a:pt x="10" y="26"/>
                </a:lnTo>
                <a:lnTo>
                  <a:pt x="10" y="26"/>
                </a:lnTo>
                <a:lnTo>
                  <a:pt x="10" y="26"/>
                </a:lnTo>
                <a:lnTo>
                  <a:pt x="10" y="26"/>
                </a:lnTo>
                <a:lnTo>
                  <a:pt x="14" y="22"/>
                </a:lnTo>
                <a:lnTo>
                  <a:pt x="14" y="22"/>
                </a:lnTo>
                <a:lnTo>
                  <a:pt x="14" y="18"/>
                </a:lnTo>
                <a:lnTo>
                  <a:pt x="14" y="18"/>
                </a:lnTo>
                <a:lnTo>
                  <a:pt x="14" y="18"/>
                </a:lnTo>
                <a:lnTo>
                  <a:pt x="14" y="18"/>
                </a:lnTo>
                <a:lnTo>
                  <a:pt x="14" y="18"/>
                </a:lnTo>
                <a:lnTo>
                  <a:pt x="10" y="14"/>
                </a:lnTo>
                <a:lnTo>
                  <a:pt x="10" y="18"/>
                </a:lnTo>
                <a:lnTo>
                  <a:pt x="10" y="14"/>
                </a:lnTo>
                <a:lnTo>
                  <a:pt x="10" y="14"/>
                </a:lnTo>
                <a:lnTo>
                  <a:pt x="10" y="14"/>
                </a:lnTo>
                <a:lnTo>
                  <a:pt x="10" y="14"/>
                </a:lnTo>
                <a:lnTo>
                  <a:pt x="10" y="14"/>
                </a:lnTo>
                <a:lnTo>
                  <a:pt x="10" y="14"/>
                </a:lnTo>
                <a:lnTo>
                  <a:pt x="14" y="14"/>
                </a:lnTo>
                <a:lnTo>
                  <a:pt x="14" y="14"/>
                </a:lnTo>
                <a:lnTo>
                  <a:pt x="14" y="12"/>
                </a:lnTo>
                <a:lnTo>
                  <a:pt x="14" y="12"/>
                </a:lnTo>
                <a:lnTo>
                  <a:pt x="18" y="12"/>
                </a:lnTo>
                <a:lnTo>
                  <a:pt x="18" y="8"/>
                </a:lnTo>
                <a:lnTo>
                  <a:pt x="18" y="8"/>
                </a:lnTo>
                <a:lnTo>
                  <a:pt x="18" y="8"/>
                </a:lnTo>
                <a:lnTo>
                  <a:pt x="18" y="8"/>
                </a:lnTo>
                <a:lnTo>
                  <a:pt x="22" y="8"/>
                </a:lnTo>
                <a:lnTo>
                  <a:pt x="22" y="8"/>
                </a:lnTo>
                <a:lnTo>
                  <a:pt x="22" y="8"/>
                </a:lnTo>
                <a:lnTo>
                  <a:pt x="22" y="8"/>
                </a:lnTo>
                <a:lnTo>
                  <a:pt x="22" y="8"/>
                </a:lnTo>
                <a:lnTo>
                  <a:pt x="22" y="8"/>
                </a:lnTo>
                <a:lnTo>
                  <a:pt x="22" y="8"/>
                </a:lnTo>
                <a:lnTo>
                  <a:pt x="22" y="4"/>
                </a:lnTo>
                <a:lnTo>
                  <a:pt x="22" y="4"/>
                </a:lnTo>
                <a:lnTo>
                  <a:pt x="22" y="4"/>
                </a:lnTo>
                <a:lnTo>
                  <a:pt x="22" y="4"/>
                </a:lnTo>
                <a:lnTo>
                  <a:pt x="22" y="4"/>
                </a:lnTo>
                <a:lnTo>
                  <a:pt x="26" y="4"/>
                </a:lnTo>
                <a:lnTo>
                  <a:pt x="26" y="4"/>
                </a:lnTo>
                <a:lnTo>
                  <a:pt x="30" y="0"/>
                </a:lnTo>
                <a:lnTo>
                  <a:pt x="34" y="0"/>
                </a:lnTo>
                <a:lnTo>
                  <a:pt x="34" y="0"/>
                </a:lnTo>
                <a:lnTo>
                  <a:pt x="34" y="0"/>
                </a:lnTo>
                <a:lnTo>
                  <a:pt x="34" y="0"/>
                </a:lnTo>
                <a:lnTo>
                  <a:pt x="34" y="4"/>
                </a:lnTo>
                <a:lnTo>
                  <a:pt x="34" y="4"/>
                </a:lnTo>
                <a:lnTo>
                  <a:pt x="34" y="4"/>
                </a:lnTo>
                <a:lnTo>
                  <a:pt x="34" y="4"/>
                </a:lnTo>
                <a:lnTo>
                  <a:pt x="34" y="4"/>
                </a:lnTo>
                <a:lnTo>
                  <a:pt x="34" y="4"/>
                </a:lnTo>
                <a:lnTo>
                  <a:pt x="34" y="4"/>
                </a:lnTo>
                <a:lnTo>
                  <a:pt x="38" y="4"/>
                </a:lnTo>
                <a:lnTo>
                  <a:pt x="38" y="4"/>
                </a:lnTo>
                <a:lnTo>
                  <a:pt x="38" y="4"/>
                </a:lnTo>
                <a:lnTo>
                  <a:pt x="34" y="4"/>
                </a:lnTo>
                <a:lnTo>
                  <a:pt x="38" y="4"/>
                </a:lnTo>
                <a:lnTo>
                  <a:pt x="38" y="4"/>
                </a:lnTo>
                <a:lnTo>
                  <a:pt x="40" y="4"/>
                </a:lnTo>
                <a:lnTo>
                  <a:pt x="40" y="4"/>
                </a:lnTo>
                <a:lnTo>
                  <a:pt x="40" y="4"/>
                </a:lnTo>
                <a:lnTo>
                  <a:pt x="40" y="4"/>
                </a:lnTo>
                <a:lnTo>
                  <a:pt x="38" y="4"/>
                </a:lnTo>
                <a:lnTo>
                  <a:pt x="40" y="4"/>
                </a:lnTo>
                <a:lnTo>
                  <a:pt x="40" y="4"/>
                </a:lnTo>
                <a:lnTo>
                  <a:pt x="40" y="8"/>
                </a:lnTo>
                <a:lnTo>
                  <a:pt x="40" y="8"/>
                </a:lnTo>
                <a:lnTo>
                  <a:pt x="40" y="8"/>
                </a:lnTo>
                <a:lnTo>
                  <a:pt x="40" y="8"/>
                </a:lnTo>
                <a:lnTo>
                  <a:pt x="40" y="8"/>
                </a:lnTo>
                <a:lnTo>
                  <a:pt x="40" y="8"/>
                </a:lnTo>
                <a:close/>
                <a:moveTo>
                  <a:pt x="52" y="52"/>
                </a:moveTo>
                <a:lnTo>
                  <a:pt x="52" y="52"/>
                </a:lnTo>
                <a:lnTo>
                  <a:pt x="52" y="52"/>
                </a:lnTo>
                <a:lnTo>
                  <a:pt x="52" y="48"/>
                </a:lnTo>
                <a:lnTo>
                  <a:pt x="56" y="48"/>
                </a:lnTo>
                <a:lnTo>
                  <a:pt x="56" y="48"/>
                </a:lnTo>
                <a:lnTo>
                  <a:pt x="56" y="48"/>
                </a:lnTo>
                <a:lnTo>
                  <a:pt x="56" y="48"/>
                </a:lnTo>
                <a:lnTo>
                  <a:pt x="56" y="48"/>
                </a:lnTo>
                <a:lnTo>
                  <a:pt x="56" y="48"/>
                </a:lnTo>
                <a:lnTo>
                  <a:pt x="56" y="48"/>
                </a:lnTo>
                <a:lnTo>
                  <a:pt x="52" y="48"/>
                </a:lnTo>
                <a:lnTo>
                  <a:pt x="52" y="48"/>
                </a:lnTo>
                <a:lnTo>
                  <a:pt x="52" y="52"/>
                </a:lnTo>
                <a:lnTo>
                  <a:pt x="52" y="52"/>
                </a:lnTo>
                <a:lnTo>
                  <a:pt x="52" y="52"/>
                </a:lnTo>
                <a:lnTo>
                  <a:pt x="52" y="52"/>
                </a:lnTo>
                <a:close/>
                <a:moveTo>
                  <a:pt x="48" y="72"/>
                </a:moveTo>
                <a:lnTo>
                  <a:pt x="48" y="72"/>
                </a:lnTo>
                <a:lnTo>
                  <a:pt x="48" y="72"/>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52" y="68"/>
                </a:lnTo>
                <a:lnTo>
                  <a:pt x="52" y="68"/>
                </a:lnTo>
                <a:lnTo>
                  <a:pt x="52" y="68"/>
                </a:lnTo>
                <a:lnTo>
                  <a:pt x="52" y="68"/>
                </a:lnTo>
                <a:lnTo>
                  <a:pt x="52" y="68"/>
                </a:lnTo>
                <a:lnTo>
                  <a:pt x="52" y="68"/>
                </a:lnTo>
                <a:lnTo>
                  <a:pt x="52" y="68"/>
                </a:lnTo>
                <a:lnTo>
                  <a:pt x="52" y="68"/>
                </a:lnTo>
                <a:lnTo>
                  <a:pt x="48" y="72"/>
                </a:lnTo>
                <a:lnTo>
                  <a:pt x="48" y="72"/>
                </a:lnTo>
                <a:lnTo>
                  <a:pt x="48" y="72"/>
                </a:lnTo>
                <a:lnTo>
                  <a:pt x="48" y="72"/>
                </a:lnTo>
                <a:lnTo>
                  <a:pt x="48" y="72"/>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67" name="Freeform 174"/>
          <p:cNvSpPr>
            <a:spLocks/>
          </p:cNvSpPr>
          <p:nvPr/>
        </p:nvSpPr>
        <p:spPr bwMode="auto">
          <a:xfrm>
            <a:off x="4752975" y="3612356"/>
            <a:ext cx="95250" cy="116681"/>
          </a:xfrm>
          <a:custGeom>
            <a:avLst/>
            <a:gdLst>
              <a:gd name="T0" fmla="*/ 42 w 80"/>
              <a:gd name="T1" fmla="*/ 90 h 98"/>
              <a:gd name="T2" fmla="*/ 22 w 80"/>
              <a:gd name="T3" fmla="*/ 90 h 98"/>
              <a:gd name="T4" fmla="*/ 16 w 80"/>
              <a:gd name="T5" fmla="*/ 90 h 98"/>
              <a:gd name="T6" fmla="*/ 12 w 80"/>
              <a:gd name="T7" fmla="*/ 94 h 98"/>
              <a:gd name="T8" fmla="*/ 8 w 80"/>
              <a:gd name="T9" fmla="*/ 98 h 98"/>
              <a:gd name="T10" fmla="*/ 4 w 80"/>
              <a:gd name="T11" fmla="*/ 98 h 98"/>
              <a:gd name="T12" fmla="*/ 4 w 80"/>
              <a:gd name="T13" fmla="*/ 98 h 98"/>
              <a:gd name="T14" fmla="*/ 0 w 80"/>
              <a:gd name="T15" fmla="*/ 98 h 98"/>
              <a:gd name="T16" fmla="*/ 0 w 80"/>
              <a:gd name="T17" fmla="*/ 90 h 98"/>
              <a:gd name="T18" fmla="*/ 4 w 80"/>
              <a:gd name="T19" fmla="*/ 82 h 98"/>
              <a:gd name="T20" fmla="*/ 4 w 80"/>
              <a:gd name="T21" fmla="*/ 74 h 98"/>
              <a:gd name="T22" fmla="*/ 4 w 80"/>
              <a:gd name="T23" fmla="*/ 70 h 98"/>
              <a:gd name="T24" fmla="*/ 8 w 80"/>
              <a:gd name="T25" fmla="*/ 64 h 98"/>
              <a:gd name="T26" fmla="*/ 8 w 80"/>
              <a:gd name="T27" fmla="*/ 60 h 98"/>
              <a:gd name="T28" fmla="*/ 8 w 80"/>
              <a:gd name="T29" fmla="*/ 56 h 98"/>
              <a:gd name="T30" fmla="*/ 12 w 80"/>
              <a:gd name="T31" fmla="*/ 52 h 98"/>
              <a:gd name="T32" fmla="*/ 16 w 80"/>
              <a:gd name="T33" fmla="*/ 52 h 98"/>
              <a:gd name="T34" fmla="*/ 22 w 80"/>
              <a:gd name="T35" fmla="*/ 40 h 98"/>
              <a:gd name="T36" fmla="*/ 22 w 80"/>
              <a:gd name="T37" fmla="*/ 34 h 98"/>
              <a:gd name="T38" fmla="*/ 20 w 80"/>
              <a:gd name="T39" fmla="*/ 34 h 98"/>
              <a:gd name="T40" fmla="*/ 20 w 80"/>
              <a:gd name="T41" fmla="*/ 30 h 98"/>
              <a:gd name="T42" fmla="*/ 20 w 80"/>
              <a:gd name="T43" fmla="*/ 22 h 98"/>
              <a:gd name="T44" fmla="*/ 20 w 80"/>
              <a:gd name="T45" fmla="*/ 18 h 98"/>
              <a:gd name="T46" fmla="*/ 20 w 80"/>
              <a:gd name="T47" fmla="*/ 10 h 98"/>
              <a:gd name="T48" fmla="*/ 20 w 80"/>
              <a:gd name="T49" fmla="*/ 10 h 98"/>
              <a:gd name="T50" fmla="*/ 26 w 80"/>
              <a:gd name="T51" fmla="*/ 6 h 98"/>
              <a:gd name="T52" fmla="*/ 34 w 80"/>
              <a:gd name="T53" fmla="*/ 6 h 98"/>
              <a:gd name="T54" fmla="*/ 34 w 80"/>
              <a:gd name="T55" fmla="*/ 10 h 98"/>
              <a:gd name="T56" fmla="*/ 38 w 80"/>
              <a:gd name="T57" fmla="*/ 10 h 98"/>
              <a:gd name="T58" fmla="*/ 42 w 80"/>
              <a:gd name="T59" fmla="*/ 6 h 98"/>
              <a:gd name="T60" fmla="*/ 46 w 80"/>
              <a:gd name="T61" fmla="*/ 6 h 98"/>
              <a:gd name="T62" fmla="*/ 50 w 80"/>
              <a:gd name="T63" fmla="*/ 6 h 98"/>
              <a:gd name="T64" fmla="*/ 56 w 80"/>
              <a:gd name="T65" fmla="*/ 6 h 98"/>
              <a:gd name="T66" fmla="*/ 64 w 80"/>
              <a:gd name="T67" fmla="*/ 0 h 98"/>
              <a:gd name="T68" fmla="*/ 68 w 80"/>
              <a:gd name="T69" fmla="*/ 6 h 98"/>
              <a:gd name="T70" fmla="*/ 72 w 80"/>
              <a:gd name="T71" fmla="*/ 10 h 98"/>
              <a:gd name="T72" fmla="*/ 72 w 80"/>
              <a:gd name="T73" fmla="*/ 18 h 98"/>
              <a:gd name="T74" fmla="*/ 76 w 80"/>
              <a:gd name="T75" fmla="*/ 22 h 98"/>
              <a:gd name="T76" fmla="*/ 76 w 80"/>
              <a:gd name="T77" fmla="*/ 26 h 98"/>
              <a:gd name="T78" fmla="*/ 76 w 80"/>
              <a:gd name="T79" fmla="*/ 34 h 98"/>
              <a:gd name="T80" fmla="*/ 80 w 80"/>
              <a:gd name="T81" fmla="*/ 40 h 98"/>
              <a:gd name="T82" fmla="*/ 76 w 80"/>
              <a:gd name="T83" fmla="*/ 44 h 98"/>
              <a:gd name="T84" fmla="*/ 76 w 80"/>
              <a:gd name="T85" fmla="*/ 48 h 98"/>
              <a:gd name="T86" fmla="*/ 76 w 80"/>
              <a:gd name="T87" fmla="*/ 52 h 98"/>
              <a:gd name="T88" fmla="*/ 76 w 80"/>
              <a:gd name="T89" fmla="*/ 52 h 98"/>
              <a:gd name="T90" fmla="*/ 72 w 80"/>
              <a:gd name="T91" fmla="*/ 56 h 98"/>
              <a:gd name="T92" fmla="*/ 72 w 80"/>
              <a:gd name="T93" fmla="*/ 60 h 98"/>
              <a:gd name="T94" fmla="*/ 64 w 80"/>
              <a:gd name="T95" fmla="*/ 66 h 98"/>
              <a:gd name="T96" fmla="*/ 64 w 80"/>
              <a:gd name="T97" fmla="*/ 70 h 98"/>
              <a:gd name="T98" fmla="*/ 64 w 80"/>
              <a:gd name="T99" fmla="*/ 78 h 98"/>
              <a:gd name="T100" fmla="*/ 56 w 80"/>
              <a:gd name="T101" fmla="*/ 90 h 98"/>
              <a:gd name="T102" fmla="*/ 52 w 80"/>
              <a:gd name="T103" fmla="*/ 9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0" h="98">
                <a:moveTo>
                  <a:pt x="50" y="90"/>
                </a:moveTo>
                <a:lnTo>
                  <a:pt x="46" y="90"/>
                </a:lnTo>
                <a:lnTo>
                  <a:pt x="46" y="90"/>
                </a:lnTo>
                <a:lnTo>
                  <a:pt x="46" y="90"/>
                </a:lnTo>
                <a:lnTo>
                  <a:pt x="42" y="90"/>
                </a:lnTo>
                <a:lnTo>
                  <a:pt x="30" y="90"/>
                </a:lnTo>
                <a:lnTo>
                  <a:pt x="30" y="90"/>
                </a:lnTo>
                <a:lnTo>
                  <a:pt x="26" y="90"/>
                </a:lnTo>
                <a:lnTo>
                  <a:pt x="26" y="90"/>
                </a:lnTo>
                <a:lnTo>
                  <a:pt x="22" y="90"/>
                </a:lnTo>
                <a:lnTo>
                  <a:pt x="20" y="90"/>
                </a:lnTo>
                <a:lnTo>
                  <a:pt x="20" y="90"/>
                </a:lnTo>
                <a:lnTo>
                  <a:pt x="16" y="90"/>
                </a:lnTo>
                <a:lnTo>
                  <a:pt x="16" y="90"/>
                </a:lnTo>
                <a:lnTo>
                  <a:pt x="16" y="90"/>
                </a:lnTo>
                <a:lnTo>
                  <a:pt x="16" y="90"/>
                </a:lnTo>
                <a:lnTo>
                  <a:pt x="16" y="90"/>
                </a:lnTo>
                <a:lnTo>
                  <a:pt x="12" y="90"/>
                </a:lnTo>
                <a:lnTo>
                  <a:pt x="12" y="94"/>
                </a:lnTo>
                <a:lnTo>
                  <a:pt x="12" y="94"/>
                </a:lnTo>
                <a:lnTo>
                  <a:pt x="12" y="94"/>
                </a:lnTo>
                <a:lnTo>
                  <a:pt x="12" y="94"/>
                </a:lnTo>
                <a:lnTo>
                  <a:pt x="12" y="98"/>
                </a:lnTo>
                <a:lnTo>
                  <a:pt x="8" y="98"/>
                </a:lnTo>
                <a:lnTo>
                  <a:pt x="8" y="98"/>
                </a:lnTo>
                <a:lnTo>
                  <a:pt x="8" y="98"/>
                </a:lnTo>
                <a:lnTo>
                  <a:pt x="8" y="98"/>
                </a:lnTo>
                <a:lnTo>
                  <a:pt x="8" y="98"/>
                </a:lnTo>
                <a:lnTo>
                  <a:pt x="4" y="98"/>
                </a:lnTo>
                <a:lnTo>
                  <a:pt x="4" y="98"/>
                </a:lnTo>
                <a:lnTo>
                  <a:pt x="4" y="98"/>
                </a:lnTo>
                <a:lnTo>
                  <a:pt x="4" y="98"/>
                </a:lnTo>
                <a:lnTo>
                  <a:pt x="4" y="98"/>
                </a:lnTo>
                <a:lnTo>
                  <a:pt x="4" y="98"/>
                </a:lnTo>
                <a:lnTo>
                  <a:pt x="4" y="98"/>
                </a:lnTo>
                <a:lnTo>
                  <a:pt x="4" y="98"/>
                </a:lnTo>
                <a:lnTo>
                  <a:pt x="0" y="98"/>
                </a:lnTo>
                <a:lnTo>
                  <a:pt x="0" y="98"/>
                </a:lnTo>
                <a:lnTo>
                  <a:pt x="0" y="98"/>
                </a:lnTo>
                <a:lnTo>
                  <a:pt x="0" y="98"/>
                </a:lnTo>
                <a:lnTo>
                  <a:pt x="0" y="94"/>
                </a:lnTo>
                <a:lnTo>
                  <a:pt x="0" y="94"/>
                </a:lnTo>
                <a:lnTo>
                  <a:pt x="0" y="90"/>
                </a:lnTo>
                <a:lnTo>
                  <a:pt x="0" y="90"/>
                </a:lnTo>
                <a:lnTo>
                  <a:pt x="0" y="90"/>
                </a:lnTo>
                <a:lnTo>
                  <a:pt x="0" y="86"/>
                </a:lnTo>
                <a:lnTo>
                  <a:pt x="0" y="86"/>
                </a:lnTo>
                <a:lnTo>
                  <a:pt x="0" y="82"/>
                </a:lnTo>
                <a:lnTo>
                  <a:pt x="4" y="82"/>
                </a:lnTo>
                <a:lnTo>
                  <a:pt x="4" y="82"/>
                </a:lnTo>
                <a:lnTo>
                  <a:pt x="4" y="82"/>
                </a:lnTo>
                <a:lnTo>
                  <a:pt x="4" y="78"/>
                </a:lnTo>
                <a:lnTo>
                  <a:pt x="4" y="74"/>
                </a:lnTo>
                <a:lnTo>
                  <a:pt x="4" y="74"/>
                </a:lnTo>
                <a:lnTo>
                  <a:pt x="4" y="74"/>
                </a:lnTo>
                <a:lnTo>
                  <a:pt x="4" y="70"/>
                </a:lnTo>
                <a:lnTo>
                  <a:pt x="4" y="70"/>
                </a:lnTo>
                <a:lnTo>
                  <a:pt x="4" y="70"/>
                </a:lnTo>
                <a:lnTo>
                  <a:pt x="4" y="70"/>
                </a:lnTo>
                <a:lnTo>
                  <a:pt x="4" y="70"/>
                </a:lnTo>
                <a:lnTo>
                  <a:pt x="4" y="66"/>
                </a:lnTo>
                <a:lnTo>
                  <a:pt x="4" y="66"/>
                </a:lnTo>
                <a:lnTo>
                  <a:pt x="8" y="66"/>
                </a:lnTo>
                <a:lnTo>
                  <a:pt x="8" y="64"/>
                </a:lnTo>
                <a:lnTo>
                  <a:pt x="8" y="64"/>
                </a:lnTo>
                <a:lnTo>
                  <a:pt x="8" y="64"/>
                </a:lnTo>
                <a:lnTo>
                  <a:pt x="8" y="60"/>
                </a:lnTo>
                <a:lnTo>
                  <a:pt x="8" y="60"/>
                </a:lnTo>
                <a:lnTo>
                  <a:pt x="8" y="60"/>
                </a:lnTo>
                <a:lnTo>
                  <a:pt x="8" y="60"/>
                </a:lnTo>
                <a:lnTo>
                  <a:pt x="8" y="60"/>
                </a:lnTo>
                <a:lnTo>
                  <a:pt x="8" y="60"/>
                </a:lnTo>
                <a:lnTo>
                  <a:pt x="8" y="56"/>
                </a:lnTo>
                <a:lnTo>
                  <a:pt x="8" y="56"/>
                </a:lnTo>
                <a:lnTo>
                  <a:pt x="8" y="56"/>
                </a:lnTo>
                <a:lnTo>
                  <a:pt x="8" y="56"/>
                </a:lnTo>
                <a:lnTo>
                  <a:pt x="12" y="56"/>
                </a:lnTo>
                <a:lnTo>
                  <a:pt x="12" y="56"/>
                </a:lnTo>
                <a:lnTo>
                  <a:pt x="12" y="56"/>
                </a:lnTo>
                <a:lnTo>
                  <a:pt x="12" y="52"/>
                </a:lnTo>
                <a:lnTo>
                  <a:pt x="12" y="52"/>
                </a:lnTo>
                <a:lnTo>
                  <a:pt x="12" y="52"/>
                </a:lnTo>
                <a:lnTo>
                  <a:pt x="16" y="52"/>
                </a:lnTo>
                <a:lnTo>
                  <a:pt x="16" y="52"/>
                </a:lnTo>
                <a:lnTo>
                  <a:pt x="16" y="52"/>
                </a:lnTo>
                <a:lnTo>
                  <a:pt x="16" y="48"/>
                </a:lnTo>
                <a:lnTo>
                  <a:pt x="16" y="48"/>
                </a:lnTo>
                <a:lnTo>
                  <a:pt x="16" y="48"/>
                </a:lnTo>
                <a:lnTo>
                  <a:pt x="20" y="44"/>
                </a:lnTo>
                <a:lnTo>
                  <a:pt x="22" y="40"/>
                </a:lnTo>
                <a:lnTo>
                  <a:pt x="22" y="36"/>
                </a:lnTo>
                <a:lnTo>
                  <a:pt x="26" y="36"/>
                </a:lnTo>
                <a:lnTo>
                  <a:pt x="26" y="36"/>
                </a:lnTo>
                <a:lnTo>
                  <a:pt x="22" y="34"/>
                </a:lnTo>
                <a:lnTo>
                  <a:pt x="22" y="34"/>
                </a:lnTo>
                <a:lnTo>
                  <a:pt x="22" y="34"/>
                </a:lnTo>
                <a:lnTo>
                  <a:pt x="22" y="30"/>
                </a:lnTo>
                <a:lnTo>
                  <a:pt x="22" y="30"/>
                </a:lnTo>
                <a:lnTo>
                  <a:pt x="20" y="34"/>
                </a:lnTo>
                <a:lnTo>
                  <a:pt x="20" y="34"/>
                </a:lnTo>
                <a:lnTo>
                  <a:pt x="20" y="34"/>
                </a:lnTo>
                <a:lnTo>
                  <a:pt x="20" y="34"/>
                </a:lnTo>
                <a:lnTo>
                  <a:pt x="20" y="30"/>
                </a:lnTo>
                <a:lnTo>
                  <a:pt x="20" y="30"/>
                </a:lnTo>
                <a:lnTo>
                  <a:pt x="20" y="30"/>
                </a:lnTo>
                <a:lnTo>
                  <a:pt x="20" y="26"/>
                </a:lnTo>
                <a:lnTo>
                  <a:pt x="20" y="26"/>
                </a:lnTo>
                <a:lnTo>
                  <a:pt x="20" y="26"/>
                </a:lnTo>
                <a:lnTo>
                  <a:pt x="20" y="22"/>
                </a:lnTo>
                <a:lnTo>
                  <a:pt x="20" y="22"/>
                </a:lnTo>
                <a:lnTo>
                  <a:pt x="20" y="22"/>
                </a:lnTo>
                <a:lnTo>
                  <a:pt x="20" y="22"/>
                </a:lnTo>
                <a:lnTo>
                  <a:pt x="20" y="22"/>
                </a:lnTo>
                <a:lnTo>
                  <a:pt x="20" y="22"/>
                </a:lnTo>
                <a:lnTo>
                  <a:pt x="20" y="18"/>
                </a:lnTo>
                <a:lnTo>
                  <a:pt x="20" y="18"/>
                </a:lnTo>
                <a:lnTo>
                  <a:pt x="20" y="14"/>
                </a:lnTo>
                <a:lnTo>
                  <a:pt x="20" y="14"/>
                </a:lnTo>
                <a:lnTo>
                  <a:pt x="20" y="14"/>
                </a:lnTo>
                <a:lnTo>
                  <a:pt x="20" y="10"/>
                </a:lnTo>
                <a:lnTo>
                  <a:pt x="20" y="10"/>
                </a:lnTo>
                <a:lnTo>
                  <a:pt x="20" y="10"/>
                </a:lnTo>
                <a:lnTo>
                  <a:pt x="20" y="10"/>
                </a:lnTo>
                <a:lnTo>
                  <a:pt x="20" y="10"/>
                </a:lnTo>
                <a:lnTo>
                  <a:pt x="20" y="10"/>
                </a:lnTo>
                <a:lnTo>
                  <a:pt x="22" y="10"/>
                </a:lnTo>
                <a:lnTo>
                  <a:pt x="22" y="6"/>
                </a:lnTo>
                <a:lnTo>
                  <a:pt x="22" y="6"/>
                </a:lnTo>
                <a:lnTo>
                  <a:pt x="26" y="6"/>
                </a:lnTo>
                <a:lnTo>
                  <a:pt x="26" y="6"/>
                </a:lnTo>
                <a:lnTo>
                  <a:pt x="26" y="10"/>
                </a:lnTo>
                <a:lnTo>
                  <a:pt x="30" y="10"/>
                </a:lnTo>
                <a:lnTo>
                  <a:pt x="30" y="6"/>
                </a:lnTo>
                <a:lnTo>
                  <a:pt x="30" y="6"/>
                </a:lnTo>
                <a:lnTo>
                  <a:pt x="34" y="6"/>
                </a:lnTo>
                <a:lnTo>
                  <a:pt x="34" y="6"/>
                </a:lnTo>
                <a:lnTo>
                  <a:pt x="34" y="6"/>
                </a:lnTo>
                <a:lnTo>
                  <a:pt x="34" y="10"/>
                </a:lnTo>
                <a:lnTo>
                  <a:pt x="34" y="10"/>
                </a:lnTo>
                <a:lnTo>
                  <a:pt x="34" y="10"/>
                </a:lnTo>
                <a:lnTo>
                  <a:pt x="38" y="10"/>
                </a:lnTo>
                <a:lnTo>
                  <a:pt x="38" y="10"/>
                </a:lnTo>
                <a:lnTo>
                  <a:pt x="38" y="10"/>
                </a:lnTo>
                <a:lnTo>
                  <a:pt x="38" y="10"/>
                </a:lnTo>
                <a:lnTo>
                  <a:pt x="38" y="10"/>
                </a:lnTo>
                <a:lnTo>
                  <a:pt x="38" y="10"/>
                </a:lnTo>
                <a:lnTo>
                  <a:pt x="38" y="10"/>
                </a:lnTo>
                <a:lnTo>
                  <a:pt x="38" y="10"/>
                </a:lnTo>
                <a:lnTo>
                  <a:pt x="38" y="10"/>
                </a:lnTo>
                <a:lnTo>
                  <a:pt x="42" y="6"/>
                </a:lnTo>
                <a:lnTo>
                  <a:pt x="42" y="6"/>
                </a:lnTo>
                <a:lnTo>
                  <a:pt x="46" y="6"/>
                </a:lnTo>
                <a:lnTo>
                  <a:pt x="46" y="6"/>
                </a:lnTo>
                <a:lnTo>
                  <a:pt x="46" y="6"/>
                </a:lnTo>
                <a:lnTo>
                  <a:pt x="46" y="6"/>
                </a:lnTo>
                <a:lnTo>
                  <a:pt x="50" y="6"/>
                </a:lnTo>
                <a:lnTo>
                  <a:pt x="50" y="6"/>
                </a:lnTo>
                <a:lnTo>
                  <a:pt x="50" y="6"/>
                </a:lnTo>
                <a:lnTo>
                  <a:pt x="50" y="6"/>
                </a:lnTo>
                <a:lnTo>
                  <a:pt x="50" y="6"/>
                </a:lnTo>
                <a:lnTo>
                  <a:pt x="52" y="6"/>
                </a:lnTo>
                <a:lnTo>
                  <a:pt x="52" y="6"/>
                </a:lnTo>
                <a:lnTo>
                  <a:pt x="52" y="6"/>
                </a:lnTo>
                <a:lnTo>
                  <a:pt x="56" y="6"/>
                </a:lnTo>
                <a:lnTo>
                  <a:pt x="56" y="6"/>
                </a:lnTo>
                <a:lnTo>
                  <a:pt x="56" y="6"/>
                </a:lnTo>
                <a:lnTo>
                  <a:pt x="64" y="0"/>
                </a:lnTo>
                <a:lnTo>
                  <a:pt x="64" y="0"/>
                </a:lnTo>
                <a:lnTo>
                  <a:pt x="64" y="0"/>
                </a:lnTo>
                <a:lnTo>
                  <a:pt x="64" y="0"/>
                </a:lnTo>
                <a:lnTo>
                  <a:pt x="64" y="2"/>
                </a:lnTo>
                <a:lnTo>
                  <a:pt x="68" y="2"/>
                </a:lnTo>
                <a:lnTo>
                  <a:pt x="68" y="6"/>
                </a:lnTo>
                <a:lnTo>
                  <a:pt x="68" y="6"/>
                </a:lnTo>
                <a:lnTo>
                  <a:pt x="68" y="6"/>
                </a:lnTo>
                <a:lnTo>
                  <a:pt x="68" y="6"/>
                </a:lnTo>
                <a:lnTo>
                  <a:pt x="72" y="10"/>
                </a:lnTo>
                <a:lnTo>
                  <a:pt x="72" y="10"/>
                </a:lnTo>
                <a:lnTo>
                  <a:pt x="72" y="10"/>
                </a:lnTo>
                <a:lnTo>
                  <a:pt x="72" y="10"/>
                </a:lnTo>
                <a:lnTo>
                  <a:pt x="72" y="14"/>
                </a:lnTo>
                <a:lnTo>
                  <a:pt x="72" y="14"/>
                </a:lnTo>
                <a:lnTo>
                  <a:pt x="72" y="18"/>
                </a:lnTo>
                <a:lnTo>
                  <a:pt x="72" y="18"/>
                </a:lnTo>
                <a:lnTo>
                  <a:pt x="72" y="18"/>
                </a:lnTo>
                <a:lnTo>
                  <a:pt x="72" y="18"/>
                </a:lnTo>
                <a:lnTo>
                  <a:pt x="72" y="18"/>
                </a:lnTo>
                <a:lnTo>
                  <a:pt x="72" y="22"/>
                </a:lnTo>
                <a:lnTo>
                  <a:pt x="72" y="22"/>
                </a:lnTo>
                <a:lnTo>
                  <a:pt x="76" y="22"/>
                </a:lnTo>
                <a:lnTo>
                  <a:pt x="76" y="22"/>
                </a:lnTo>
                <a:lnTo>
                  <a:pt x="76" y="22"/>
                </a:lnTo>
                <a:lnTo>
                  <a:pt x="76" y="22"/>
                </a:lnTo>
                <a:lnTo>
                  <a:pt x="76" y="26"/>
                </a:lnTo>
                <a:lnTo>
                  <a:pt x="76" y="26"/>
                </a:lnTo>
                <a:lnTo>
                  <a:pt x="76" y="26"/>
                </a:lnTo>
                <a:lnTo>
                  <a:pt x="76" y="30"/>
                </a:lnTo>
                <a:lnTo>
                  <a:pt x="76" y="30"/>
                </a:lnTo>
                <a:lnTo>
                  <a:pt x="76" y="30"/>
                </a:lnTo>
                <a:lnTo>
                  <a:pt x="76" y="34"/>
                </a:lnTo>
                <a:lnTo>
                  <a:pt x="76" y="34"/>
                </a:lnTo>
                <a:lnTo>
                  <a:pt x="80" y="34"/>
                </a:lnTo>
                <a:lnTo>
                  <a:pt x="80" y="34"/>
                </a:lnTo>
                <a:lnTo>
                  <a:pt x="80" y="36"/>
                </a:lnTo>
                <a:lnTo>
                  <a:pt x="80" y="40"/>
                </a:lnTo>
                <a:lnTo>
                  <a:pt x="80" y="44"/>
                </a:lnTo>
                <a:lnTo>
                  <a:pt x="80" y="44"/>
                </a:lnTo>
                <a:lnTo>
                  <a:pt x="80" y="44"/>
                </a:lnTo>
                <a:lnTo>
                  <a:pt x="80" y="44"/>
                </a:lnTo>
                <a:lnTo>
                  <a:pt x="76" y="44"/>
                </a:lnTo>
                <a:lnTo>
                  <a:pt x="76" y="44"/>
                </a:lnTo>
                <a:lnTo>
                  <a:pt x="76" y="48"/>
                </a:lnTo>
                <a:lnTo>
                  <a:pt x="76" y="48"/>
                </a:lnTo>
                <a:lnTo>
                  <a:pt x="76" y="48"/>
                </a:lnTo>
                <a:lnTo>
                  <a:pt x="76" y="48"/>
                </a:lnTo>
                <a:lnTo>
                  <a:pt x="76" y="48"/>
                </a:lnTo>
                <a:lnTo>
                  <a:pt x="76" y="48"/>
                </a:lnTo>
                <a:lnTo>
                  <a:pt x="76" y="48"/>
                </a:lnTo>
                <a:lnTo>
                  <a:pt x="76" y="52"/>
                </a:lnTo>
                <a:lnTo>
                  <a:pt x="76" y="52"/>
                </a:lnTo>
                <a:lnTo>
                  <a:pt x="76" y="52"/>
                </a:lnTo>
                <a:lnTo>
                  <a:pt x="76" y="52"/>
                </a:lnTo>
                <a:lnTo>
                  <a:pt x="76" y="52"/>
                </a:lnTo>
                <a:lnTo>
                  <a:pt x="76" y="52"/>
                </a:lnTo>
                <a:lnTo>
                  <a:pt x="76" y="52"/>
                </a:lnTo>
                <a:lnTo>
                  <a:pt x="72" y="52"/>
                </a:lnTo>
                <a:lnTo>
                  <a:pt x="72" y="52"/>
                </a:lnTo>
                <a:lnTo>
                  <a:pt x="72" y="52"/>
                </a:lnTo>
                <a:lnTo>
                  <a:pt x="72" y="56"/>
                </a:lnTo>
                <a:lnTo>
                  <a:pt x="72" y="56"/>
                </a:lnTo>
                <a:lnTo>
                  <a:pt x="72" y="56"/>
                </a:lnTo>
                <a:lnTo>
                  <a:pt x="72" y="56"/>
                </a:lnTo>
                <a:lnTo>
                  <a:pt x="72" y="56"/>
                </a:lnTo>
                <a:lnTo>
                  <a:pt x="72" y="60"/>
                </a:lnTo>
                <a:lnTo>
                  <a:pt x="72" y="60"/>
                </a:lnTo>
                <a:lnTo>
                  <a:pt x="68" y="64"/>
                </a:lnTo>
                <a:lnTo>
                  <a:pt x="68" y="64"/>
                </a:lnTo>
                <a:lnTo>
                  <a:pt x="68" y="64"/>
                </a:lnTo>
                <a:lnTo>
                  <a:pt x="68" y="64"/>
                </a:lnTo>
                <a:lnTo>
                  <a:pt x="64" y="66"/>
                </a:lnTo>
                <a:lnTo>
                  <a:pt x="64" y="66"/>
                </a:lnTo>
                <a:lnTo>
                  <a:pt x="64" y="70"/>
                </a:lnTo>
                <a:lnTo>
                  <a:pt x="64" y="70"/>
                </a:lnTo>
                <a:lnTo>
                  <a:pt x="64" y="70"/>
                </a:lnTo>
                <a:lnTo>
                  <a:pt x="64" y="70"/>
                </a:lnTo>
                <a:lnTo>
                  <a:pt x="64" y="70"/>
                </a:lnTo>
                <a:lnTo>
                  <a:pt x="64" y="74"/>
                </a:lnTo>
                <a:lnTo>
                  <a:pt x="64" y="74"/>
                </a:lnTo>
                <a:lnTo>
                  <a:pt x="64" y="74"/>
                </a:lnTo>
                <a:lnTo>
                  <a:pt x="64" y="78"/>
                </a:lnTo>
                <a:lnTo>
                  <a:pt x="64" y="82"/>
                </a:lnTo>
                <a:lnTo>
                  <a:pt x="64" y="90"/>
                </a:lnTo>
                <a:lnTo>
                  <a:pt x="64" y="90"/>
                </a:lnTo>
                <a:lnTo>
                  <a:pt x="64" y="90"/>
                </a:lnTo>
                <a:lnTo>
                  <a:pt x="56" y="90"/>
                </a:lnTo>
                <a:lnTo>
                  <a:pt x="56" y="90"/>
                </a:lnTo>
                <a:lnTo>
                  <a:pt x="56" y="90"/>
                </a:lnTo>
                <a:lnTo>
                  <a:pt x="52" y="90"/>
                </a:lnTo>
                <a:lnTo>
                  <a:pt x="52" y="90"/>
                </a:lnTo>
                <a:lnTo>
                  <a:pt x="52" y="90"/>
                </a:lnTo>
                <a:lnTo>
                  <a:pt x="50" y="90"/>
                </a:lnTo>
                <a:lnTo>
                  <a:pt x="50" y="90"/>
                </a:lnTo>
                <a:lnTo>
                  <a:pt x="50" y="90"/>
                </a:lnTo>
                <a:lnTo>
                  <a:pt x="50" y="90"/>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68" name="Freeform 175"/>
          <p:cNvSpPr>
            <a:spLocks/>
          </p:cNvSpPr>
          <p:nvPr/>
        </p:nvSpPr>
        <p:spPr bwMode="auto">
          <a:xfrm>
            <a:off x="3967162" y="3124199"/>
            <a:ext cx="142875" cy="147638"/>
          </a:xfrm>
          <a:custGeom>
            <a:avLst/>
            <a:gdLst>
              <a:gd name="T0" fmla="*/ 0 w 120"/>
              <a:gd name="T1" fmla="*/ 120 h 124"/>
              <a:gd name="T2" fmla="*/ 0 w 120"/>
              <a:gd name="T3" fmla="*/ 112 h 124"/>
              <a:gd name="T4" fmla="*/ 4 w 120"/>
              <a:gd name="T5" fmla="*/ 108 h 124"/>
              <a:gd name="T6" fmla="*/ 4 w 120"/>
              <a:gd name="T7" fmla="*/ 104 h 124"/>
              <a:gd name="T8" fmla="*/ 8 w 120"/>
              <a:gd name="T9" fmla="*/ 96 h 124"/>
              <a:gd name="T10" fmla="*/ 12 w 120"/>
              <a:gd name="T11" fmla="*/ 96 h 124"/>
              <a:gd name="T12" fmla="*/ 12 w 120"/>
              <a:gd name="T13" fmla="*/ 94 h 124"/>
              <a:gd name="T14" fmla="*/ 12 w 120"/>
              <a:gd name="T15" fmla="*/ 90 h 124"/>
              <a:gd name="T16" fmla="*/ 16 w 120"/>
              <a:gd name="T17" fmla="*/ 86 h 124"/>
              <a:gd name="T18" fmla="*/ 16 w 120"/>
              <a:gd name="T19" fmla="*/ 82 h 124"/>
              <a:gd name="T20" fmla="*/ 16 w 120"/>
              <a:gd name="T21" fmla="*/ 78 h 124"/>
              <a:gd name="T22" fmla="*/ 16 w 120"/>
              <a:gd name="T23" fmla="*/ 78 h 124"/>
              <a:gd name="T24" fmla="*/ 20 w 120"/>
              <a:gd name="T25" fmla="*/ 74 h 124"/>
              <a:gd name="T26" fmla="*/ 20 w 120"/>
              <a:gd name="T27" fmla="*/ 70 h 124"/>
              <a:gd name="T28" fmla="*/ 20 w 120"/>
              <a:gd name="T29" fmla="*/ 70 h 124"/>
              <a:gd name="T30" fmla="*/ 20 w 120"/>
              <a:gd name="T31" fmla="*/ 70 h 124"/>
              <a:gd name="T32" fmla="*/ 20 w 120"/>
              <a:gd name="T33" fmla="*/ 66 h 124"/>
              <a:gd name="T34" fmla="*/ 28 w 120"/>
              <a:gd name="T35" fmla="*/ 64 h 124"/>
              <a:gd name="T36" fmla="*/ 28 w 120"/>
              <a:gd name="T37" fmla="*/ 60 h 124"/>
              <a:gd name="T38" fmla="*/ 30 w 120"/>
              <a:gd name="T39" fmla="*/ 56 h 124"/>
              <a:gd name="T40" fmla="*/ 34 w 120"/>
              <a:gd name="T41" fmla="*/ 52 h 124"/>
              <a:gd name="T42" fmla="*/ 34 w 120"/>
              <a:gd name="T43" fmla="*/ 48 h 124"/>
              <a:gd name="T44" fmla="*/ 34 w 120"/>
              <a:gd name="T45" fmla="*/ 40 h 124"/>
              <a:gd name="T46" fmla="*/ 34 w 120"/>
              <a:gd name="T47" fmla="*/ 34 h 124"/>
              <a:gd name="T48" fmla="*/ 38 w 120"/>
              <a:gd name="T49" fmla="*/ 34 h 124"/>
              <a:gd name="T50" fmla="*/ 38 w 120"/>
              <a:gd name="T51" fmla="*/ 30 h 124"/>
              <a:gd name="T52" fmla="*/ 38 w 120"/>
              <a:gd name="T53" fmla="*/ 30 h 124"/>
              <a:gd name="T54" fmla="*/ 42 w 120"/>
              <a:gd name="T55" fmla="*/ 26 h 124"/>
              <a:gd name="T56" fmla="*/ 42 w 120"/>
              <a:gd name="T57" fmla="*/ 26 h 124"/>
              <a:gd name="T58" fmla="*/ 46 w 120"/>
              <a:gd name="T59" fmla="*/ 22 h 124"/>
              <a:gd name="T60" fmla="*/ 50 w 120"/>
              <a:gd name="T61" fmla="*/ 18 h 124"/>
              <a:gd name="T62" fmla="*/ 54 w 120"/>
              <a:gd name="T63" fmla="*/ 14 h 124"/>
              <a:gd name="T64" fmla="*/ 54 w 120"/>
              <a:gd name="T65" fmla="*/ 10 h 124"/>
              <a:gd name="T66" fmla="*/ 54 w 120"/>
              <a:gd name="T67" fmla="*/ 6 h 124"/>
              <a:gd name="T68" fmla="*/ 58 w 120"/>
              <a:gd name="T69" fmla="*/ 4 h 124"/>
              <a:gd name="T70" fmla="*/ 58 w 120"/>
              <a:gd name="T71" fmla="*/ 0 h 124"/>
              <a:gd name="T72" fmla="*/ 102 w 120"/>
              <a:gd name="T73" fmla="*/ 0 h 124"/>
              <a:gd name="T74" fmla="*/ 106 w 120"/>
              <a:gd name="T75" fmla="*/ 0 h 124"/>
              <a:gd name="T76" fmla="*/ 120 w 120"/>
              <a:gd name="T77" fmla="*/ 0 h 124"/>
              <a:gd name="T78" fmla="*/ 120 w 120"/>
              <a:gd name="T79" fmla="*/ 14 h 124"/>
              <a:gd name="T80" fmla="*/ 120 w 120"/>
              <a:gd name="T81" fmla="*/ 30 h 124"/>
              <a:gd name="T82" fmla="*/ 106 w 120"/>
              <a:gd name="T83" fmla="*/ 30 h 124"/>
              <a:gd name="T84" fmla="*/ 102 w 120"/>
              <a:gd name="T85" fmla="*/ 30 h 124"/>
              <a:gd name="T86" fmla="*/ 84 w 120"/>
              <a:gd name="T87" fmla="*/ 30 h 124"/>
              <a:gd name="T88" fmla="*/ 72 w 120"/>
              <a:gd name="T89" fmla="*/ 36 h 124"/>
              <a:gd name="T90" fmla="*/ 72 w 120"/>
              <a:gd name="T91" fmla="*/ 44 h 124"/>
              <a:gd name="T92" fmla="*/ 72 w 120"/>
              <a:gd name="T93" fmla="*/ 60 h 124"/>
              <a:gd name="T94" fmla="*/ 72 w 120"/>
              <a:gd name="T95" fmla="*/ 78 h 124"/>
              <a:gd name="T96" fmla="*/ 64 w 120"/>
              <a:gd name="T97" fmla="*/ 78 h 124"/>
              <a:gd name="T98" fmla="*/ 60 w 120"/>
              <a:gd name="T99" fmla="*/ 86 h 124"/>
              <a:gd name="T100" fmla="*/ 58 w 120"/>
              <a:gd name="T101" fmla="*/ 90 h 124"/>
              <a:gd name="T102" fmla="*/ 58 w 120"/>
              <a:gd name="T103" fmla="*/ 96 h 124"/>
              <a:gd name="T104" fmla="*/ 60 w 120"/>
              <a:gd name="T105" fmla="*/ 104 h 124"/>
              <a:gd name="T106" fmla="*/ 46 w 120"/>
              <a:gd name="T107" fmla="*/ 116 h 124"/>
              <a:gd name="T108" fmla="*/ 34 w 120"/>
              <a:gd name="T109" fmla="*/ 116 h 124"/>
              <a:gd name="T110" fmla="*/ 20 w 120"/>
              <a:gd name="T111" fmla="*/ 116 h 124"/>
              <a:gd name="T112" fmla="*/ 4 w 120"/>
              <a:gd name="T113" fmla="*/ 116 h 124"/>
              <a:gd name="T114" fmla="*/ 0 w 120"/>
              <a:gd name="T115" fmla="*/ 120 h 124"/>
              <a:gd name="T116" fmla="*/ 0 w 120"/>
              <a:gd name="T117"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0" h="124">
                <a:moveTo>
                  <a:pt x="0" y="124"/>
                </a:moveTo>
                <a:lnTo>
                  <a:pt x="0" y="124"/>
                </a:lnTo>
                <a:lnTo>
                  <a:pt x="0" y="124"/>
                </a:lnTo>
                <a:lnTo>
                  <a:pt x="0" y="120"/>
                </a:lnTo>
                <a:lnTo>
                  <a:pt x="0" y="120"/>
                </a:lnTo>
                <a:lnTo>
                  <a:pt x="0" y="116"/>
                </a:lnTo>
                <a:lnTo>
                  <a:pt x="0" y="112"/>
                </a:lnTo>
                <a:lnTo>
                  <a:pt x="0" y="112"/>
                </a:lnTo>
                <a:lnTo>
                  <a:pt x="0" y="112"/>
                </a:lnTo>
                <a:lnTo>
                  <a:pt x="4" y="112"/>
                </a:lnTo>
                <a:lnTo>
                  <a:pt x="4" y="108"/>
                </a:lnTo>
                <a:lnTo>
                  <a:pt x="4" y="108"/>
                </a:lnTo>
                <a:lnTo>
                  <a:pt x="4" y="108"/>
                </a:lnTo>
                <a:lnTo>
                  <a:pt x="4" y="104"/>
                </a:lnTo>
                <a:lnTo>
                  <a:pt x="4" y="104"/>
                </a:lnTo>
                <a:lnTo>
                  <a:pt x="4" y="104"/>
                </a:lnTo>
                <a:lnTo>
                  <a:pt x="4" y="100"/>
                </a:lnTo>
                <a:lnTo>
                  <a:pt x="8" y="96"/>
                </a:lnTo>
                <a:lnTo>
                  <a:pt x="8" y="96"/>
                </a:lnTo>
                <a:lnTo>
                  <a:pt x="8" y="96"/>
                </a:lnTo>
                <a:lnTo>
                  <a:pt x="8" y="96"/>
                </a:lnTo>
                <a:lnTo>
                  <a:pt x="8" y="96"/>
                </a:lnTo>
                <a:lnTo>
                  <a:pt x="8" y="96"/>
                </a:lnTo>
                <a:lnTo>
                  <a:pt x="12" y="96"/>
                </a:lnTo>
                <a:lnTo>
                  <a:pt x="12" y="96"/>
                </a:lnTo>
                <a:lnTo>
                  <a:pt x="12" y="94"/>
                </a:lnTo>
                <a:lnTo>
                  <a:pt x="12" y="94"/>
                </a:lnTo>
                <a:lnTo>
                  <a:pt x="12" y="94"/>
                </a:lnTo>
                <a:lnTo>
                  <a:pt x="12" y="90"/>
                </a:lnTo>
                <a:lnTo>
                  <a:pt x="12" y="90"/>
                </a:lnTo>
                <a:lnTo>
                  <a:pt x="12" y="90"/>
                </a:lnTo>
                <a:lnTo>
                  <a:pt x="12" y="90"/>
                </a:lnTo>
                <a:lnTo>
                  <a:pt x="12" y="90"/>
                </a:lnTo>
                <a:lnTo>
                  <a:pt x="12" y="86"/>
                </a:lnTo>
                <a:lnTo>
                  <a:pt x="12" y="86"/>
                </a:lnTo>
                <a:lnTo>
                  <a:pt x="16" y="86"/>
                </a:lnTo>
                <a:lnTo>
                  <a:pt x="16" y="86"/>
                </a:lnTo>
                <a:lnTo>
                  <a:pt x="16" y="86"/>
                </a:lnTo>
                <a:lnTo>
                  <a:pt x="16" y="86"/>
                </a:lnTo>
                <a:lnTo>
                  <a:pt x="16" y="82"/>
                </a:lnTo>
                <a:lnTo>
                  <a:pt x="16" y="82"/>
                </a:lnTo>
                <a:lnTo>
                  <a:pt x="16" y="82"/>
                </a:lnTo>
                <a:lnTo>
                  <a:pt x="16" y="78"/>
                </a:lnTo>
                <a:lnTo>
                  <a:pt x="16" y="78"/>
                </a:lnTo>
                <a:lnTo>
                  <a:pt x="16" y="78"/>
                </a:lnTo>
                <a:lnTo>
                  <a:pt x="16" y="78"/>
                </a:lnTo>
                <a:lnTo>
                  <a:pt x="16" y="78"/>
                </a:lnTo>
                <a:lnTo>
                  <a:pt x="16" y="78"/>
                </a:lnTo>
                <a:lnTo>
                  <a:pt x="16" y="74"/>
                </a:lnTo>
                <a:lnTo>
                  <a:pt x="16" y="74"/>
                </a:lnTo>
                <a:lnTo>
                  <a:pt x="20" y="74"/>
                </a:lnTo>
                <a:lnTo>
                  <a:pt x="20" y="74"/>
                </a:lnTo>
                <a:lnTo>
                  <a:pt x="20" y="74"/>
                </a:lnTo>
                <a:lnTo>
                  <a:pt x="20" y="70"/>
                </a:lnTo>
                <a:lnTo>
                  <a:pt x="20" y="70"/>
                </a:lnTo>
                <a:lnTo>
                  <a:pt x="20" y="70"/>
                </a:lnTo>
                <a:lnTo>
                  <a:pt x="20" y="66"/>
                </a:lnTo>
                <a:lnTo>
                  <a:pt x="20" y="70"/>
                </a:lnTo>
                <a:lnTo>
                  <a:pt x="20" y="70"/>
                </a:lnTo>
                <a:lnTo>
                  <a:pt x="20" y="70"/>
                </a:lnTo>
                <a:lnTo>
                  <a:pt x="20" y="70"/>
                </a:lnTo>
                <a:lnTo>
                  <a:pt x="20" y="70"/>
                </a:lnTo>
                <a:lnTo>
                  <a:pt x="16" y="74"/>
                </a:lnTo>
                <a:lnTo>
                  <a:pt x="20" y="70"/>
                </a:lnTo>
                <a:lnTo>
                  <a:pt x="20" y="70"/>
                </a:lnTo>
                <a:lnTo>
                  <a:pt x="20" y="70"/>
                </a:lnTo>
                <a:lnTo>
                  <a:pt x="20" y="66"/>
                </a:lnTo>
                <a:lnTo>
                  <a:pt x="20" y="66"/>
                </a:lnTo>
                <a:lnTo>
                  <a:pt x="24" y="66"/>
                </a:lnTo>
                <a:lnTo>
                  <a:pt x="24" y="64"/>
                </a:lnTo>
                <a:lnTo>
                  <a:pt x="24" y="64"/>
                </a:lnTo>
                <a:lnTo>
                  <a:pt x="28" y="64"/>
                </a:lnTo>
                <a:lnTo>
                  <a:pt x="28" y="60"/>
                </a:lnTo>
                <a:lnTo>
                  <a:pt x="28" y="60"/>
                </a:lnTo>
                <a:lnTo>
                  <a:pt x="28" y="60"/>
                </a:lnTo>
                <a:lnTo>
                  <a:pt x="28" y="60"/>
                </a:lnTo>
                <a:lnTo>
                  <a:pt x="28" y="60"/>
                </a:lnTo>
                <a:lnTo>
                  <a:pt x="28" y="60"/>
                </a:lnTo>
                <a:lnTo>
                  <a:pt x="30" y="56"/>
                </a:lnTo>
                <a:lnTo>
                  <a:pt x="30" y="56"/>
                </a:lnTo>
                <a:lnTo>
                  <a:pt x="30" y="56"/>
                </a:lnTo>
                <a:lnTo>
                  <a:pt x="30" y="56"/>
                </a:lnTo>
                <a:lnTo>
                  <a:pt x="30" y="56"/>
                </a:lnTo>
                <a:lnTo>
                  <a:pt x="34" y="52"/>
                </a:lnTo>
                <a:lnTo>
                  <a:pt x="34" y="48"/>
                </a:lnTo>
                <a:lnTo>
                  <a:pt x="34" y="48"/>
                </a:lnTo>
                <a:lnTo>
                  <a:pt x="34" y="48"/>
                </a:lnTo>
                <a:lnTo>
                  <a:pt x="34" y="48"/>
                </a:lnTo>
                <a:lnTo>
                  <a:pt x="34" y="44"/>
                </a:lnTo>
                <a:lnTo>
                  <a:pt x="34" y="44"/>
                </a:lnTo>
                <a:lnTo>
                  <a:pt x="34" y="40"/>
                </a:lnTo>
                <a:lnTo>
                  <a:pt x="34" y="40"/>
                </a:lnTo>
                <a:lnTo>
                  <a:pt x="34" y="40"/>
                </a:lnTo>
                <a:lnTo>
                  <a:pt x="34" y="36"/>
                </a:lnTo>
                <a:lnTo>
                  <a:pt x="34" y="36"/>
                </a:lnTo>
                <a:lnTo>
                  <a:pt x="34" y="34"/>
                </a:lnTo>
                <a:lnTo>
                  <a:pt x="38" y="34"/>
                </a:lnTo>
                <a:lnTo>
                  <a:pt x="38" y="34"/>
                </a:lnTo>
                <a:lnTo>
                  <a:pt x="38" y="34"/>
                </a:lnTo>
                <a:lnTo>
                  <a:pt x="38" y="34"/>
                </a:lnTo>
                <a:lnTo>
                  <a:pt x="38" y="34"/>
                </a:lnTo>
                <a:lnTo>
                  <a:pt x="38" y="30"/>
                </a:lnTo>
                <a:lnTo>
                  <a:pt x="38" y="30"/>
                </a:lnTo>
                <a:lnTo>
                  <a:pt x="38" y="30"/>
                </a:lnTo>
                <a:lnTo>
                  <a:pt x="38" y="30"/>
                </a:lnTo>
                <a:lnTo>
                  <a:pt x="38" y="30"/>
                </a:lnTo>
                <a:lnTo>
                  <a:pt x="38" y="30"/>
                </a:lnTo>
                <a:lnTo>
                  <a:pt x="38" y="30"/>
                </a:lnTo>
                <a:lnTo>
                  <a:pt x="38" y="26"/>
                </a:lnTo>
                <a:lnTo>
                  <a:pt x="38" y="26"/>
                </a:lnTo>
                <a:lnTo>
                  <a:pt x="38" y="26"/>
                </a:lnTo>
                <a:lnTo>
                  <a:pt x="42" y="26"/>
                </a:lnTo>
                <a:lnTo>
                  <a:pt x="42" y="26"/>
                </a:lnTo>
                <a:lnTo>
                  <a:pt x="42" y="26"/>
                </a:lnTo>
                <a:lnTo>
                  <a:pt x="42" y="26"/>
                </a:lnTo>
                <a:lnTo>
                  <a:pt x="42" y="26"/>
                </a:lnTo>
                <a:lnTo>
                  <a:pt x="42" y="22"/>
                </a:lnTo>
                <a:lnTo>
                  <a:pt x="42" y="22"/>
                </a:lnTo>
                <a:lnTo>
                  <a:pt x="46" y="22"/>
                </a:lnTo>
                <a:lnTo>
                  <a:pt x="46" y="22"/>
                </a:lnTo>
                <a:lnTo>
                  <a:pt x="46" y="22"/>
                </a:lnTo>
                <a:lnTo>
                  <a:pt x="50" y="18"/>
                </a:lnTo>
                <a:lnTo>
                  <a:pt x="50" y="18"/>
                </a:lnTo>
                <a:lnTo>
                  <a:pt x="50" y="18"/>
                </a:lnTo>
                <a:lnTo>
                  <a:pt x="50" y="18"/>
                </a:lnTo>
                <a:lnTo>
                  <a:pt x="54" y="18"/>
                </a:lnTo>
                <a:lnTo>
                  <a:pt x="54" y="14"/>
                </a:lnTo>
                <a:lnTo>
                  <a:pt x="54" y="14"/>
                </a:lnTo>
                <a:lnTo>
                  <a:pt x="54" y="14"/>
                </a:lnTo>
                <a:lnTo>
                  <a:pt x="54" y="10"/>
                </a:lnTo>
                <a:lnTo>
                  <a:pt x="54" y="10"/>
                </a:lnTo>
                <a:lnTo>
                  <a:pt x="54" y="10"/>
                </a:lnTo>
                <a:lnTo>
                  <a:pt x="54" y="10"/>
                </a:lnTo>
                <a:lnTo>
                  <a:pt x="54" y="10"/>
                </a:lnTo>
                <a:lnTo>
                  <a:pt x="54" y="10"/>
                </a:lnTo>
                <a:lnTo>
                  <a:pt x="54" y="6"/>
                </a:lnTo>
                <a:lnTo>
                  <a:pt x="54" y="6"/>
                </a:lnTo>
                <a:lnTo>
                  <a:pt x="54" y="6"/>
                </a:lnTo>
                <a:lnTo>
                  <a:pt x="58" y="6"/>
                </a:lnTo>
                <a:lnTo>
                  <a:pt x="58" y="4"/>
                </a:lnTo>
                <a:lnTo>
                  <a:pt x="58" y="4"/>
                </a:lnTo>
                <a:lnTo>
                  <a:pt x="58" y="0"/>
                </a:lnTo>
                <a:lnTo>
                  <a:pt x="58" y="0"/>
                </a:lnTo>
                <a:lnTo>
                  <a:pt x="58" y="0"/>
                </a:lnTo>
                <a:lnTo>
                  <a:pt x="60" y="0"/>
                </a:lnTo>
                <a:lnTo>
                  <a:pt x="98" y="0"/>
                </a:lnTo>
                <a:lnTo>
                  <a:pt x="102" y="0"/>
                </a:lnTo>
                <a:lnTo>
                  <a:pt x="102" y="0"/>
                </a:lnTo>
                <a:lnTo>
                  <a:pt x="102" y="0"/>
                </a:lnTo>
                <a:lnTo>
                  <a:pt x="102" y="0"/>
                </a:lnTo>
                <a:lnTo>
                  <a:pt x="102" y="0"/>
                </a:lnTo>
                <a:lnTo>
                  <a:pt x="106" y="0"/>
                </a:lnTo>
                <a:lnTo>
                  <a:pt x="106" y="0"/>
                </a:lnTo>
                <a:lnTo>
                  <a:pt x="114" y="0"/>
                </a:lnTo>
                <a:lnTo>
                  <a:pt x="114" y="0"/>
                </a:lnTo>
                <a:lnTo>
                  <a:pt x="120" y="0"/>
                </a:lnTo>
                <a:lnTo>
                  <a:pt x="120" y="4"/>
                </a:lnTo>
                <a:lnTo>
                  <a:pt x="120" y="4"/>
                </a:lnTo>
                <a:lnTo>
                  <a:pt x="120" y="6"/>
                </a:lnTo>
                <a:lnTo>
                  <a:pt x="120" y="14"/>
                </a:lnTo>
                <a:lnTo>
                  <a:pt x="120" y="14"/>
                </a:lnTo>
                <a:lnTo>
                  <a:pt x="120" y="22"/>
                </a:lnTo>
                <a:lnTo>
                  <a:pt x="120" y="30"/>
                </a:lnTo>
                <a:lnTo>
                  <a:pt x="120" y="30"/>
                </a:lnTo>
                <a:lnTo>
                  <a:pt x="120" y="30"/>
                </a:lnTo>
                <a:lnTo>
                  <a:pt x="110" y="30"/>
                </a:lnTo>
                <a:lnTo>
                  <a:pt x="110" y="30"/>
                </a:lnTo>
                <a:lnTo>
                  <a:pt x="106" y="30"/>
                </a:lnTo>
                <a:lnTo>
                  <a:pt x="106" y="30"/>
                </a:lnTo>
                <a:lnTo>
                  <a:pt x="102" y="30"/>
                </a:lnTo>
                <a:lnTo>
                  <a:pt x="102" y="30"/>
                </a:lnTo>
                <a:lnTo>
                  <a:pt x="102" y="30"/>
                </a:lnTo>
                <a:lnTo>
                  <a:pt x="102" y="30"/>
                </a:lnTo>
                <a:lnTo>
                  <a:pt x="94" y="30"/>
                </a:lnTo>
                <a:lnTo>
                  <a:pt x="90" y="30"/>
                </a:lnTo>
                <a:lnTo>
                  <a:pt x="84" y="30"/>
                </a:lnTo>
                <a:lnTo>
                  <a:pt x="80" y="30"/>
                </a:lnTo>
                <a:lnTo>
                  <a:pt x="72" y="30"/>
                </a:lnTo>
                <a:lnTo>
                  <a:pt x="72" y="36"/>
                </a:lnTo>
                <a:lnTo>
                  <a:pt x="72" y="36"/>
                </a:lnTo>
                <a:lnTo>
                  <a:pt x="72" y="36"/>
                </a:lnTo>
                <a:lnTo>
                  <a:pt x="72" y="44"/>
                </a:lnTo>
                <a:lnTo>
                  <a:pt x="72" y="44"/>
                </a:lnTo>
                <a:lnTo>
                  <a:pt x="72" y="44"/>
                </a:lnTo>
                <a:lnTo>
                  <a:pt x="72" y="52"/>
                </a:lnTo>
                <a:lnTo>
                  <a:pt x="72" y="52"/>
                </a:lnTo>
                <a:lnTo>
                  <a:pt x="72" y="52"/>
                </a:lnTo>
                <a:lnTo>
                  <a:pt x="72" y="60"/>
                </a:lnTo>
                <a:lnTo>
                  <a:pt x="72" y="60"/>
                </a:lnTo>
                <a:lnTo>
                  <a:pt x="72" y="66"/>
                </a:lnTo>
                <a:lnTo>
                  <a:pt x="72" y="70"/>
                </a:lnTo>
                <a:lnTo>
                  <a:pt x="72" y="78"/>
                </a:lnTo>
                <a:lnTo>
                  <a:pt x="72" y="78"/>
                </a:lnTo>
                <a:lnTo>
                  <a:pt x="72" y="78"/>
                </a:lnTo>
                <a:lnTo>
                  <a:pt x="68" y="78"/>
                </a:lnTo>
                <a:lnTo>
                  <a:pt x="64" y="78"/>
                </a:lnTo>
                <a:lnTo>
                  <a:pt x="64" y="78"/>
                </a:lnTo>
                <a:lnTo>
                  <a:pt x="64" y="82"/>
                </a:lnTo>
                <a:lnTo>
                  <a:pt x="64" y="82"/>
                </a:lnTo>
                <a:lnTo>
                  <a:pt x="60" y="86"/>
                </a:lnTo>
                <a:lnTo>
                  <a:pt x="58" y="86"/>
                </a:lnTo>
                <a:lnTo>
                  <a:pt x="58" y="86"/>
                </a:lnTo>
                <a:lnTo>
                  <a:pt x="58" y="90"/>
                </a:lnTo>
                <a:lnTo>
                  <a:pt x="58" y="90"/>
                </a:lnTo>
                <a:lnTo>
                  <a:pt x="58" y="94"/>
                </a:lnTo>
                <a:lnTo>
                  <a:pt x="58" y="94"/>
                </a:lnTo>
                <a:lnTo>
                  <a:pt x="58" y="94"/>
                </a:lnTo>
                <a:lnTo>
                  <a:pt x="58" y="96"/>
                </a:lnTo>
                <a:lnTo>
                  <a:pt x="58" y="96"/>
                </a:lnTo>
                <a:lnTo>
                  <a:pt x="58" y="100"/>
                </a:lnTo>
                <a:lnTo>
                  <a:pt x="58" y="100"/>
                </a:lnTo>
                <a:lnTo>
                  <a:pt x="60" y="104"/>
                </a:lnTo>
                <a:lnTo>
                  <a:pt x="60" y="112"/>
                </a:lnTo>
                <a:lnTo>
                  <a:pt x="60" y="116"/>
                </a:lnTo>
                <a:lnTo>
                  <a:pt x="54" y="116"/>
                </a:lnTo>
                <a:lnTo>
                  <a:pt x="46" y="116"/>
                </a:lnTo>
                <a:lnTo>
                  <a:pt x="42" y="116"/>
                </a:lnTo>
                <a:lnTo>
                  <a:pt x="42" y="116"/>
                </a:lnTo>
                <a:lnTo>
                  <a:pt x="38" y="116"/>
                </a:lnTo>
                <a:lnTo>
                  <a:pt x="34" y="116"/>
                </a:lnTo>
                <a:lnTo>
                  <a:pt x="30" y="116"/>
                </a:lnTo>
                <a:lnTo>
                  <a:pt x="28" y="116"/>
                </a:lnTo>
                <a:lnTo>
                  <a:pt x="20" y="116"/>
                </a:lnTo>
                <a:lnTo>
                  <a:pt x="20" y="116"/>
                </a:lnTo>
                <a:lnTo>
                  <a:pt x="16" y="116"/>
                </a:lnTo>
                <a:lnTo>
                  <a:pt x="16" y="116"/>
                </a:lnTo>
                <a:lnTo>
                  <a:pt x="8" y="116"/>
                </a:lnTo>
                <a:lnTo>
                  <a:pt x="4" y="116"/>
                </a:lnTo>
                <a:lnTo>
                  <a:pt x="4" y="116"/>
                </a:lnTo>
                <a:lnTo>
                  <a:pt x="4" y="120"/>
                </a:lnTo>
                <a:lnTo>
                  <a:pt x="0" y="120"/>
                </a:lnTo>
                <a:lnTo>
                  <a:pt x="0" y="120"/>
                </a:lnTo>
                <a:lnTo>
                  <a:pt x="0" y="124"/>
                </a:lnTo>
                <a:lnTo>
                  <a:pt x="0" y="124"/>
                </a:lnTo>
                <a:lnTo>
                  <a:pt x="0" y="124"/>
                </a:lnTo>
                <a:lnTo>
                  <a:pt x="0" y="124"/>
                </a:lnTo>
                <a:lnTo>
                  <a:pt x="0" y="124"/>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69" name="Freeform 176"/>
          <p:cNvSpPr>
            <a:spLocks/>
          </p:cNvSpPr>
          <p:nvPr/>
        </p:nvSpPr>
        <p:spPr bwMode="auto">
          <a:xfrm>
            <a:off x="4624387" y="3864768"/>
            <a:ext cx="200025" cy="204788"/>
          </a:xfrm>
          <a:custGeom>
            <a:avLst/>
            <a:gdLst>
              <a:gd name="T0" fmla="*/ 120 w 168"/>
              <a:gd name="T1" fmla="*/ 130 h 172"/>
              <a:gd name="T2" fmla="*/ 108 w 168"/>
              <a:gd name="T3" fmla="*/ 130 h 172"/>
              <a:gd name="T4" fmla="*/ 98 w 168"/>
              <a:gd name="T5" fmla="*/ 138 h 172"/>
              <a:gd name="T6" fmla="*/ 90 w 168"/>
              <a:gd name="T7" fmla="*/ 148 h 172"/>
              <a:gd name="T8" fmla="*/ 84 w 168"/>
              <a:gd name="T9" fmla="*/ 160 h 172"/>
              <a:gd name="T10" fmla="*/ 72 w 168"/>
              <a:gd name="T11" fmla="*/ 168 h 172"/>
              <a:gd name="T12" fmla="*/ 60 w 168"/>
              <a:gd name="T13" fmla="*/ 168 h 172"/>
              <a:gd name="T14" fmla="*/ 54 w 168"/>
              <a:gd name="T15" fmla="*/ 168 h 172"/>
              <a:gd name="T16" fmla="*/ 42 w 168"/>
              <a:gd name="T17" fmla="*/ 160 h 172"/>
              <a:gd name="T18" fmla="*/ 28 w 168"/>
              <a:gd name="T19" fmla="*/ 164 h 172"/>
              <a:gd name="T20" fmla="*/ 8 w 168"/>
              <a:gd name="T21" fmla="*/ 148 h 172"/>
              <a:gd name="T22" fmla="*/ 4 w 168"/>
              <a:gd name="T23" fmla="*/ 138 h 172"/>
              <a:gd name="T24" fmla="*/ 0 w 168"/>
              <a:gd name="T25" fmla="*/ 116 h 172"/>
              <a:gd name="T26" fmla="*/ 0 w 168"/>
              <a:gd name="T27" fmla="*/ 96 h 172"/>
              <a:gd name="T28" fmla="*/ 16 w 168"/>
              <a:gd name="T29" fmla="*/ 82 h 172"/>
              <a:gd name="T30" fmla="*/ 30 w 168"/>
              <a:gd name="T31" fmla="*/ 82 h 172"/>
              <a:gd name="T32" fmla="*/ 30 w 168"/>
              <a:gd name="T33" fmla="*/ 62 h 172"/>
              <a:gd name="T34" fmla="*/ 30 w 168"/>
              <a:gd name="T35" fmla="*/ 48 h 172"/>
              <a:gd name="T36" fmla="*/ 38 w 168"/>
              <a:gd name="T37" fmla="*/ 48 h 172"/>
              <a:gd name="T38" fmla="*/ 42 w 168"/>
              <a:gd name="T39" fmla="*/ 56 h 172"/>
              <a:gd name="T40" fmla="*/ 50 w 168"/>
              <a:gd name="T41" fmla="*/ 60 h 172"/>
              <a:gd name="T42" fmla="*/ 64 w 168"/>
              <a:gd name="T43" fmla="*/ 62 h 172"/>
              <a:gd name="T44" fmla="*/ 76 w 168"/>
              <a:gd name="T45" fmla="*/ 60 h 172"/>
              <a:gd name="T46" fmla="*/ 84 w 168"/>
              <a:gd name="T47" fmla="*/ 70 h 172"/>
              <a:gd name="T48" fmla="*/ 94 w 168"/>
              <a:gd name="T49" fmla="*/ 78 h 172"/>
              <a:gd name="T50" fmla="*/ 102 w 168"/>
              <a:gd name="T51" fmla="*/ 90 h 172"/>
              <a:gd name="T52" fmla="*/ 112 w 168"/>
              <a:gd name="T53" fmla="*/ 90 h 172"/>
              <a:gd name="T54" fmla="*/ 112 w 168"/>
              <a:gd name="T55" fmla="*/ 78 h 172"/>
              <a:gd name="T56" fmla="*/ 108 w 168"/>
              <a:gd name="T57" fmla="*/ 70 h 172"/>
              <a:gd name="T58" fmla="*/ 98 w 168"/>
              <a:gd name="T59" fmla="*/ 66 h 172"/>
              <a:gd name="T60" fmla="*/ 94 w 168"/>
              <a:gd name="T61" fmla="*/ 56 h 172"/>
              <a:gd name="T62" fmla="*/ 98 w 168"/>
              <a:gd name="T63" fmla="*/ 44 h 172"/>
              <a:gd name="T64" fmla="*/ 98 w 168"/>
              <a:gd name="T65" fmla="*/ 30 h 172"/>
              <a:gd name="T66" fmla="*/ 98 w 168"/>
              <a:gd name="T67" fmla="*/ 14 h 172"/>
              <a:gd name="T68" fmla="*/ 102 w 168"/>
              <a:gd name="T69" fmla="*/ 4 h 172"/>
              <a:gd name="T70" fmla="*/ 120 w 168"/>
              <a:gd name="T71" fmla="*/ 0 h 172"/>
              <a:gd name="T72" fmla="*/ 128 w 168"/>
              <a:gd name="T73" fmla="*/ 6 h 172"/>
              <a:gd name="T74" fmla="*/ 142 w 168"/>
              <a:gd name="T75" fmla="*/ 10 h 172"/>
              <a:gd name="T76" fmla="*/ 150 w 168"/>
              <a:gd name="T77" fmla="*/ 18 h 172"/>
              <a:gd name="T78" fmla="*/ 162 w 168"/>
              <a:gd name="T79" fmla="*/ 26 h 172"/>
              <a:gd name="T80" fmla="*/ 162 w 168"/>
              <a:gd name="T81" fmla="*/ 32 h 172"/>
              <a:gd name="T82" fmla="*/ 166 w 168"/>
              <a:gd name="T83" fmla="*/ 44 h 172"/>
              <a:gd name="T84" fmla="*/ 166 w 168"/>
              <a:gd name="T85" fmla="*/ 52 h 172"/>
              <a:gd name="T86" fmla="*/ 162 w 168"/>
              <a:gd name="T87" fmla="*/ 66 h 172"/>
              <a:gd name="T88" fmla="*/ 158 w 168"/>
              <a:gd name="T89" fmla="*/ 74 h 172"/>
              <a:gd name="T90" fmla="*/ 158 w 168"/>
              <a:gd name="T91" fmla="*/ 90 h 172"/>
              <a:gd name="T92" fmla="*/ 158 w 168"/>
              <a:gd name="T93" fmla="*/ 100 h 172"/>
              <a:gd name="T94" fmla="*/ 146 w 168"/>
              <a:gd name="T95" fmla="*/ 108 h 172"/>
              <a:gd name="T96" fmla="*/ 136 w 168"/>
              <a:gd name="T97" fmla="*/ 112 h 172"/>
              <a:gd name="T98" fmla="*/ 124 w 168"/>
              <a:gd name="T99" fmla="*/ 116 h 172"/>
              <a:gd name="T100" fmla="*/ 120 w 168"/>
              <a:gd name="T101" fmla="*/ 118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8" h="172">
                <a:moveTo>
                  <a:pt x="120" y="118"/>
                </a:moveTo>
                <a:lnTo>
                  <a:pt x="120" y="122"/>
                </a:lnTo>
                <a:lnTo>
                  <a:pt x="120" y="126"/>
                </a:lnTo>
                <a:lnTo>
                  <a:pt x="120" y="130"/>
                </a:lnTo>
                <a:lnTo>
                  <a:pt x="116" y="130"/>
                </a:lnTo>
                <a:lnTo>
                  <a:pt x="112" y="126"/>
                </a:lnTo>
                <a:lnTo>
                  <a:pt x="112" y="130"/>
                </a:lnTo>
                <a:lnTo>
                  <a:pt x="108" y="130"/>
                </a:lnTo>
                <a:lnTo>
                  <a:pt x="104" y="130"/>
                </a:lnTo>
                <a:lnTo>
                  <a:pt x="102" y="134"/>
                </a:lnTo>
                <a:lnTo>
                  <a:pt x="102" y="138"/>
                </a:lnTo>
                <a:lnTo>
                  <a:pt x="98" y="138"/>
                </a:lnTo>
                <a:lnTo>
                  <a:pt x="98" y="142"/>
                </a:lnTo>
                <a:lnTo>
                  <a:pt x="98" y="146"/>
                </a:lnTo>
                <a:lnTo>
                  <a:pt x="94" y="146"/>
                </a:lnTo>
                <a:lnTo>
                  <a:pt x="90" y="148"/>
                </a:lnTo>
                <a:lnTo>
                  <a:pt x="88" y="148"/>
                </a:lnTo>
                <a:lnTo>
                  <a:pt x="88" y="152"/>
                </a:lnTo>
                <a:lnTo>
                  <a:pt x="84" y="156"/>
                </a:lnTo>
                <a:lnTo>
                  <a:pt x="84" y="160"/>
                </a:lnTo>
                <a:lnTo>
                  <a:pt x="80" y="160"/>
                </a:lnTo>
                <a:lnTo>
                  <a:pt x="80" y="164"/>
                </a:lnTo>
                <a:lnTo>
                  <a:pt x="76" y="168"/>
                </a:lnTo>
                <a:lnTo>
                  <a:pt x="72" y="168"/>
                </a:lnTo>
                <a:lnTo>
                  <a:pt x="72" y="172"/>
                </a:lnTo>
                <a:lnTo>
                  <a:pt x="68" y="172"/>
                </a:lnTo>
                <a:lnTo>
                  <a:pt x="64" y="168"/>
                </a:lnTo>
                <a:lnTo>
                  <a:pt x="60" y="168"/>
                </a:lnTo>
                <a:lnTo>
                  <a:pt x="60" y="172"/>
                </a:lnTo>
                <a:lnTo>
                  <a:pt x="58" y="172"/>
                </a:lnTo>
                <a:lnTo>
                  <a:pt x="58" y="168"/>
                </a:lnTo>
                <a:lnTo>
                  <a:pt x="54" y="168"/>
                </a:lnTo>
                <a:lnTo>
                  <a:pt x="50" y="168"/>
                </a:lnTo>
                <a:lnTo>
                  <a:pt x="46" y="164"/>
                </a:lnTo>
                <a:lnTo>
                  <a:pt x="46" y="160"/>
                </a:lnTo>
                <a:lnTo>
                  <a:pt x="42" y="160"/>
                </a:lnTo>
                <a:lnTo>
                  <a:pt x="38" y="160"/>
                </a:lnTo>
                <a:lnTo>
                  <a:pt x="34" y="160"/>
                </a:lnTo>
                <a:lnTo>
                  <a:pt x="30" y="160"/>
                </a:lnTo>
                <a:lnTo>
                  <a:pt x="28" y="164"/>
                </a:lnTo>
                <a:lnTo>
                  <a:pt x="24" y="164"/>
                </a:lnTo>
                <a:lnTo>
                  <a:pt x="20" y="160"/>
                </a:lnTo>
                <a:lnTo>
                  <a:pt x="12" y="152"/>
                </a:lnTo>
                <a:lnTo>
                  <a:pt x="8" y="148"/>
                </a:lnTo>
                <a:lnTo>
                  <a:pt x="8" y="146"/>
                </a:lnTo>
                <a:lnTo>
                  <a:pt x="4" y="146"/>
                </a:lnTo>
                <a:lnTo>
                  <a:pt x="4" y="142"/>
                </a:lnTo>
                <a:lnTo>
                  <a:pt x="4" y="138"/>
                </a:lnTo>
                <a:lnTo>
                  <a:pt x="0" y="138"/>
                </a:lnTo>
                <a:lnTo>
                  <a:pt x="0" y="134"/>
                </a:lnTo>
                <a:lnTo>
                  <a:pt x="0" y="126"/>
                </a:lnTo>
                <a:lnTo>
                  <a:pt x="0" y="116"/>
                </a:lnTo>
                <a:lnTo>
                  <a:pt x="0" y="112"/>
                </a:lnTo>
                <a:lnTo>
                  <a:pt x="0" y="108"/>
                </a:lnTo>
                <a:lnTo>
                  <a:pt x="0" y="100"/>
                </a:lnTo>
                <a:lnTo>
                  <a:pt x="0" y="96"/>
                </a:lnTo>
                <a:lnTo>
                  <a:pt x="0" y="90"/>
                </a:lnTo>
                <a:lnTo>
                  <a:pt x="0" y="82"/>
                </a:lnTo>
                <a:lnTo>
                  <a:pt x="8" y="82"/>
                </a:lnTo>
                <a:lnTo>
                  <a:pt x="16" y="82"/>
                </a:lnTo>
                <a:lnTo>
                  <a:pt x="20" y="82"/>
                </a:lnTo>
                <a:lnTo>
                  <a:pt x="24" y="82"/>
                </a:lnTo>
                <a:lnTo>
                  <a:pt x="28" y="82"/>
                </a:lnTo>
                <a:lnTo>
                  <a:pt x="30" y="82"/>
                </a:lnTo>
                <a:lnTo>
                  <a:pt x="30" y="78"/>
                </a:lnTo>
                <a:lnTo>
                  <a:pt x="30" y="74"/>
                </a:lnTo>
                <a:lnTo>
                  <a:pt x="30" y="70"/>
                </a:lnTo>
                <a:lnTo>
                  <a:pt x="30" y="62"/>
                </a:lnTo>
                <a:lnTo>
                  <a:pt x="30" y="60"/>
                </a:lnTo>
                <a:lnTo>
                  <a:pt x="30" y="56"/>
                </a:lnTo>
                <a:lnTo>
                  <a:pt x="30" y="52"/>
                </a:lnTo>
                <a:lnTo>
                  <a:pt x="30" y="48"/>
                </a:lnTo>
                <a:lnTo>
                  <a:pt x="30" y="44"/>
                </a:lnTo>
                <a:lnTo>
                  <a:pt x="30" y="48"/>
                </a:lnTo>
                <a:lnTo>
                  <a:pt x="34" y="48"/>
                </a:lnTo>
                <a:lnTo>
                  <a:pt x="38" y="48"/>
                </a:lnTo>
                <a:lnTo>
                  <a:pt x="38" y="52"/>
                </a:lnTo>
                <a:lnTo>
                  <a:pt x="34" y="56"/>
                </a:lnTo>
                <a:lnTo>
                  <a:pt x="38" y="56"/>
                </a:lnTo>
                <a:lnTo>
                  <a:pt x="42" y="56"/>
                </a:lnTo>
                <a:lnTo>
                  <a:pt x="46" y="52"/>
                </a:lnTo>
                <a:lnTo>
                  <a:pt x="50" y="52"/>
                </a:lnTo>
                <a:lnTo>
                  <a:pt x="50" y="56"/>
                </a:lnTo>
                <a:lnTo>
                  <a:pt x="50" y="60"/>
                </a:lnTo>
                <a:lnTo>
                  <a:pt x="54" y="60"/>
                </a:lnTo>
                <a:lnTo>
                  <a:pt x="58" y="62"/>
                </a:lnTo>
                <a:lnTo>
                  <a:pt x="60" y="62"/>
                </a:lnTo>
                <a:lnTo>
                  <a:pt x="64" y="62"/>
                </a:lnTo>
                <a:lnTo>
                  <a:pt x="68" y="66"/>
                </a:lnTo>
                <a:lnTo>
                  <a:pt x="72" y="66"/>
                </a:lnTo>
                <a:lnTo>
                  <a:pt x="72" y="62"/>
                </a:lnTo>
                <a:lnTo>
                  <a:pt x="76" y="60"/>
                </a:lnTo>
                <a:lnTo>
                  <a:pt x="76" y="62"/>
                </a:lnTo>
                <a:lnTo>
                  <a:pt x="80" y="62"/>
                </a:lnTo>
                <a:lnTo>
                  <a:pt x="80" y="66"/>
                </a:lnTo>
                <a:lnTo>
                  <a:pt x="84" y="70"/>
                </a:lnTo>
                <a:lnTo>
                  <a:pt x="88" y="70"/>
                </a:lnTo>
                <a:lnTo>
                  <a:pt x="90" y="74"/>
                </a:lnTo>
                <a:lnTo>
                  <a:pt x="94" y="74"/>
                </a:lnTo>
                <a:lnTo>
                  <a:pt x="94" y="78"/>
                </a:lnTo>
                <a:lnTo>
                  <a:pt x="94" y="82"/>
                </a:lnTo>
                <a:lnTo>
                  <a:pt x="98" y="82"/>
                </a:lnTo>
                <a:lnTo>
                  <a:pt x="102" y="86"/>
                </a:lnTo>
                <a:lnTo>
                  <a:pt x="102" y="90"/>
                </a:lnTo>
                <a:lnTo>
                  <a:pt x="104" y="90"/>
                </a:lnTo>
                <a:lnTo>
                  <a:pt x="108" y="90"/>
                </a:lnTo>
                <a:lnTo>
                  <a:pt x="108" y="86"/>
                </a:lnTo>
                <a:lnTo>
                  <a:pt x="112" y="90"/>
                </a:lnTo>
                <a:lnTo>
                  <a:pt x="108" y="90"/>
                </a:lnTo>
                <a:lnTo>
                  <a:pt x="112" y="90"/>
                </a:lnTo>
                <a:lnTo>
                  <a:pt x="112" y="86"/>
                </a:lnTo>
                <a:lnTo>
                  <a:pt x="112" y="78"/>
                </a:lnTo>
                <a:lnTo>
                  <a:pt x="112" y="74"/>
                </a:lnTo>
                <a:lnTo>
                  <a:pt x="112" y="70"/>
                </a:lnTo>
                <a:lnTo>
                  <a:pt x="112" y="66"/>
                </a:lnTo>
                <a:lnTo>
                  <a:pt x="108" y="70"/>
                </a:lnTo>
                <a:lnTo>
                  <a:pt x="108" y="74"/>
                </a:lnTo>
                <a:lnTo>
                  <a:pt x="104" y="70"/>
                </a:lnTo>
                <a:lnTo>
                  <a:pt x="102" y="70"/>
                </a:lnTo>
                <a:lnTo>
                  <a:pt x="98" y="66"/>
                </a:lnTo>
                <a:lnTo>
                  <a:pt x="98" y="62"/>
                </a:lnTo>
                <a:lnTo>
                  <a:pt x="94" y="62"/>
                </a:lnTo>
                <a:lnTo>
                  <a:pt x="94" y="60"/>
                </a:lnTo>
                <a:lnTo>
                  <a:pt x="94" y="56"/>
                </a:lnTo>
                <a:lnTo>
                  <a:pt x="94" y="52"/>
                </a:lnTo>
                <a:lnTo>
                  <a:pt x="94" y="48"/>
                </a:lnTo>
                <a:lnTo>
                  <a:pt x="94" y="44"/>
                </a:lnTo>
                <a:lnTo>
                  <a:pt x="98" y="44"/>
                </a:lnTo>
                <a:lnTo>
                  <a:pt x="98" y="40"/>
                </a:lnTo>
                <a:lnTo>
                  <a:pt x="98" y="36"/>
                </a:lnTo>
                <a:lnTo>
                  <a:pt x="98" y="32"/>
                </a:lnTo>
                <a:lnTo>
                  <a:pt x="98" y="30"/>
                </a:lnTo>
                <a:lnTo>
                  <a:pt x="98" y="26"/>
                </a:lnTo>
                <a:lnTo>
                  <a:pt x="94" y="22"/>
                </a:lnTo>
                <a:lnTo>
                  <a:pt x="94" y="18"/>
                </a:lnTo>
                <a:lnTo>
                  <a:pt x="98" y="14"/>
                </a:lnTo>
                <a:lnTo>
                  <a:pt x="98" y="10"/>
                </a:lnTo>
                <a:lnTo>
                  <a:pt x="102" y="10"/>
                </a:lnTo>
                <a:lnTo>
                  <a:pt x="102" y="6"/>
                </a:lnTo>
                <a:lnTo>
                  <a:pt x="102" y="4"/>
                </a:lnTo>
                <a:lnTo>
                  <a:pt x="104" y="4"/>
                </a:lnTo>
                <a:lnTo>
                  <a:pt x="108" y="4"/>
                </a:lnTo>
                <a:lnTo>
                  <a:pt x="116" y="4"/>
                </a:lnTo>
                <a:lnTo>
                  <a:pt x="120" y="0"/>
                </a:lnTo>
                <a:lnTo>
                  <a:pt x="124" y="0"/>
                </a:lnTo>
                <a:lnTo>
                  <a:pt x="128" y="0"/>
                </a:lnTo>
                <a:lnTo>
                  <a:pt x="128" y="4"/>
                </a:lnTo>
                <a:lnTo>
                  <a:pt x="128" y="6"/>
                </a:lnTo>
                <a:lnTo>
                  <a:pt x="132" y="6"/>
                </a:lnTo>
                <a:lnTo>
                  <a:pt x="136" y="6"/>
                </a:lnTo>
                <a:lnTo>
                  <a:pt x="138" y="10"/>
                </a:lnTo>
                <a:lnTo>
                  <a:pt x="142" y="10"/>
                </a:lnTo>
                <a:lnTo>
                  <a:pt x="142" y="14"/>
                </a:lnTo>
                <a:lnTo>
                  <a:pt x="146" y="14"/>
                </a:lnTo>
                <a:lnTo>
                  <a:pt x="150" y="14"/>
                </a:lnTo>
                <a:lnTo>
                  <a:pt x="150" y="18"/>
                </a:lnTo>
                <a:lnTo>
                  <a:pt x="154" y="18"/>
                </a:lnTo>
                <a:lnTo>
                  <a:pt x="158" y="22"/>
                </a:lnTo>
                <a:lnTo>
                  <a:pt x="158" y="26"/>
                </a:lnTo>
                <a:lnTo>
                  <a:pt x="162" y="26"/>
                </a:lnTo>
                <a:lnTo>
                  <a:pt x="162" y="30"/>
                </a:lnTo>
                <a:lnTo>
                  <a:pt x="166" y="30"/>
                </a:lnTo>
                <a:lnTo>
                  <a:pt x="162" y="30"/>
                </a:lnTo>
                <a:lnTo>
                  <a:pt x="162" y="32"/>
                </a:lnTo>
                <a:lnTo>
                  <a:pt x="166" y="32"/>
                </a:lnTo>
                <a:lnTo>
                  <a:pt x="166" y="36"/>
                </a:lnTo>
                <a:lnTo>
                  <a:pt x="168" y="40"/>
                </a:lnTo>
                <a:lnTo>
                  <a:pt x="166" y="44"/>
                </a:lnTo>
                <a:lnTo>
                  <a:pt x="162" y="44"/>
                </a:lnTo>
                <a:lnTo>
                  <a:pt x="162" y="48"/>
                </a:lnTo>
                <a:lnTo>
                  <a:pt x="166" y="48"/>
                </a:lnTo>
                <a:lnTo>
                  <a:pt x="166" y="52"/>
                </a:lnTo>
                <a:lnTo>
                  <a:pt x="162" y="56"/>
                </a:lnTo>
                <a:lnTo>
                  <a:pt x="162" y="60"/>
                </a:lnTo>
                <a:lnTo>
                  <a:pt x="162" y="62"/>
                </a:lnTo>
                <a:lnTo>
                  <a:pt x="162" y="66"/>
                </a:lnTo>
                <a:lnTo>
                  <a:pt x="166" y="70"/>
                </a:lnTo>
                <a:lnTo>
                  <a:pt x="166" y="74"/>
                </a:lnTo>
                <a:lnTo>
                  <a:pt x="162" y="74"/>
                </a:lnTo>
                <a:lnTo>
                  <a:pt x="158" y="74"/>
                </a:lnTo>
                <a:lnTo>
                  <a:pt x="158" y="78"/>
                </a:lnTo>
                <a:lnTo>
                  <a:pt x="158" y="82"/>
                </a:lnTo>
                <a:lnTo>
                  <a:pt x="158" y="86"/>
                </a:lnTo>
                <a:lnTo>
                  <a:pt x="158" y="90"/>
                </a:lnTo>
                <a:lnTo>
                  <a:pt x="158" y="92"/>
                </a:lnTo>
                <a:lnTo>
                  <a:pt x="154" y="92"/>
                </a:lnTo>
                <a:lnTo>
                  <a:pt x="158" y="96"/>
                </a:lnTo>
                <a:lnTo>
                  <a:pt x="158" y="100"/>
                </a:lnTo>
                <a:lnTo>
                  <a:pt x="162" y="100"/>
                </a:lnTo>
                <a:lnTo>
                  <a:pt x="158" y="100"/>
                </a:lnTo>
                <a:lnTo>
                  <a:pt x="150" y="104"/>
                </a:lnTo>
                <a:lnTo>
                  <a:pt x="146" y="108"/>
                </a:lnTo>
                <a:lnTo>
                  <a:pt x="142" y="108"/>
                </a:lnTo>
                <a:lnTo>
                  <a:pt x="138" y="108"/>
                </a:lnTo>
                <a:lnTo>
                  <a:pt x="138" y="112"/>
                </a:lnTo>
                <a:lnTo>
                  <a:pt x="136" y="112"/>
                </a:lnTo>
                <a:lnTo>
                  <a:pt x="132" y="112"/>
                </a:lnTo>
                <a:lnTo>
                  <a:pt x="128" y="112"/>
                </a:lnTo>
                <a:lnTo>
                  <a:pt x="128" y="116"/>
                </a:lnTo>
                <a:lnTo>
                  <a:pt x="124" y="116"/>
                </a:lnTo>
                <a:lnTo>
                  <a:pt x="120" y="116"/>
                </a:lnTo>
                <a:lnTo>
                  <a:pt x="120" y="118"/>
                </a:lnTo>
                <a:lnTo>
                  <a:pt x="120" y="118"/>
                </a:lnTo>
                <a:lnTo>
                  <a:pt x="120" y="118"/>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70" name="Freeform 177"/>
          <p:cNvSpPr>
            <a:spLocks/>
          </p:cNvSpPr>
          <p:nvPr/>
        </p:nvSpPr>
        <p:spPr bwMode="auto">
          <a:xfrm>
            <a:off x="4683918" y="4017169"/>
            <a:ext cx="133350" cy="145256"/>
          </a:xfrm>
          <a:custGeom>
            <a:avLst/>
            <a:gdLst>
              <a:gd name="T0" fmla="*/ 88 w 112"/>
              <a:gd name="T1" fmla="*/ 114 h 122"/>
              <a:gd name="T2" fmla="*/ 84 w 112"/>
              <a:gd name="T3" fmla="*/ 118 h 122"/>
              <a:gd name="T4" fmla="*/ 82 w 112"/>
              <a:gd name="T5" fmla="*/ 118 h 122"/>
              <a:gd name="T6" fmla="*/ 74 w 112"/>
              <a:gd name="T7" fmla="*/ 118 h 122"/>
              <a:gd name="T8" fmla="*/ 70 w 112"/>
              <a:gd name="T9" fmla="*/ 118 h 122"/>
              <a:gd name="T10" fmla="*/ 62 w 112"/>
              <a:gd name="T11" fmla="*/ 114 h 122"/>
              <a:gd name="T12" fmla="*/ 54 w 112"/>
              <a:gd name="T13" fmla="*/ 114 h 122"/>
              <a:gd name="T14" fmla="*/ 52 w 112"/>
              <a:gd name="T15" fmla="*/ 114 h 122"/>
              <a:gd name="T16" fmla="*/ 52 w 112"/>
              <a:gd name="T17" fmla="*/ 110 h 122"/>
              <a:gd name="T18" fmla="*/ 52 w 112"/>
              <a:gd name="T19" fmla="*/ 108 h 122"/>
              <a:gd name="T20" fmla="*/ 44 w 112"/>
              <a:gd name="T21" fmla="*/ 108 h 122"/>
              <a:gd name="T22" fmla="*/ 40 w 112"/>
              <a:gd name="T23" fmla="*/ 108 h 122"/>
              <a:gd name="T24" fmla="*/ 38 w 112"/>
              <a:gd name="T25" fmla="*/ 104 h 122"/>
              <a:gd name="T26" fmla="*/ 34 w 112"/>
              <a:gd name="T27" fmla="*/ 96 h 122"/>
              <a:gd name="T28" fmla="*/ 34 w 112"/>
              <a:gd name="T29" fmla="*/ 92 h 122"/>
              <a:gd name="T30" fmla="*/ 30 w 112"/>
              <a:gd name="T31" fmla="*/ 84 h 122"/>
              <a:gd name="T32" fmla="*/ 30 w 112"/>
              <a:gd name="T33" fmla="*/ 84 h 122"/>
              <a:gd name="T34" fmla="*/ 26 w 112"/>
              <a:gd name="T35" fmla="*/ 78 h 122"/>
              <a:gd name="T36" fmla="*/ 18 w 112"/>
              <a:gd name="T37" fmla="*/ 74 h 122"/>
              <a:gd name="T38" fmla="*/ 14 w 112"/>
              <a:gd name="T39" fmla="*/ 70 h 122"/>
              <a:gd name="T40" fmla="*/ 12 w 112"/>
              <a:gd name="T41" fmla="*/ 66 h 122"/>
              <a:gd name="T42" fmla="*/ 12 w 112"/>
              <a:gd name="T43" fmla="*/ 58 h 122"/>
              <a:gd name="T44" fmla="*/ 8 w 112"/>
              <a:gd name="T45" fmla="*/ 52 h 122"/>
              <a:gd name="T46" fmla="*/ 4 w 112"/>
              <a:gd name="T47" fmla="*/ 48 h 122"/>
              <a:gd name="T48" fmla="*/ 0 w 112"/>
              <a:gd name="T49" fmla="*/ 44 h 122"/>
              <a:gd name="T50" fmla="*/ 0 w 112"/>
              <a:gd name="T51" fmla="*/ 40 h 122"/>
              <a:gd name="T52" fmla="*/ 4 w 112"/>
              <a:gd name="T53" fmla="*/ 40 h 122"/>
              <a:gd name="T54" fmla="*/ 12 w 112"/>
              <a:gd name="T55" fmla="*/ 44 h 122"/>
              <a:gd name="T56" fmla="*/ 14 w 112"/>
              <a:gd name="T57" fmla="*/ 40 h 122"/>
              <a:gd name="T58" fmla="*/ 22 w 112"/>
              <a:gd name="T59" fmla="*/ 44 h 122"/>
              <a:gd name="T60" fmla="*/ 26 w 112"/>
              <a:gd name="T61" fmla="*/ 40 h 122"/>
              <a:gd name="T62" fmla="*/ 38 w 112"/>
              <a:gd name="T63" fmla="*/ 26 h 122"/>
              <a:gd name="T64" fmla="*/ 48 w 112"/>
              <a:gd name="T65" fmla="*/ 18 h 122"/>
              <a:gd name="T66" fmla="*/ 48 w 112"/>
              <a:gd name="T67" fmla="*/ 10 h 122"/>
              <a:gd name="T68" fmla="*/ 52 w 112"/>
              <a:gd name="T69" fmla="*/ 6 h 122"/>
              <a:gd name="T70" fmla="*/ 62 w 112"/>
              <a:gd name="T71" fmla="*/ 2 h 122"/>
              <a:gd name="T72" fmla="*/ 70 w 112"/>
              <a:gd name="T73" fmla="*/ 2 h 122"/>
              <a:gd name="T74" fmla="*/ 78 w 112"/>
              <a:gd name="T75" fmla="*/ 6 h 122"/>
              <a:gd name="T76" fmla="*/ 84 w 112"/>
              <a:gd name="T77" fmla="*/ 10 h 122"/>
              <a:gd name="T78" fmla="*/ 88 w 112"/>
              <a:gd name="T79" fmla="*/ 10 h 122"/>
              <a:gd name="T80" fmla="*/ 96 w 112"/>
              <a:gd name="T81" fmla="*/ 14 h 122"/>
              <a:gd name="T82" fmla="*/ 100 w 112"/>
              <a:gd name="T83" fmla="*/ 14 h 122"/>
              <a:gd name="T84" fmla="*/ 104 w 112"/>
              <a:gd name="T85" fmla="*/ 22 h 122"/>
              <a:gd name="T86" fmla="*/ 108 w 112"/>
              <a:gd name="T87" fmla="*/ 22 h 122"/>
              <a:gd name="T88" fmla="*/ 108 w 112"/>
              <a:gd name="T89" fmla="*/ 26 h 122"/>
              <a:gd name="T90" fmla="*/ 108 w 112"/>
              <a:gd name="T91" fmla="*/ 28 h 122"/>
              <a:gd name="T92" fmla="*/ 108 w 112"/>
              <a:gd name="T93" fmla="*/ 32 h 122"/>
              <a:gd name="T94" fmla="*/ 108 w 112"/>
              <a:gd name="T95" fmla="*/ 40 h 122"/>
              <a:gd name="T96" fmla="*/ 108 w 112"/>
              <a:gd name="T97" fmla="*/ 44 h 122"/>
              <a:gd name="T98" fmla="*/ 108 w 112"/>
              <a:gd name="T99" fmla="*/ 52 h 122"/>
              <a:gd name="T100" fmla="*/ 108 w 112"/>
              <a:gd name="T101" fmla="*/ 54 h 122"/>
              <a:gd name="T102" fmla="*/ 104 w 112"/>
              <a:gd name="T103" fmla="*/ 54 h 122"/>
              <a:gd name="T104" fmla="*/ 108 w 112"/>
              <a:gd name="T105" fmla="*/ 58 h 122"/>
              <a:gd name="T106" fmla="*/ 108 w 112"/>
              <a:gd name="T107" fmla="*/ 70 h 122"/>
              <a:gd name="T108" fmla="*/ 108 w 112"/>
              <a:gd name="T109" fmla="*/ 78 h 122"/>
              <a:gd name="T110" fmla="*/ 104 w 112"/>
              <a:gd name="T111" fmla="*/ 84 h 122"/>
              <a:gd name="T112" fmla="*/ 100 w 112"/>
              <a:gd name="T113" fmla="*/ 92 h 122"/>
              <a:gd name="T114" fmla="*/ 100 w 112"/>
              <a:gd name="T115" fmla="*/ 10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2" h="122">
                <a:moveTo>
                  <a:pt x="100" y="100"/>
                </a:moveTo>
                <a:lnTo>
                  <a:pt x="100" y="100"/>
                </a:lnTo>
                <a:lnTo>
                  <a:pt x="100" y="100"/>
                </a:lnTo>
                <a:lnTo>
                  <a:pt x="100" y="100"/>
                </a:lnTo>
                <a:lnTo>
                  <a:pt x="92" y="110"/>
                </a:lnTo>
                <a:lnTo>
                  <a:pt x="88" y="114"/>
                </a:lnTo>
                <a:lnTo>
                  <a:pt x="84" y="118"/>
                </a:lnTo>
                <a:lnTo>
                  <a:pt x="84" y="118"/>
                </a:lnTo>
                <a:lnTo>
                  <a:pt x="84" y="118"/>
                </a:lnTo>
                <a:lnTo>
                  <a:pt x="84" y="122"/>
                </a:lnTo>
                <a:lnTo>
                  <a:pt x="84" y="118"/>
                </a:lnTo>
                <a:lnTo>
                  <a:pt x="84" y="118"/>
                </a:lnTo>
                <a:lnTo>
                  <a:pt x="82" y="118"/>
                </a:lnTo>
                <a:lnTo>
                  <a:pt x="82" y="118"/>
                </a:lnTo>
                <a:lnTo>
                  <a:pt x="82" y="118"/>
                </a:lnTo>
                <a:lnTo>
                  <a:pt x="82" y="118"/>
                </a:lnTo>
                <a:lnTo>
                  <a:pt x="82" y="118"/>
                </a:lnTo>
                <a:lnTo>
                  <a:pt x="82" y="118"/>
                </a:lnTo>
                <a:lnTo>
                  <a:pt x="78" y="118"/>
                </a:lnTo>
                <a:lnTo>
                  <a:pt x="78" y="118"/>
                </a:lnTo>
                <a:lnTo>
                  <a:pt x="78" y="118"/>
                </a:lnTo>
                <a:lnTo>
                  <a:pt x="78" y="118"/>
                </a:lnTo>
                <a:lnTo>
                  <a:pt x="78" y="118"/>
                </a:lnTo>
                <a:lnTo>
                  <a:pt x="74" y="118"/>
                </a:lnTo>
                <a:lnTo>
                  <a:pt x="74" y="118"/>
                </a:lnTo>
                <a:lnTo>
                  <a:pt x="74" y="118"/>
                </a:lnTo>
                <a:lnTo>
                  <a:pt x="74" y="118"/>
                </a:lnTo>
                <a:lnTo>
                  <a:pt x="74" y="118"/>
                </a:lnTo>
                <a:lnTo>
                  <a:pt x="70" y="118"/>
                </a:lnTo>
                <a:lnTo>
                  <a:pt x="70" y="118"/>
                </a:lnTo>
                <a:lnTo>
                  <a:pt x="70" y="118"/>
                </a:lnTo>
                <a:lnTo>
                  <a:pt x="66" y="118"/>
                </a:lnTo>
                <a:lnTo>
                  <a:pt x="66" y="114"/>
                </a:lnTo>
                <a:lnTo>
                  <a:pt x="62" y="114"/>
                </a:lnTo>
                <a:lnTo>
                  <a:pt x="62" y="114"/>
                </a:lnTo>
                <a:lnTo>
                  <a:pt x="62" y="114"/>
                </a:lnTo>
                <a:lnTo>
                  <a:pt x="62" y="114"/>
                </a:lnTo>
                <a:lnTo>
                  <a:pt x="62" y="114"/>
                </a:lnTo>
                <a:lnTo>
                  <a:pt x="58" y="114"/>
                </a:lnTo>
                <a:lnTo>
                  <a:pt x="54" y="114"/>
                </a:lnTo>
                <a:lnTo>
                  <a:pt x="54" y="114"/>
                </a:lnTo>
                <a:lnTo>
                  <a:pt x="54" y="114"/>
                </a:lnTo>
                <a:lnTo>
                  <a:pt x="54" y="114"/>
                </a:lnTo>
                <a:lnTo>
                  <a:pt x="54" y="114"/>
                </a:lnTo>
                <a:lnTo>
                  <a:pt x="54" y="114"/>
                </a:lnTo>
                <a:lnTo>
                  <a:pt x="54" y="114"/>
                </a:lnTo>
                <a:lnTo>
                  <a:pt x="52" y="114"/>
                </a:lnTo>
                <a:lnTo>
                  <a:pt x="52" y="114"/>
                </a:lnTo>
                <a:lnTo>
                  <a:pt x="52" y="114"/>
                </a:lnTo>
                <a:lnTo>
                  <a:pt x="52" y="114"/>
                </a:lnTo>
                <a:lnTo>
                  <a:pt x="52" y="114"/>
                </a:lnTo>
                <a:lnTo>
                  <a:pt x="52" y="110"/>
                </a:lnTo>
                <a:lnTo>
                  <a:pt x="52" y="110"/>
                </a:lnTo>
                <a:lnTo>
                  <a:pt x="52" y="110"/>
                </a:lnTo>
                <a:lnTo>
                  <a:pt x="52" y="110"/>
                </a:lnTo>
                <a:lnTo>
                  <a:pt x="52" y="110"/>
                </a:lnTo>
                <a:lnTo>
                  <a:pt x="52" y="110"/>
                </a:lnTo>
                <a:lnTo>
                  <a:pt x="52" y="108"/>
                </a:lnTo>
                <a:lnTo>
                  <a:pt x="52" y="108"/>
                </a:lnTo>
                <a:lnTo>
                  <a:pt x="52" y="108"/>
                </a:lnTo>
                <a:lnTo>
                  <a:pt x="52" y="108"/>
                </a:lnTo>
                <a:lnTo>
                  <a:pt x="48" y="108"/>
                </a:lnTo>
                <a:lnTo>
                  <a:pt x="44" y="108"/>
                </a:lnTo>
                <a:lnTo>
                  <a:pt x="44" y="108"/>
                </a:lnTo>
                <a:lnTo>
                  <a:pt x="44" y="108"/>
                </a:lnTo>
                <a:lnTo>
                  <a:pt x="44" y="108"/>
                </a:lnTo>
                <a:lnTo>
                  <a:pt x="44" y="108"/>
                </a:lnTo>
                <a:lnTo>
                  <a:pt x="44" y="108"/>
                </a:lnTo>
                <a:lnTo>
                  <a:pt x="44" y="108"/>
                </a:lnTo>
                <a:lnTo>
                  <a:pt x="40" y="108"/>
                </a:lnTo>
                <a:lnTo>
                  <a:pt x="40" y="108"/>
                </a:lnTo>
                <a:lnTo>
                  <a:pt x="40" y="108"/>
                </a:lnTo>
                <a:lnTo>
                  <a:pt x="40" y="108"/>
                </a:lnTo>
                <a:lnTo>
                  <a:pt x="38" y="108"/>
                </a:lnTo>
                <a:lnTo>
                  <a:pt x="38" y="104"/>
                </a:lnTo>
                <a:lnTo>
                  <a:pt x="38" y="104"/>
                </a:lnTo>
                <a:lnTo>
                  <a:pt x="38" y="104"/>
                </a:lnTo>
                <a:lnTo>
                  <a:pt x="38" y="104"/>
                </a:lnTo>
                <a:lnTo>
                  <a:pt x="38" y="104"/>
                </a:lnTo>
                <a:lnTo>
                  <a:pt x="38" y="100"/>
                </a:lnTo>
                <a:lnTo>
                  <a:pt x="38" y="100"/>
                </a:lnTo>
                <a:lnTo>
                  <a:pt x="34" y="100"/>
                </a:lnTo>
                <a:lnTo>
                  <a:pt x="34" y="100"/>
                </a:lnTo>
                <a:lnTo>
                  <a:pt x="34" y="96"/>
                </a:lnTo>
                <a:lnTo>
                  <a:pt x="34" y="96"/>
                </a:lnTo>
                <a:lnTo>
                  <a:pt x="34" y="92"/>
                </a:lnTo>
                <a:lnTo>
                  <a:pt x="34" y="92"/>
                </a:lnTo>
                <a:lnTo>
                  <a:pt x="34" y="92"/>
                </a:lnTo>
                <a:lnTo>
                  <a:pt x="34" y="92"/>
                </a:lnTo>
                <a:lnTo>
                  <a:pt x="34" y="92"/>
                </a:lnTo>
                <a:lnTo>
                  <a:pt x="34" y="88"/>
                </a:lnTo>
                <a:lnTo>
                  <a:pt x="34" y="84"/>
                </a:lnTo>
                <a:lnTo>
                  <a:pt x="34" y="84"/>
                </a:lnTo>
                <a:lnTo>
                  <a:pt x="34" y="84"/>
                </a:lnTo>
                <a:lnTo>
                  <a:pt x="30" y="84"/>
                </a:lnTo>
                <a:lnTo>
                  <a:pt x="30" y="84"/>
                </a:lnTo>
                <a:lnTo>
                  <a:pt x="30" y="84"/>
                </a:lnTo>
                <a:lnTo>
                  <a:pt x="30" y="84"/>
                </a:lnTo>
                <a:lnTo>
                  <a:pt x="30" y="84"/>
                </a:lnTo>
                <a:lnTo>
                  <a:pt x="30" y="84"/>
                </a:lnTo>
                <a:lnTo>
                  <a:pt x="30" y="84"/>
                </a:lnTo>
                <a:lnTo>
                  <a:pt x="30" y="84"/>
                </a:lnTo>
                <a:lnTo>
                  <a:pt x="30" y="84"/>
                </a:lnTo>
                <a:lnTo>
                  <a:pt x="30" y="80"/>
                </a:lnTo>
                <a:lnTo>
                  <a:pt x="30" y="80"/>
                </a:lnTo>
                <a:lnTo>
                  <a:pt x="26" y="80"/>
                </a:lnTo>
                <a:lnTo>
                  <a:pt x="26" y="78"/>
                </a:lnTo>
                <a:lnTo>
                  <a:pt x="26" y="78"/>
                </a:lnTo>
                <a:lnTo>
                  <a:pt x="22" y="78"/>
                </a:lnTo>
                <a:lnTo>
                  <a:pt x="18" y="78"/>
                </a:lnTo>
                <a:lnTo>
                  <a:pt x="18" y="74"/>
                </a:lnTo>
                <a:lnTo>
                  <a:pt x="18" y="74"/>
                </a:lnTo>
                <a:lnTo>
                  <a:pt x="18" y="74"/>
                </a:lnTo>
                <a:lnTo>
                  <a:pt x="18" y="74"/>
                </a:lnTo>
                <a:lnTo>
                  <a:pt x="18" y="74"/>
                </a:lnTo>
                <a:lnTo>
                  <a:pt x="18" y="74"/>
                </a:lnTo>
                <a:lnTo>
                  <a:pt x="18" y="74"/>
                </a:lnTo>
                <a:lnTo>
                  <a:pt x="14" y="74"/>
                </a:lnTo>
                <a:lnTo>
                  <a:pt x="14" y="70"/>
                </a:lnTo>
                <a:lnTo>
                  <a:pt x="14" y="70"/>
                </a:lnTo>
                <a:lnTo>
                  <a:pt x="14" y="70"/>
                </a:lnTo>
                <a:lnTo>
                  <a:pt x="12" y="70"/>
                </a:lnTo>
                <a:lnTo>
                  <a:pt x="12" y="70"/>
                </a:lnTo>
                <a:lnTo>
                  <a:pt x="12" y="70"/>
                </a:lnTo>
                <a:lnTo>
                  <a:pt x="12" y="66"/>
                </a:lnTo>
                <a:lnTo>
                  <a:pt x="12" y="66"/>
                </a:lnTo>
                <a:lnTo>
                  <a:pt x="12" y="62"/>
                </a:lnTo>
                <a:lnTo>
                  <a:pt x="12" y="62"/>
                </a:lnTo>
                <a:lnTo>
                  <a:pt x="12" y="62"/>
                </a:lnTo>
                <a:lnTo>
                  <a:pt x="12" y="62"/>
                </a:lnTo>
                <a:lnTo>
                  <a:pt x="12" y="58"/>
                </a:lnTo>
                <a:lnTo>
                  <a:pt x="12" y="58"/>
                </a:lnTo>
                <a:lnTo>
                  <a:pt x="12" y="58"/>
                </a:lnTo>
                <a:lnTo>
                  <a:pt x="12" y="58"/>
                </a:lnTo>
                <a:lnTo>
                  <a:pt x="8" y="58"/>
                </a:lnTo>
                <a:lnTo>
                  <a:pt x="8" y="58"/>
                </a:lnTo>
                <a:lnTo>
                  <a:pt x="8" y="54"/>
                </a:lnTo>
                <a:lnTo>
                  <a:pt x="8" y="52"/>
                </a:lnTo>
                <a:lnTo>
                  <a:pt x="4" y="52"/>
                </a:lnTo>
                <a:lnTo>
                  <a:pt x="4" y="52"/>
                </a:lnTo>
                <a:lnTo>
                  <a:pt x="4" y="52"/>
                </a:lnTo>
                <a:lnTo>
                  <a:pt x="4" y="48"/>
                </a:lnTo>
                <a:lnTo>
                  <a:pt x="4" y="48"/>
                </a:lnTo>
                <a:lnTo>
                  <a:pt x="4" y="48"/>
                </a:lnTo>
                <a:lnTo>
                  <a:pt x="4" y="48"/>
                </a:lnTo>
                <a:lnTo>
                  <a:pt x="4" y="48"/>
                </a:lnTo>
                <a:lnTo>
                  <a:pt x="0" y="44"/>
                </a:lnTo>
                <a:lnTo>
                  <a:pt x="0" y="44"/>
                </a:lnTo>
                <a:lnTo>
                  <a:pt x="0" y="44"/>
                </a:lnTo>
                <a:lnTo>
                  <a:pt x="0" y="44"/>
                </a:lnTo>
                <a:lnTo>
                  <a:pt x="0" y="40"/>
                </a:lnTo>
                <a:lnTo>
                  <a:pt x="0" y="40"/>
                </a:lnTo>
                <a:lnTo>
                  <a:pt x="0" y="40"/>
                </a:lnTo>
                <a:lnTo>
                  <a:pt x="0" y="40"/>
                </a:lnTo>
                <a:lnTo>
                  <a:pt x="0" y="40"/>
                </a:lnTo>
                <a:lnTo>
                  <a:pt x="0" y="40"/>
                </a:lnTo>
                <a:lnTo>
                  <a:pt x="0" y="40"/>
                </a:lnTo>
                <a:lnTo>
                  <a:pt x="4" y="40"/>
                </a:lnTo>
                <a:lnTo>
                  <a:pt x="4" y="40"/>
                </a:lnTo>
                <a:lnTo>
                  <a:pt x="4" y="40"/>
                </a:lnTo>
                <a:lnTo>
                  <a:pt x="4" y="40"/>
                </a:lnTo>
                <a:lnTo>
                  <a:pt x="4" y="40"/>
                </a:lnTo>
                <a:lnTo>
                  <a:pt x="8" y="40"/>
                </a:lnTo>
                <a:lnTo>
                  <a:pt x="8" y="40"/>
                </a:lnTo>
                <a:lnTo>
                  <a:pt x="8" y="40"/>
                </a:lnTo>
                <a:lnTo>
                  <a:pt x="8" y="44"/>
                </a:lnTo>
                <a:lnTo>
                  <a:pt x="8" y="44"/>
                </a:lnTo>
                <a:lnTo>
                  <a:pt x="12" y="44"/>
                </a:lnTo>
                <a:lnTo>
                  <a:pt x="12" y="40"/>
                </a:lnTo>
                <a:lnTo>
                  <a:pt x="12" y="40"/>
                </a:lnTo>
                <a:lnTo>
                  <a:pt x="12" y="40"/>
                </a:lnTo>
                <a:lnTo>
                  <a:pt x="14" y="40"/>
                </a:lnTo>
                <a:lnTo>
                  <a:pt x="14" y="40"/>
                </a:lnTo>
                <a:lnTo>
                  <a:pt x="14" y="40"/>
                </a:lnTo>
                <a:lnTo>
                  <a:pt x="18" y="44"/>
                </a:lnTo>
                <a:lnTo>
                  <a:pt x="18" y="44"/>
                </a:lnTo>
                <a:lnTo>
                  <a:pt x="18" y="44"/>
                </a:lnTo>
                <a:lnTo>
                  <a:pt x="18" y="44"/>
                </a:lnTo>
                <a:lnTo>
                  <a:pt x="18" y="44"/>
                </a:lnTo>
                <a:lnTo>
                  <a:pt x="22" y="44"/>
                </a:lnTo>
                <a:lnTo>
                  <a:pt x="22" y="44"/>
                </a:lnTo>
                <a:lnTo>
                  <a:pt x="22" y="44"/>
                </a:lnTo>
                <a:lnTo>
                  <a:pt x="22" y="40"/>
                </a:lnTo>
                <a:lnTo>
                  <a:pt x="26" y="40"/>
                </a:lnTo>
                <a:lnTo>
                  <a:pt x="26" y="40"/>
                </a:lnTo>
                <a:lnTo>
                  <a:pt x="26" y="40"/>
                </a:lnTo>
                <a:lnTo>
                  <a:pt x="30" y="36"/>
                </a:lnTo>
                <a:lnTo>
                  <a:pt x="30" y="32"/>
                </a:lnTo>
                <a:lnTo>
                  <a:pt x="34" y="32"/>
                </a:lnTo>
                <a:lnTo>
                  <a:pt x="34" y="28"/>
                </a:lnTo>
                <a:lnTo>
                  <a:pt x="34" y="28"/>
                </a:lnTo>
                <a:lnTo>
                  <a:pt x="38" y="26"/>
                </a:lnTo>
                <a:lnTo>
                  <a:pt x="38" y="26"/>
                </a:lnTo>
                <a:lnTo>
                  <a:pt x="38" y="22"/>
                </a:lnTo>
                <a:lnTo>
                  <a:pt x="40" y="22"/>
                </a:lnTo>
                <a:lnTo>
                  <a:pt x="40" y="22"/>
                </a:lnTo>
                <a:lnTo>
                  <a:pt x="44" y="18"/>
                </a:lnTo>
                <a:lnTo>
                  <a:pt x="48" y="18"/>
                </a:lnTo>
                <a:lnTo>
                  <a:pt x="48" y="14"/>
                </a:lnTo>
                <a:lnTo>
                  <a:pt x="48" y="14"/>
                </a:lnTo>
                <a:lnTo>
                  <a:pt x="48" y="14"/>
                </a:lnTo>
                <a:lnTo>
                  <a:pt x="48" y="14"/>
                </a:lnTo>
                <a:lnTo>
                  <a:pt x="48" y="14"/>
                </a:lnTo>
                <a:lnTo>
                  <a:pt x="48" y="10"/>
                </a:lnTo>
                <a:lnTo>
                  <a:pt x="52" y="10"/>
                </a:lnTo>
                <a:lnTo>
                  <a:pt x="52" y="6"/>
                </a:lnTo>
                <a:lnTo>
                  <a:pt x="52" y="6"/>
                </a:lnTo>
                <a:lnTo>
                  <a:pt x="52" y="6"/>
                </a:lnTo>
                <a:lnTo>
                  <a:pt x="52" y="6"/>
                </a:lnTo>
                <a:lnTo>
                  <a:pt x="52" y="6"/>
                </a:lnTo>
                <a:lnTo>
                  <a:pt x="54" y="2"/>
                </a:lnTo>
                <a:lnTo>
                  <a:pt x="54" y="2"/>
                </a:lnTo>
                <a:lnTo>
                  <a:pt x="58" y="2"/>
                </a:lnTo>
                <a:lnTo>
                  <a:pt x="58" y="2"/>
                </a:lnTo>
                <a:lnTo>
                  <a:pt x="58" y="2"/>
                </a:lnTo>
                <a:lnTo>
                  <a:pt x="62" y="2"/>
                </a:lnTo>
                <a:lnTo>
                  <a:pt x="62" y="2"/>
                </a:lnTo>
                <a:lnTo>
                  <a:pt x="62" y="2"/>
                </a:lnTo>
                <a:lnTo>
                  <a:pt x="62" y="0"/>
                </a:lnTo>
                <a:lnTo>
                  <a:pt x="66" y="2"/>
                </a:lnTo>
                <a:lnTo>
                  <a:pt x="70" y="2"/>
                </a:lnTo>
                <a:lnTo>
                  <a:pt x="70" y="2"/>
                </a:lnTo>
                <a:lnTo>
                  <a:pt x="70" y="2"/>
                </a:lnTo>
                <a:lnTo>
                  <a:pt x="70" y="2"/>
                </a:lnTo>
                <a:lnTo>
                  <a:pt x="70" y="2"/>
                </a:lnTo>
                <a:lnTo>
                  <a:pt x="70" y="2"/>
                </a:lnTo>
                <a:lnTo>
                  <a:pt x="70" y="6"/>
                </a:lnTo>
                <a:lnTo>
                  <a:pt x="78" y="6"/>
                </a:lnTo>
                <a:lnTo>
                  <a:pt x="82" y="6"/>
                </a:lnTo>
                <a:lnTo>
                  <a:pt x="82" y="6"/>
                </a:lnTo>
                <a:lnTo>
                  <a:pt x="84" y="6"/>
                </a:lnTo>
                <a:lnTo>
                  <a:pt x="84" y="6"/>
                </a:lnTo>
                <a:lnTo>
                  <a:pt x="84" y="10"/>
                </a:lnTo>
                <a:lnTo>
                  <a:pt x="84" y="10"/>
                </a:lnTo>
                <a:lnTo>
                  <a:pt x="84" y="10"/>
                </a:lnTo>
                <a:lnTo>
                  <a:pt x="84" y="10"/>
                </a:lnTo>
                <a:lnTo>
                  <a:pt x="88" y="10"/>
                </a:lnTo>
                <a:lnTo>
                  <a:pt x="88" y="10"/>
                </a:lnTo>
                <a:lnTo>
                  <a:pt x="88" y="10"/>
                </a:lnTo>
                <a:lnTo>
                  <a:pt x="88" y="10"/>
                </a:lnTo>
                <a:lnTo>
                  <a:pt x="88" y="10"/>
                </a:lnTo>
                <a:lnTo>
                  <a:pt x="92" y="10"/>
                </a:lnTo>
                <a:lnTo>
                  <a:pt x="92" y="14"/>
                </a:lnTo>
                <a:lnTo>
                  <a:pt x="92" y="14"/>
                </a:lnTo>
                <a:lnTo>
                  <a:pt x="92" y="14"/>
                </a:lnTo>
                <a:lnTo>
                  <a:pt x="96" y="14"/>
                </a:lnTo>
                <a:lnTo>
                  <a:pt x="96" y="14"/>
                </a:lnTo>
                <a:lnTo>
                  <a:pt x="96" y="14"/>
                </a:lnTo>
                <a:lnTo>
                  <a:pt x="96" y="14"/>
                </a:lnTo>
                <a:lnTo>
                  <a:pt x="96" y="14"/>
                </a:lnTo>
                <a:lnTo>
                  <a:pt x="100" y="14"/>
                </a:lnTo>
                <a:lnTo>
                  <a:pt x="100" y="14"/>
                </a:lnTo>
                <a:lnTo>
                  <a:pt x="100" y="14"/>
                </a:lnTo>
                <a:lnTo>
                  <a:pt x="100" y="18"/>
                </a:lnTo>
                <a:lnTo>
                  <a:pt x="104" y="18"/>
                </a:lnTo>
                <a:lnTo>
                  <a:pt x="104" y="18"/>
                </a:lnTo>
                <a:lnTo>
                  <a:pt x="104" y="22"/>
                </a:lnTo>
                <a:lnTo>
                  <a:pt x="104" y="22"/>
                </a:lnTo>
                <a:lnTo>
                  <a:pt x="104" y="22"/>
                </a:lnTo>
                <a:lnTo>
                  <a:pt x="108" y="22"/>
                </a:lnTo>
                <a:lnTo>
                  <a:pt x="108" y="22"/>
                </a:lnTo>
                <a:lnTo>
                  <a:pt x="108" y="22"/>
                </a:lnTo>
                <a:lnTo>
                  <a:pt x="108" y="22"/>
                </a:lnTo>
                <a:lnTo>
                  <a:pt x="108" y="22"/>
                </a:lnTo>
                <a:lnTo>
                  <a:pt x="108" y="22"/>
                </a:lnTo>
                <a:lnTo>
                  <a:pt x="108" y="22"/>
                </a:lnTo>
                <a:lnTo>
                  <a:pt x="108" y="22"/>
                </a:lnTo>
                <a:lnTo>
                  <a:pt x="108" y="22"/>
                </a:lnTo>
                <a:lnTo>
                  <a:pt x="108" y="22"/>
                </a:lnTo>
                <a:lnTo>
                  <a:pt x="108" y="26"/>
                </a:lnTo>
                <a:lnTo>
                  <a:pt x="108" y="26"/>
                </a:lnTo>
                <a:lnTo>
                  <a:pt x="108" y="26"/>
                </a:lnTo>
                <a:lnTo>
                  <a:pt x="108" y="28"/>
                </a:lnTo>
                <a:lnTo>
                  <a:pt x="108" y="28"/>
                </a:lnTo>
                <a:lnTo>
                  <a:pt x="108" y="28"/>
                </a:lnTo>
                <a:lnTo>
                  <a:pt x="108" y="28"/>
                </a:lnTo>
                <a:lnTo>
                  <a:pt x="108" y="28"/>
                </a:lnTo>
                <a:lnTo>
                  <a:pt x="108" y="28"/>
                </a:lnTo>
                <a:lnTo>
                  <a:pt x="108" y="28"/>
                </a:lnTo>
                <a:lnTo>
                  <a:pt x="108" y="32"/>
                </a:lnTo>
                <a:lnTo>
                  <a:pt x="108" y="32"/>
                </a:lnTo>
                <a:lnTo>
                  <a:pt x="108" y="32"/>
                </a:lnTo>
                <a:lnTo>
                  <a:pt x="108" y="36"/>
                </a:lnTo>
                <a:lnTo>
                  <a:pt x="108" y="36"/>
                </a:lnTo>
                <a:lnTo>
                  <a:pt x="108" y="36"/>
                </a:lnTo>
                <a:lnTo>
                  <a:pt x="108" y="36"/>
                </a:lnTo>
                <a:lnTo>
                  <a:pt x="108" y="36"/>
                </a:lnTo>
                <a:lnTo>
                  <a:pt x="108" y="40"/>
                </a:lnTo>
                <a:lnTo>
                  <a:pt x="108" y="40"/>
                </a:lnTo>
                <a:lnTo>
                  <a:pt x="108" y="44"/>
                </a:lnTo>
                <a:lnTo>
                  <a:pt x="108" y="44"/>
                </a:lnTo>
                <a:lnTo>
                  <a:pt x="108" y="44"/>
                </a:lnTo>
                <a:lnTo>
                  <a:pt x="108" y="44"/>
                </a:lnTo>
                <a:lnTo>
                  <a:pt x="108" y="44"/>
                </a:lnTo>
                <a:lnTo>
                  <a:pt x="108" y="48"/>
                </a:lnTo>
                <a:lnTo>
                  <a:pt x="108" y="48"/>
                </a:lnTo>
                <a:lnTo>
                  <a:pt x="108" y="48"/>
                </a:lnTo>
                <a:lnTo>
                  <a:pt x="108" y="48"/>
                </a:lnTo>
                <a:lnTo>
                  <a:pt x="112" y="48"/>
                </a:lnTo>
                <a:lnTo>
                  <a:pt x="108" y="52"/>
                </a:lnTo>
                <a:lnTo>
                  <a:pt x="108" y="52"/>
                </a:lnTo>
                <a:lnTo>
                  <a:pt x="108" y="52"/>
                </a:lnTo>
                <a:lnTo>
                  <a:pt x="108" y="52"/>
                </a:lnTo>
                <a:lnTo>
                  <a:pt x="108" y="52"/>
                </a:lnTo>
                <a:lnTo>
                  <a:pt x="108" y="52"/>
                </a:lnTo>
                <a:lnTo>
                  <a:pt x="108" y="54"/>
                </a:lnTo>
                <a:lnTo>
                  <a:pt x="108" y="54"/>
                </a:lnTo>
                <a:lnTo>
                  <a:pt x="108" y="54"/>
                </a:lnTo>
                <a:lnTo>
                  <a:pt x="108" y="54"/>
                </a:lnTo>
                <a:lnTo>
                  <a:pt x="108" y="54"/>
                </a:lnTo>
                <a:lnTo>
                  <a:pt x="108" y="54"/>
                </a:lnTo>
                <a:lnTo>
                  <a:pt x="104" y="54"/>
                </a:lnTo>
                <a:lnTo>
                  <a:pt x="104" y="58"/>
                </a:lnTo>
                <a:lnTo>
                  <a:pt x="104" y="58"/>
                </a:lnTo>
                <a:lnTo>
                  <a:pt x="104" y="58"/>
                </a:lnTo>
                <a:lnTo>
                  <a:pt x="104" y="58"/>
                </a:lnTo>
                <a:lnTo>
                  <a:pt x="104" y="58"/>
                </a:lnTo>
                <a:lnTo>
                  <a:pt x="108" y="58"/>
                </a:lnTo>
                <a:lnTo>
                  <a:pt x="108" y="62"/>
                </a:lnTo>
                <a:lnTo>
                  <a:pt x="108" y="66"/>
                </a:lnTo>
                <a:lnTo>
                  <a:pt x="108" y="66"/>
                </a:lnTo>
                <a:lnTo>
                  <a:pt x="104" y="66"/>
                </a:lnTo>
                <a:lnTo>
                  <a:pt x="104" y="70"/>
                </a:lnTo>
                <a:lnTo>
                  <a:pt x="108" y="70"/>
                </a:lnTo>
                <a:lnTo>
                  <a:pt x="108" y="70"/>
                </a:lnTo>
                <a:lnTo>
                  <a:pt x="108" y="70"/>
                </a:lnTo>
                <a:lnTo>
                  <a:pt x="108" y="70"/>
                </a:lnTo>
                <a:lnTo>
                  <a:pt x="108" y="74"/>
                </a:lnTo>
                <a:lnTo>
                  <a:pt x="108" y="74"/>
                </a:lnTo>
                <a:lnTo>
                  <a:pt x="108" y="78"/>
                </a:lnTo>
                <a:lnTo>
                  <a:pt x="108" y="78"/>
                </a:lnTo>
                <a:lnTo>
                  <a:pt x="108" y="80"/>
                </a:lnTo>
                <a:lnTo>
                  <a:pt x="108" y="80"/>
                </a:lnTo>
                <a:lnTo>
                  <a:pt x="108" y="80"/>
                </a:lnTo>
                <a:lnTo>
                  <a:pt x="108" y="80"/>
                </a:lnTo>
                <a:lnTo>
                  <a:pt x="104" y="84"/>
                </a:lnTo>
                <a:lnTo>
                  <a:pt x="104" y="88"/>
                </a:lnTo>
                <a:lnTo>
                  <a:pt x="104" y="88"/>
                </a:lnTo>
                <a:lnTo>
                  <a:pt x="100" y="88"/>
                </a:lnTo>
                <a:lnTo>
                  <a:pt x="100" y="88"/>
                </a:lnTo>
                <a:lnTo>
                  <a:pt x="100" y="92"/>
                </a:lnTo>
                <a:lnTo>
                  <a:pt x="100" y="92"/>
                </a:lnTo>
                <a:lnTo>
                  <a:pt x="100" y="92"/>
                </a:lnTo>
                <a:lnTo>
                  <a:pt x="100" y="96"/>
                </a:lnTo>
                <a:lnTo>
                  <a:pt x="100" y="96"/>
                </a:lnTo>
                <a:lnTo>
                  <a:pt x="100" y="96"/>
                </a:lnTo>
                <a:lnTo>
                  <a:pt x="100" y="100"/>
                </a:lnTo>
                <a:lnTo>
                  <a:pt x="100" y="100"/>
                </a:lnTo>
                <a:lnTo>
                  <a:pt x="100" y="100"/>
                </a:lnTo>
                <a:lnTo>
                  <a:pt x="100" y="100"/>
                </a:lnTo>
                <a:lnTo>
                  <a:pt x="100" y="100"/>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71" name="Freeform 178"/>
          <p:cNvSpPr>
            <a:spLocks noEditPoints="1"/>
          </p:cNvSpPr>
          <p:nvPr/>
        </p:nvSpPr>
        <p:spPr bwMode="auto">
          <a:xfrm>
            <a:off x="3019425" y="4145755"/>
            <a:ext cx="333375" cy="766763"/>
          </a:xfrm>
          <a:custGeom>
            <a:avLst/>
            <a:gdLst>
              <a:gd name="T0" fmla="*/ 28 w 280"/>
              <a:gd name="T1" fmla="*/ 328 h 644"/>
              <a:gd name="T2" fmla="*/ 38 w 280"/>
              <a:gd name="T3" fmla="*/ 304 h 644"/>
              <a:gd name="T4" fmla="*/ 38 w 280"/>
              <a:gd name="T5" fmla="*/ 272 h 644"/>
              <a:gd name="T6" fmla="*/ 46 w 280"/>
              <a:gd name="T7" fmla="*/ 242 h 644"/>
              <a:gd name="T8" fmla="*/ 54 w 280"/>
              <a:gd name="T9" fmla="*/ 208 h 644"/>
              <a:gd name="T10" fmla="*/ 42 w 280"/>
              <a:gd name="T11" fmla="*/ 174 h 644"/>
              <a:gd name="T12" fmla="*/ 54 w 280"/>
              <a:gd name="T13" fmla="*/ 144 h 644"/>
              <a:gd name="T14" fmla="*/ 60 w 280"/>
              <a:gd name="T15" fmla="*/ 114 h 644"/>
              <a:gd name="T16" fmla="*/ 72 w 280"/>
              <a:gd name="T17" fmla="*/ 84 h 644"/>
              <a:gd name="T18" fmla="*/ 76 w 280"/>
              <a:gd name="T19" fmla="*/ 48 h 644"/>
              <a:gd name="T20" fmla="*/ 90 w 280"/>
              <a:gd name="T21" fmla="*/ 22 h 644"/>
              <a:gd name="T22" fmla="*/ 106 w 280"/>
              <a:gd name="T23" fmla="*/ 4 h 644"/>
              <a:gd name="T24" fmla="*/ 130 w 280"/>
              <a:gd name="T25" fmla="*/ 22 h 644"/>
              <a:gd name="T26" fmla="*/ 156 w 280"/>
              <a:gd name="T27" fmla="*/ 10 h 644"/>
              <a:gd name="T28" fmla="*/ 176 w 280"/>
              <a:gd name="T29" fmla="*/ 36 h 644"/>
              <a:gd name="T30" fmla="*/ 208 w 280"/>
              <a:gd name="T31" fmla="*/ 56 h 644"/>
              <a:gd name="T32" fmla="*/ 220 w 280"/>
              <a:gd name="T33" fmla="*/ 78 h 644"/>
              <a:gd name="T34" fmla="*/ 224 w 280"/>
              <a:gd name="T35" fmla="*/ 100 h 644"/>
              <a:gd name="T36" fmla="*/ 254 w 280"/>
              <a:gd name="T37" fmla="*/ 100 h 644"/>
              <a:gd name="T38" fmla="*/ 272 w 280"/>
              <a:gd name="T39" fmla="*/ 70 h 644"/>
              <a:gd name="T40" fmla="*/ 276 w 280"/>
              <a:gd name="T41" fmla="*/ 96 h 644"/>
              <a:gd name="T42" fmla="*/ 250 w 280"/>
              <a:gd name="T43" fmla="*/ 114 h 644"/>
              <a:gd name="T44" fmla="*/ 238 w 280"/>
              <a:gd name="T45" fmla="*/ 136 h 644"/>
              <a:gd name="T46" fmla="*/ 220 w 280"/>
              <a:gd name="T47" fmla="*/ 170 h 644"/>
              <a:gd name="T48" fmla="*/ 216 w 280"/>
              <a:gd name="T49" fmla="*/ 200 h 644"/>
              <a:gd name="T50" fmla="*/ 216 w 280"/>
              <a:gd name="T51" fmla="*/ 234 h 644"/>
              <a:gd name="T52" fmla="*/ 230 w 280"/>
              <a:gd name="T53" fmla="*/ 264 h 644"/>
              <a:gd name="T54" fmla="*/ 228 w 280"/>
              <a:gd name="T55" fmla="*/ 294 h 644"/>
              <a:gd name="T56" fmla="*/ 194 w 280"/>
              <a:gd name="T57" fmla="*/ 316 h 644"/>
              <a:gd name="T58" fmla="*/ 156 w 280"/>
              <a:gd name="T59" fmla="*/ 312 h 644"/>
              <a:gd name="T60" fmla="*/ 160 w 280"/>
              <a:gd name="T61" fmla="*/ 330 h 644"/>
              <a:gd name="T62" fmla="*/ 152 w 280"/>
              <a:gd name="T63" fmla="*/ 358 h 644"/>
              <a:gd name="T64" fmla="*/ 122 w 280"/>
              <a:gd name="T65" fmla="*/ 350 h 644"/>
              <a:gd name="T66" fmla="*/ 126 w 280"/>
              <a:gd name="T67" fmla="*/ 380 h 644"/>
              <a:gd name="T68" fmla="*/ 142 w 280"/>
              <a:gd name="T69" fmla="*/ 386 h 644"/>
              <a:gd name="T70" fmla="*/ 126 w 280"/>
              <a:gd name="T71" fmla="*/ 394 h 644"/>
              <a:gd name="T72" fmla="*/ 120 w 280"/>
              <a:gd name="T73" fmla="*/ 414 h 644"/>
              <a:gd name="T74" fmla="*/ 98 w 280"/>
              <a:gd name="T75" fmla="*/ 440 h 644"/>
              <a:gd name="T76" fmla="*/ 86 w 280"/>
              <a:gd name="T77" fmla="*/ 470 h 644"/>
              <a:gd name="T78" fmla="*/ 108 w 280"/>
              <a:gd name="T79" fmla="*/ 490 h 644"/>
              <a:gd name="T80" fmla="*/ 90 w 280"/>
              <a:gd name="T81" fmla="*/ 510 h 644"/>
              <a:gd name="T82" fmla="*/ 82 w 280"/>
              <a:gd name="T83" fmla="*/ 536 h 644"/>
              <a:gd name="T84" fmla="*/ 76 w 280"/>
              <a:gd name="T85" fmla="*/ 540 h 644"/>
              <a:gd name="T86" fmla="*/ 64 w 280"/>
              <a:gd name="T87" fmla="*/ 566 h 644"/>
              <a:gd name="T88" fmla="*/ 72 w 280"/>
              <a:gd name="T89" fmla="*/ 584 h 644"/>
              <a:gd name="T90" fmla="*/ 34 w 280"/>
              <a:gd name="T91" fmla="*/ 580 h 644"/>
              <a:gd name="T92" fmla="*/ 16 w 280"/>
              <a:gd name="T93" fmla="*/ 550 h 644"/>
              <a:gd name="T94" fmla="*/ 0 w 280"/>
              <a:gd name="T95" fmla="*/ 536 h 644"/>
              <a:gd name="T96" fmla="*/ 16 w 280"/>
              <a:gd name="T97" fmla="*/ 512 h 644"/>
              <a:gd name="T98" fmla="*/ 20 w 280"/>
              <a:gd name="T99" fmla="*/ 488 h 644"/>
              <a:gd name="T100" fmla="*/ 28 w 280"/>
              <a:gd name="T101" fmla="*/ 458 h 644"/>
              <a:gd name="T102" fmla="*/ 24 w 280"/>
              <a:gd name="T103" fmla="*/ 432 h 644"/>
              <a:gd name="T104" fmla="*/ 24 w 280"/>
              <a:gd name="T105" fmla="*/ 416 h 644"/>
              <a:gd name="T106" fmla="*/ 20 w 280"/>
              <a:gd name="T107" fmla="*/ 394 h 644"/>
              <a:gd name="T108" fmla="*/ 24 w 280"/>
              <a:gd name="T109" fmla="*/ 364 h 644"/>
              <a:gd name="T110" fmla="*/ 72 w 280"/>
              <a:gd name="T111" fmla="*/ 592 h 644"/>
              <a:gd name="T112" fmla="*/ 80 w 280"/>
              <a:gd name="T113" fmla="*/ 614 h 644"/>
              <a:gd name="T114" fmla="*/ 108 w 280"/>
              <a:gd name="T115" fmla="*/ 636 h 644"/>
              <a:gd name="T116" fmla="*/ 94 w 280"/>
              <a:gd name="T117" fmla="*/ 640 h 644"/>
              <a:gd name="T118" fmla="*/ 72 w 280"/>
              <a:gd name="T119" fmla="*/ 610 h 644"/>
              <a:gd name="T120" fmla="*/ 126 w 280"/>
              <a:gd name="T121" fmla="*/ 636 h 644"/>
              <a:gd name="T122" fmla="*/ 126 w 280"/>
              <a:gd name="T123" fmla="*/ 640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0" h="644">
                <a:moveTo>
                  <a:pt x="24" y="358"/>
                </a:moveTo>
                <a:lnTo>
                  <a:pt x="24" y="354"/>
                </a:lnTo>
                <a:lnTo>
                  <a:pt x="24" y="350"/>
                </a:lnTo>
                <a:lnTo>
                  <a:pt x="24" y="346"/>
                </a:lnTo>
                <a:lnTo>
                  <a:pt x="28" y="346"/>
                </a:lnTo>
                <a:lnTo>
                  <a:pt x="28" y="342"/>
                </a:lnTo>
                <a:lnTo>
                  <a:pt x="24" y="342"/>
                </a:lnTo>
                <a:lnTo>
                  <a:pt x="28" y="338"/>
                </a:lnTo>
                <a:lnTo>
                  <a:pt x="28" y="334"/>
                </a:lnTo>
                <a:lnTo>
                  <a:pt x="28" y="330"/>
                </a:lnTo>
                <a:lnTo>
                  <a:pt x="28" y="328"/>
                </a:lnTo>
                <a:lnTo>
                  <a:pt x="28" y="330"/>
                </a:lnTo>
                <a:lnTo>
                  <a:pt x="30" y="330"/>
                </a:lnTo>
                <a:lnTo>
                  <a:pt x="30" y="328"/>
                </a:lnTo>
                <a:lnTo>
                  <a:pt x="30" y="324"/>
                </a:lnTo>
                <a:lnTo>
                  <a:pt x="30" y="320"/>
                </a:lnTo>
                <a:lnTo>
                  <a:pt x="30" y="316"/>
                </a:lnTo>
                <a:lnTo>
                  <a:pt x="34" y="316"/>
                </a:lnTo>
                <a:lnTo>
                  <a:pt x="34" y="312"/>
                </a:lnTo>
                <a:lnTo>
                  <a:pt x="38" y="312"/>
                </a:lnTo>
                <a:lnTo>
                  <a:pt x="38" y="308"/>
                </a:lnTo>
                <a:lnTo>
                  <a:pt x="38" y="304"/>
                </a:lnTo>
                <a:lnTo>
                  <a:pt x="38" y="302"/>
                </a:lnTo>
                <a:lnTo>
                  <a:pt x="34" y="298"/>
                </a:lnTo>
                <a:lnTo>
                  <a:pt x="34" y="294"/>
                </a:lnTo>
                <a:lnTo>
                  <a:pt x="34" y="290"/>
                </a:lnTo>
                <a:lnTo>
                  <a:pt x="34" y="286"/>
                </a:lnTo>
                <a:lnTo>
                  <a:pt x="34" y="282"/>
                </a:lnTo>
                <a:lnTo>
                  <a:pt x="34" y="278"/>
                </a:lnTo>
                <a:lnTo>
                  <a:pt x="34" y="274"/>
                </a:lnTo>
                <a:lnTo>
                  <a:pt x="34" y="272"/>
                </a:lnTo>
                <a:lnTo>
                  <a:pt x="38" y="268"/>
                </a:lnTo>
                <a:lnTo>
                  <a:pt x="38" y="272"/>
                </a:lnTo>
                <a:lnTo>
                  <a:pt x="42" y="268"/>
                </a:lnTo>
                <a:lnTo>
                  <a:pt x="42" y="264"/>
                </a:lnTo>
                <a:lnTo>
                  <a:pt x="46" y="264"/>
                </a:lnTo>
                <a:lnTo>
                  <a:pt x="46" y="260"/>
                </a:lnTo>
                <a:lnTo>
                  <a:pt x="46" y="256"/>
                </a:lnTo>
                <a:lnTo>
                  <a:pt x="46" y="252"/>
                </a:lnTo>
                <a:lnTo>
                  <a:pt x="46" y="248"/>
                </a:lnTo>
                <a:lnTo>
                  <a:pt x="42" y="248"/>
                </a:lnTo>
                <a:lnTo>
                  <a:pt x="42" y="246"/>
                </a:lnTo>
                <a:lnTo>
                  <a:pt x="46" y="246"/>
                </a:lnTo>
                <a:lnTo>
                  <a:pt x="46" y="242"/>
                </a:lnTo>
                <a:lnTo>
                  <a:pt x="46" y="238"/>
                </a:lnTo>
                <a:lnTo>
                  <a:pt x="46" y="234"/>
                </a:lnTo>
                <a:lnTo>
                  <a:pt x="50" y="234"/>
                </a:lnTo>
                <a:lnTo>
                  <a:pt x="50" y="230"/>
                </a:lnTo>
                <a:lnTo>
                  <a:pt x="50" y="226"/>
                </a:lnTo>
                <a:lnTo>
                  <a:pt x="54" y="226"/>
                </a:lnTo>
                <a:lnTo>
                  <a:pt x="54" y="222"/>
                </a:lnTo>
                <a:lnTo>
                  <a:pt x="54" y="218"/>
                </a:lnTo>
                <a:lnTo>
                  <a:pt x="54" y="216"/>
                </a:lnTo>
                <a:lnTo>
                  <a:pt x="54" y="212"/>
                </a:lnTo>
                <a:lnTo>
                  <a:pt x="54" y="208"/>
                </a:lnTo>
                <a:lnTo>
                  <a:pt x="50" y="208"/>
                </a:lnTo>
                <a:lnTo>
                  <a:pt x="50" y="204"/>
                </a:lnTo>
                <a:lnTo>
                  <a:pt x="50" y="200"/>
                </a:lnTo>
                <a:lnTo>
                  <a:pt x="50" y="196"/>
                </a:lnTo>
                <a:lnTo>
                  <a:pt x="50" y="192"/>
                </a:lnTo>
                <a:lnTo>
                  <a:pt x="46" y="192"/>
                </a:lnTo>
                <a:lnTo>
                  <a:pt x="46" y="190"/>
                </a:lnTo>
                <a:lnTo>
                  <a:pt x="46" y="186"/>
                </a:lnTo>
                <a:lnTo>
                  <a:pt x="46" y="182"/>
                </a:lnTo>
                <a:lnTo>
                  <a:pt x="42" y="178"/>
                </a:lnTo>
                <a:lnTo>
                  <a:pt x="42" y="174"/>
                </a:lnTo>
                <a:lnTo>
                  <a:pt x="42" y="170"/>
                </a:lnTo>
                <a:lnTo>
                  <a:pt x="46" y="170"/>
                </a:lnTo>
                <a:lnTo>
                  <a:pt x="46" y="166"/>
                </a:lnTo>
                <a:lnTo>
                  <a:pt x="46" y="162"/>
                </a:lnTo>
                <a:lnTo>
                  <a:pt x="46" y="160"/>
                </a:lnTo>
                <a:lnTo>
                  <a:pt x="50" y="160"/>
                </a:lnTo>
                <a:lnTo>
                  <a:pt x="50" y="156"/>
                </a:lnTo>
                <a:lnTo>
                  <a:pt x="54" y="156"/>
                </a:lnTo>
                <a:lnTo>
                  <a:pt x="54" y="152"/>
                </a:lnTo>
                <a:lnTo>
                  <a:pt x="54" y="148"/>
                </a:lnTo>
                <a:lnTo>
                  <a:pt x="54" y="144"/>
                </a:lnTo>
                <a:lnTo>
                  <a:pt x="50" y="140"/>
                </a:lnTo>
                <a:lnTo>
                  <a:pt x="54" y="140"/>
                </a:lnTo>
                <a:lnTo>
                  <a:pt x="50" y="140"/>
                </a:lnTo>
                <a:lnTo>
                  <a:pt x="50" y="136"/>
                </a:lnTo>
                <a:lnTo>
                  <a:pt x="54" y="134"/>
                </a:lnTo>
                <a:lnTo>
                  <a:pt x="54" y="130"/>
                </a:lnTo>
                <a:lnTo>
                  <a:pt x="54" y="126"/>
                </a:lnTo>
                <a:lnTo>
                  <a:pt x="54" y="122"/>
                </a:lnTo>
                <a:lnTo>
                  <a:pt x="56" y="122"/>
                </a:lnTo>
                <a:lnTo>
                  <a:pt x="56" y="118"/>
                </a:lnTo>
                <a:lnTo>
                  <a:pt x="60" y="114"/>
                </a:lnTo>
                <a:lnTo>
                  <a:pt x="60" y="110"/>
                </a:lnTo>
                <a:lnTo>
                  <a:pt x="64" y="110"/>
                </a:lnTo>
                <a:lnTo>
                  <a:pt x="64" y="106"/>
                </a:lnTo>
                <a:lnTo>
                  <a:pt x="64" y="104"/>
                </a:lnTo>
                <a:lnTo>
                  <a:pt x="68" y="100"/>
                </a:lnTo>
                <a:lnTo>
                  <a:pt x="68" y="96"/>
                </a:lnTo>
                <a:lnTo>
                  <a:pt x="72" y="96"/>
                </a:lnTo>
                <a:lnTo>
                  <a:pt x="76" y="96"/>
                </a:lnTo>
                <a:lnTo>
                  <a:pt x="76" y="92"/>
                </a:lnTo>
                <a:lnTo>
                  <a:pt x="72" y="88"/>
                </a:lnTo>
                <a:lnTo>
                  <a:pt x="72" y="84"/>
                </a:lnTo>
                <a:lnTo>
                  <a:pt x="72" y="82"/>
                </a:lnTo>
                <a:lnTo>
                  <a:pt x="72" y="78"/>
                </a:lnTo>
                <a:lnTo>
                  <a:pt x="72" y="74"/>
                </a:lnTo>
                <a:lnTo>
                  <a:pt x="72" y="70"/>
                </a:lnTo>
                <a:lnTo>
                  <a:pt x="72" y="66"/>
                </a:lnTo>
                <a:lnTo>
                  <a:pt x="72" y="64"/>
                </a:lnTo>
                <a:lnTo>
                  <a:pt x="76" y="60"/>
                </a:lnTo>
                <a:lnTo>
                  <a:pt x="72" y="56"/>
                </a:lnTo>
                <a:lnTo>
                  <a:pt x="72" y="52"/>
                </a:lnTo>
                <a:lnTo>
                  <a:pt x="72" y="48"/>
                </a:lnTo>
                <a:lnTo>
                  <a:pt x="76" y="48"/>
                </a:lnTo>
                <a:lnTo>
                  <a:pt x="80" y="44"/>
                </a:lnTo>
                <a:lnTo>
                  <a:pt x="82" y="44"/>
                </a:lnTo>
                <a:lnTo>
                  <a:pt x="86" y="44"/>
                </a:lnTo>
                <a:lnTo>
                  <a:pt x="86" y="40"/>
                </a:lnTo>
                <a:lnTo>
                  <a:pt x="90" y="36"/>
                </a:lnTo>
                <a:lnTo>
                  <a:pt x="90" y="34"/>
                </a:lnTo>
                <a:lnTo>
                  <a:pt x="90" y="30"/>
                </a:lnTo>
                <a:lnTo>
                  <a:pt x="90" y="26"/>
                </a:lnTo>
                <a:lnTo>
                  <a:pt x="94" y="26"/>
                </a:lnTo>
                <a:lnTo>
                  <a:pt x="94" y="22"/>
                </a:lnTo>
                <a:lnTo>
                  <a:pt x="90" y="22"/>
                </a:lnTo>
                <a:lnTo>
                  <a:pt x="90" y="18"/>
                </a:lnTo>
                <a:lnTo>
                  <a:pt x="94" y="18"/>
                </a:lnTo>
                <a:lnTo>
                  <a:pt x="94" y="14"/>
                </a:lnTo>
                <a:lnTo>
                  <a:pt x="98" y="14"/>
                </a:lnTo>
                <a:lnTo>
                  <a:pt x="98" y="10"/>
                </a:lnTo>
                <a:lnTo>
                  <a:pt x="98" y="6"/>
                </a:lnTo>
                <a:lnTo>
                  <a:pt x="102" y="6"/>
                </a:lnTo>
                <a:lnTo>
                  <a:pt x="102" y="4"/>
                </a:lnTo>
                <a:lnTo>
                  <a:pt x="106" y="4"/>
                </a:lnTo>
                <a:lnTo>
                  <a:pt x="106" y="0"/>
                </a:lnTo>
                <a:lnTo>
                  <a:pt x="106" y="4"/>
                </a:lnTo>
                <a:lnTo>
                  <a:pt x="108" y="4"/>
                </a:lnTo>
                <a:lnTo>
                  <a:pt x="108" y="6"/>
                </a:lnTo>
                <a:lnTo>
                  <a:pt x="112" y="6"/>
                </a:lnTo>
                <a:lnTo>
                  <a:pt x="120" y="6"/>
                </a:lnTo>
                <a:lnTo>
                  <a:pt x="122" y="6"/>
                </a:lnTo>
                <a:lnTo>
                  <a:pt x="126" y="6"/>
                </a:lnTo>
                <a:lnTo>
                  <a:pt x="126" y="10"/>
                </a:lnTo>
                <a:lnTo>
                  <a:pt x="126" y="14"/>
                </a:lnTo>
                <a:lnTo>
                  <a:pt x="126" y="18"/>
                </a:lnTo>
                <a:lnTo>
                  <a:pt x="130" y="18"/>
                </a:lnTo>
                <a:lnTo>
                  <a:pt x="130" y="22"/>
                </a:lnTo>
                <a:lnTo>
                  <a:pt x="130" y="18"/>
                </a:lnTo>
                <a:lnTo>
                  <a:pt x="130" y="14"/>
                </a:lnTo>
                <a:lnTo>
                  <a:pt x="134" y="10"/>
                </a:lnTo>
                <a:lnTo>
                  <a:pt x="134" y="6"/>
                </a:lnTo>
                <a:lnTo>
                  <a:pt x="138" y="6"/>
                </a:lnTo>
                <a:lnTo>
                  <a:pt x="142" y="6"/>
                </a:lnTo>
                <a:lnTo>
                  <a:pt x="146" y="6"/>
                </a:lnTo>
                <a:lnTo>
                  <a:pt x="150" y="6"/>
                </a:lnTo>
                <a:lnTo>
                  <a:pt x="152" y="6"/>
                </a:lnTo>
                <a:lnTo>
                  <a:pt x="152" y="10"/>
                </a:lnTo>
                <a:lnTo>
                  <a:pt x="156" y="10"/>
                </a:lnTo>
                <a:lnTo>
                  <a:pt x="156" y="14"/>
                </a:lnTo>
                <a:lnTo>
                  <a:pt x="160" y="14"/>
                </a:lnTo>
                <a:lnTo>
                  <a:pt x="160" y="18"/>
                </a:lnTo>
                <a:lnTo>
                  <a:pt x="164" y="22"/>
                </a:lnTo>
                <a:lnTo>
                  <a:pt x="164" y="26"/>
                </a:lnTo>
                <a:lnTo>
                  <a:pt x="168" y="26"/>
                </a:lnTo>
                <a:lnTo>
                  <a:pt x="168" y="30"/>
                </a:lnTo>
                <a:lnTo>
                  <a:pt x="172" y="30"/>
                </a:lnTo>
                <a:lnTo>
                  <a:pt x="172" y="34"/>
                </a:lnTo>
                <a:lnTo>
                  <a:pt x="176" y="34"/>
                </a:lnTo>
                <a:lnTo>
                  <a:pt x="176" y="36"/>
                </a:lnTo>
                <a:lnTo>
                  <a:pt x="178" y="36"/>
                </a:lnTo>
                <a:lnTo>
                  <a:pt x="182" y="36"/>
                </a:lnTo>
                <a:lnTo>
                  <a:pt x="182" y="40"/>
                </a:lnTo>
                <a:lnTo>
                  <a:pt x="186" y="40"/>
                </a:lnTo>
                <a:lnTo>
                  <a:pt x="190" y="40"/>
                </a:lnTo>
                <a:lnTo>
                  <a:pt x="198" y="44"/>
                </a:lnTo>
                <a:lnTo>
                  <a:pt x="198" y="48"/>
                </a:lnTo>
                <a:lnTo>
                  <a:pt x="202" y="48"/>
                </a:lnTo>
                <a:lnTo>
                  <a:pt x="202" y="52"/>
                </a:lnTo>
                <a:lnTo>
                  <a:pt x="204" y="52"/>
                </a:lnTo>
                <a:lnTo>
                  <a:pt x="208" y="56"/>
                </a:lnTo>
                <a:lnTo>
                  <a:pt x="212" y="56"/>
                </a:lnTo>
                <a:lnTo>
                  <a:pt x="216" y="60"/>
                </a:lnTo>
                <a:lnTo>
                  <a:pt x="220" y="60"/>
                </a:lnTo>
                <a:lnTo>
                  <a:pt x="224" y="64"/>
                </a:lnTo>
                <a:lnTo>
                  <a:pt x="224" y="66"/>
                </a:lnTo>
                <a:lnTo>
                  <a:pt x="228" y="66"/>
                </a:lnTo>
                <a:lnTo>
                  <a:pt x="228" y="70"/>
                </a:lnTo>
                <a:lnTo>
                  <a:pt x="224" y="70"/>
                </a:lnTo>
                <a:lnTo>
                  <a:pt x="224" y="74"/>
                </a:lnTo>
                <a:lnTo>
                  <a:pt x="220" y="74"/>
                </a:lnTo>
                <a:lnTo>
                  <a:pt x="220" y="78"/>
                </a:lnTo>
                <a:lnTo>
                  <a:pt x="216" y="82"/>
                </a:lnTo>
                <a:lnTo>
                  <a:pt x="216" y="84"/>
                </a:lnTo>
                <a:lnTo>
                  <a:pt x="216" y="88"/>
                </a:lnTo>
                <a:lnTo>
                  <a:pt x="216" y="92"/>
                </a:lnTo>
                <a:lnTo>
                  <a:pt x="212" y="92"/>
                </a:lnTo>
                <a:lnTo>
                  <a:pt x="212" y="96"/>
                </a:lnTo>
                <a:lnTo>
                  <a:pt x="208" y="96"/>
                </a:lnTo>
                <a:lnTo>
                  <a:pt x="212" y="100"/>
                </a:lnTo>
                <a:lnTo>
                  <a:pt x="216" y="100"/>
                </a:lnTo>
                <a:lnTo>
                  <a:pt x="220" y="100"/>
                </a:lnTo>
                <a:lnTo>
                  <a:pt x="224" y="100"/>
                </a:lnTo>
                <a:lnTo>
                  <a:pt x="228" y="104"/>
                </a:lnTo>
                <a:lnTo>
                  <a:pt x="230" y="104"/>
                </a:lnTo>
                <a:lnTo>
                  <a:pt x="234" y="104"/>
                </a:lnTo>
                <a:lnTo>
                  <a:pt x="238" y="104"/>
                </a:lnTo>
                <a:lnTo>
                  <a:pt x="242" y="104"/>
                </a:lnTo>
                <a:lnTo>
                  <a:pt x="242" y="100"/>
                </a:lnTo>
                <a:lnTo>
                  <a:pt x="246" y="100"/>
                </a:lnTo>
                <a:lnTo>
                  <a:pt x="250" y="100"/>
                </a:lnTo>
                <a:lnTo>
                  <a:pt x="250" y="104"/>
                </a:lnTo>
                <a:lnTo>
                  <a:pt x="254" y="104"/>
                </a:lnTo>
                <a:lnTo>
                  <a:pt x="254" y="100"/>
                </a:lnTo>
                <a:lnTo>
                  <a:pt x="254" y="96"/>
                </a:lnTo>
                <a:lnTo>
                  <a:pt x="258" y="92"/>
                </a:lnTo>
                <a:lnTo>
                  <a:pt x="260" y="92"/>
                </a:lnTo>
                <a:lnTo>
                  <a:pt x="260" y="88"/>
                </a:lnTo>
                <a:lnTo>
                  <a:pt x="264" y="88"/>
                </a:lnTo>
                <a:lnTo>
                  <a:pt x="264" y="84"/>
                </a:lnTo>
                <a:lnTo>
                  <a:pt x="268" y="82"/>
                </a:lnTo>
                <a:lnTo>
                  <a:pt x="268" y="78"/>
                </a:lnTo>
                <a:lnTo>
                  <a:pt x="268" y="74"/>
                </a:lnTo>
                <a:lnTo>
                  <a:pt x="268" y="70"/>
                </a:lnTo>
                <a:lnTo>
                  <a:pt x="272" y="70"/>
                </a:lnTo>
                <a:lnTo>
                  <a:pt x="272" y="66"/>
                </a:lnTo>
                <a:lnTo>
                  <a:pt x="276" y="66"/>
                </a:lnTo>
                <a:lnTo>
                  <a:pt x="280" y="70"/>
                </a:lnTo>
                <a:lnTo>
                  <a:pt x="280" y="74"/>
                </a:lnTo>
                <a:lnTo>
                  <a:pt x="280" y="78"/>
                </a:lnTo>
                <a:lnTo>
                  <a:pt x="280" y="82"/>
                </a:lnTo>
                <a:lnTo>
                  <a:pt x="280" y="84"/>
                </a:lnTo>
                <a:lnTo>
                  <a:pt x="280" y="88"/>
                </a:lnTo>
                <a:lnTo>
                  <a:pt x="280" y="92"/>
                </a:lnTo>
                <a:lnTo>
                  <a:pt x="280" y="96"/>
                </a:lnTo>
                <a:lnTo>
                  <a:pt x="276" y="96"/>
                </a:lnTo>
                <a:lnTo>
                  <a:pt x="276" y="100"/>
                </a:lnTo>
                <a:lnTo>
                  <a:pt x="272" y="100"/>
                </a:lnTo>
                <a:lnTo>
                  <a:pt x="272" y="104"/>
                </a:lnTo>
                <a:lnTo>
                  <a:pt x="268" y="104"/>
                </a:lnTo>
                <a:lnTo>
                  <a:pt x="264" y="104"/>
                </a:lnTo>
                <a:lnTo>
                  <a:pt x="264" y="106"/>
                </a:lnTo>
                <a:lnTo>
                  <a:pt x="260" y="110"/>
                </a:lnTo>
                <a:lnTo>
                  <a:pt x="258" y="110"/>
                </a:lnTo>
                <a:lnTo>
                  <a:pt x="258" y="114"/>
                </a:lnTo>
                <a:lnTo>
                  <a:pt x="254" y="114"/>
                </a:lnTo>
                <a:lnTo>
                  <a:pt x="250" y="114"/>
                </a:lnTo>
                <a:lnTo>
                  <a:pt x="250" y="118"/>
                </a:lnTo>
                <a:lnTo>
                  <a:pt x="254" y="118"/>
                </a:lnTo>
                <a:lnTo>
                  <a:pt x="250" y="118"/>
                </a:lnTo>
                <a:lnTo>
                  <a:pt x="250" y="122"/>
                </a:lnTo>
                <a:lnTo>
                  <a:pt x="246" y="122"/>
                </a:lnTo>
                <a:lnTo>
                  <a:pt x="246" y="126"/>
                </a:lnTo>
                <a:lnTo>
                  <a:pt x="242" y="126"/>
                </a:lnTo>
                <a:lnTo>
                  <a:pt x="242" y="130"/>
                </a:lnTo>
                <a:lnTo>
                  <a:pt x="242" y="134"/>
                </a:lnTo>
                <a:lnTo>
                  <a:pt x="238" y="134"/>
                </a:lnTo>
                <a:lnTo>
                  <a:pt x="238" y="136"/>
                </a:lnTo>
                <a:lnTo>
                  <a:pt x="234" y="140"/>
                </a:lnTo>
                <a:lnTo>
                  <a:pt x="234" y="144"/>
                </a:lnTo>
                <a:lnTo>
                  <a:pt x="230" y="144"/>
                </a:lnTo>
                <a:lnTo>
                  <a:pt x="228" y="148"/>
                </a:lnTo>
                <a:lnTo>
                  <a:pt x="228" y="152"/>
                </a:lnTo>
                <a:lnTo>
                  <a:pt x="224" y="152"/>
                </a:lnTo>
                <a:lnTo>
                  <a:pt x="224" y="156"/>
                </a:lnTo>
                <a:lnTo>
                  <a:pt x="220" y="160"/>
                </a:lnTo>
                <a:lnTo>
                  <a:pt x="224" y="162"/>
                </a:lnTo>
                <a:lnTo>
                  <a:pt x="220" y="166"/>
                </a:lnTo>
                <a:lnTo>
                  <a:pt x="220" y="170"/>
                </a:lnTo>
                <a:lnTo>
                  <a:pt x="220" y="174"/>
                </a:lnTo>
                <a:lnTo>
                  <a:pt x="220" y="178"/>
                </a:lnTo>
                <a:lnTo>
                  <a:pt x="220" y="182"/>
                </a:lnTo>
                <a:lnTo>
                  <a:pt x="216" y="182"/>
                </a:lnTo>
                <a:lnTo>
                  <a:pt x="216" y="186"/>
                </a:lnTo>
                <a:lnTo>
                  <a:pt x="216" y="190"/>
                </a:lnTo>
                <a:lnTo>
                  <a:pt x="220" y="190"/>
                </a:lnTo>
                <a:lnTo>
                  <a:pt x="220" y="192"/>
                </a:lnTo>
                <a:lnTo>
                  <a:pt x="216" y="192"/>
                </a:lnTo>
                <a:lnTo>
                  <a:pt x="216" y="196"/>
                </a:lnTo>
                <a:lnTo>
                  <a:pt x="216" y="200"/>
                </a:lnTo>
                <a:lnTo>
                  <a:pt x="216" y="204"/>
                </a:lnTo>
                <a:lnTo>
                  <a:pt x="212" y="204"/>
                </a:lnTo>
                <a:lnTo>
                  <a:pt x="212" y="208"/>
                </a:lnTo>
                <a:lnTo>
                  <a:pt x="212" y="212"/>
                </a:lnTo>
                <a:lnTo>
                  <a:pt x="212" y="216"/>
                </a:lnTo>
                <a:lnTo>
                  <a:pt x="212" y="218"/>
                </a:lnTo>
                <a:lnTo>
                  <a:pt x="212" y="222"/>
                </a:lnTo>
                <a:lnTo>
                  <a:pt x="212" y="226"/>
                </a:lnTo>
                <a:lnTo>
                  <a:pt x="212" y="230"/>
                </a:lnTo>
                <a:lnTo>
                  <a:pt x="212" y="234"/>
                </a:lnTo>
                <a:lnTo>
                  <a:pt x="216" y="234"/>
                </a:lnTo>
                <a:lnTo>
                  <a:pt x="216" y="238"/>
                </a:lnTo>
                <a:lnTo>
                  <a:pt x="220" y="238"/>
                </a:lnTo>
                <a:lnTo>
                  <a:pt x="224" y="238"/>
                </a:lnTo>
                <a:lnTo>
                  <a:pt x="228" y="242"/>
                </a:lnTo>
                <a:lnTo>
                  <a:pt x="228" y="246"/>
                </a:lnTo>
                <a:lnTo>
                  <a:pt x="230" y="246"/>
                </a:lnTo>
                <a:lnTo>
                  <a:pt x="230" y="248"/>
                </a:lnTo>
                <a:lnTo>
                  <a:pt x="230" y="252"/>
                </a:lnTo>
                <a:lnTo>
                  <a:pt x="228" y="256"/>
                </a:lnTo>
                <a:lnTo>
                  <a:pt x="228" y="260"/>
                </a:lnTo>
                <a:lnTo>
                  <a:pt x="230" y="264"/>
                </a:lnTo>
                <a:lnTo>
                  <a:pt x="230" y="268"/>
                </a:lnTo>
                <a:lnTo>
                  <a:pt x="234" y="268"/>
                </a:lnTo>
                <a:lnTo>
                  <a:pt x="238" y="268"/>
                </a:lnTo>
                <a:lnTo>
                  <a:pt x="238" y="272"/>
                </a:lnTo>
                <a:lnTo>
                  <a:pt x="238" y="274"/>
                </a:lnTo>
                <a:lnTo>
                  <a:pt x="238" y="278"/>
                </a:lnTo>
                <a:lnTo>
                  <a:pt x="234" y="282"/>
                </a:lnTo>
                <a:lnTo>
                  <a:pt x="234" y="286"/>
                </a:lnTo>
                <a:lnTo>
                  <a:pt x="230" y="286"/>
                </a:lnTo>
                <a:lnTo>
                  <a:pt x="230" y="290"/>
                </a:lnTo>
                <a:lnTo>
                  <a:pt x="228" y="294"/>
                </a:lnTo>
                <a:lnTo>
                  <a:pt x="228" y="298"/>
                </a:lnTo>
                <a:lnTo>
                  <a:pt x="228" y="302"/>
                </a:lnTo>
                <a:lnTo>
                  <a:pt x="224" y="302"/>
                </a:lnTo>
                <a:lnTo>
                  <a:pt x="224" y="304"/>
                </a:lnTo>
                <a:lnTo>
                  <a:pt x="216" y="304"/>
                </a:lnTo>
                <a:lnTo>
                  <a:pt x="216" y="308"/>
                </a:lnTo>
                <a:lnTo>
                  <a:pt x="208" y="308"/>
                </a:lnTo>
                <a:lnTo>
                  <a:pt x="204" y="312"/>
                </a:lnTo>
                <a:lnTo>
                  <a:pt x="202" y="312"/>
                </a:lnTo>
                <a:lnTo>
                  <a:pt x="198" y="312"/>
                </a:lnTo>
                <a:lnTo>
                  <a:pt x="194" y="316"/>
                </a:lnTo>
                <a:lnTo>
                  <a:pt x="190" y="316"/>
                </a:lnTo>
                <a:lnTo>
                  <a:pt x="186" y="316"/>
                </a:lnTo>
                <a:lnTo>
                  <a:pt x="182" y="316"/>
                </a:lnTo>
                <a:lnTo>
                  <a:pt x="178" y="316"/>
                </a:lnTo>
                <a:lnTo>
                  <a:pt x="176" y="316"/>
                </a:lnTo>
                <a:lnTo>
                  <a:pt x="172" y="316"/>
                </a:lnTo>
                <a:lnTo>
                  <a:pt x="168" y="316"/>
                </a:lnTo>
                <a:lnTo>
                  <a:pt x="164" y="316"/>
                </a:lnTo>
                <a:lnTo>
                  <a:pt x="160" y="316"/>
                </a:lnTo>
                <a:lnTo>
                  <a:pt x="160" y="312"/>
                </a:lnTo>
                <a:lnTo>
                  <a:pt x="156" y="312"/>
                </a:lnTo>
                <a:lnTo>
                  <a:pt x="156" y="316"/>
                </a:lnTo>
                <a:lnTo>
                  <a:pt x="160" y="316"/>
                </a:lnTo>
                <a:lnTo>
                  <a:pt x="160" y="320"/>
                </a:lnTo>
                <a:lnTo>
                  <a:pt x="156" y="320"/>
                </a:lnTo>
                <a:lnTo>
                  <a:pt x="156" y="324"/>
                </a:lnTo>
                <a:lnTo>
                  <a:pt x="160" y="324"/>
                </a:lnTo>
                <a:lnTo>
                  <a:pt x="164" y="324"/>
                </a:lnTo>
                <a:lnTo>
                  <a:pt x="164" y="328"/>
                </a:lnTo>
                <a:lnTo>
                  <a:pt x="160" y="324"/>
                </a:lnTo>
                <a:lnTo>
                  <a:pt x="160" y="328"/>
                </a:lnTo>
                <a:lnTo>
                  <a:pt x="160" y="330"/>
                </a:lnTo>
                <a:lnTo>
                  <a:pt x="160" y="334"/>
                </a:lnTo>
                <a:lnTo>
                  <a:pt x="156" y="338"/>
                </a:lnTo>
                <a:lnTo>
                  <a:pt x="156" y="342"/>
                </a:lnTo>
                <a:lnTo>
                  <a:pt x="156" y="346"/>
                </a:lnTo>
                <a:lnTo>
                  <a:pt x="160" y="346"/>
                </a:lnTo>
                <a:lnTo>
                  <a:pt x="160" y="350"/>
                </a:lnTo>
                <a:lnTo>
                  <a:pt x="156" y="350"/>
                </a:lnTo>
                <a:lnTo>
                  <a:pt x="160" y="350"/>
                </a:lnTo>
                <a:lnTo>
                  <a:pt x="160" y="354"/>
                </a:lnTo>
                <a:lnTo>
                  <a:pt x="156" y="354"/>
                </a:lnTo>
                <a:lnTo>
                  <a:pt x="152" y="358"/>
                </a:lnTo>
                <a:lnTo>
                  <a:pt x="150" y="358"/>
                </a:lnTo>
                <a:lnTo>
                  <a:pt x="150" y="360"/>
                </a:lnTo>
                <a:lnTo>
                  <a:pt x="146" y="360"/>
                </a:lnTo>
                <a:lnTo>
                  <a:pt x="142" y="360"/>
                </a:lnTo>
                <a:lnTo>
                  <a:pt x="138" y="360"/>
                </a:lnTo>
                <a:lnTo>
                  <a:pt x="138" y="358"/>
                </a:lnTo>
                <a:lnTo>
                  <a:pt x="134" y="358"/>
                </a:lnTo>
                <a:lnTo>
                  <a:pt x="130" y="358"/>
                </a:lnTo>
                <a:lnTo>
                  <a:pt x="126" y="354"/>
                </a:lnTo>
                <a:lnTo>
                  <a:pt x="122" y="354"/>
                </a:lnTo>
                <a:lnTo>
                  <a:pt x="122" y="350"/>
                </a:lnTo>
                <a:lnTo>
                  <a:pt x="120" y="350"/>
                </a:lnTo>
                <a:lnTo>
                  <a:pt x="120" y="354"/>
                </a:lnTo>
                <a:lnTo>
                  <a:pt x="120" y="358"/>
                </a:lnTo>
                <a:lnTo>
                  <a:pt x="120" y="360"/>
                </a:lnTo>
                <a:lnTo>
                  <a:pt x="120" y="364"/>
                </a:lnTo>
                <a:lnTo>
                  <a:pt x="120" y="368"/>
                </a:lnTo>
                <a:lnTo>
                  <a:pt x="120" y="372"/>
                </a:lnTo>
                <a:lnTo>
                  <a:pt x="120" y="376"/>
                </a:lnTo>
                <a:lnTo>
                  <a:pt x="120" y="380"/>
                </a:lnTo>
                <a:lnTo>
                  <a:pt x="122" y="380"/>
                </a:lnTo>
                <a:lnTo>
                  <a:pt x="126" y="380"/>
                </a:lnTo>
                <a:lnTo>
                  <a:pt x="126" y="384"/>
                </a:lnTo>
                <a:lnTo>
                  <a:pt x="134" y="384"/>
                </a:lnTo>
                <a:lnTo>
                  <a:pt x="134" y="380"/>
                </a:lnTo>
                <a:lnTo>
                  <a:pt x="130" y="380"/>
                </a:lnTo>
                <a:lnTo>
                  <a:pt x="134" y="380"/>
                </a:lnTo>
                <a:lnTo>
                  <a:pt x="138" y="380"/>
                </a:lnTo>
                <a:lnTo>
                  <a:pt x="138" y="376"/>
                </a:lnTo>
                <a:lnTo>
                  <a:pt x="138" y="380"/>
                </a:lnTo>
                <a:lnTo>
                  <a:pt x="142" y="380"/>
                </a:lnTo>
                <a:lnTo>
                  <a:pt x="142" y="384"/>
                </a:lnTo>
                <a:lnTo>
                  <a:pt x="142" y="386"/>
                </a:lnTo>
                <a:lnTo>
                  <a:pt x="142" y="390"/>
                </a:lnTo>
                <a:lnTo>
                  <a:pt x="138" y="390"/>
                </a:lnTo>
                <a:lnTo>
                  <a:pt x="134" y="394"/>
                </a:lnTo>
                <a:lnTo>
                  <a:pt x="130" y="390"/>
                </a:lnTo>
                <a:lnTo>
                  <a:pt x="130" y="386"/>
                </a:lnTo>
                <a:lnTo>
                  <a:pt x="126" y="386"/>
                </a:lnTo>
                <a:lnTo>
                  <a:pt x="122" y="386"/>
                </a:lnTo>
                <a:lnTo>
                  <a:pt x="120" y="390"/>
                </a:lnTo>
                <a:lnTo>
                  <a:pt x="122" y="390"/>
                </a:lnTo>
                <a:lnTo>
                  <a:pt x="122" y="394"/>
                </a:lnTo>
                <a:lnTo>
                  <a:pt x="126" y="394"/>
                </a:lnTo>
                <a:lnTo>
                  <a:pt x="130" y="394"/>
                </a:lnTo>
                <a:lnTo>
                  <a:pt x="130" y="398"/>
                </a:lnTo>
                <a:lnTo>
                  <a:pt x="126" y="398"/>
                </a:lnTo>
                <a:lnTo>
                  <a:pt x="122" y="398"/>
                </a:lnTo>
                <a:lnTo>
                  <a:pt x="122" y="402"/>
                </a:lnTo>
                <a:lnTo>
                  <a:pt x="120" y="402"/>
                </a:lnTo>
                <a:lnTo>
                  <a:pt x="120" y="406"/>
                </a:lnTo>
                <a:lnTo>
                  <a:pt x="116" y="406"/>
                </a:lnTo>
                <a:lnTo>
                  <a:pt x="116" y="410"/>
                </a:lnTo>
                <a:lnTo>
                  <a:pt x="116" y="414"/>
                </a:lnTo>
                <a:lnTo>
                  <a:pt x="120" y="414"/>
                </a:lnTo>
                <a:lnTo>
                  <a:pt x="116" y="416"/>
                </a:lnTo>
                <a:lnTo>
                  <a:pt x="116" y="420"/>
                </a:lnTo>
                <a:lnTo>
                  <a:pt x="116" y="424"/>
                </a:lnTo>
                <a:lnTo>
                  <a:pt x="112" y="428"/>
                </a:lnTo>
                <a:lnTo>
                  <a:pt x="112" y="432"/>
                </a:lnTo>
                <a:lnTo>
                  <a:pt x="112" y="436"/>
                </a:lnTo>
                <a:lnTo>
                  <a:pt x="108" y="436"/>
                </a:lnTo>
                <a:lnTo>
                  <a:pt x="106" y="436"/>
                </a:lnTo>
                <a:lnTo>
                  <a:pt x="102" y="436"/>
                </a:lnTo>
                <a:lnTo>
                  <a:pt x="102" y="440"/>
                </a:lnTo>
                <a:lnTo>
                  <a:pt x="98" y="440"/>
                </a:lnTo>
                <a:lnTo>
                  <a:pt x="94" y="440"/>
                </a:lnTo>
                <a:lnTo>
                  <a:pt x="94" y="442"/>
                </a:lnTo>
                <a:lnTo>
                  <a:pt x="90" y="442"/>
                </a:lnTo>
                <a:lnTo>
                  <a:pt x="90" y="446"/>
                </a:lnTo>
                <a:lnTo>
                  <a:pt x="86" y="446"/>
                </a:lnTo>
                <a:lnTo>
                  <a:pt x="86" y="450"/>
                </a:lnTo>
                <a:lnTo>
                  <a:pt x="86" y="454"/>
                </a:lnTo>
                <a:lnTo>
                  <a:pt x="82" y="458"/>
                </a:lnTo>
                <a:lnTo>
                  <a:pt x="86" y="462"/>
                </a:lnTo>
                <a:lnTo>
                  <a:pt x="86" y="466"/>
                </a:lnTo>
                <a:lnTo>
                  <a:pt x="86" y="470"/>
                </a:lnTo>
                <a:lnTo>
                  <a:pt x="90" y="470"/>
                </a:lnTo>
                <a:lnTo>
                  <a:pt x="94" y="472"/>
                </a:lnTo>
                <a:lnTo>
                  <a:pt x="94" y="476"/>
                </a:lnTo>
                <a:lnTo>
                  <a:pt x="98" y="476"/>
                </a:lnTo>
                <a:lnTo>
                  <a:pt x="102" y="476"/>
                </a:lnTo>
                <a:lnTo>
                  <a:pt x="106" y="476"/>
                </a:lnTo>
                <a:lnTo>
                  <a:pt x="108" y="476"/>
                </a:lnTo>
                <a:lnTo>
                  <a:pt x="108" y="480"/>
                </a:lnTo>
                <a:lnTo>
                  <a:pt x="112" y="484"/>
                </a:lnTo>
                <a:lnTo>
                  <a:pt x="108" y="488"/>
                </a:lnTo>
                <a:lnTo>
                  <a:pt x="108" y="490"/>
                </a:lnTo>
                <a:lnTo>
                  <a:pt x="106" y="490"/>
                </a:lnTo>
                <a:lnTo>
                  <a:pt x="108" y="490"/>
                </a:lnTo>
                <a:lnTo>
                  <a:pt x="108" y="494"/>
                </a:lnTo>
                <a:lnTo>
                  <a:pt x="108" y="498"/>
                </a:lnTo>
                <a:lnTo>
                  <a:pt x="106" y="498"/>
                </a:lnTo>
                <a:lnTo>
                  <a:pt x="102" y="502"/>
                </a:lnTo>
                <a:lnTo>
                  <a:pt x="98" y="502"/>
                </a:lnTo>
                <a:lnTo>
                  <a:pt x="98" y="506"/>
                </a:lnTo>
                <a:lnTo>
                  <a:pt x="94" y="506"/>
                </a:lnTo>
                <a:lnTo>
                  <a:pt x="94" y="510"/>
                </a:lnTo>
                <a:lnTo>
                  <a:pt x="90" y="510"/>
                </a:lnTo>
                <a:lnTo>
                  <a:pt x="90" y="512"/>
                </a:lnTo>
                <a:lnTo>
                  <a:pt x="86" y="512"/>
                </a:lnTo>
                <a:lnTo>
                  <a:pt x="86" y="516"/>
                </a:lnTo>
                <a:lnTo>
                  <a:pt x="82" y="516"/>
                </a:lnTo>
                <a:lnTo>
                  <a:pt x="82" y="520"/>
                </a:lnTo>
                <a:lnTo>
                  <a:pt x="82" y="524"/>
                </a:lnTo>
                <a:lnTo>
                  <a:pt x="82" y="520"/>
                </a:lnTo>
                <a:lnTo>
                  <a:pt x="82" y="524"/>
                </a:lnTo>
                <a:lnTo>
                  <a:pt x="82" y="528"/>
                </a:lnTo>
                <a:lnTo>
                  <a:pt x="82" y="532"/>
                </a:lnTo>
                <a:lnTo>
                  <a:pt x="82" y="536"/>
                </a:lnTo>
                <a:lnTo>
                  <a:pt x="80" y="536"/>
                </a:lnTo>
                <a:lnTo>
                  <a:pt x="80" y="540"/>
                </a:lnTo>
                <a:lnTo>
                  <a:pt x="76" y="540"/>
                </a:lnTo>
                <a:lnTo>
                  <a:pt x="72" y="540"/>
                </a:lnTo>
                <a:lnTo>
                  <a:pt x="72" y="536"/>
                </a:lnTo>
                <a:lnTo>
                  <a:pt x="68" y="536"/>
                </a:lnTo>
                <a:lnTo>
                  <a:pt x="64" y="536"/>
                </a:lnTo>
                <a:lnTo>
                  <a:pt x="68" y="536"/>
                </a:lnTo>
                <a:lnTo>
                  <a:pt x="72" y="536"/>
                </a:lnTo>
                <a:lnTo>
                  <a:pt x="72" y="540"/>
                </a:lnTo>
                <a:lnTo>
                  <a:pt x="76" y="540"/>
                </a:lnTo>
                <a:lnTo>
                  <a:pt x="72" y="540"/>
                </a:lnTo>
                <a:lnTo>
                  <a:pt x="72" y="542"/>
                </a:lnTo>
                <a:lnTo>
                  <a:pt x="68" y="542"/>
                </a:lnTo>
                <a:lnTo>
                  <a:pt x="64" y="542"/>
                </a:lnTo>
                <a:lnTo>
                  <a:pt x="64" y="546"/>
                </a:lnTo>
                <a:lnTo>
                  <a:pt x="64" y="550"/>
                </a:lnTo>
                <a:lnTo>
                  <a:pt x="64" y="554"/>
                </a:lnTo>
                <a:lnTo>
                  <a:pt x="60" y="558"/>
                </a:lnTo>
                <a:lnTo>
                  <a:pt x="64" y="558"/>
                </a:lnTo>
                <a:lnTo>
                  <a:pt x="64" y="562"/>
                </a:lnTo>
                <a:lnTo>
                  <a:pt x="64" y="566"/>
                </a:lnTo>
                <a:lnTo>
                  <a:pt x="64" y="568"/>
                </a:lnTo>
                <a:lnTo>
                  <a:pt x="60" y="568"/>
                </a:lnTo>
                <a:lnTo>
                  <a:pt x="56" y="568"/>
                </a:lnTo>
                <a:lnTo>
                  <a:pt x="60" y="568"/>
                </a:lnTo>
                <a:lnTo>
                  <a:pt x="64" y="568"/>
                </a:lnTo>
                <a:lnTo>
                  <a:pt x="64" y="572"/>
                </a:lnTo>
                <a:lnTo>
                  <a:pt x="68" y="572"/>
                </a:lnTo>
                <a:lnTo>
                  <a:pt x="68" y="576"/>
                </a:lnTo>
                <a:lnTo>
                  <a:pt x="68" y="580"/>
                </a:lnTo>
                <a:lnTo>
                  <a:pt x="72" y="580"/>
                </a:lnTo>
                <a:lnTo>
                  <a:pt x="72" y="584"/>
                </a:lnTo>
                <a:lnTo>
                  <a:pt x="72" y="588"/>
                </a:lnTo>
                <a:lnTo>
                  <a:pt x="72" y="584"/>
                </a:lnTo>
                <a:lnTo>
                  <a:pt x="68" y="584"/>
                </a:lnTo>
                <a:lnTo>
                  <a:pt x="64" y="584"/>
                </a:lnTo>
                <a:lnTo>
                  <a:pt x="60" y="580"/>
                </a:lnTo>
                <a:lnTo>
                  <a:pt x="56" y="580"/>
                </a:lnTo>
                <a:lnTo>
                  <a:pt x="54" y="580"/>
                </a:lnTo>
                <a:lnTo>
                  <a:pt x="50" y="580"/>
                </a:lnTo>
                <a:lnTo>
                  <a:pt x="46" y="580"/>
                </a:lnTo>
                <a:lnTo>
                  <a:pt x="42" y="580"/>
                </a:lnTo>
                <a:lnTo>
                  <a:pt x="34" y="580"/>
                </a:lnTo>
                <a:lnTo>
                  <a:pt x="28" y="580"/>
                </a:lnTo>
                <a:lnTo>
                  <a:pt x="24" y="576"/>
                </a:lnTo>
                <a:lnTo>
                  <a:pt x="20" y="572"/>
                </a:lnTo>
                <a:lnTo>
                  <a:pt x="16" y="568"/>
                </a:lnTo>
                <a:lnTo>
                  <a:pt x="20" y="566"/>
                </a:lnTo>
                <a:lnTo>
                  <a:pt x="20" y="562"/>
                </a:lnTo>
                <a:lnTo>
                  <a:pt x="16" y="562"/>
                </a:lnTo>
                <a:lnTo>
                  <a:pt x="16" y="558"/>
                </a:lnTo>
                <a:lnTo>
                  <a:pt x="20" y="558"/>
                </a:lnTo>
                <a:lnTo>
                  <a:pt x="20" y="554"/>
                </a:lnTo>
                <a:lnTo>
                  <a:pt x="16" y="550"/>
                </a:lnTo>
                <a:lnTo>
                  <a:pt x="20" y="550"/>
                </a:lnTo>
                <a:lnTo>
                  <a:pt x="16" y="550"/>
                </a:lnTo>
                <a:lnTo>
                  <a:pt x="12" y="550"/>
                </a:lnTo>
                <a:lnTo>
                  <a:pt x="8" y="550"/>
                </a:lnTo>
                <a:lnTo>
                  <a:pt x="8" y="554"/>
                </a:lnTo>
                <a:lnTo>
                  <a:pt x="4" y="554"/>
                </a:lnTo>
                <a:lnTo>
                  <a:pt x="4" y="550"/>
                </a:lnTo>
                <a:lnTo>
                  <a:pt x="4" y="546"/>
                </a:lnTo>
                <a:lnTo>
                  <a:pt x="4" y="542"/>
                </a:lnTo>
                <a:lnTo>
                  <a:pt x="0" y="540"/>
                </a:lnTo>
                <a:lnTo>
                  <a:pt x="0" y="536"/>
                </a:lnTo>
                <a:lnTo>
                  <a:pt x="0" y="532"/>
                </a:lnTo>
                <a:lnTo>
                  <a:pt x="0" y="528"/>
                </a:lnTo>
                <a:lnTo>
                  <a:pt x="0" y="524"/>
                </a:lnTo>
                <a:lnTo>
                  <a:pt x="0" y="520"/>
                </a:lnTo>
                <a:lnTo>
                  <a:pt x="4" y="520"/>
                </a:lnTo>
                <a:lnTo>
                  <a:pt x="8" y="520"/>
                </a:lnTo>
                <a:lnTo>
                  <a:pt x="4" y="520"/>
                </a:lnTo>
                <a:lnTo>
                  <a:pt x="8" y="516"/>
                </a:lnTo>
                <a:lnTo>
                  <a:pt x="8" y="512"/>
                </a:lnTo>
                <a:lnTo>
                  <a:pt x="12" y="512"/>
                </a:lnTo>
                <a:lnTo>
                  <a:pt x="16" y="512"/>
                </a:lnTo>
                <a:lnTo>
                  <a:pt x="16" y="510"/>
                </a:lnTo>
                <a:lnTo>
                  <a:pt x="16" y="506"/>
                </a:lnTo>
                <a:lnTo>
                  <a:pt x="12" y="506"/>
                </a:lnTo>
                <a:lnTo>
                  <a:pt x="16" y="506"/>
                </a:lnTo>
                <a:lnTo>
                  <a:pt x="16" y="502"/>
                </a:lnTo>
                <a:lnTo>
                  <a:pt x="20" y="502"/>
                </a:lnTo>
                <a:lnTo>
                  <a:pt x="20" y="498"/>
                </a:lnTo>
                <a:lnTo>
                  <a:pt x="16" y="494"/>
                </a:lnTo>
                <a:lnTo>
                  <a:pt x="16" y="490"/>
                </a:lnTo>
                <a:lnTo>
                  <a:pt x="16" y="488"/>
                </a:lnTo>
                <a:lnTo>
                  <a:pt x="20" y="488"/>
                </a:lnTo>
                <a:lnTo>
                  <a:pt x="16" y="484"/>
                </a:lnTo>
                <a:lnTo>
                  <a:pt x="20" y="484"/>
                </a:lnTo>
                <a:lnTo>
                  <a:pt x="24" y="480"/>
                </a:lnTo>
                <a:lnTo>
                  <a:pt x="24" y="476"/>
                </a:lnTo>
                <a:lnTo>
                  <a:pt x="24" y="472"/>
                </a:lnTo>
                <a:lnTo>
                  <a:pt x="28" y="470"/>
                </a:lnTo>
                <a:lnTo>
                  <a:pt x="28" y="466"/>
                </a:lnTo>
                <a:lnTo>
                  <a:pt x="28" y="462"/>
                </a:lnTo>
                <a:lnTo>
                  <a:pt x="28" y="458"/>
                </a:lnTo>
                <a:lnTo>
                  <a:pt x="24" y="458"/>
                </a:lnTo>
                <a:lnTo>
                  <a:pt x="28" y="458"/>
                </a:lnTo>
                <a:lnTo>
                  <a:pt x="28" y="454"/>
                </a:lnTo>
                <a:lnTo>
                  <a:pt x="28" y="450"/>
                </a:lnTo>
                <a:lnTo>
                  <a:pt x="28" y="446"/>
                </a:lnTo>
                <a:lnTo>
                  <a:pt x="30" y="442"/>
                </a:lnTo>
                <a:lnTo>
                  <a:pt x="30" y="440"/>
                </a:lnTo>
                <a:lnTo>
                  <a:pt x="30" y="436"/>
                </a:lnTo>
                <a:lnTo>
                  <a:pt x="28" y="436"/>
                </a:lnTo>
                <a:lnTo>
                  <a:pt x="24" y="436"/>
                </a:lnTo>
                <a:lnTo>
                  <a:pt x="24" y="432"/>
                </a:lnTo>
                <a:lnTo>
                  <a:pt x="20" y="432"/>
                </a:lnTo>
                <a:lnTo>
                  <a:pt x="24" y="432"/>
                </a:lnTo>
                <a:lnTo>
                  <a:pt x="28" y="432"/>
                </a:lnTo>
                <a:lnTo>
                  <a:pt x="30" y="432"/>
                </a:lnTo>
                <a:lnTo>
                  <a:pt x="34" y="432"/>
                </a:lnTo>
                <a:lnTo>
                  <a:pt x="34" y="428"/>
                </a:lnTo>
                <a:lnTo>
                  <a:pt x="34" y="424"/>
                </a:lnTo>
                <a:lnTo>
                  <a:pt x="30" y="424"/>
                </a:lnTo>
                <a:lnTo>
                  <a:pt x="28" y="424"/>
                </a:lnTo>
                <a:lnTo>
                  <a:pt x="24" y="424"/>
                </a:lnTo>
                <a:lnTo>
                  <a:pt x="24" y="420"/>
                </a:lnTo>
                <a:lnTo>
                  <a:pt x="28" y="420"/>
                </a:lnTo>
                <a:lnTo>
                  <a:pt x="24" y="416"/>
                </a:lnTo>
                <a:lnTo>
                  <a:pt x="28" y="416"/>
                </a:lnTo>
                <a:lnTo>
                  <a:pt x="28" y="414"/>
                </a:lnTo>
                <a:lnTo>
                  <a:pt x="28" y="410"/>
                </a:lnTo>
                <a:lnTo>
                  <a:pt x="28" y="406"/>
                </a:lnTo>
                <a:lnTo>
                  <a:pt x="24" y="406"/>
                </a:lnTo>
                <a:lnTo>
                  <a:pt x="24" y="402"/>
                </a:lnTo>
                <a:lnTo>
                  <a:pt x="28" y="402"/>
                </a:lnTo>
                <a:lnTo>
                  <a:pt x="28" y="398"/>
                </a:lnTo>
                <a:lnTo>
                  <a:pt x="24" y="398"/>
                </a:lnTo>
                <a:lnTo>
                  <a:pt x="20" y="398"/>
                </a:lnTo>
                <a:lnTo>
                  <a:pt x="20" y="394"/>
                </a:lnTo>
                <a:lnTo>
                  <a:pt x="20" y="390"/>
                </a:lnTo>
                <a:lnTo>
                  <a:pt x="20" y="386"/>
                </a:lnTo>
                <a:lnTo>
                  <a:pt x="24" y="384"/>
                </a:lnTo>
                <a:lnTo>
                  <a:pt x="20" y="384"/>
                </a:lnTo>
                <a:lnTo>
                  <a:pt x="24" y="380"/>
                </a:lnTo>
                <a:lnTo>
                  <a:pt x="28" y="380"/>
                </a:lnTo>
                <a:lnTo>
                  <a:pt x="28" y="376"/>
                </a:lnTo>
                <a:lnTo>
                  <a:pt x="28" y="372"/>
                </a:lnTo>
                <a:lnTo>
                  <a:pt x="24" y="372"/>
                </a:lnTo>
                <a:lnTo>
                  <a:pt x="24" y="368"/>
                </a:lnTo>
                <a:lnTo>
                  <a:pt x="24" y="364"/>
                </a:lnTo>
                <a:lnTo>
                  <a:pt x="24" y="360"/>
                </a:lnTo>
                <a:lnTo>
                  <a:pt x="24" y="358"/>
                </a:lnTo>
                <a:lnTo>
                  <a:pt x="24" y="358"/>
                </a:lnTo>
                <a:lnTo>
                  <a:pt x="24" y="358"/>
                </a:lnTo>
                <a:close/>
                <a:moveTo>
                  <a:pt x="164" y="324"/>
                </a:moveTo>
                <a:lnTo>
                  <a:pt x="160" y="320"/>
                </a:lnTo>
                <a:lnTo>
                  <a:pt x="164" y="320"/>
                </a:lnTo>
                <a:lnTo>
                  <a:pt x="164" y="324"/>
                </a:lnTo>
                <a:lnTo>
                  <a:pt x="164" y="324"/>
                </a:lnTo>
                <a:lnTo>
                  <a:pt x="164" y="324"/>
                </a:lnTo>
                <a:close/>
                <a:moveTo>
                  <a:pt x="72" y="592"/>
                </a:moveTo>
                <a:lnTo>
                  <a:pt x="72" y="596"/>
                </a:lnTo>
                <a:lnTo>
                  <a:pt x="76" y="598"/>
                </a:lnTo>
                <a:lnTo>
                  <a:pt x="76" y="602"/>
                </a:lnTo>
                <a:lnTo>
                  <a:pt x="76" y="598"/>
                </a:lnTo>
                <a:lnTo>
                  <a:pt x="72" y="598"/>
                </a:lnTo>
                <a:lnTo>
                  <a:pt x="72" y="602"/>
                </a:lnTo>
                <a:lnTo>
                  <a:pt x="72" y="606"/>
                </a:lnTo>
                <a:lnTo>
                  <a:pt x="76" y="606"/>
                </a:lnTo>
                <a:lnTo>
                  <a:pt x="80" y="606"/>
                </a:lnTo>
                <a:lnTo>
                  <a:pt x="80" y="610"/>
                </a:lnTo>
                <a:lnTo>
                  <a:pt x="80" y="614"/>
                </a:lnTo>
                <a:lnTo>
                  <a:pt x="82" y="614"/>
                </a:lnTo>
                <a:lnTo>
                  <a:pt x="82" y="618"/>
                </a:lnTo>
                <a:lnTo>
                  <a:pt x="86" y="618"/>
                </a:lnTo>
                <a:lnTo>
                  <a:pt x="86" y="622"/>
                </a:lnTo>
                <a:lnTo>
                  <a:pt x="90" y="622"/>
                </a:lnTo>
                <a:lnTo>
                  <a:pt x="94" y="626"/>
                </a:lnTo>
                <a:lnTo>
                  <a:pt x="98" y="626"/>
                </a:lnTo>
                <a:lnTo>
                  <a:pt x="98" y="628"/>
                </a:lnTo>
                <a:lnTo>
                  <a:pt x="102" y="632"/>
                </a:lnTo>
                <a:lnTo>
                  <a:pt x="106" y="632"/>
                </a:lnTo>
                <a:lnTo>
                  <a:pt x="108" y="636"/>
                </a:lnTo>
                <a:lnTo>
                  <a:pt x="112" y="636"/>
                </a:lnTo>
                <a:lnTo>
                  <a:pt x="116" y="636"/>
                </a:lnTo>
                <a:lnTo>
                  <a:pt x="120" y="636"/>
                </a:lnTo>
                <a:lnTo>
                  <a:pt x="116" y="640"/>
                </a:lnTo>
                <a:lnTo>
                  <a:pt x="112" y="640"/>
                </a:lnTo>
                <a:lnTo>
                  <a:pt x="108" y="640"/>
                </a:lnTo>
                <a:lnTo>
                  <a:pt x="106" y="644"/>
                </a:lnTo>
                <a:lnTo>
                  <a:pt x="102" y="644"/>
                </a:lnTo>
                <a:lnTo>
                  <a:pt x="98" y="644"/>
                </a:lnTo>
                <a:lnTo>
                  <a:pt x="98" y="640"/>
                </a:lnTo>
                <a:lnTo>
                  <a:pt x="94" y="640"/>
                </a:lnTo>
                <a:lnTo>
                  <a:pt x="90" y="640"/>
                </a:lnTo>
                <a:lnTo>
                  <a:pt x="86" y="640"/>
                </a:lnTo>
                <a:lnTo>
                  <a:pt x="82" y="640"/>
                </a:lnTo>
                <a:lnTo>
                  <a:pt x="80" y="640"/>
                </a:lnTo>
                <a:lnTo>
                  <a:pt x="76" y="640"/>
                </a:lnTo>
                <a:lnTo>
                  <a:pt x="72" y="640"/>
                </a:lnTo>
                <a:lnTo>
                  <a:pt x="72" y="632"/>
                </a:lnTo>
                <a:lnTo>
                  <a:pt x="72" y="628"/>
                </a:lnTo>
                <a:lnTo>
                  <a:pt x="72" y="622"/>
                </a:lnTo>
                <a:lnTo>
                  <a:pt x="72" y="618"/>
                </a:lnTo>
                <a:lnTo>
                  <a:pt x="72" y="610"/>
                </a:lnTo>
                <a:lnTo>
                  <a:pt x="72" y="606"/>
                </a:lnTo>
                <a:lnTo>
                  <a:pt x="72" y="602"/>
                </a:lnTo>
                <a:lnTo>
                  <a:pt x="72" y="596"/>
                </a:lnTo>
                <a:lnTo>
                  <a:pt x="72" y="592"/>
                </a:lnTo>
                <a:lnTo>
                  <a:pt x="72" y="592"/>
                </a:lnTo>
                <a:lnTo>
                  <a:pt x="72" y="592"/>
                </a:lnTo>
                <a:close/>
                <a:moveTo>
                  <a:pt x="126" y="640"/>
                </a:moveTo>
                <a:lnTo>
                  <a:pt x="122" y="640"/>
                </a:lnTo>
                <a:lnTo>
                  <a:pt x="126" y="636"/>
                </a:lnTo>
                <a:lnTo>
                  <a:pt x="126" y="640"/>
                </a:lnTo>
                <a:lnTo>
                  <a:pt x="126" y="636"/>
                </a:lnTo>
                <a:lnTo>
                  <a:pt x="130" y="636"/>
                </a:lnTo>
                <a:lnTo>
                  <a:pt x="134" y="636"/>
                </a:lnTo>
                <a:lnTo>
                  <a:pt x="138" y="636"/>
                </a:lnTo>
                <a:lnTo>
                  <a:pt x="138" y="640"/>
                </a:lnTo>
                <a:lnTo>
                  <a:pt x="134" y="640"/>
                </a:lnTo>
                <a:lnTo>
                  <a:pt x="134" y="636"/>
                </a:lnTo>
                <a:lnTo>
                  <a:pt x="134" y="640"/>
                </a:lnTo>
                <a:lnTo>
                  <a:pt x="130" y="640"/>
                </a:lnTo>
                <a:lnTo>
                  <a:pt x="126" y="640"/>
                </a:lnTo>
                <a:lnTo>
                  <a:pt x="126" y="640"/>
                </a:lnTo>
                <a:lnTo>
                  <a:pt x="126" y="640"/>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72" name="Freeform 179"/>
          <p:cNvSpPr>
            <a:spLocks/>
          </p:cNvSpPr>
          <p:nvPr/>
        </p:nvSpPr>
        <p:spPr bwMode="auto">
          <a:xfrm>
            <a:off x="3086099" y="3895724"/>
            <a:ext cx="204788" cy="276225"/>
          </a:xfrm>
          <a:custGeom>
            <a:avLst/>
            <a:gdLst>
              <a:gd name="T0" fmla="*/ 104 w 172"/>
              <a:gd name="T1" fmla="*/ 198 h 232"/>
              <a:gd name="T2" fmla="*/ 96 w 172"/>
              <a:gd name="T3" fmla="*/ 216 h 232"/>
              <a:gd name="T4" fmla="*/ 90 w 172"/>
              <a:gd name="T5" fmla="*/ 216 h 232"/>
              <a:gd name="T6" fmla="*/ 78 w 172"/>
              <a:gd name="T7" fmla="*/ 220 h 232"/>
              <a:gd name="T8" fmla="*/ 74 w 172"/>
              <a:gd name="T9" fmla="*/ 228 h 232"/>
              <a:gd name="T10" fmla="*/ 70 w 172"/>
              <a:gd name="T11" fmla="*/ 216 h 232"/>
              <a:gd name="T12" fmla="*/ 52 w 172"/>
              <a:gd name="T13" fmla="*/ 216 h 232"/>
              <a:gd name="T14" fmla="*/ 50 w 172"/>
              <a:gd name="T15" fmla="*/ 212 h 232"/>
              <a:gd name="T16" fmla="*/ 42 w 172"/>
              <a:gd name="T17" fmla="*/ 220 h 232"/>
              <a:gd name="T18" fmla="*/ 34 w 172"/>
              <a:gd name="T19" fmla="*/ 228 h 232"/>
              <a:gd name="T20" fmla="*/ 26 w 172"/>
              <a:gd name="T21" fmla="*/ 224 h 232"/>
              <a:gd name="T22" fmla="*/ 24 w 172"/>
              <a:gd name="T23" fmla="*/ 212 h 232"/>
              <a:gd name="T24" fmla="*/ 16 w 172"/>
              <a:gd name="T25" fmla="*/ 194 h 232"/>
              <a:gd name="T26" fmla="*/ 12 w 172"/>
              <a:gd name="T27" fmla="*/ 190 h 232"/>
              <a:gd name="T28" fmla="*/ 16 w 172"/>
              <a:gd name="T29" fmla="*/ 180 h 232"/>
              <a:gd name="T30" fmla="*/ 16 w 172"/>
              <a:gd name="T31" fmla="*/ 168 h 232"/>
              <a:gd name="T32" fmla="*/ 8 w 172"/>
              <a:gd name="T33" fmla="*/ 156 h 232"/>
              <a:gd name="T34" fmla="*/ 4 w 172"/>
              <a:gd name="T35" fmla="*/ 146 h 232"/>
              <a:gd name="T36" fmla="*/ 0 w 172"/>
              <a:gd name="T37" fmla="*/ 134 h 232"/>
              <a:gd name="T38" fmla="*/ 4 w 172"/>
              <a:gd name="T39" fmla="*/ 124 h 232"/>
              <a:gd name="T40" fmla="*/ 12 w 172"/>
              <a:gd name="T41" fmla="*/ 116 h 232"/>
              <a:gd name="T42" fmla="*/ 4 w 172"/>
              <a:gd name="T43" fmla="*/ 100 h 232"/>
              <a:gd name="T44" fmla="*/ 4 w 172"/>
              <a:gd name="T45" fmla="*/ 94 h 232"/>
              <a:gd name="T46" fmla="*/ 8 w 172"/>
              <a:gd name="T47" fmla="*/ 78 h 232"/>
              <a:gd name="T48" fmla="*/ 8 w 172"/>
              <a:gd name="T49" fmla="*/ 72 h 232"/>
              <a:gd name="T50" fmla="*/ 8 w 172"/>
              <a:gd name="T51" fmla="*/ 56 h 232"/>
              <a:gd name="T52" fmla="*/ 12 w 172"/>
              <a:gd name="T53" fmla="*/ 46 h 232"/>
              <a:gd name="T54" fmla="*/ 4 w 172"/>
              <a:gd name="T55" fmla="*/ 34 h 232"/>
              <a:gd name="T56" fmla="*/ 4 w 172"/>
              <a:gd name="T57" fmla="*/ 22 h 232"/>
              <a:gd name="T58" fmla="*/ 16 w 172"/>
              <a:gd name="T59" fmla="*/ 26 h 232"/>
              <a:gd name="T60" fmla="*/ 24 w 172"/>
              <a:gd name="T61" fmla="*/ 18 h 232"/>
              <a:gd name="T62" fmla="*/ 26 w 172"/>
              <a:gd name="T63" fmla="*/ 16 h 232"/>
              <a:gd name="T64" fmla="*/ 38 w 172"/>
              <a:gd name="T65" fmla="*/ 12 h 232"/>
              <a:gd name="T66" fmla="*/ 50 w 172"/>
              <a:gd name="T67" fmla="*/ 0 h 232"/>
              <a:gd name="T68" fmla="*/ 56 w 172"/>
              <a:gd name="T69" fmla="*/ 0 h 232"/>
              <a:gd name="T70" fmla="*/ 60 w 172"/>
              <a:gd name="T71" fmla="*/ 12 h 232"/>
              <a:gd name="T72" fmla="*/ 60 w 172"/>
              <a:gd name="T73" fmla="*/ 26 h 232"/>
              <a:gd name="T74" fmla="*/ 64 w 172"/>
              <a:gd name="T75" fmla="*/ 34 h 232"/>
              <a:gd name="T76" fmla="*/ 70 w 172"/>
              <a:gd name="T77" fmla="*/ 46 h 232"/>
              <a:gd name="T78" fmla="*/ 86 w 172"/>
              <a:gd name="T79" fmla="*/ 48 h 232"/>
              <a:gd name="T80" fmla="*/ 94 w 172"/>
              <a:gd name="T81" fmla="*/ 56 h 232"/>
              <a:gd name="T82" fmla="*/ 104 w 172"/>
              <a:gd name="T83" fmla="*/ 64 h 232"/>
              <a:gd name="T84" fmla="*/ 116 w 172"/>
              <a:gd name="T85" fmla="*/ 68 h 232"/>
              <a:gd name="T86" fmla="*/ 130 w 172"/>
              <a:gd name="T87" fmla="*/ 72 h 232"/>
              <a:gd name="T88" fmla="*/ 130 w 172"/>
              <a:gd name="T89" fmla="*/ 82 h 232"/>
              <a:gd name="T90" fmla="*/ 126 w 172"/>
              <a:gd name="T91" fmla="*/ 94 h 232"/>
              <a:gd name="T92" fmla="*/ 134 w 172"/>
              <a:gd name="T93" fmla="*/ 116 h 232"/>
              <a:gd name="T94" fmla="*/ 160 w 172"/>
              <a:gd name="T95" fmla="*/ 116 h 232"/>
              <a:gd name="T96" fmla="*/ 156 w 172"/>
              <a:gd name="T97" fmla="*/ 128 h 232"/>
              <a:gd name="T98" fmla="*/ 164 w 172"/>
              <a:gd name="T99" fmla="*/ 134 h 232"/>
              <a:gd name="T100" fmla="*/ 172 w 172"/>
              <a:gd name="T101" fmla="*/ 150 h 232"/>
              <a:gd name="T102" fmla="*/ 164 w 172"/>
              <a:gd name="T103" fmla="*/ 164 h 232"/>
              <a:gd name="T104" fmla="*/ 164 w 172"/>
              <a:gd name="T105" fmla="*/ 176 h 232"/>
              <a:gd name="T106" fmla="*/ 160 w 172"/>
              <a:gd name="T107" fmla="*/ 176 h 232"/>
              <a:gd name="T108" fmla="*/ 142 w 172"/>
              <a:gd name="T109" fmla="*/ 168 h 232"/>
              <a:gd name="T110" fmla="*/ 126 w 172"/>
              <a:gd name="T111" fmla="*/ 172 h 232"/>
              <a:gd name="T112" fmla="*/ 112 w 172"/>
              <a:gd name="T113" fmla="*/ 176 h 232"/>
              <a:gd name="T114" fmla="*/ 104 w 172"/>
              <a:gd name="T115" fmla="*/ 18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2" h="232">
                <a:moveTo>
                  <a:pt x="104" y="186"/>
                </a:moveTo>
                <a:lnTo>
                  <a:pt x="104" y="190"/>
                </a:lnTo>
                <a:lnTo>
                  <a:pt x="104" y="194"/>
                </a:lnTo>
                <a:lnTo>
                  <a:pt x="104" y="198"/>
                </a:lnTo>
                <a:lnTo>
                  <a:pt x="100" y="206"/>
                </a:lnTo>
                <a:lnTo>
                  <a:pt x="100" y="210"/>
                </a:lnTo>
                <a:lnTo>
                  <a:pt x="100" y="212"/>
                </a:lnTo>
                <a:lnTo>
                  <a:pt x="96" y="216"/>
                </a:lnTo>
                <a:lnTo>
                  <a:pt x="96" y="220"/>
                </a:lnTo>
                <a:lnTo>
                  <a:pt x="96" y="216"/>
                </a:lnTo>
                <a:lnTo>
                  <a:pt x="94" y="216"/>
                </a:lnTo>
                <a:lnTo>
                  <a:pt x="90" y="216"/>
                </a:lnTo>
                <a:lnTo>
                  <a:pt x="86" y="216"/>
                </a:lnTo>
                <a:lnTo>
                  <a:pt x="82" y="216"/>
                </a:lnTo>
                <a:lnTo>
                  <a:pt x="78" y="216"/>
                </a:lnTo>
                <a:lnTo>
                  <a:pt x="78" y="220"/>
                </a:lnTo>
                <a:lnTo>
                  <a:pt x="74" y="224"/>
                </a:lnTo>
                <a:lnTo>
                  <a:pt x="74" y="228"/>
                </a:lnTo>
                <a:lnTo>
                  <a:pt x="74" y="232"/>
                </a:lnTo>
                <a:lnTo>
                  <a:pt x="74" y="228"/>
                </a:lnTo>
                <a:lnTo>
                  <a:pt x="70" y="228"/>
                </a:lnTo>
                <a:lnTo>
                  <a:pt x="70" y="224"/>
                </a:lnTo>
                <a:lnTo>
                  <a:pt x="70" y="220"/>
                </a:lnTo>
                <a:lnTo>
                  <a:pt x="70" y="216"/>
                </a:lnTo>
                <a:lnTo>
                  <a:pt x="66" y="216"/>
                </a:lnTo>
                <a:lnTo>
                  <a:pt x="64" y="216"/>
                </a:lnTo>
                <a:lnTo>
                  <a:pt x="56" y="216"/>
                </a:lnTo>
                <a:lnTo>
                  <a:pt x="52" y="216"/>
                </a:lnTo>
                <a:lnTo>
                  <a:pt x="52" y="212"/>
                </a:lnTo>
                <a:lnTo>
                  <a:pt x="50" y="212"/>
                </a:lnTo>
                <a:lnTo>
                  <a:pt x="50" y="210"/>
                </a:lnTo>
                <a:lnTo>
                  <a:pt x="50" y="212"/>
                </a:lnTo>
                <a:lnTo>
                  <a:pt x="46" y="212"/>
                </a:lnTo>
                <a:lnTo>
                  <a:pt x="46" y="216"/>
                </a:lnTo>
                <a:lnTo>
                  <a:pt x="42" y="216"/>
                </a:lnTo>
                <a:lnTo>
                  <a:pt x="42" y="220"/>
                </a:lnTo>
                <a:lnTo>
                  <a:pt x="42" y="224"/>
                </a:lnTo>
                <a:lnTo>
                  <a:pt x="38" y="224"/>
                </a:lnTo>
                <a:lnTo>
                  <a:pt x="38" y="228"/>
                </a:lnTo>
                <a:lnTo>
                  <a:pt x="34" y="228"/>
                </a:lnTo>
                <a:lnTo>
                  <a:pt x="30" y="232"/>
                </a:lnTo>
                <a:lnTo>
                  <a:pt x="26" y="232"/>
                </a:lnTo>
                <a:lnTo>
                  <a:pt x="24" y="228"/>
                </a:lnTo>
                <a:lnTo>
                  <a:pt x="26" y="224"/>
                </a:lnTo>
                <a:lnTo>
                  <a:pt x="24" y="224"/>
                </a:lnTo>
                <a:lnTo>
                  <a:pt x="24" y="220"/>
                </a:lnTo>
                <a:lnTo>
                  <a:pt x="24" y="216"/>
                </a:lnTo>
                <a:lnTo>
                  <a:pt x="24" y="212"/>
                </a:lnTo>
                <a:lnTo>
                  <a:pt x="24" y="210"/>
                </a:lnTo>
                <a:lnTo>
                  <a:pt x="20" y="210"/>
                </a:lnTo>
                <a:lnTo>
                  <a:pt x="20" y="202"/>
                </a:lnTo>
                <a:lnTo>
                  <a:pt x="16" y="194"/>
                </a:lnTo>
                <a:lnTo>
                  <a:pt x="16" y="198"/>
                </a:lnTo>
                <a:lnTo>
                  <a:pt x="16" y="194"/>
                </a:lnTo>
                <a:lnTo>
                  <a:pt x="16" y="190"/>
                </a:lnTo>
                <a:lnTo>
                  <a:pt x="12" y="190"/>
                </a:lnTo>
                <a:lnTo>
                  <a:pt x="12" y="186"/>
                </a:lnTo>
                <a:lnTo>
                  <a:pt x="12" y="184"/>
                </a:lnTo>
                <a:lnTo>
                  <a:pt x="12" y="180"/>
                </a:lnTo>
                <a:lnTo>
                  <a:pt x="16" y="180"/>
                </a:lnTo>
                <a:lnTo>
                  <a:pt x="16" y="176"/>
                </a:lnTo>
                <a:lnTo>
                  <a:pt x="12" y="176"/>
                </a:lnTo>
                <a:lnTo>
                  <a:pt x="16" y="172"/>
                </a:lnTo>
                <a:lnTo>
                  <a:pt x="16" y="168"/>
                </a:lnTo>
                <a:lnTo>
                  <a:pt x="12" y="168"/>
                </a:lnTo>
                <a:lnTo>
                  <a:pt x="12" y="164"/>
                </a:lnTo>
                <a:lnTo>
                  <a:pt x="8" y="160"/>
                </a:lnTo>
                <a:lnTo>
                  <a:pt x="8" y="156"/>
                </a:lnTo>
                <a:lnTo>
                  <a:pt x="8" y="154"/>
                </a:lnTo>
                <a:lnTo>
                  <a:pt x="8" y="150"/>
                </a:lnTo>
                <a:lnTo>
                  <a:pt x="8" y="146"/>
                </a:lnTo>
                <a:lnTo>
                  <a:pt x="4" y="146"/>
                </a:lnTo>
                <a:lnTo>
                  <a:pt x="4" y="142"/>
                </a:lnTo>
                <a:lnTo>
                  <a:pt x="4" y="138"/>
                </a:lnTo>
                <a:lnTo>
                  <a:pt x="0" y="138"/>
                </a:lnTo>
                <a:lnTo>
                  <a:pt x="0" y="134"/>
                </a:lnTo>
                <a:lnTo>
                  <a:pt x="0" y="130"/>
                </a:lnTo>
                <a:lnTo>
                  <a:pt x="0" y="128"/>
                </a:lnTo>
                <a:lnTo>
                  <a:pt x="4" y="128"/>
                </a:lnTo>
                <a:lnTo>
                  <a:pt x="4" y="124"/>
                </a:lnTo>
                <a:lnTo>
                  <a:pt x="8" y="124"/>
                </a:lnTo>
                <a:lnTo>
                  <a:pt x="8" y="120"/>
                </a:lnTo>
                <a:lnTo>
                  <a:pt x="8" y="116"/>
                </a:lnTo>
                <a:lnTo>
                  <a:pt x="12" y="116"/>
                </a:lnTo>
                <a:lnTo>
                  <a:pt x="8" y="112"/>
                </a:lnTo>
                <a:lnTo>
                  <a:pt x="4" y="112"/>
                </a:lnTo>
                <a:lnTo>
                  <a:pt x="4" y="104"/>
                </a:lnTo>
                <a:lnTo>
                  <a:pt x="4" y="100"/>
                </a:lnTo>
                <a:lnTo>
                  <a:pt x="4" y="98"/>
                </a:lnTo>
                <a:lnTo>
                  <a:pt x="8" y="98"/>
                </a:lnTo>
                <a:lnTo>
                  <a:pt x="8" y="94"/>
                </a:lnTo>
                <a:lnTo>
                  <a:pt x="4" y="94"/>
                </a:lnTo>
                <a:lnTo>
                  <a:pt x="4" y="90"/>
                </a:lnTo>
                <a:lnTo>
                  <a:pt x="4" y="86"/>
                </a:lnTo>
                <a:lnTo>
                  <a:pt x="8" y="82"/>
                </a:lnTo>
                <a:lnTo>
                  <a:pt x="8" y="78"/>
                </a:lnTo>
                <a:lnTo>
                  <a:pt x="12" y="78"/>
                </a:lnTo>
                <a:lnTo>
                  <a:pt x="12" y="74"/>
                </a:lnTo>
                <a:lnTo>
                  <a:pt x="8" y="74"/>
                </a:lnTo>
                <a:lnTo>
                  <a:pt x="8" y="72"/>
                </a:lnTo>
                <a:lnTo>
                  <a:pt x="8" y="68"/>
                </a:lnTo>
                <a:lnTo>
                  <a:pt x="8" y="64"/>
                </a:lnTo>
                <a:lnTo>
                  <a:pt x="8" y="60"/>
                </a:lnTo>
                <a:lnTo>
                  <a:pt x="8" y="56"/>
                </a:lnTo>
                <a:lnTo>
                  <a:pt x="8" y="52"/>
                </a:lnTo>
                <a:lnTo>
                  <a:pt x="12" y="52"/>
                </a:lnTo>
                <a:lnTo>
                  <a:pt x="12" y="48"/>
                </a:lnTo>
                <a:lnTo>
                  <a:pt x="12" y="46"/>
                </a:lnTo>
                <a:lnTo>
                  <a:pt x="12" y="42"/>
                </a:lnTo>
                <a:lnTo>
                  <a:pt x="8" y="42"/>
                </a:lnTo>
                <a:lnTo>
                  <a:pt x="8" y="38"/>
                </a:lnTo>
                <a:lnTo>
                  <a:pt x="4" y="34"/>
                </a:lnTo>
                <a:lnTo>
                  <a:pt x="4" y="30"/>
                </a:lnTo>
                <a:lnTo>
                  <a:pt x="4" y="26"/>
                </a:lnTo>
                <a:lnTo>
                  <a:pt x="0" y="22"/>
                </a:lnTo>
                <a:lnTo>
                  <a:pt x="4" y="22"/>
                </a:lnTo>
                <a:lnTo>
                  <a:pt x="8" y="22"/>
                </a:lnTo>
                <a:lnTo>
                  <a:pt x="12" y="22"/>
                </a:lnTo>
                <a:lnTo>
                  <a:pt x="12" y="26"/>
                </a:lnTo>
                <a:lnTo>
                  <a:pt x="16" y="26"/>
                </a:lnTo>
                <a:lnTo>
                  <a:pt x="16" y="22"/>
                </a:lnTo>
                <a:lnTo>
                  <a:pt x="20" y="22"/>
                </a:lnTo>
                <a:lnTo>
                  <a:pt x="20" y="18"/>
                </a:lnTo>
                <a:lnTo>
                  <a:pt x="24" y="18"/>
                </a:lnTo>
                <a:lnTo>
                  <a:pt x="24" y="16"/>
                </a:lnTo>
                <a:lnTo>
                  <a:pt x="26" y="16"/>
                </a:lnTo>
                <a:lnTo>
                  <a:pt x="26" y="18"/>
                </a:lnTo>
                <a:lnTo>
                  <a:pt x="26" y="16"/>
                </a:lnTo>
                <a:lnTo>
                  <a:pt x="30" y="16"/>
                </a:lnTo>
                <a:lnTo>
                  <a:pt x="30" y="12"/>
                </a:lnTo>
                <a:lnTo>
                  <a:pt x="34" y="12"/>
                </a:lnTo>
                <a:lnTo>
                  <a:pt x="38" y="12"/>
                </a:lnTo>
                <a:lnTo>
                  <a:pt x="38" y="8"/>
                </a:lnTo>
                <a:lnTo>
                  <a:pt x="42" y="4"/>
                </a:lnTo>
                <a:lnTo>
                  <a:pt x="46" y="4"/>
                </a:lnTo>
                <a:lnTo>
                  <a:pt x="50" y="0"/>
                </a:lnTo>
                <a:lnTo>
                  <a:pt x="52" y="0"/>
                </a:lnTo>
                <a:lnTo>
                  <a:pt x="56" y="0"/>
                </a:lnTo>
                <a:lnTo>
                  <a:pt x="56" y="4"/>
                </a:lnTo>
                <a:lnTo>
                  <a:pt x="56" y="0"/>
                </a:lnTo>
                <a:lnTo>
                  <a:pt x="60" y="0"/>
                </a:lnTo>
                <a:lnTo>
                  <a:pt x="60" y="4"/>
                </a:lnTo>
                <a:lnTo>
                  <a:pt x="60" y="8"/>
                </a:lnTo>
                <a:lnTo>
                  <a:pt x="60" y="12"/>
                </a:lnTo>
                <a:lnTo>
                  <a:pt x="60" y="16"/>
                </a:lnTo>
                <a:lnTo>
                  <a:pt x="60" y="18"/>
                </a:lnTo>
                <a:lnTo>
                  <a:pt x="60" y="22"/>
                </a:lnTo>
                <a:lnTo>
                  <a:pt x="60" y="26"/>
                </a:lnTo>
                <a:lnTo>
                  <a:pt x="60" y="30"/>
                </a:lnTo>
                <a:lnTo>
                  <a:pt x="64" y="34"/>
                </a:lnTo>
                <a:lnTo>
                  <a:pt x="64" y="38"/>
                </a:lnTo>
                <a:lnTo>
                  <a:pt x="64" y="34"/>
                </a:lnTo>
                <a:lnTo>
                  <a:pt x="64" y="38"/>
                </a:lnTo>
                <a:lnTo>
                  <a:pt x="64" y="42"/>
                </a:lnTo>
                <a:lnTo>
                  <a:pt x="66" y="42"/>
                </a:lnTo>
                <a:lnTo>
                  <a:pt x="70" y="46"/>
                </a:lnTo>
                <a:lnTo>
                  <a:pt x="74" y="48"/>
                </a:lnTo>
                <a:lnTo>
                  <a:pt x="78" y="48"/>
                </a:lnTo>
                <a:lnTo>
                  <a:pt x="82" y="48"/>
                </a:lnTo>
                <a:lnTo>
                  <a:pt x="86" y="48"/>
                </a:lnTo>
                <a:lnTo>
                  <a:pt x="86" y="52"/>
                </a:lnTo>
                <a:lnTo>
                  <a:pt x="90" y="52"/>
                </a:lnTo>
                <a:lnTo>
                  <a:pt x="94" y="52"/>
                </a:lnTo>
                <a:lnTo>
                  <a:pt x="94" y="56"/>
                </a:lnTo>
                <a:lnTo>
                  <a:pt x="96" y="56"/>
                </a:lnTo>
                <a:lnTo>
                  <a:pt x="100" y="60"/>
                </a:lnTo>
                <a:lnTo>
                  <a:pt x="104" y="60"/>
                </a:lnTo>
                <a:lnTo>
                  <a:pt x="104" y="64"/>
                </a:lnTo>
                <a:lnTo>
                  <a:pt x="108" y="64"/>
                </a:lnTo>
                <a:lnTo>
                  <a:pt x="108" y="68"/>
                </a:lnTo>
                <a:lnTo>
                  <a:pt x="112" y="68"/>
                </a:lnTo>
                <a:lnTo>
                  <a:pt x="116" y="68"/>
                </a:lnTo>
                <a:lnTo>
                  <a:pt x="120" y="68"/>
                </a:lnTo>
                <a:lnTo>
                  <a:pt x="122" y="68"/>
                </a:lnTo>
                <a:lnTo>
                  <a:pt x="126" y="72"/>
                </a:lnTo>
                <a:lnTo>
                  <a:pt x="130" y="72"/>
                </a:lnTo>
                <a:lnTo>
                  <a:pt x="130" y="74"/>
                </a:lnTo>
                <a:lnTo>
                  <a:pt x="126" y="78"/>
                </a:lnTo>
                <a:lnTo>
                  <a:pt x="130" y="78"/>
                </a:lnTo>
                <a:lnTo>
                  <a:pt x="130" y="82"/>
                </a:lnTo>
                <a:lnTo>
                  <a:pt x="130" y="86"/>
                </a:lnTo>
                <a:lnTo>
                  <a:pt x="130" y="90"/>
                </a:lnTo>
                <a:lnTo>
                  <a:pt x="130" y="94"/>
                </a:lnTo>
                <a:lnTo>
                  <a:pt x="126" y="94"/>
                </a:lnTo>
                <a:lnTo>
                  <a:pt x="130" y="98"/>
                </a:lnTo>
                <a:lnTo>
                  <a:pt x="130" y="100"/>
                </a:lnTo>
                <a:lnTo>
                  <a:pt x="134" y="108"/>
                </a:lnTo>
                <a:lnTo>
                  <a:pt x="134" y="116"/>
                </a:lnTo>
                <a:lnTo>
                  <a:pt x="142" y="116"/>
                </a:lnTo>
                <a:lnTo>
                  <a:pt x="150" y="116"/>
                </a:lnTo>
                <a:lnTo>
                  <a:pt x="156" y="116"/>
                </a:lnTo>
                <a:lnTo>
                  <a:pt x="160" y="116"/>
                </a:lnTo>
                <a:lnTo>
                  <a:pt x="160" y="120"/>
                </a:lnTo>
                <a:lnTo>
                  <a:pt x="156" y="120"/>
                </a:lnTo>
                <a:lnTo>
                  <a:pt x="156" y="124"/>
                </a:lnTo>
                <a:lnTo>
                  <a:pt x="156" y="128"/>
                </a:lnTo>
                <a:lnTo>
                  <a:pt x="156" y="130"/>
                </a:lnTo>
                <a:lnTo>
                  <a:pt x="160" y="130"/>
                </a:lnTo>
                <a:lnTo>
                  <a:pt x="160" y="134"/>
                </a:lnTo>
                <a:lnTo>
                  <a:pt x="164" y="134"/>
                </a:lnTo>
                <a:lnTo>
                  <a:pt x="168" y="138"/>
                </a:lnTo>
                <a:lnTo>
                  <a:pt x="168" y="142"/>
                </a:lnTo>
                <a:lnTo>
                  <a:pt x="168" y="146"/>
                </a:lnTo>
                <a:lnTo>
                  <a:pt x="172" y="150"/>
                </a:lnTo>
                <a:lnTo>
                  <a:pt x="168" y="154"/>
                </a:lnTo>
                <a:lnTo>
                  <a:pt x="168" y="160"/>
                </a:lnTo>
                <a:lnTo>
                  <a:pt x="168" y="164"/>
                </a:lnTo>
                <a:lnTo>
                  <a:pt x="164" y="164"/>
                </a:lnTo>
                <a:lnTo>
                  <a:pt x="164" y="168"/>
                </a:lnTo>
                <a:lnTo>
                  <a:pt x="164" y="176"/>
                </a:lnTo>
                <a:lnTo>
                  <a:pt x="160" y="176"/>
                </a:lnTo>
                <a:lnTo>
                  <a:pt x="164" y="176"/>
                </a:lnTo>
                <a:lnTo>
                  <a:pt x="164" y="180"/>
                </a:lnTo>
                <a:lnTo>
                  <a:pt x="160" y="184"/>
                </a:lnTo>
                <a:lnTo>
                  <a:pt x="160" y="180"/>
                </a:lnTo>
                <a:lnTo>
                  <a:pt x="160" y="176"/>
                </a:lnTo>
                <a:lnTo>
                  <a:pt x="156" y="172"/>
                </a:lnTo>
                <a:lnTo>
                  <a:pt x="152" y="172"/>
                </a:lnTo>
                <a:lnTo>
                  <a:pt x="150" y="168"/>
                </a:lnTo>
                <a:lnTo>
                  <a:pt x="142" y="168"/>
                </a:lnTo>
                <a:lnTo>
                  <a:pt x="134" y="168"/>
                </a:lnTo>
                <a:lnTo>
                  <a:pt x="130" y="168"/>
                </a:lnTo>
                <a:lnTo>
                  <a:pt x="126" y="168"/>
                </a:lnTo>
                <a:lnTo>
                  <a:pt x="126" y="172"/>
                </a:lnTo>
                <a:lnTo>
                  <a:pt x="122" y="172"/>
                </a:lnTo>
                <a:lnTo>
                  <a:pt x="116" y="172"/>
                </a:lnTo>
                <a:lnTo>
                  <a:pt x="112" y="172"/>
                </a:lnTo>
                <a:lnTo>
                  <a:pt x="112" y="176"/>
                </a:lnTo>
                <a:lnTo>
                  <a:pt x="108" y="180"/>
                </a:lnTo>
                <a:lnTo>
                  <a:pt x="104" y="186"/>
                </a:lnTo>
                <a:lnTo>
                  <a:pt x="104" y="186"/>
                </a:lnTo>
                <a:lnTo>
                  <a:pt x="104" y="186"/>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73" name="Freeform 180"/>
          <p:cNvSpPr>
            <a:spLocks noEditPoints="1"/>
          </p:cNvSpPr>
          <p:nvPr/>
        </p:nvSpPr>
        <p:spPr bwMode="auto">
          <a:xfrm>
            <a:off x="3012281" y="3588543"/>
            <a:ext cx="659606" cy="816769"/>
          </a:xfrm>
          <a:custGeom>
            <a:avLst/>
            <a:gdLst>
              <a:gd name="T0" fmla="*/ 424 w 554"/>
              <a:gd name="T1" fmla="*/ 140 h 686"/>
              <a:gd name="T2" fmla="*/ 460 w 554"/>
              <a:gd name="T3" fmla="*/ 142 h 686"/>
              <a:gd name="T4" fmla="*/ 520 w 554"/>
              <a:gd name="T5" fmla="*/ 172 h 686"/>
              <a:gd name="T6" fmla="*/ 554 w 554"/>
              <a:gd name="T7" fmla="*/ 224 h 686"/>
              <a:gd name="T8" fmla="*/ 520 w 554"/>
              <a:gd name="T9" fmla="*/ 280 h 686"/>
              <a:gd name="T10" fmla="*/ 498 w 554"/>
              <a:gd name="T11" fmla="*/ 310 h 686"/>
              <a:gd name="T12" fmla="*/ 494 w 554"/>
              <a:gd name="T13" fmla="*/ 358 h 686"/>
              <a:gd name="T14" fmla="*/ 484 w 554"/>
              <a:gd name="T15" fmla="*/ 418 h 686"/>
              <a:gd name="T16" fmla="*/ 454 w 554"/>
              <a:gd name="T17" fmla="*/ 482 h 686"/>
              <a:gd name="T18" fmla="*/ 420 w 554"/>
              <a:gd name="T19" fmla="*/ 490 h 686"/>
              <a:gd name="T20" fmla="*/ 384 w 554"/>
              <a:gd name="T21" fmla="*/ 512 h 686"/>
              <a:gd name="T22" fmla="*/ 358 w 554"/>
              <a:gd name="T23" fmla="*/ 546 h 686"/>
              <a:gd name="T24" fmla="*/ 350 w 554"/>
              <a:gd name="T25" fmla="*/ 594 h 686"/>
              <a:gd name="T26" fmla="*/ 316 w 554"/>
              <a:gd name="T27" fmla="*/ 650 h 686"/>
              <a:gd name="T28" fmla="*/ 330 w 554"/>
              <a:gd name="T29" fmla="*/ 622 h 686"/>
              <a:gd name="T30" fmla="*/ 312 w 554"/>
              <a:gd name="T31" fmla="*/ 646 h 686"/>
              <a:gd name="T32" fmla="*/ 294 w 554"/>
              <a:gd name="T33" fmla="*/ 664 h 686"/>
              <a:gd name="T34" fmla="*/ 256 w 554"/>
              <a:gd name="T35" fmla="*/ 630 h 686"/>
              <a:gd name="T36" fmla="*/ 248 w 554"/>
              <a:gd name="T37" fmla="*/ 600 h 686"/>
              <a:gd name="T38" fmla="*/ 286 w 554"/>
              <a:gd name="T39" fmla="*/ 564 h 686"/>
              <a:gd name="T40" fmla="*/ 272 w 554"/>
              <a:gd name="T41" fmla="*/ 508 h 686"/>
              <a:gd name="T42" fmla="*/ 230 w 554"/>
              <a:gd name="T43" fmla="*/ 474 h 686"/>
              <a:gd name="T44" fmla="*/ 230 w 554"/>
              <a:gd name="T45" fmla="*/ 404 h 686"/>
              <a:gd name="T46" fmla="*/ 192 w 554"/>
              <a:gd name="T47" fmla="*/ 348 h 686"/>
              <a:gd name="T48" fmla="*/ 148 w 554"/>
              <a:gd name="T49" fmla="*/ 310 h 686"/>
              <a:gd name="T50" fmla="*/ 118 w 554"/>
              <a:gd name="T51" fmla="*/ 258 h 686"/>
              <a:gd name="T52" fmla="*/ 74 w 554"/>
              <a:gd name="T53" fmla="*/ 284 h 686"/>
              <a:gd name="T54" fmla="*/ 30 w 554"/>
              <a:gd name="T55" fmla="*/ 262 h 686"/>
              <a:gd name="T56" fmla="*/ 4 w 554"/>
              <a:gd name="T57" fmla="*/ 216 h 686"/>
              <a:gd name="T58" fmla="*/ 36 w 554"/>
              <a:gd name="T59" fmla="*/ 168 h 686"/>
              <a:gd name="T60" fmla="*/ 66 w 554"/>
              <a:gd name="T61" fmla="*/ 110 h 686"/>
              <a:gd name="T62" fmla="*/ 66 w 554"/>
              <a:gd name="T63" fmla="*/ 64 h 686"/>
              <a:gd name="T64" fmla="*/ 108 w 554"/>
              <a:gd name="T65" fmla="*/ 80 h 686"/>
              <a:gd name="T66" fmla="*/ 152 w 554"/>
              <a:gd name="T67" fmla="*/ 54 h 686"/>
              <a:gd name="T68" fmla="*/ 140 w 554"/>
              <a:gd name="T69" fmla="*/ 28 h 686"/>
              <a:gd name="T70" fmla="*/ 186 w 554"/>
              <a:gd name="T71" fmla="*/ 16 h 686"/>
              <a:gd name="T72" fmla="*/ 196 w 554"/>
              <a:gd name="T73" fmla="*/ 46 h 686"/>
              <a:gd name="T74" fmla="*/ 234 w 554"/>
              <a:gd name="T75" fmla="*/ 60 h 686"/>
              <a:gd name="T76" fmla="*/ 282 w 554"/>
              <a:gd name="T77" fmla="*/ 56 h 686"/>
              <a:gd name="T78" fmla="*/ 320 w 554"/>
              <a:gd name="T79" fmla="*/ 24 h 686"/>
              <a:gd name="T80" fmla="*/ 338 w 554"/>
              <a:gd name="T81" fmla="*/ 72 h 686"/>
              <a:gd name="T82" fmla="*/ 302 w 554"/>
              <a:gd name="T83" fmla="*/ 120 h 686"/>
              <a:gd name="T84" fmla="*/ 316 w 554"/>
              <a:gd name="T85" fmla="*/ 128 h 686"/>
              <a:gd name="T86" fmla="*/ 346 w 554"/>
              <a:gd name="T87" fmla="*/ 120 h 686"/>
              <a:gd name="T88" fmla="*/ 364 w 554"/>
              <a:gd name="T89" fmla="*/ 116 h 686"/>
              <a:gd name="T90" fmla="*/ 390 w 554"/>
              <a:gd name="T91" fmla="*/ 114 h 686"/>
              <a:gd name="T92" fmla="*/ 414 w 554"/>
              <a:gd name="T93" fmla="*/ 124 h 686"/>
              <a:gd name="T94" fmla="*/ 328 w 554"/>
              <a:gd name="T95" fmla="*/ 110 h 686"/>
              <a:gd name="T96" fmla="*/ 360 w 554"/>
              <a:gd name="T97" fmla="*/ 110 h 686"/>
              <a:gd name="T98" fmla="*/ 338 w 554"/>
              <a:gd name="T99" fmla="*/ 76 h 686"/>
              <a:gd name="T100" fmla="*/ 330 w 554"/>
              <a:gd name="T101" fmla="*/ 86 h 686"/>
              <a:gd name="T102" fmla="*/ 330 w 554"/>
              <a:gd name="T103" fmla="*/ 90 h 686"/>
              <a:gd name="T104" fmla="*/ 328 w 554"/>
              <a:gd name="T105" fmla="*/ 90 h 686"/>
              <a:gd name="T106" fmla="*/ 324 w 554"/>
              <a:gd name="T107" fmla="*/ 98 h 686"/>
              <a:gd name="T108" fmla="*/ 324 w 554"/>
              <a:gd name="T109" fmla="*/ 110 h 686"/>
              <a:gd name="T110" fmla="*/ 386 w 554"/>
              <a:gd name="T111" fmla="*/ 110 h 686"/>
              <a:gd name="T112" fmla="*/ 410 w 554"/>
              <a:gd name="T113" fmla="*/ 116 h 686"/>
              <a:gd name="T114" fmla="*/ 354 w 554"/>
              <a:gd name="T115" fmla="*/ 120 h 686"/>
              <a:gd name="T116" fmla="*/ 416 w 554"/>
              <a:gd name="T117" fmla="*/ 142 h 686"/>
              <a:gd name="T118" fmla="*/ 360 w 554"/>
              <a:gd name="T119" fmla="*/ 546 h 686"/>
              <a:gd name="T120" fmla="*/ 324 w 554"/>
              <a:gd name="T121" fmla="*/ 102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54" h="686">
                <a:moveTo>
                  <a:pt x="414" y="124"/>
                </a:moveTo>
                <a:lnTo>
                  <a:pt x="416" y="124"/>
                </a:lnTo>
                <a:lnTo>
                  <a:pt x="416" y="128"/>
                </a:lnTo>
                <a:lnTo>
                  <a:pt x="416" y="132"/>
                </a:lnTo>
                <a:lnTo>
                  <a:pt x="416" y="128"/>
                </a:lnTo>
                <a:lnTo>
                  <a:pt x="420" y="132"/>
                </a:lnTo>
                <a:lnTo>
                  <a:pt x="416" y="136"/>
                </a:lnTo>
                <a:lnTo>
                  <a:pt x="416" y="140"/>
                </a:lnTo>
                <a:lnTo>
                  <a:pt x="414" y="142"/>
                </a:lnTo>
                <a:lnTo>
                  <a:pt x="416" y="142"/>
                </a:lnTo>
                <a:lnTo>
                  <a:pt x="414" y="146"/>
                </a:lnTo>
                <a:lnTo>
                  <a:pt x="414" y="150"/>
                </a:lnTo>
                <a:lnTo>
                  <a:pt x="416" y="146"/>
                </a:lnTo>
                <a:lnTo>
                  <a:pt x="416" y="142"/>
                </a:lnTo>
                <a:lnTo>
                  <a:pt x="420" y="140"/>
                </a:lnTo>
                <a:lnTo>
                  <a:pt x="420" y="136"/>
                </a:lnTo>
                <a:lnTo>
                  <a:pt x="424" y="136"/>
                </a:lnTo>
                <a:lnTo>
                  <a:pt x="424" y="140"/>
                </a:lnTo>
                <a:lnTo>
                  <a:pt x="420" y="140"/>
                </a:lnTo>
                <a:lnTo>
                  <a:pt x="420" y="142"/>
                </a:lnTo>
                <a:lnTo>
                  <a:pt x="424" y="140"/>
                </a:lnTo>
                <a:lnTo>
                  <a:pt x="424" y="136"/>
                </a:lnTo>
                <a:lnTo>
                  <a:pt x="428" y="136"/>
                </a:lnTo>
                <a:lnTo>
                  <a:pt x="432" y="136"/>
                </a:lnTo>
                <a:lnTo>
                  <a:pt x="432" y="132"/>
                </a:lnTo>
                <a:lnTo>
                  <a:pt x="436" y="132"/>
                </a:lnTo>
                <a:lnTo>
                  <a:pt x="436" y="136"/>
                </a:lnTo>
                <a:lnTo>
                  <a:pt x="440" y="136"/>
                </a:lnTo>
                <a:lnTo>
                  <a:pt x="444" y="136"/>
                </a:lnTo>
                <a:lnTo>
                  <a:pt x="444" y="140"/>
                </a:lnTo>
                <a:lnTo>
                  <a:pt x="446" y="140"/>
                </a:lnTo>
                <a:lnTo>
                  <a:pt x="450" y="140"/>
                </a:lnTo>
                <a:lnTo>
                  <a:pt x="450" y="142"/>
                </a:lnTo>
                <a:lnTo>
                  <a:pt x="450" y="140"/>
                </a:lnTo>
                <a:lnTo>
                  <a:pt x="454" y="140"/>
                </a:lnTo>
                <a:lnTo>
                  <a:pt x="454" y="142"/>
                </a:lnTo>
                <a:lnTo>
                  <a:pt x="454" y="140"/>
                </a:lnTo>
                <a:lnTo>
                  <a:pt x="458" y="140"/>
                </a:lnTo>
                <a:lnTo>
                  <a:pt x="458" y="142"/>
                </a:lnTo>
                <a:lnTo>
                  <a:pt x="460" y="142"/>
                </a:lnTo>
                <a:lnTo>
                  <a:pt x="464" y="142"/>
                </a:lnTo>
                <a:lnTo>
                  <a:pt x="460" y="142"/>
                </a:lnTo>
                <a:lnTo>
                  <a:pt x="464" y="142"/>
                </a:lnTo>
                <a:lnTo>
                  <a:pt x="468" y="142"/>
                </a:lnTo>
                <a:lnTo>
                  <a:pt x="472" y="142"/>
                </a:lnTo>
                <a:lnTo>
                  <a:pt x="472" y="140"/>
                </a:lnTo>
                <a:lnTo>
                  <a:pt x="476" y="140"/>
                </a:lnTo>
                <a:lnTo>
                  <a:pt x="480" y="142"/>
                </a:lnTo>
                <a:lnTo>
                  <a:pt x="484" y="142"/>
                </a:lnTo>
                <a:lnTo>
                  <a:pt x="486" y="146"/>
                </a:lnTo>
                <a:lnTo>
                  <a:pt x="490" y="146"/>
                </a:lnTo>
                <a:lnTo>
                  <a:pt x="490" y="150"/>
                </a:lnTo>
                <a:lnTo>
                  <a:pt x="494" y="150"/>
                </a:lnTo>
                <a:lnTo>
                  <a:pt x="498" y="154"/>
                </a:lnTo>
                <a:lnTo>
                  <a:pt x="502" y="156"/>
                </a:lnTo>
                <a:lnTo>
                  <a:pt x="506" y="156"/>
                </a:lnTo>
                <a:lnTo>
                  <a:pt x="506" y="160"/>
                </a:lnTo>
                <a:lnTo>
                  <a:pt x="506" y="164"/>
                </a:lnTo>
                <a:lnTo>
                  <a:pt x="510" y="164"/>
                </a:lnTo>
                <a:lnTo>
                  <a:pt x="514" y="168"/>
                </a:lnTo>
                <a:lnTo>
                  <a:pt x="514" y="172"/>
                </a:lnTo>
                <a:lnTo>
                  <a:pt x="516" y="172"/>
                </a:lnTo>
                <a:lnTo>
                  <a:pt x="520" y="172"/>
                </a:lnTo>
                <a:lnTo>
                  <a:pt x="520" y="176"/>
                </a:lnTo>
                <a:lnTo>
                  <a:pt x="524" y="176"/>
                </a:lnTo>
                <a:lnTo>
                  <a:pt x="524" y="180"/>
                </a:lnTo>
                <a:lnTo>
                  <a:pt x="528" y="180"/>
                </a:lnTo>
                <a:lnTo>
                  <a:pt x="532" y="180"/>
                </a:lnTo>
                <a:lnTo>
                  <a:pt x="536" y="180"/>
                </a:lnTo>
                <a:lnTo>
                  <a:pt x="540" y="180"/>
                </a:lnTo>
                <a:lnTo>
                  <a:pt x="542" y="180"/>
                </a:lnTo>
                <a:lnTo>
                  <a:pt x="546" y="180"/>
                </a:lnTo>
                <a:lnTo>
                  <a:pt x="546" y="184"/>
                </a:lnTo>
                <a:lnTo>
                  <a:pt x="546" y="186"/>
                </a:lnTo>
                <a:lnTo>
                  <a:pt x="546" y="190"/>
                </a:lnTo>
                <a:lnTo>
                  <a:pt x="550" y="194"/>
                </a:lnTo>
                <a:lnTo>
                  <a:pt x="550" y="198"/>
                </a:lnTo>
                <a:lnTo>
                  <a:pt x="550" y="202"/>
                </a:lnTo>
                <a:lnTo>
                  <a:pt x="550" y="206"/>
                </a:lnTo>
                <a:lnTo>
                  <a:pt x="554" y="210"/>
                </a:lnTo>
                <a:lnTo>
                  <a:pt x="554" y="212"/>
                </a:lnTo>
                <a:lnTo>
                  <a:pt x="554" y="216"/>
                </a:lnTo>
                <a:lnTo>
                  <a:pt x="554" y="220"/>
                </a:lnTo>
                <a:lnTo>
                  <a:pt x="554" y="224"/>
                </a:lnTo>
                <a:lnTo>
                  <a:pt x="554" y="228"/>
                </a:lnTo>
                <a:lnTo>
                  <a:pt x="554" y="232"/>
                </a:lnTo>
                <a:lnTo>
                  <a:pt x="550" y="236"/>
                </a:lnTo>
                <a:lnTo>
                  <a:pt x="550" y="240"/>
                </a:lnTo>
                <a:lnTo>
                  <a:pt x="550" y="242"/>
                </a:lnTo>
                <a:lnTo>
                  <a:pt x="550" y="246"/>
                </a:lnTo>
                <a:lnTo>
                  <a:pt x="546" y="246"/>
                </a:lnTo>
                <a:lnTo>
                  <a:pt x="546" y="250"/>
                </a:lnTo>
                <a:lnTo>
                  <a:pt x="542" y="254"/>
                </a:lnTo>
                <a:lnTo>
                  <a:pt x="542" y="258"/>
                </a:lnTo>
                <a:lnTo>
                  <a:pt x="540" y="258"/>
                </a:lnTo>
                <a:lnTo>
                  <a:pt x="540" y="262"/>
                </a:lnTo>
                <a:lnTo>
                  <a:pt x="536" y="266"/>
                </a:lnTo>
                <a:lnTo>
                  <a:pt x="532" y="268"/>
                </a:lnTo>
                <a:lnTo>
                  <a:pt x="532" y="272"/>
                </a:lnTo>
                <a:lnTo>
                  <a:pt x="528" y="272"/>
                </a:lnTo>
                <a:lnTo>
                  <a:pt x="524" y="276"/>
                </a:lnTo>
                <a:lnTo>
                  <a:pt x="524" y="280"/>
                </a:lnTo>
                <a:lnTo>
                  <a:pt x="520" y="280"/>
                </a:lnTo>
                <a:lnTo>
                  <a:pt x="520" y="276"/>
                </a:lnTo>
                <a:lnTo>
                  <a:pt x="520" y="280"/>
                </a:lnTo>
                <a:lnTo>
                  <a:pt x="520" y="284"/>
                </a:lnTo>
                <a:lnTo>
                  <a:pt x="520" y="280"/>
                </a:lnTo>
                <a:lnTo>
                  <a:pt x="520" y="284"/>
                </a:lnTo>
                <a:lnTo>
                  <a:pt x="516" y="288"/>
                </a:lnTo>
                <a:lnTo>
                  <a:pt x="516" y="284"/>
                </a:lnTo>
                <a:lnTo>
                  <a:pt x="516" y="288"/>
                </a:lnTo>
                <a:lnTo>
                  <a:pt x="516" y="292"/>
                </a:lnTo>
                <a:lnTo>
                  <a:pt x="514" y="296"/>
                </a:lnTo>
                <a:lnTo>
                  <a:pt x="514" y="298"/>
                </a:lnTo>
                <a:lnTo>
                  <a:pt x="514" y="302"/>
                </a:lnTo>
                <a:lnTo>
                  <a:pt x="510" y="302"/>
                </a:lnTo>
                <a:lnTo>
                  <a:pt x="510" y="306"/>
                </a:lnTo>
                <a:lnTo>
                  <a:pt x="510" y="310"/>
                </a:lnTo>
                <a:lnTo>
                  <a:pt x="506" y="314"/>
                </a:lnTo>
                <a:lnTo>
                  <a:pt x="502" y="314"/>
                </a:lnTo>
                <a:lnTo>
                  <a:pt x="502" y="310"/>
                </a:lnTo>
                <a:lnTo>
                  <a:pt x="498" y="310"/>
                </a:lnTo>
                <a:lnTo>
                  <a:pt x="498" y="306"/>
                </a:lnTo>
                <a:lnTo>
                  <a:pt x="498" y="310"/>
                </a:lnTo>
                <a:lnTo>
                  <a:pt x="498" y="314"/>
                </a:lnTo>
                <a:lnTo>
                  <a:pt x="498" y="310"/>
                </a:lnTo>
                <a:lnTo>
                  <a:pt x="494" y="310"/>
                </a:lnTo>
                <a:lnTo>
                  <a:pt x="498" y="310"/>
                </a:lnTo>
                <a:lnTo>
                  <a:pt x="494" y="310"/>
                </a:lnTo>
                <a:lnTo>
                  <a:pt x="498" y="314"/>
                </a:lnTo>
                <a:lnTo>
                  <a:pt x="498" y="318"/>
                </a:lnTo>
                <a:lnTo>
                  <a:pt x="494" y="318"/>
                </a:lnTo>
                <a:lnTo>
                  <a:pt x="494" y="322"/>
                </a:lnTo>
                <a:lnTo>
                  <a:pt x="494" y="326"/>
                </a:lnTo>
                <a:lnTo>
                  <a:pt x="494" y="328"/>
                </a:lnTo>
                <a:lnTo>
                  <a:pt x="494" y="332"/>
                </a:lnTo>
                <a:lnTo>
                  <a:pt x="494" y="336"/>
                </a:lnTo>
                <a:lnTo>
                  <a:pt x="494" y="332"/>
                </a:lnTo>
                <a:lnTo>
                  <a:pt x="494" y="328"/>
                </a:lnTo>
                <a:lnTo>
                  <a:pt x="494" y="332"/>
                </a:lnTo>
                <a:lnTo>
                  <a:pt x="494" y="336"/>
                </a:lnTo>
                <a:lnTo>
                  <a:pt x="494" y="340"/>
                </a:lnTo>
                <a:lnTo>
                  <a:pt x="494" y="344"/>
                </a:lnTo>
                <a:lnTo>
                  <a:pt x="494" y="348"/>
                </a:lnTo>
                <a:lnTo>
                  <a:pt x="494" y="352"/>
                </a:lnTo>
                <a:lnTo>
                  <a:pt x="494" y="354"/>
                </a:lnTo>
                <a:lnTo>
                  <a:pt x="494" y="358"/>
                </a:lnTo>
                <a:lnTo>
                  <a:pt x="494" y="362"/>
                </a:lnTo>
                <a:lnTo>
                  <a:pt x="494" y="366"/>
                </a:lnTo>
                <a:lnTo>
                  <a:pt x="494" y="370"/>
                </a:lnTo>
                <a:lnTo>
                  <a:pt x="494" y="374"/>
                </a:lnTo>
                <a:lnTo>
                  <a:pt x="494" y="378"/>
                </a:lnTo>
                <a:lnTo>
                  <a:pt x="494" y="382"/>
                </a:lnTo>
                <a:lnTo>
                  <a:pt x="490" y="382"/>
                </a:lnTo>
                <a:lnTo>
                  <a:pt x="494" y="382"/>
                </a:lnTo>
                <a:lnTo>
                  <a:pt x="490" y="384"/>
                </a:lnTo>
                <a:lnTo>
                  <a:pt x="490" y="388"/>
                </a:lnTo>
                <a:lnTo>
                  <a:pt x="490" y="392"/>
                </a:lnTo>
                <a:lnTo>
                  <a:pt x="490" y="396"/>
                </a:lnTo>
                <a:lnTo>
                  <a:pt x="494" y="396"/>
                </a:lnTo>
                <a:lnTo>
                  <a:pt x="490" y="400"/>
                </a:lnTo>
                <a:lnTo>
                  <a:pt x="486" y="400"/>
                </a:lnTo>
                <a:lnTo>
                  <a:pt x="486" y="404"/>
                </a:lnTo>
                <a:lnTo>
                  <a:pt x="486" y="408"/>
                </a:lnTo>
                <a:lnTo>
                  <a:pt x="484" y="408"/>
                </a:lnTo>
                <a:lnTo>
                  <a:pt x="484" y="410"/>
                </a:lnTo>
                <a:lnTo>
                  <a:pt x="484" y="414"/>
                </a:lnTo>
                <a:lnTo>
                  <a:pt x="484" y="418"/>
                </a:lnTo>
                <a:lnTo>
                  <a:pt x="484" y="422"/>
                </a:lnTo>
                <a:lnTo>
                  <a:pt x="484" y="426"/>
                </a:lnTo>
                <a:lnTo>
                  <a:pt x="484" y="430"/>
                </a:lnTo>
                <a:lnTo>
                  <a:pt x="484" y="434"/>
                </a:lnTo>
                <a:lnTo>
                  <a:pt x="480" y="434"/>
                </a:lnTo>
                <a:lnTo>
                  <a:pt x="480" y="438"/>
                </a:lnTo>
                <a:lnTo>
                  <a:pt x="480" y="440"/>
                </a:lnTo>
                <a:lnTo>
                  <a:pt x="476" y="440"/>
                </a:lnTo>
                <a:lnTo>
                  <a:pt x="476" y="444"/>
                </a:lnTo>
                <a:lnTo>
                  <a:pt x="476" y="448"/>
                </a:lnTo>
                <a:lnTo>
                  <a:pt x="472" y="452"/>
                </a:lnTo>
                <a:lnTo>
                  <a:pt x="468" y="452"/>
                </a:lnTo>
                <a:lnTo>
                  <a:pt x="468" y="456"/>
                </a:lnTo>
                <a:lnTo>
                  <a:pt x="468" y="460"/>
                </a:lnTo>
                <a:lnTo>
                  <a:pt x="464" y="464"/>
                </a:lnTo>
                <a:lnTo>
                  <a:pt x="464" y="466"/>
                </a:lnTo>
                <a:lnTo>
                  <a:pt x="468" y="470"/>
                </a:lnTo>
                <a:lnTo>
                  <a:pt x="464" y="474"/>
                </a:lnTo>
                <a:lnTo>
                  <a:pt x="460" y="474"/>
                </a:lnTo>
                <a:lnTo>
                  <a:pt x="458" y="478"/>
                </a:lnTo>
                <a:lnTo>
                  <a:pt x="454" y="482"/>
                </a:lnTo>
                <a:lnTo>
                  <a:pt x="454" y="486"/>
                </a:lnTo>
                <a:lnTo>
                  <a:pt x="450" y="490"/>
                </a:lnTo>
                <a:lnTo>
                  <a:pt x="446" y="490"/>
                </a:lnTo>
                <a:lnTo>
                  <a:pt x="444" y="490"/>
                </a:lnTo>
                <a:lnTo>
                  <a:pt x="440" y="490"/>
                </a:lnTo>
                <a:lnTo>
                  <a:pt x="436" y="490"/>
                </a:lnTo>
                <a:lnTo>
                  <a:pt x="436" y="486"/>
                </a:lnTo>
                <a:lnTo>
                  <a:pt x="440" y="486"/>
                </a:lnTo>
                <a:lnTo>
                  <a:pt x="436" y="486"/>
                </a:lnTo>
                <a:lnTo>
                  <a:pt x="436" y="490"/>
                </a:lnTo>
                <a:lnTo>
                  <a:pt x="432" y="490"/>
                </a:lnTo>
                <a:lnTo>
                  <a:pt x="428" y="494"/>
                </a:lnTo>
                <a:lnTo>
                  <a:pt x="424" y="494"/>
                </a:lnTo>
                <a:lnTo>
                  <a:pt x="424" y="490"/>
                </a:lnTo>
                <a:lnTo>
                  <a:pt x="424" y="494"/>
                </a:lnTo>
                <a:lnTo>
                  <a:pt x="428" y="494"/>
                </a:lnTo>
                <a:lnTo>
                  <a:pt x="432" y="490"/>
                </a:lnTo>
                <a:lnTo>
                  <a:pt x="428" y="490"/>
                </a:lnTo>
                <a:lnTo>
                  <a:pt x="424" y="490"/>
                </a:lnTo>
                <a:lnTo>
                  <a:pt x="420" y="494"/>
                </a:lnTo>
                <a:lnTo>
                  <a:pt x="420" y="490"/>
                </a:lnTo>
                <a:lnTo>
                  <a:pt x="416" y="490"/>
                </a:lnTo>
                <a:lnTo>
                  <a:pt x="416" y="494"/>
                </a:lnTo>
                <a:lnTo>
                  <a:pt x="414" y="494"/>
                </a:lnTo>
                <a:lnTo>
                  <a:pt x="416" y="494"/>
                </a:lnTo>
                <a:lnTo>
                  <a:pt x="416" y="496"/>
                </a:lnTo>
                <a:lnTo>
                  <a:pt x="414" y="496"/>
                </a:lnTo>
                <a:lnTo>
                  <a:pt x="410" y="496"/>
                </a:lnTo>
                <a:lnTo>
                  <a:pt x="410" y="500"/>
                </a:lnTo>
                <a:lnTo>
                  <a:pt x="406" y="500"/>
                </a:lnTo>
                <a:lnTo>
                  <a:pt x="406" y="504"/>
                </a:lnTo>
                <a:lnTo>
                  <a:pt x="402" y="504"/>
                </a:lnTo>
                <a:lnTo>
                  <a:pt x="398" y="504"/>
                </a:lnTo>
                <a:lnTo>
                  <a:pt x="394" y="504"/>
                </a:lnTo>
                <a:lnTo>
                  <a:pt x="394" y="508"/>
                </a:lnTo>
                <a:lnTo>
                  <a:pt x="394" y="504"/>
                </a:lnTo>
                <a:lnTo>
                  <a:pt x="394" y="508"/>
                </a:lnTo>
                <a:lnTo>
                  <a:pt x="390" y="508"/>
                </a:lnTo>
                <a:lnTo>
                  <a:pt x="390" y="504"/>
                </a:lnTo>
                <a:lnTo>
                  <a:pt x="390" y="508"/>
                </a:lnTo>
                <a:lnTo>
                  <a:pt x="386" y="512"/>
                </a:lnTo>
                <a:lnTo>
                  <a:pt x="384" y="512"/>
                </a:lnTo>
                <a:lnTo>
                  <a:pt x="384" y="516"/>
                </a:lnTo>
                <a:lnTo>
                  <a:pt x="380" y="520"/>
                </a:lnTo>
                <a:lnTo>
                  <a:pt x="376" y="520"/>
                </a:lnTo>
                <a:lnTo>
                  <a:pt x="372" y="522"/>
                </a:lnTo>
                <a:lnTo>
                  <a:pt x="368" y="522"/>
                </a:lnTo>
                <a:lnTo>
                  <a:pt x="368" y="526"/>
                </a:lnTo>
                <a:lnTo>
                  <a:pt x="368" y="530"/>
                </a:lnTo>
                <a:lnTo>
                  <a:pt x="364" y="534"/>
                </a:lnTo>
                <a:lnTo>
                  <a:pt x="364" y="530"/>
                </a:lnTo>
                <a:lnTo>
                  <a:pt x="360" y="530"/>
                </a:lnTo>
                <a:lnTo>
                  <a:pt x="360" y="534"/>
                </a:lnTo>
                <a:lnTo>
                  <a:pt x="358" y="534"/>
                </a:lnTo>
                <a:lnTo>
                  <a:pt x="360" y="534"/>
                </a:lnTo>
                <a:lnTo>
                  <a:pt x="360" y="538"/>
                </a:lnTo>
                <a:lnTo>
                  <a:pt x="360" y="542"/>
                </a:lnTo>
                <a:lnTo>
                  <a:pt x="358" y="542"/>
                </a:lnTo>
                <a:lnTo>
                  <a:pt x="360" y="542"/>
                </a:lnTo>
                <a:lnTo>
                  <a:pt x="360" y="546"/>
                </a:lnTo>
                <a:lnTo>
                  <a:pt x="360" y="550"/>
                </a:lnTo>
                <a:lnTo>
                  <a:pt x="358" y="550"/>
                </a:lnTo>
                <a:lnTo>
                  <a:pt x="358" y="546"/>
                </a:lnTo>
                <a:lnTo>
                  <a:pt x="358" y="550"/>
                </a:lnTo>
                <a:lnTo>
                  <a:pt x="358" y="552"/>
                </a:lnTo>
                <a:lnTo>
                  <a:pt x="360" y="552"/>
                </a:lnTo>
                <a:lnTo>
                  <a:pt x="358" y="552"/>
                </a:lnTo>
                <a:lnTo>
                  <a:pt x="358" y="556"/>
                </a:lnTo>
                <a:lnTo>
                  <a:pt x="358" y="560"/>
                </a:lnTo>
                <a:lnTo>
                  <a:pt x="360" y="564"/>
                </a:lnTo>
                <a:lnTo>
                  <a:pt x="360" y="566"/>
                </a:lnTo>
                <a:lnTo>
                  <a:pt x="360" y="564"/>
                </a:lnTo>
                <a:lnTo>
                  <a:pt x="358" y="566"/>
                </a:lnTo>
                <a:lnTo>
                  <a:pt x="358" y="570"/>
                </a:lnTo>
                <a:lnTo>
                  <a:pt x="360" y="570"/>
                </a:lnTo>
                <a:lnTo>
                  <a:pt x="358" y="574"/>
                </a:lnTo>
                <a:lnTo>
                  <a:pt x="360" y="574"/>
                </a:lnTo>
                <a:lnTo>
                  <a:pt x="360" y="578"/>
                </a:lnTo>
                <a:lnTo>
                  <a:pt x="358" y="582"/>
                </a:lnTo>
                <a:lnTo>
                  <a:pt x="358" y="590"/>
                </a:lnTo>
                <a:lnTo>
                  <a:pt x="358" y="586"/>
                </a:lnTo>
                <a:lnTo>
                  <a:pt x="358" y="590"/>
                </a:lnTo>
                <a:lnTo>
                  <a:pt x="354" y="594"/>
                </a:lnTo>
                <a:lnTo>
                  <a:pt x="350" y="594"/>
                </a:lnTo>
                <a:lnTo>
                  <a:pt x="350" y="596"/>
                </a:lnTo>
                <a:lnTo>
                  <a:pt x="346" y="596"/>
                </a:lnTo>
                <a:lnTo>
                  <a:pt x="346" y="600"/>
                </a:lnTo>
                <a:lnTo>
                  <a:pt x="346" y="604"/>
                </a:lnTo>
                <a:lnTo>
                  <a:pt x="342" y="604"/>
                </a:lnTo>
                <a:lnTo>
                  <a:pt x="342" y="608"/>
                </a:lnTo>
                <a:lnTo>
                  <a:pt x="338" y="608"/>
                </a:lnTo>
                <a:lnTo>
                  <a:pt x="338" y="612"/>
                </a:lnTo>
                <a:lnTo>
                  <a:pt x="338" y="616"/>
                </a:lnTo>
                <a:lnTo>
                  <a:pt x="338" y="620"/>
                </a:lnTo>
                <a:lnTo>
                  <a:pt x="334" y="620"/>
                </a:lnTo>
                <a:lnTo>
                  <a:pt x="334" y="622"/>
                </a:lnTo>
                <a:lnTo>
                  <a:pt x="334" y="626"/>
                </a:lnTo>
                <a:lnTo>
                  <a:pt x="330" y="630"/>
                </a:lnTo>
                <a:lnTo>
                  <a:pt x="330" y="634"/>
                </a:lnTo>
                <a:lnTo>
                  <a:pt x="328" y="634"/>
                </a:lnTo>
                <a:lnTo>
                  <a:pt x="328" y="638"/>
                </a:lnTo>
                <a:lnTo>
                  <a:pt x="324" y="642"/>
                </a:lnTo>
                <a:lnTo>
                  <a:pt x="324" y="646"/>
                </a:lnTo>
                <a:lnTo>
                  <a:pt x="320" y="650"/>
                </a:lnTo>
                <a:lnTo>
                  <a:pt x="316" y="650"/>
                </a:lnTo>
                <a:lnTo>
                  <a:pt x="312" y="652"/>
                </a:lnTo>
                <a:lnTo>
                  <a:pt x="308" y="656"/>
                </a:lnTo>
                <a:lnTo>
                  <a:pt x="308" y="652"/>
                </a:lnTo>
                <a:lnTo>
                  <a:pt x="312" y="652"/>
                </a:lnTo>
                <a:lnTo>
                  <a:pt x="308" y="652"/>
                </a:lnTo>
                <a:lnTo>
                  <a:pt x="308" y="650"/>
                </a:lnTo>
                <a:lnTo>
                  <a:pt x="312" y="650"/>
                </a:lnTo>
                <a:lnTo>
                  <a:pt x="316" y="650"/>
                </a:lnTo>
                <a:lnTo>
                  <a:pt x="316" y="646"/>
                </a:lnTo>
                <a:lnTo>
                  <a:pt x="320" y="646"/>
                </a:lnTo>
                <a:lnTo>
                  <a:pt x="320" y="642"/>
                </a:lnTo>
                <a:lnTo>
                  <a:pt x="324" y="642"/>
                </a:lnTo>
                <a:lnTo>
                  <a:pt x="324" y="638"/>
                </a:lnTo>
                <a:lnTo>
                  <a:pt x="324" y="634"/>
                </a:lnTo>
                <a:lnTo>
                  <a:pt x="324" y="638"/>
                </a:lnTo>
                <a:lnTo>
                  <a:pt x="328" y="638"/>
                </a:lnTo>
                <a:lnTo>
                  <a:pt x="328" y="634"/>
                </a:lnTo>
                <a:lnTo>
                  <a:pt x="328" y="630"/>
                </a:lnTo>
                <a:lnTo>
                  <a:pt x="330" y="630"/>
                </a:lnTo>
                <a:lnTo>
                  <a:pt x="330" y="626"/>
                </a:lnTo>
                <a:lnTo>
                  <a:pt x="330" y="622"/>
                </a:lnTo>
                <a:lnTo>
                  <a:pt x="330" y="626"/>
                </a:lnTo>
                <a:lnTo>
                  <a:pt x="330" y="622"/>
                </a:lnTo>
                <a:lnTo>
                  <a:pt x="330" y="620"/>
                </a:lnTo>
                <a:lnTo>
                  <a:pt x="330" y="622"/>
                </a:lnTo>
                <a:lnTo>
                  <a:pt x="328" y="622"/>
                </a:lnTo>
                <a:lnTo>
                  <a:pt x="324" y="622"/>
                </a:lnTo>
                <a:lnTo>
                  <a:pt x="324" y="620"/>
                </a:lnTo>
                <a:lnTo>
                  <a:pt x="324" y="616"/>
                </a:lnTo>
                <a:lnTo>
                  <a:pt x="320" y="616"/>
                </a:lnTo>
                <a:lnTo>
                  <a:pt x="320" y="620"/>
                </a:lnTo>
                <a:lnTo>
                  <a:pt x="320" y="622"/>
                </a:lnTo>
                <a:lnTo>
                  <a:pt x="324" y="622"/>
                </a:lnTo>
                <a:lnTo>
                  <a:pt x="320" y="626"/>
                </a:lnTo>
                <a:lnTo>
                  <a:pt x="320" y="630"/>
                </a:lnTo>
                <a:lnTo>
                  <a:pt x="320" y="626"/>
                </a:lnTo>
                <a:lnTo>
                  <a:pt x="320" y="630"/>
                </a:lnTo>
                <a:lnTo>
                  <a:pt x="320" y="634"/>
                </a:lnTo>
                <a:lnTo>
                  <a:pt x="320" y="638"/>
                </a:lnTo>
                <a:lnTo>
                  <a:pt x="316" y="638"/>
                </a:lnTo>
                <a:lnTo>
                  <a:pt x="312" y="642"/>
                </a:lnTo>
                <a:lnTo>
                  <a:pt x="312" y="646"/>
                </a:lnTo>
                <a:lnTo>
                  <a:pt x="308" y="646"/>
                </a:lnTo>
                <a:lnTo>
                  <a:pt x="308" y="650"/>
                </a:lnTo>
                <a:lnTo>
                  <a:pt x="308" y="652"/>
                </a:lnTo>
                <a:lnTo>
                  <a:pt x="308" y="656"/>
                </a:lnTo>
                <a:lnTo>
                  <a:pt x="308" y="660"/>
                </a:lnTo>
                <a:lnTo>
                  <a:pt x="304" y="664"/>
                </a:lnTo>
                <a:lnTo>
                  <a:pt x="304" y="668"/>
                </a:lnTo>
                <a:lnTo>
                  <a:pt x="304" y="672"/>
                </a:lnTo>
                <a:lnTo>
                  <a:pt x="302" y="676"/>
                </a:lnTo>
                <a:lnTo>
                  <a:pt x="298" y="678"/>
                </a:lnTo>
                <a:lnTo>
                  <a:pt x="294" y="682"/>
                </a:lnTo>
                <a:lnTo>
                  <a:pt x="294" y="686"/>
                </a:lnTo>
                <a:lnTo>
                  <a:pt x="290" y="686"/>
                </a:lnTo>
                <a:lnTo>
                  <a:pt x="290" y="682"/>
                </a:lnTo>
                <a:lnTo>
                  <a:pt x="290" y="678"/>
                </a:lnTo>
                <a:lnTo>
                  <a:pt x="290" y="676"/>
                </a:lnTo>
                <a:lnTo>
                  <a:pt x="290" y="672"/>
                </a:lnTo>
                <a:lnTo>
                  <a:pt x="294" y="672"/>
                </a:lnTo>
                <a:lnTo>
                  <a:pt x="294" y="668"/>
                </a:lnTo>
                <a:lnTo>
                  <a:pt x="298" y="668"/>
                </a:lnTo>
                <a:lnTo>
                  <a:pt x="294" y="664"/>
                </a:lnTo>
                <a:lnTo>
                  <a:pt x="290" y="664"/>
                </a:lnTo>
                <a:lnTo>
                  <a:pt x="290" y="660"/>
                </a:lnTo>
                <a:lnTo>
                  <a:pt x="286" y="660"/>
                </a:lnTo>
                <a:lnTo>
                  <a:pt x="286" y="656"/>
                </a:lnTo>
                <a:lnTo>
                  <a:pt x="286" y="652"/>
                </a:lnTo>
                <a:lnTo>
                  <a:pt x="282" y="652"/>
                </a:lnTo>
                <a:lnTo>
                  <a:pt x="282" y="650"/>
                </a:lnTo>
                <a:lnTo>
                  <a:pt x="278" y="650"/>
                </a:lnTo>
                <a:lnTo>
                  <a:pt x="274" y="646"/>
                </a:lnTo>
                <a:lnTo>
                  <a:pt x="274" y="642"/>
                </a:lnTo>
                <a:lnTo>
                  <a:pt x="272" y="642"/>
                </a:lnTo>
                <a:lnTo>
                  <a:pt x="268" y="642"/>
                </a:lnTo>
                <a:lnTo>
                  <a:pt x="264" y="638"/>
                </a:lnTo>
                <a:lnTo>
                  <a:pt x="264" y="634"/>
                </a:lnTo>
                <a:lnTo>
                  <a:pt x="260" y="634"/>
                </a:lnTo>
                <a:lnTo>
                  <a:pt x="260" y="630"/>
                </a:lnTo>
                <a:lnTo>
                  <a:pt x="260" y="634"/>
                </a:lnTo>
                <a:lnTo>
                  <a:pt x="256" y="634"/>
                </a:lnTo>
                <a:lnTo>
                  <a:pt x="252" y="634"/>
                </a:lnTo>
                <a:lnTo>
                  <a:pt x="256" y="634"/>
                </a:lnTo>
                <a:lnTo>
                  <a:pt x="256" y="630"/>
                </a:lnTo>
                <a:lnTo>
                  <a:pt x="252" y="630"/>
                </a:lnTo>
                <a:lnTo>
                  <a:pt x="252" y="626"/>
                </a:lnTo>
                <a:lnTo>
                  <a:pt x="248" y="626"/>
                </a:lnTo>
                <a:lnTo>
                  <a:pt x="248" y="622"/>
                </a:lnTo>
                <a:lnTo>
                  <a:pt x="244" y="622"/>
                </a:lnTo>
                <a:lnTo>
                  <a:pt x="244" y="620"/>
                </a:lnTo>
                <a:lnTo>
                  <a:pt x="242" y="620"/>
                </a:lnTo>
                <a:lnTo>
                  <a:pt x="238" y="620"/>
                </a:lnTo>
                <a:lnTo>
                  <a:pt x="238" y="622"/>
                </a:lnTo>
                <a:lnTo>
                  <a:pt x="234" y="620"/>
                </a:lnTo>
                <a:lnTo>
                  <a:pt x="234" y="622"/>
                </a:lnTo>
                <a:lnTo>
                  <a:pt x="234" y="620"/>
                </a:lnTo>
                <a:lnTo>
                  <a:pt x="230" y="620"/>
                </a:lnTo>
                <a:lnTo>
                  <a:pt x="234" y="620"/>
                </a:lnTo>
                <a:lnTo>
                  <a:pt x="234" y="616"/>
                </a:lnTo>
                <a:lnTo>
                  <a:pt x="238" y="612"/>
                </a:lnTo>
                <a:lnTo>
                  <a:pt x="242" y="612"/>
                </a:lnTo>
                <a:lnTo>
                  <a:pt x="242" y="608"/>
                </a:lnTo>
                <a:lnTo>
                  <a:pt x="244" y="604"/>
                </a:lnTo>
                <a:lnTo>
                  <a:pt x="244" y="600"/>
                </a:lnTo>
                <a:lnTo>
                  <a:pt x="248" y="600"/>
                </a:lnTo>
                <a:lnTo>
                  <a:pt x="248" y="596"/>
                </a:lnTo>
                <a:lnTo>
                  <a:pt x="248" y="594"/>
                </a:lnTo>
                <a:lnTo>
                  <a:pt x="252" y="594"/>
                </a:lnTo>
                <a:lnTo>
                  <a:pt x="252" y="590"/>
                </a:lnTo>
                <a:lnTo>
                  <a:pt x="256" y="590"/>
                </a:lnTo>
                <a:lnTo>
                  <a:pt x="256" y="586"/>
                </a:lnTo>
                <a:lnTo>
                  <a:pt x="260" y="586"/>
                </a:lnTo>
                <a:lnTo>
                  <a:pt x="256" y="586"/>
                </a:lnTo>
                <a:lnTo>
                  <a:pt x="256" y="582"/>
                </a:lnTo>
                <a:lnTo>
                  <a:pt x="260" y="582"/>
                </a:lnTo>
                <a:lnTo>
                  <a:pt x="264" y="582"/>
                </a:lnTo>
                <a:lnTo>
                  <a:pt x="264" y="578"/>
                </a:lnTo>
                <a:lnTo>
                  <a:pt x="268" y="578"/>
                </a:lnTo>
                <a:lnTo>
                  <a:pt x="272" y="574"/>
                </a:lnTo>
                <a:lnTo>
                  <a:pt x="272" y="570"/>
                </a:lnTo>
                <a:lnTo>
                  <a:pt x="274" y="570"/>
                </a:lnTo>
                <a:lnTo>
                  <a:pt x="278" y="570"/>
                </a:lnTo>
                <a:lnTo>
                  <a:pt x="278" y="566"/>
                </a:lnTo>
                <a:lnTo>
                  <a:pt x="282" y="566"/>
                </a:lnTo>
                <a:lnTo>
                  <a:pt x="282" y="564"/>
                </a:lnTo>
                <a:lnTo>
                  <a:pt x="286" y="564"/>
                </a:lnTo>
                <a:lnTo>
                  <a:pt x="286" y="560"/>
                </a:lnTo>
                <a:lnTo>
                  <a:pt x="286" y="556"/>
                </a:lnTo>
                <a:lnTo>
                  <a:pt x="286" y="552"/>
                </a:lnTo>
                <a:lnTo>
                  <a:pt x="286" y="550"/>
                </a:lnTo>
                <a:lnTo>
                  <a:pt x="286" y="546"/>
                </a:lnTo>
                <a:lnTo>
                  <a:pt x="286" y="542"/>
                </a:lnTo>
                <a:lnTo>
                  <a:pt x="286" y="538"/>
                </a:lnTo>
                <a:lnTo>
                  <a:pt x="282" y="534"/>
                </a:lnTo>
                <a:lnTo>
                  <a:pt x="278" y="534"/>
                </a:lnTo>
                <a:lnTo>
                  <a:pt x="278" y="538"/>
                </a:lnTo>
                <a:lnTo>
                  <a:pt x="274" y="538"/>
                </a:lnTo>
                <a:lnTo>
                  <a:pt x="274" y="534"/>
                </a:lnTo>
                <a:lnTo>
                  <a:pt x="274" y="530"/>
                </a:lnTo>
                <a:lnTo>
                  <a:pt x="274" y="526"/>
                </a:lnTo>
                <a:lnTo>
                  <a:pt x="278" y="522"/>
                </a:lnTo>
                <a:lnTo>
                  <a:pt x="278" y="520"/>
                </a:lnTo>
                <a:lnTo>
                  <a:pt x="278" y="516"/>
                </a:lnTo>
                <a:lnTo>
                  <a:pt x="278" y="512"/>
                </a:lnTo>
                <a:lnTo>
                  <a:pt x="278" y="508"/>
                </a:lnTo>
                <a:lnTo>
                  <a:pt x="274" y="504"/>
                </a:lnTo>
                <a:lnTo>
                  <a:pt x="272" y="508"/>
                </a:lnTo>
                <a:lnTo>
                  <a:pt x="268" y="508"/>
                </a:lnTo>
                <a:lnTo>
                  <a:pt x="264" y="508"/>
                </a:lnTo>
                <a:lnTo>
                  <a:pt x="264" y="504"/>
                </a:lnTo>
                <a:lnTo>
                  <a:pt x="264" y="500"/>
                </a:lnTo>
                <a:lnTo>
                  <a:pt x="260" y="500"/>
                </a:lnTo>
                <a:lnTo>
                  <a:pt x="260" y="496"/>
                </a:lnTo>
                <a:lnTo>
                  <a:pt x="260" y="494"/>
                </a:lnTo>
                <a:lnTo>
                  <a:pt x="260" y="490"/>
                </a:lnTo>
                <a:lnTo>
                  <a:pt x="260" y="486"/>
                </a:lnTo>
                <a:lnTo>
                  <a:pt x="260" y="482"/>
                </a:lnTo>
                <a:lnTo>
                  <a:pt x="256" y="482"/>
                </a:lnTo>
                <a:lnTo>
                  <a:pt x="256" y="478"/>
                </a:lnTo>
                <a:lnTo>
                  <a:pt x="252" y="478"/>
                </a:lnTo>
                <a:lnTo>
                  <a:pt x="248" y="478"/>
                </a:lnTo>
                <a:lnTo>
                  <a:pt x="248" y="474"/>
                </a:lnTo>
                <a:lnTo>
                  <a:pt x="244" y="474"/>
                </a:lnTo>
                <a:lnTo>
                  <a:pt x="244" y="478"/>
                </a:lnTo>
                <a:lnTo>
                  <a:pt x="242" y="478"/>
                </a:lnTo>
                <a:lnTo>
                  <a:pt x="238" y="478"/>
                </a:lnTo>
                <a:lnTo>
                  <a:pt x="234" y="478"/>
                </a:lnTo>
                <a:lnTo>
                  <a:pt x="230" y="474"/>
                </a:lnTo>
                <a:lnTo>
                  <a:pt x="226" y="474"/>
                </a:lnTo>
                <a:lnTo>
                  <a:pt x="226" y="470"/>
                </a:lnTo>
                <a:lnTo>
                  <a:pt x="226" y="466"/>
                </a:lnTo>
                <a:lnTo>
                  <a:pt x="226" y="464"/>
                </a:lnTo>
                <a:lnTo>
                  <a:pt x="226" y="460"/>
                </a:lnTo>
                <a:lnTo>
                  <a:pt x="230" y="456"/>
                </a:lnTo>
                <a:lnTo>
                  <a:pt x="226" y="452"/>
                </a:lnTo>
                <a:lnTo>
                  <a:pt x="226" y="448"/>
                </a:lnTo>
                <a:lnTo>
                  <a:pt x="226" y="444"/>
                </a:lnTo>
                <a:lnTo>
                  <a:pt x="222" y="440"/>
                </a:lnTo>
                <a:lnTo>
                  <a:pt x="226" y="438"/>
                </a:lnTo>
                <a:lnTo>
                  <a:pt x="226" y="434"/>
                </a:lnTo>
                <a:lnTo>
                  <a:pt x="222" y="434"/>
                </a:lnTo>
                <a:lnTo>
                  <a:pt x="226" y="434"/>
                </a:lnTo>
                <a:lnTo>
                  <a:pt x="226" y="426"/>
                </a:lnTo>
                <a:lnTo>
                  <a:pt x="226" y="422"/>
                </a:lnTo>
                <a:lnTo>
                  <a:pt x="230" y="422"/>
                </a:lnTo>
                <a:lnTo>
                  <a:pt x="230" y="418"/>
                </a:lnTo>
                <a:lnTo>
                  <a:pt x="230" y="410"/>
                </a:lnTo>
                <a:lnTo>
                  <a:pt x="234" y="408"/>
                </a:lnTo>
                <a:lnTo>
                  <a:pt x="230" y="404"/>
                </a:lnTo>
                <a:lnTo>
                  <a:pt x="230" y="400"/>
                </a:lnTo>
                <a:lnTo>
                  <a:pt x="230" y="396"/>
                </a:lnTo>
                <a:lnTo>
                  <a:pt x="226" y="392"/>
                </a:lnTo>
                <a:lnTo>
                  <a:pt x="222" y="392"/>
                </a:lnTo>
                <a:lnTo>
                  <a:pt x="222" y="388"/>
                </a:lnTo>
                <a:lnTo>
                  <a:pt x="218" y="388"/>
                </a:lnTo>
                <a:lnTo>
                  <a:pt x="218" y="384"/>
                </a:lnTo>
                <a:lnTo>
                  <a:pt x="218" y="382"/>
                </a:lnTo>
                <a:lnTo>
                  <a:pt x="218" y="378"/>
                </a:lnTo>
                <a:lnTo>
                  <a:pt x="222" y="378"/>
                </a:lnTo>
                <a:lnTo>
                  <a:pt x="222" y="374"/>
                </a:lnTo>
                <a:lnTo>
                  <a:pt x="218" y="374"/>
                </a:lnTo>
                <a:lnTo>
                  <a:pt x="212" y="374"/>
                </a:lnTo>
                <a:lnTo>
                  <a:pt x="204" y="374"/>
                </a:lnTo>
                <a:lnTo>
                  <a:pt x="196" y="374"/>
                </a:lnTo>
                <a:lnTo>
                  <a:pt x="196" y="366"/>
                </a:lnTo>
                <a:lnTo>
                  <a:pt x="192" y="358"/>
                </a:lnTo>
                <a:lnTo>
                  <a:pt x="192" y="354"/>
                </a:lnTo>
                <a:lnTo>
                  <a:pt x="188" y="352"/>
                </a:lnTo>
                <a:lnTo>
                  <a:pt x="192" y="352"/>
                </a:lnTo>
                <a:lnTo>
                  <a:pt x="192" y="348"/>
                </a:lnTo>
                <a:lnTo>
                  <a:pt x="192" y="344"/>
                </a:lnTo>
                <a:lnTo>
                  <a:pt x="192" y="340"/>
                </a:lnTo>
                <a:lnTo>
                  <a:pt x="192" y="336"/>
                </a:lnTo>
                <a:lnTo>
                  <a:pt x="188" y="336"/>
                </a:lnTo>
                <a:lnTo>
                  <a:pt x="192" y="332"/>
                </a:lnTo>
                <a:lnTo>
                  <a:pt x="192" y="328"/>
                </a:lnTo>
                <a:lnTo>
                  <a:pt x="188" y="328"/>
                </a:lnTo>
                <a:lnTo>
                  <a:pt x="186" y="326"/>
                </a:lnTo>
                <a:lnTo>
                  <a:pt x="182" y="326"/>
                </a:lnTo>
                <a:lnTo>
                  <a:pt x="178" y="326"/>
                </a:lnTo>
                <a:lnTo>
                  <a:pt x="174" y="326"/>
                </a:lnTo>
                <a:lnTo>
                  <a:pt x="170" y="326"/>
                </a:lnTo>
                <a:lnTo>
                  <a:pt x="170" y="322"/>
                </a:lnTo>
                <a:lnTo>
                  <a:pt x="166" y="322"/>
                </a:lnTo>
                <a:lnTo>
                  <a:pt x="166" y="318"/>
                </a:lnTo>
                <a:lnTo>
                  <a:pt x="162" y="318"/>
                </a:lnTo>
                <a:lnTo>
                  <a:pt x="160" y="314"/>
                </a:lnTo>
                <a:lnTo>
                  <a:pt x="156" y="314"/>
                </a:lnTo>
                <a:lnTo>
                  <a:pt x="156" y="310"/>
                </a:lnTo>
                <a:lnTo>
                  <a:pt x="152" y="310"/>
                </a:lnTo>
                <a:lnTo>
                  <a:pt x="148" y="310"/>
                </a:lnTo>
                <a:lnTo>
                  <a:pt x="148" y="306"/>
                </a:lnTo>
                <a:lnTo>
                  <a:pt x="144" y="306"/>
                </a:lnTo>
                <a:lnTo>
                  <a:pt x="140" y="306"/>
                </a:lnTo>
                <a:lnTo>
                  <a:pt x="136" y="306"/>
                </a:lnTo>
                <a:lnTo>
                  <a:pt x="132" y="302"/>
                </a:lnTo>
                <a:lnTo>
                  <a:pt x="130" y="298"/>
                </a:lnTo>
                <a:lnTo>
                  <a:pt x="126" y="298"/>
                </a:lnTo>
                <a:lnTo>
                  <a:pt x="126" y="296"/>
                </a:lnTo>
                <a:lnTo>
                  <a:pt x="126" y="292"/>
                </a:lnTo>
                <a:lnTo>
                  <a:pt x="126" y="296"/>
                </a:lnTo>
                <a:lnTo>
                  <a:pt x="126" y="292"/>
                </a:lnTo>
                <a:lnTo>
                  <a:pt x="122" y="288"/>
                </a:lnTo>
                <a:lnTo>
                  <a:pt x="122" y="284"/>
                </a:lnTo>
                <a:lnTo>
                  <a:pt x="122" y="280"/>
                </a:lnTo>
                <a:lnTo>
                  <a:pt x="122" y="276"/>
                </a:lnTo>
                <a:lnTo>
                  <a:pt x="122" y="272"/>
                </a:lnTo>
                <a:lnTo>
                  <a:pt x="122" y="268"/>
                </a:lnTo>
                <a:lnTo>
                  <a:pt x="122" y="266"/>
                </a:lnTo>
                <a:lnTo>
                  <a:pt x="122" y="262"/>
                </a:lnTo>
                <a:lnTo>
                  <a:pt x="122" y="258"/>
                </a:lnTo>
                <a:lnTo>
                  <a:pt x="118" y="258"/>
                </a:lnTo>
                <a:lnTo>
                  <a:pt x="118" y="262"/>
                </a:lnTo>
                <a:lnTo>
                  <a:pt x="118" y="258"/>
                </a:lnTo>
                <a:lnTo>
                  <a:pt x="116" y="258"/>
                </a:lnTo>
                <a:lnTo>
                  <a:pt x="112" y="258"/>
                </a:lnTo>
                <a:lnTo>
                  <a:pt x="108" y="262"/>
                </a:lnTo>
                <a:lnTo>
                  <a:pt x="104" y="262"/>
                </a:lnTo>
                <a:lnTo>
                  <a:pt x="100" y="266"/>
                </a:lnTo>
                <a:lnTo>
                  <a:pt x="100" y="268"/>
                </a:lnTo>
                <a:lnTo>
                  <a:pt x="96" y="268"/>
                </a:lnTo>
                <a:lnTo>
                  <a:pt x="92" y="268"/>
                </a:lnTo>
                <a:lnTo>
                  <a:pt x="92" y="272"/>
                </a:lnTo>
                <a:lnTo>
                  <a:pt x="88" y="272"/>
                </a:lnTo>
                <a:lnTo>
                  <a:pt x="88" y="276"/>
                </a:lnTo>
                <a:lnTo>
                  <a:pt x="88" y="272"/>
                </a:lnTo>
                <a:lnTo>
                  <a:pt x="86" y="272"/>
                </a:lnTo>
                <a:lnTo>
                  <a:pt x="86" y="276"/>
                </a:lnTo>
                <a:lnTo>
                  <a:pt x="82" y="276"/>
                </a:lnTo>
                <a:lnTo>
                  <a:pt x="82" y="280"/>
                </a:lnTo>
                <a:lnTo>
                  <a:pt x="78" y="280"/>
                </a:lnTo>
                <a:lnTo>
                  <a:pt x="78" y="284"/>
                </a:lnTo>
                <a:lnTo>
                  <a:pt x="74" y="284"/>
                </a:lnTo>
                <a:lnTo>
                  <a:pt x="74" y="280"/>
                </a:lnTo>
                <a:lnTo>
                  <a:pt x="70" y="280"/>
                </a:lnTo>
                <a:lnTo>
                  <a:pt x="66" y="280"/>
                </a:lnTo>
                <a:lnTo>
                  <a:pt x="62" y="280"/>
                </a:lnTo>
                <a:lnTo>
                  <a:pt x="60" y="280"/>
                </a:lnTo>
                <a:lnTo>
                  <a:pt x="56" y="280"/>
                </a:lnTo>
                <a:lnTo>
                  <a:pt x="52" y="280"/>
                </a:lnTo>
                <a:lnTo>
                  <a:pt x="48" y="280"/>
                </a:lnTo>
                <a:lnTo>
                  <a:pt x="48" y="276"/>
                </a:lnTo>
                <a:lnTo>
                  <a:pt x="48" y="272"/>
                </a:lnTo>
                <a:lnTo>
                  <a:pt x="48" y="268"/>
                </a:lnTo>
                <a:lnTo>
                  <a:pt x="48" y="266"/>
                </a:lnTo>
                <a:lnTo>
                  <a:pt x="48" y="262"/>
                </a:lnTo>
                <a:lnTo>
                  <a:pt x="48" y="258"/>
                </a:lnTo>
                <a:lnTo>
                  <a:pt x="48" y="254"/>
                </a:lnTo>
                <a:lnTo>
                  <a:pt x="44" y="258"/>
                </a:lnTo>
                <a:lnTo>
                  <a:pt x="44" y="262"/>
                </a:lnTo>
                <a:lnTo>
                  <a:pt x="40" y="262"/>
                </a:lnTo>
                <a:lnTo>
                  <a:pt x="36" y="262"/>
                </a:lnTo>
                <a:lnTo>
                  <a:pt x="32" y="262"/>
                </a:lnTo>
                <a:lnTo>
                  <a:pt x="30" y="262"/>
                </a:lnTo>
                <a:lnTo>
                  <a:pt x="26" y="262"/>
                </a:lnTo>
                <a:lnTo>
                  <a:pt x="26" y="258"/>
                </a:lnTo>
                <a:lnTo>
                  <a:pt x="26" y="254"/>
                </a:lnTo>
                <a:lnTo>
                  <a:pt x="22" y="254"/>
                </a:lnTo>
                <a:lnTo>
                  <a:pt x="18" y="254"/>
                </a:lnTo>
                <a:lnTo>
                  <a:pt x="14" y="254"/>
                </a:lnTo>
                <a:lnTo>
                  <a:pt x="10" y="254"/>
                </a:lnTo>
                <a:lnTo>
                  <a:pt x="10" y="250"/>
                </a:lnTo>
                <a:lnTo>
                  <a:pt x="14" y="250"/>
                </a:lnTo>
                <a:lnTo>
                  <a:pt x="14" y="246"/>
                </a:lnTo>
                <a:lnTo>
                  <a:pt x="14" y="242"/>
                </a:lnTo>
                <a:lnTo>
                  <a:pt x="10" y="242"/>
                </a:lnTo>
                <a:lnTo>
                  <a:pt x="10" y="240"/>
                </a:lnTo>
                <a:lnTo>
                  <a:pt x="6" y="236"/>
                </a:lnTo>
                <a:lnTo>
                  <a:pt x="6" y="232"/>
                </a:lnTo>
                <a:lnTo>
                  <a:pt x="6" y="228"/>
                </a:lnTo>
                <a:lnTo>
                  <a:pt x="4" y="228"/>
                </a:lnTo>
                <a:lnTo>
                  <a:pt x="4" y="224"/>
                </a:lnTo>
                <a:lnTo>
                  <a:pt x="0" y="220"/>
                </a:lnTo>
                <a:lnTo>
                  <a:pt x="0" y="216"/>
                </a:lnTo>
                <a:lnTo>
                  <a:pt x="4" y="216"/>
                </a:lnTo>
                <a:lnTo>
                  <a:pt x="4" y="212"/>
                </a:lnTo>
                <a:lnTo>
                  <a:pt x="4" y="210"/>
                </a:lnTo>
                <a:lnTo>
                  <a:pt x="6" y="206"/>
                </a:lnTo>
                <a:lnTo>
                  <a:pt x="10" y="206"/>
                </a:lnTo>
                <a:lnTo>
                  <a:pt x="10" y="202"/>
                </a:lnTo>
                <a:lnTo>
                  <a:pt x="14" y="202"/>
                </a:lnTo>
                <a:lnTo>
                  <a:pt x="10" y="198"/>
                </a:lnTo>
                <a:lnTo>
                  <a:pt x="10" y="194"/>
                </a:lnTo>
                <a:lnTo>
                  <a:pt x="10" y="190"/>
                </a:lnTo>
                <a:lnTo>
                  <a:pt x="14" y="190"/>
                </a:lnTo>
                <a:lnTo>
                  <a:pt x="14" y="186"/>
                </a:lnTo>
                <a:lnTo>
                  <a:pt x="14" y="184"/>
                </a:lnTo>
                <a:lnTo>
                  <a:pt x="14" y="180"/>
                </a:lnTo>
                <a:lnTo>
                  <a:pt x="18" y="180"/>
                </a:lnTo>
                <a:lnTo>
                  <a:pt x="22" y="176"/>
                </a:lnTo>
                <a:lnTo>
                  <a:pt x="22" y="172"/>
                </a:lnTo>
                <a:lnTo>
                  <a:pt x="26" y="172"/>
                </a:lnTo>
                <a:lnTo>
                  <a:pt x="30" y="172"/>
                </a:lnTo>
                <a:lnTo>
                  <a:pt x="30" y="168"/>
                </a:lnTo>
                <a:lnTo>
                  <a:pt x="32" y="168"/>
                </a:lnTo>
                <a:lnTo>
                  <a:pt x="36" y="168"/>
                </a:lnTo>
                <a:lnTo>
                  <a:pt x="40" y="164"/>
                </a:lnTo>
                <a:lnTo>
                  <a:pt x="40" y="168"/>
                </a:lnTo>
                <a:lnTo>
                  <a:pt x="44" y="168"/>
                </a:lnTo>
                <a:lnTo>
                  <a:pt x="44" y="164"/>
                </a:lnTo>
                <a:lnTo>
                  <a:pt x="48" y="164"/>
                </a:lnTo>
                <a:lnTo>
                  <a:pt x="52" y="164"/>
                </a:lnTo>
                <a:lnTo>
                  <a:pt x="52" y="160"/>
                </a:lnTo>
                <a:lnTo>
                  <a:pt x="52" y="164"/>
                </a:lnTo>
                <a:lnTo>
                  <a:pt x="56" y="164"/>
                </a:lnTo>
                <a:lnTo>
                  <a:pt x="60" y="164"/>
                </a:lnTo>
                <a:lnTo>
                  <a:pt x="60" y="156"/>
                </a:lnTo>
                <a:lnTo>
                  <a:pt x="60" y="150"/>
                </a:lnTo>
                <a:lnTo>
                  <a:pt x="62" y="136"/>
                </a:lnTo>
                <a:lnTo>
                  <a:pt x="62" y="132"/>
                </a:lnTo>
                <a:lnTo>
                  <a:pt x="62" y="124"/>
                </a:lnTo>
                <a:lnTo>
                  <a:pt x="62" y="116"/>
                </a:lnTo>
                <a:lnTo>
                  <a:pt x="66" y="116"/>
                </a:lnTo>
                <a:lnTo>
                  <a:pt x="66" y="114"/>
                </a:lnTo>
                <a:lnTo>
                  <a:pt x="66" y="110"/>
                </a:lnTo>
                <a:lnTo>
                  <a:pt x="62" y="110"/>
                </a:lnTo>
                <a:lnTo>
                  <a:pt x="66" y="110"/>
                </a:lnTo>
                <a:lnTo>
                  <a:pt x="62" y="110"/>
                </a:lnTo>
                <a:lnTo>
                  <a:pt x="62" y="106"/>
                </a:lnTo>
                <a:lnTo>
                  <a:pt x="62" y="102"/>
                </a:lnTo>
                <a:lnTo>
                  <a:pt x="60" y="102"/>
                </a:lnTo>
                <a:lnTo>
                  <a:pt x="60" y="98"/>
                </a:lnTo>
                <a:lnTo>
                  <a:pt x="56" y="94"/>
                </a:lnTo>
                <a:lnTo>
                  <a:pt x="56" y="90"/>
                </a:lnTo>
                <a:lnTo>
                  <a:pt x="56" y="86"/>
                </a:lnTo>
                <a:lnTo>
                  <a:pt x="56" y="84"/>
                </a:lnTo>
                <a:lnTo>
                  <a:pt x="60" y="84"/>
                </a:lnTo>
                <a:lnTo>
                  <a:pt x="62" y="80"/>
                </a:lnTo>
                <a:lnTo>
                  <a:pt x="66" y="80"/>
                </a:lnTo>
                <a:lnTo>
                  <a:pt x="66" y="84"/>
                </a:lnTo>
                <a:lnTo>
                  <a:pt x="70" y="84"/>
                </a:lnTo>
                <a:lnTo>
                  <a:pt x="70" y="80"/>
                </a:lnTo>
                <a:lnTo>
                  <a:pt x="66" y="76"/>
                </a:lnTo>
                <a:lnTo>
                  <a:pt x="62" y="76"/>
                </a:lnTo>
                <a:lnTo>
                  <a:pt x="60" y="76"/>
                </a:lnTo>
                <a:lnTo>
                  <a:pt x="60" y="64"/>
                </a:lnTo>
                <a:lnTo>
                  <a:pt x="62" y="60"/>
                </a:lnTo>
                <a:lnTo>
                  <a:pt x="66" y="64"/>
                </a:lnTo>
                <a:lnTo>
                  <a:pt x="70" y="64"/>
                </a:lnTo>
                <a:lnTo>
                  <a:pt x="74" y="64"/>
                </a:lnTo>
                <a:lnTo>
                  <a:pt x="82" y="64"/>
                </a:lnTo>
                <a:lnTo>
                  <a:pt x="82" y="60"/>
                </a:lnTo>
                <a:lnTo>
                  <a:pt x="82" y="56"/>
                </a:lnTo>
                <a:lnTo>
                  <a:pt x="82" y="60"/>
                </a:lnTo>
                <a:lnTo>
                  <a:pt x="86" y="60"/>
                </a:lnTo>
                <a:lnTo>
                  <a:pt x="86" y="64"/>
                </a:lnTo>
                <a:lnTo>
                  <a:pt x="86" y="60"/>
                </a:lnTo>
                <a:lnTo>
                  <a:pt x="88" y="60"/>
                </a:lnTo>
                <a:lnTo>
                  <a:pt x="88" y="56"/>
                </a:lnTo>
                <a:lnTo>
                  <a:pt x="92" y="56"/>
                </a:lnTo>
                <a:lnTo>
                  <a:pt x="96" y="56"/>
                </a:lnTo>
                <a:lnTo>
                  <a:pt x="96" y="60"/>
                </a:lnTo>
                <a:lnTo>
                  <a:pt x="96" y="64"/>
                </a:lnTo>
                <a:lnTo>
                  <a:pt x="100" y="68"/>
                </a:lnTo>
                <a:lnTo>
                  <a:pt x="96" y="68"/>
                </a:lnTo>
                <a:lnTo>
                  <a:pt x="96" y="72"/>
                </a:lnTo>
                <a:lnTo>
                  <a:pt x="100" y="72"/>
                </a:lnTo>
                <a:lnTo>
                  <a:pt x="104" y="72"/>
                </a:lnTo>
                <a:lnTo>
                  <a:pt x="108" y="80"/>
                </a:lnTo>
                <a:lnTo>
                  <a:pt x="112" y="80"/>
                </a:lnTo>
                <a:lnTo>
                  <a:pt x="116" y="80"/>
                </a:lnTo>
                <a:lnTo>
                  <a:pt x="116" y="76"/>
                </a:lnTo>
                <a:lnTo>
                  <a:pt x="118" y="76"/>
                </a:lnTo>
                <a:lnTo>
                  <a:pt x="118" y="80"/>
                </a:lnTo>
                <a:lnTo>
                  <a:pt x="118" y="84"/>
                </a:lnTo>
                <a:lnTo>
                  <a:pt x="118" y="80"/>
                </a:lnTo>
                <a:lnTo>
                  <a:pt x="122" y="80"/>
                </a:lnTo>
                <a:lnTo>
                  <a:pt x="122" y="76"/>
                </a:lnTo>
                <a:lnTo>
                  <a:pt x="126" y="76"/>
                </a:lnTo>
                <a:lnTo>
                  <a:pt x="126" y="72"/>
                </a:lnTo>
                <a:lnTo>
                  <a:pt x="130" y="72"/>
                </a:lnTo>
                <a:lnTo>
                  <a:pt x="132" y="68"/>
                </a:lnTo>
                <a:lnTo>
                  <a:pt x="136" y="68"/>
                </a:lnTo>
                <a:lnTo>
                  <a:pt x="140" y="64"/>
                </a:lnTo>
                <a:lnTo>
                  <a:pt x="140" y="60"/>
                </a:lnTo>
                <a:lnTo>
                  <a:pt x="140" y="56"/>
                </a:lnTo>
                <a:lnTo>
                  <a:pt x="144" y="56"/>
                </a:lnTo>
                <a:lnTo>
                  <a:pt x="148" y="56"/>
                </a:lnTo>
                <a:lnTo>
                  <a:pt x="148" y="54"/>
                </a:lnTo>
                <a:lnTo>
                  <a:pt x="152" y="54"/>
                </a:lnTo>
                <a:lnTo>
                  <a:pt x="152" y="50"/>
                </a:lnTo>
                <a:lnTo>
                  <a:pt x="148" y="50"/>
                </a:lnTo>
                <a:lnTo>
                  <a:pt x="144" y="50"/>
                </a:lnTo>
                <a:lnTo>
                  <a:pt x="140" y="50"/>
                </a:lnTo>
                <a:lnTo>
                  <a:pt x="140" y="46"/>
                </a:lnTo>
                <a:lnTo>
                  <a:pt x="140" y="42"/>
                </a:lnTo>
                <a:lnTo>
                  <a:pt x="140" y="38"/>
                </a:lnTo>
                <a:lnTo>
                  <a:pt x="136" y="38"/>
                </a:lnTo>
                <a:lnTo>
                  <a:pt x="136" y="34"/>
                </a:lnTo>
                <a:lnTo>
                  <a:pt x="136" y="30"/>
                </a:lnTo>
                <a:lnTo>
                  <a:pt x="136" y="28"/>
                </a:lnTo>
                <a:lnTo>
                  <a:pt x="132" y="28"/>
                </a:lnTo>
                <a:lnTo>
                  <a:pt x="132" y="24"/>
                </a:lnTo>
                <a:lnTo>
                  <a:pt x="130" y="24"/>
                </a:lnTo>
                <a:lnTo>
                  <a:pt x="130" y="20"/>
                </a:lnTo>
                <a:lnTo>
                  <a:pt x="132" y="20"/>
                </a:lnTo>
                <a:lnTo>
                  <a:pt x="132" y="24"/>
                </a:lnTo>
                <a:lnTo>
                  <a:pt x="136" y="20"/>
                </a:lnTo>
                <a:lnTo>
                  <a:pt x="136" y="24"/>
                </a:lnTo>
                <a:lnTo>
                  <a:pt x="140" y="24"/>
                </a:lnTo>
                <a:lnTo>
                  <a:pt x="140" y="28"/>
                </a:lnTo>
                <a:lnTo>
                  <a:pt x="140" y="24"/>
                </a:lnTo>
                <a:lnTo>
                  <a:pt x="144" y="24"/>
                </a:lnTo>
                <a:lnTo>
                  <a:pt x="148" y="24"/>
                </a:lnTo>
                <a:lnTo>
                  <a:pt x="148" y="28"/>
                </a:lnTo>
                <a:lnTo>
                  <a:pt x="148" y="24"/>
                </a:lnTo>
                <a:lnTo>
                  <a:pt x="152" y="24"/>
                </a:lnTo>
                <a:lnTo>
                  <a:pt x="152" y="28"/>
                </a:lnTo>
                <a:lnTo>
                  <a:pt x="156" y="30"/>
                </a:lnTo>
                <a:lnTo>
                  <a:pt x="160" y="30"/>
                </a:lnTo>
                <a:lnTo>
                  <a:pt x="160" y="28"/>
                </a:lnTo>
                <a:lnTo>
                  <a:pt x="160" y="24"/>
                </a:lnTo>
                <a:lnTo>
                  <a:pt x="162" y="24"/>
                </a:lnTo>
                <a:lnTo>
                  <a:pt x="162" y="20"/>
                </a:lnTo>
                <a:lnTo>
                  <a:pt x="166" y="20"/>
                </a:lnTo>
                <a:lnTo>
                  <a:pt x="166" y="24"/>
                </a:lnTo>
                <a:lnTo>
                  <a:pt x="170" y="20"/>
                </a:lnTo>
                <a:lnTo>
                  <a:pt x="174" y="20"/>
                </a:lnTo>
                <a:lnTo>
                  <a:pt x="178" y="20"/>
                </a:lnTo>
                <a:lnTo>
                  <a:pt x="178" y="16"/>
                </a:lnTo>
                <a:lnTo>
                  <a:pt x="182" y="16"/>
                </a:lnTo>
                <a:lnTo>
                  <a:pt x="186" y="16"/>
                </a:lnTo>
                <a:lnTo>
                  <a:pt x="186" y="12"/>
                </a:lnTo>
                <a:lnTo>
                  <a:pt x="188" y="12"/>
                </a:lnTo>
                <a:lnTo>
                  <a:pt x="188" y="8"/>
                </a:lnTo>
                <a:lnTo>
                  <a:pt x="188" y="4"/>
                </a:lnTo>
                <a:lnTo>
                  <a:pt x="192" y="4"/>
                </a:lnTo>
                <a:lnTo>
                  <a:pt x="192" y="0"/>
                </a:lnTo>
                <a:lnTo>
                  <a:pt x="196" y="0"/>
                </a:lnTo>
                <a:lnTo>
                  <a:pt x="196" y="4"/>
                </a:lnTo>
                <a:lnTo>
                  <a:pt x="196" y="8"/>
                </a:lnTo>
                <a:lnTo>
                  <a:pt x="196" y="12"/>
                </a:lnTo>
                <a:lnTo>
                  <a:pt x="196" y="16"/>
                </a:lnTo>
                <a:lnTo>
                  <a:pt x="200" y="16"/>
                </a:lnTo>
                <a:lnTo>
                  <a:pt x="204" y="16"/>
                </a:lnTo>
                <a:lnTo>
                  <a:pt x="200" y="20"/>
                </a:lnTo>
                <a:lnTo>
                  <a:pt x="204" y="24"/>
                </a:lnTo>
                <a:lnTo>
                  <a:pt x="204" y="28"/>
                </a:lnTo>
                <a:lnTo>
                  <a:pt x="200" y="30"/>
                </a:lnTo>
                <a:lnTo>
                  <a:pt x="200" y="34"/>
                </a:lnTo>
                <a:lnTo>
                  <a:pt x="200" y="38"/>
                </a:lnTo>
                <a:lnTo>
                  <a:pt x="196" y="42"/>
                </a:lnTo>
                <a:lnTo>
                  <a:pt x="196" y="46"/>
                </a:lnTo>
                <a:lnTo>
                  <a:pt x="196" y="50"/>
                </a:lnTo>
                <a:lnTo>
                  <a:pt x="200" y="50"/>
                </a:lnTo>
                <a:lnTo>
                  <a:pt x="200" y="54"/>
                </a:lnTo>
                <a:lnTo>
                  <a:pt x="200" y="56"/>
                </a:lnTo>
                <a:lnTo>
                  <a:pt x="200" y="60"/>
                </a:lnTo>
                <a:lnTo>
                  <a:pt x="204" y="60"/>
                </a:lnTo>
                <a:lnTo>
                  <a:pt x="204" y="64"/>
                </a:lnTo>
                <a:lnTo>
                  <a:pt x="208" y="64"/>
                </a:lnTo>
                <a:lnTo>
                  <a:pt x="208" y="68"/>
                </a:lnTo>
                <a:lnTo>
                  <a:pt x="212" y="68"/>
                </a:lnTo>
                <a:lnTo>
                  <a:pt x="212" y="72"/>
                </a:lnTo>
                <a:lnTo>
                  <a:pt x="216" y="72"/>
                </a:lnTo>
                <a:lnTo>
                  <a:pt x="218" y="72"/>
                </a:lnTo>
                <a:lnTo>
                  <a:pt x="218" y="68"/>
                </a:lnTo>
                <a:lnTo>
                  <a:pt x="222" y="64"/>
                </a:lnTo>
                <a:lnTo>
                  <a:pt x="222" y="68"/>
                </a:lnTo>
                <a:lnTo>
                  <a:pt x="226" y="68"/>
                </a:lnTo>
                <a:lnTo>
                  <a:pt x="226" y="64"/>
                </a:lnTo>
                <a:lnTo>
                  <a:pt x="230" y="64"/>
                </a:lnTo>
                <a:lnTo>
                  <a:pt x="234" y="64"/>
                </a:lnTo>
                <a:lnTo>
                  <a:pt x="234" y="60"/>
                </a:lnTo>
                <a:lnTo>
                  <a:pt x="234" y="56"/>
                </a:lnTo>
                <a:lnTo>
                  <a:pt x="238" y="56"/>
                </a:lnTo>
                <a:lnTo>
                  <a:pt x="238" y="60"/>
                </a:lnTo>
                <a:lnTo>
                  <a:pt x="238" y="56"/>
                </a:lnTo>
                <a:lnTo>
                  <a:pt x="242" y="60"/>
                </a:lnTo>
                <a:lnTo>
                  <a:pt x="244" y="60"/>
                </a:lnTo>
                <a:lnTo>
                  <a:pt x="248" y="60"/>
                </a:lnTo>
                <a:lnTo>
                  <a:pt x="252" y="60"/>
                </a:lnTo>
                <a:lnTo>
                  <a:pt x="256" y="60"/>
                </a:lnTo>
                <a:lnTo>
                  <a:pt x="256" y="56"/>
                </a:lnTo>
                <a:lnTo>
                  <a:pt x="252" y="54"/>
                </a:lnTo>
                <a:lnTo>
                  <a:pt x="252" y="50"/>
                </a:lnTo>
                <a:lnTo>
                  <a:pt x="256" y="50"/>
                </a:lnTo>
                <a:lnTo>
                  <a:pt x="260" y="54"/>
                </a:lnTo>
                <a:lnTo>
                  <a:pt x="260" y="50"/>
                </a:lnTo>
                <a:lnTo>
                  <a:pt x="268" y="50"/>
                </a:lnTo>
                <a:lnTo>
                  <a:pt x="272" y="50"/>
                </a:lnTo>
                <a:lnTo>
                  <a:pt x="272" y="54"/>
                </a:lnTo>
                <a:lnTo>
                  <a:pt x="274" y="54"/>
                </a:lnTo>
                <a:lnTo>
                  <a:pt x="278" y="56"/>
                </a:lnTo>
                <a:lnTo>
                  <a:pt x="282" y="56"/>
                </a:lnTo>
                <a:lnTo>
                  <a:pt x="282" y="54"/>
                </a:lnTo>
                <a:lnTo>
                  <a:pt x="286" y="54"/>
                </a:lnTo>
                <a:lnTo>
                  <a:pt x="290" y="54"/>
                </a:lnTo>
                <a:lnTo>
                  <a:pt x="294" y="54"/>
                </a:lnTo>
                <a:lnTo>
                  <a:pt x="298" y="54"/>
                </a:lnTo>
                <a:lnTo>
                  <a:pt x="298" y="56"/>
                </a:lnTo>
                <a:lnTo>
                  <a:pt x="298" y="54"/>
                </a:lnTo>
                <a:lnTo>
                  <a:pt x="302" y="54"/>
                </a:lnTo>
                <a:lnTo>
                  <a:pt x="302" y="50"/>
                </a:lnTo>
                <a:lnTo>
                  <a:pt x="304" y="50"/>
                </a:lnTo>
                <a:lnTo>
                  <a:pt x="304" y="46"/>
                </a:lnTo>
                <a:lnTo>
                  <a:pt x="304" y="42"/>
                </a:lnTo>
                <a:lnTo>
                  <a:pt x="304" y="38"/>
                </a:lnTo>
                <a:lnTo>
                  <a:pt x="308" y="38"/>
                </a:lnTo>
                <a:lnTo>
                  <a:pt x="308" y="34"/>
                </a:lnTo>
                <a:lnTo>
                  <a:pt x="312" y="30"/>
                </a:lnTo>
                <a:lnTo>
                  <a:pt x="312" y="28"/>
                </a:lnTo>
                <a:lnTo>
                  <a:pt x="312" y="24"/>
                </a:lnTo>
                <a:lnTo>
                  <a:pt x="316" y="24"/>
                </a:lnTo>
                <a:lnTo>
                  <a:pt x="316" y="20"/>
                </a:lnTo>
                <a:lnTo>
                  <a:pt x="320" y="24"/>
                </a:lnTo>
                <a:lnTo>
                  <a:pt x="316" y="20"/>
                </a:lnTo>
                <a:lnTo>
                  <a:pt x="316" y="16"/>
                </a:lnTo>
                <a:lnTo>
                  <a:pt x="320" y="20"/>
                </a:lnTo>
                <a:lnTo>
                  <a:pt x="324" y="24"/>
                </a:lnTo>
                <a:lnTo>
                  <a:pt x="324" y="28"/>
                </a:lnTo>
                <a:lnTo>
                  <a:pt x="324" y="30"/>
                </a:lnTo>
                <a:lnTo>
                  <a:pt x="324" y="34"/>
                </a:lnTo>
                <a:lnTo>
                  <a:pt x="324" y="38"/>
                </a:lnTo>
                <a:lnTo>
                  <a:pt x="324" y="42"/>
                </a:lnTo>
                <a:lnTo>
                  <a:pt x="328" y="42"/>
                </a:lnTo>
                <a:lnTo>
                  <a:pt x="328" y="46"/>
                </a:lnTo>
                <a:lnTo>
                  <a:pt x="328" y="50"/>
                </a:lnTo>
                <a:lnTo>
                  <a:pt x="330" y="56"/>
                </a:lnTo>
                <a:lnTo>
                  <a:pt x="330" y="60"/>
                </a:lnTo>
                <a:lnTo>
                  <a:pt x="334" y="60"/>
                </a:lnTo>
                <a:lnTo>
                  <a:pt x="338" y="60"/>
                </a:lnTo>
                <a:lnTo>
                  <a:pt x="342" y="64"/>
                </a:lnTo>
                <a:lnTo>
                  <a:pt x="342" y="68"/>
                </a:lnTo>
                <a:lnTo>
                  <a:pt x="338" y="72"/>
                </a:lnTo>
                <a:lnTo>
                  <a:pt x="342" y="72"/>
                </a:lnTo>
                <a:lnTo>
                  <a:pt x="338" y="72"/>
                </a:lnTo>
                <a:lnTo>
                  <a:pt x="338" y="76"/>
                </a:lnTo>
                <a:lnTo>
                  <a:pt x="334" y="76"/>
                </a:lnTo>
                <a:lnTo>
                  <a:pt x="334" y="80"/>
                </a:lnTo>
                <a:lnTo>
                  <a:pt x="330" y="84"/>
                </a:lnTo>
                <a:lnTo>
                  <a:pt x="330" y="86"/>
                </a:lnTo>
                <a:lnTo>
                  <a:pt x="328" y="90"/>
                </a:lnTo>
                <a:lnTo>
                  <a:pt x="324" y="90"/>
                </a:lnTo>
                <a:lnTo>
                  <a:pt x="324" y="94"/>
                </a:lnTo>
                <a:lnTo>
                  <a:pt x="320" y="94"/>
                </a:lnTo>
                <a:lnTo>
                  <a:pt x="320" y="98"/>
                </a:lnTo>
                <a:lnTo>
                  <a:pt x="320" y="102"/>
                </a:lnTo>
                <a:lnTo>
                  <a:pt x="316" y="102"/>
                </a:lnTo>
                <a:lnTo>
                  <a:pt x="316" y="106"/>
                </a:lnTo>
                <a:lnTo>
                  <a:pt x="316" y="110"/>
                </a:lnTo>
                <a:lnTo>
                  <a:pt x="312" y="114"/>
                </a:lnTo>
                <a:lnTo>
                  <a:pt x="312" y="116"/>
                </a:lnTo>
                <a:lnTo>
                  <a:pt x="308" y="116"/>
                </a:lnTo>
                <a:lnTo>
                  <a:pt x="304" y="116"/>
                </a:lnTo>
                <a:lnTo>
                  <a:pt x="304" y="120"/>
                </a:lnTo>
                <a:lnTo>
                  <a:pt x="302" y="116"/>
                </a:lnTo>
                <a:lnTo>
                  <a:pt x="302" y="120"/>
                </a:lnTo>
                <a:lnTo>
                  <a:pt x="304" y="120"/>
                </a:lnTo>
                <a:lnTo>
                  <a:pt x="308" y="120"/>
                </a:lnTo>
                <a:lnTo>
                  <a:pt x="312" y="120"/>
                </a:lnTo>
                <a:lnTo>
                  <a:pt x="312" y="116"/>
                </a:lnTo>
                <a:lnTo>
                  <a:pt x="316" y="116"/>
                </a:lnTo>
                <a:lnTo>
                  <a:pt x="320" y="116"/>
                </a:lnTo>
                <a:lnTo>
                  <a:pt x="324" y="114"/>
                </a:lnTo>
                <a:lnTo>
                  <a:pt x="324" y="110"/>
                </a:lnTo>
                <a:lnTo>
                  <a:pt x="328" y="110"/>
                </a:lnTo>
                <a:lnTo>
                  <a:pt x="328" y="114"/>
                </a:lnTo>
                <a:lnTo>
                  <a:pt x="328" y="116"/>
                </a:lnTo>
                <a:lnTo>
                  <a:pt x="328" y="120"/>
                </a:lnTo>
                <a:lnTo>
                  <a:pt x="330" y="120"/>
                </a:lnTo>
                <a:lnTo>
                  <a:pt x="330" y="124"/>
                </a:lnTo>
                <a:lnTo>
                  <a:pt x="328" y="124"/>
                </a:lnTo>
                <a:lnTo>
                  <a:pt x="324" y="124"/>
                </a:lnTo>
                <a:lnTo>
                  <a:pt x="320" y="124"/>
                </a:lnTo>
                <a:lnTo>
                  <a:pt x="320" y="120"/>
                </a:lnTo>
                <a:lnTo>
                  <a:pt x="320" y="124"/>
                </a:lnTo>
                <a:lnTo>
                  <a:pt x="320" y="128"/>
                </a:lnTo>
                <a:lnTo>
                  <a:pt x="316" y="128"/>
                </a:lnTo>
                <a:lnTo>
                  <a:pt x="320" y="132"/>
                </a:lnTo>
                <a:lnTo>
                  <a:pt x="320" y="128"/>
                </a:lnTo>
                <a:lnTo>
                  <a:pt x="320" y="124"/>
                </a:lnTo>
                <a:lnTo>
                  <a:pt x="324" y="124"/>
                </a:lnTo>
                <a:lnTo>
                  <a:pt x="324" y="128"/>
                </a:lnTo>
                <a:lnTo>
                  <a:pt x="324" y="132"/>
                </a:lnTo>
                <a:lnTo>
                  <a:pt x="324" y="136"/>
                </a:lnTo>
                <a:lnTo>
                  <a:pt x="328" y="136"/>
                </a:lnTo>
                <a:lnTo>
                  <a:pt x="324" y="132"/>
                </a:lnTo>
                <a:lnTo>
                  <a:pt x="328" y="128"/>
                </a:lnTo>
                <a:lnTo>
                  <a:pt x="330" y="132"/>
                </a:lnTo>
                <a:lnTo>
                  <a:pt x="328" y="128"/>
                </a:lnTo>
                <a:lnTo>
                  <a:pt x="328" y="124"/>
                </a:lnTo>
                <a:lnTo>
                  <a:pt x="330" y="124"/>
                </a:lnTo>
                <a:lnTo>
                  <a:pt x="334" y="124"/>
                </a:lnTo>
                <a:lnTo>
                  <a:pt x="330" y="124"/>
                </a:lnTo>
                <a:lnTo>
                  <a:pt x="334" y="124"/>
                </a:lnTo>
                <a:lnTo>
                  <a:pt x="338" y="124"/>
                </a:lnTo>
                <a:lnTo>
                  <a:pt x="342" y="124"/>
                </a:lnTo>
                <a:lnTo>
                  <a:pt x="346" y="124"/>
                </a:lnTo>
                <a:lnTo>
                  <a:pt x="346" y="120"/>
                </a:lnTo>
                <a:lnTo>
                  <a:pt x="350" y="120"/>
                </a:lnTo>
                <a:lnTo>
                  <a:pt x="350" y="124"/>
                </a:lnTo>
                <a:lnTo>
                  <a:pt x="350" y="128"/>
                </a:lnTo>
                <a:lnTo>
                  <a:pt x="346" y="128"/>
                </a:lnTo>
                <a:lnTo>
                  <a:pt x="346" y="132"/>
                </a:lnTo>
                <a:lnTo>
                  <a:pt x="346" y="136"/>
                </a:lnTo>
                <a:lnTo>
                  <a:pt x="346" y="132"/>
                </a:lnTo>
                <a:lnTo>
                  <a:pt x="350" y="132"/>
                </a:lnTo>
                <a:lnTo>
                  <a:pt x="350" y="128"/>
                </a:lnTo>
                <a:lnTo>
                  <a:pt x="350" y="124"/>
                </a:lnTo>
                <a:lnTo>
                  <a:pt x="354" y="124"/>
                </a:lnTo>
                <a:lnTo>
                  <a:pt x="358" y="120"/>
                </a:lnTo>
                <a:lnTo>
                  <a:pt x="358" y="116"/>
                </a:lnTo>
                <a:lnTo>
                  <a:pt x="360" y="116"/>
                </a:lnTo>
                <a:lnTo>
                  <a:pt x="360" y="120"/>
                </a:lnTo>
                <a:lnTo>
                  <a:pt x="360" y="116"/>
                </a:lnTo>
                <a:lnTo>
                  <a:pt x="364" y="116"/>
                </a:lnTo>
                <a:lnTo>
                  <a:pt x="360" y="116"/>
                </a:lnTo>
                <a:lnTo>
                  <a:pt x="360" y="114"/>
                </a:lnTo>
                <a:lnTo>
                  <a:pt x="360" y="116"/>
                </a:lnTo>
                <a:lnTo>
                  <a:pt x="364" y="116"/>
                </a:lnTo>
                <a:lnTo>
                  <a:pt x="364" y="114"/>
                </a:lnTo>
                <a:lnTo>
                  <a:pt x="364" y="110"/>
                </a:lnTo>
                <a:lnTo>
                  <a:pt x="364" y="106"/>
                </a:lnTo>
                <a:lnTo>
                  <a:pt x="368" y="106"/>
                </a:lnTo>
                <a:lnTo>
                  <a:pt x="372" y="102"/>
                </a:lnTo>
                <a:lnTo>
                  <a:pt x="372" y="106"/>
                </a:lnTo>
                <a:lnTo>
                  <a:pt x="372" y="102"/>
                </a:lnTo>
                <a:lnTo>
                  <a:pt x="376" y="102"/>
                </a:lnTo>
                <a:lnTo>
                  <a:pt x="376" y="106"/>
                </a:lnTo>
                <a:lnTo>
                  <a:pt x="376" y="102"/>
                </a:lnTo>
                <a:lnTo>
                  <a:pt x="380" y="102"/>
                </a:lnTo>
                <a:lnTo>
                  <a:pt x="380" y="106"/>
                </a:lnTo>
                <a:lnTo>
                  <a:pt x="384" y="106"/>
                </a:lnTo>
                <a:lnTo>
                  <a:pt x="384" y="110"/>
                </a:lnTo>
                <a:lnTo>
                  <a:pt x="384" y="106"/>
                </a:lnTo>
                <a:lnTo>
                  <a:pt x="386" y="106"/>
                </a:lnTo>
                <a:lnTo>
                  <a:pt x="386" y="110"/>
                </a:lnTo>
                <a:lnTo>
                  <a:pt x="390" y="110"/>
                </a:lnTo>
                <a:lnTo>
                  <a:pt x="394" y="110"/>
                </a:lnTo>
                <a:lnTo>
                  <a:pt x="394" y="114"/>
                </a:lnTo>
                <a:lnTo>
                  <a:pt x="390" y="114"/>
                </a:lnTo>
                <a:lnTo>
                  <a:pt x="394" y="114"/>
                </a:lnTo>
                <a:lnTo>
                  <a:pt x="398" y="110"/>
                </a:lnTo>
                <a:lnTo>
                  <a:pt x="398" y="114"/>
                </a:lnTo>
                <a:lnTo>
                  <a:pt x="402" y="114"/>
                </a:lnTo>
                <a:lnTo>
                  <a:pt x="402" y="116"/>
                </a:lnTo>
                <a:lnTo>
                  <a:pt x="402" y="114"/>
                </a:lnTo>
                <a:lnTo>
                  <a:pt x="406" y="116"/>
                </a:lnTo>
                <a:lnTo>
                  <a:pt x="402" y="116"/>
                </a:lnTo>
                <a:lnTo>
                  <a:pt x="402" y="120"/>
                </a:lnTo>
                <a:lnTo>
                  <a:pt x="406" y="120"/>
                </a:lnTo>
                <a:lnTo>
                  <a:pt x="406" y="116"/>
                </a:lnTo>
                <a:lnTo>
                  <a:pt x="406" y="120"/>
                </a:lnTo>
                <a:lnTo>
                  <a:pt x="406" y="116"/>
                </a:lnTo>
                <a:lnTo>
                  <a:pt x="410" y="116"/>
                </a:lnTo>
                <a:lnTo>
                  <a:pt x="414" y="116"/>
                </a:lnTo>
                <a:lnTo>
                  <a:pt x="414" y="120"/>
                </a:lnTo>
                <a:lnTo>
                  <a:pt x="410" y="120"/>
                </a:lnTo>
                <a:lnTo>
                  <a:pt x="414" y="120"/>
                </a:lnTo>
                <a:lnTo>
                  <a:pt x="414" y="124"/>
                </a:lnTo>
                <a:lnTo>
                  <a:pt x="414" y="124"/>
                </a:lnTo>
                <a:lnTo>
                  <a:pt x="414" y="124"/>
                </a:lnTo>
                <a:close/>
                <a:moveTo>
                  <a:pt x="358" y="116"/>
                </a:moveTo>
                <a:lnTo>
                  <a:pt x="354" y="116"/>
                </a:lnTo>
                <a:lnTo>
                  <a:pt x="350" y="120"/>
                </a:lnTo>
                <a:lnTo>
                  <a:pt x="346" y="120"/>
                </a:lnTo>
                <a:lnTo>
                  <a:pt x="346" y="124"/>
                </a:lnTo>
                <a:lnTo>
                  <a:pt x="342" y="120"/>
                </a:lnTo>
                <a:lnTo>
                  <a:pt x="342" y="124"/>
                </a:lnTo>
                <a:lnTo>
                  <a:pt x="338" y="124"/>
                </a:lnTo>
                <a:lnTo>
                  <a:pt x="338" y="120"/>
                </a:lnTo>
                <a:lnTo>
                  <a:pt x="338" y="124"/>
                </a:lnTo>
                <a:lnTo>
                  <a:pt x="334" y="124"/>
                </a:lnTo>
                <a:lnTo>
                  <a:pt x="330" y="124"/>
                </a:lnTo>
                <a:lnTo>
                  <a:pt x="330" y="120"/>
                </a:lnTo>
                <a:lnTo>
                  <a:pt x="328" y="120"/>
                </a:lnTo>
                <a:lnTo>
                  <a:pt x="328" y="116"/>
                </a:lnTo>
                <a:lnTo>
                  <a:pt x="328" y="114"/>
                </a:lnTo>
                <a:lnTo>
                  <a:pt x="330" y="114"/>
                </a:lnTo>
                <a:lnTo>
                  <a:pt x="330" y="110"/>
                </a:lnTo>
                <a:lnTo>
                  <a:pt x="330" y="114"/>
                </a:lnTo>
                <a:lnTo>
                  <a:pt x="330" y="110"/>
                </a:lnTo>
                <a:lnTo>
                  <a:pt x="328" y="110"/>
                </a:lnTo>
                <a:lnTo>
                  <a:pt x="328" y="106"/>
                </a:lnTo>
                <a:lnTo>
                  <a:pt x="328" y="102"/>
                </a:lnTo>
                <a:lnTo>
                  <a:pt x="330" y="102"/>
                </a:lnTo>
                <a:lnTo>
                  <a:pt x="330" y="106"/>
                </a:lnTo>
                <a:lnTo>
                  <a:pt x="330" y="102"/>
                </a:lnTo>
                <a:lnTo>
                  <a:pt x="330" y="98"/>
                </a:lnTo>
                <a:lnTo>
                  <a:pt x="330" y="94"/>
                </a:lnTo>
                <a:lnTo>
                  <a:pt x="334" y="94"/>
                </a:lnTo>
                <a:lnTo>
                  <a:pt x="338" y="94"/>
                </a:lnTo>
                <a:lnTo>
                  <a:pt x="342" y="94"/>
                </a:lnTo>
                <a:lnTo>
                  <a:pt x="342" y="98"/>
                </a:lnTo>
                <a:lnTo>
                  <a:pt x="346" y="98"/>
                </a:lnTo>
                <a:lnTo>
                  <a:pt x="350" y="98"/>
                </a:lnTo>
                <a:lnTo>
                  <a:pt x="350" y="94"/>
                </a:lnTo>
                <a:lnTo>
                  <a:pt x="354" y="94"/>
                </a:lnTo>
                <a:lnTo>
                  <a:pt x="358" y="94"/>
                </a:lnTo>
                <a:lnTo>
                  <a:pt x="358" y="98"/>
                </a:lnTo>
                <a:lnTo>
                  <a:pt x="360" y="98"/>
                </a:lnTo>
                <a:lnTo>
                  <a:pt x="360" y="102"/>
                </a:lnTo>
                <a:lnTo>
                  <a:pt x="360" y="106"/>
                </a:lnTo>
                <a:lnTo>
                  <a:pt x="360" y="110"/>
                </a:lnTo>
                <a:lnTo>
                  <a:pt x="358" y="110"/>
                </a:lnTo>
                <a:lnTo>
                  <a:pt x="358" y="114"/>
                </a:lnTo>
                <a:lnTo>
                  <a:pt x="358" y="116"/>
                </a:lnTo>
                <a:lnTo>
                  <a:pt x="358" y="116"/>
                </a:lnTo>
                <a:lnTo>
                  <a:pt x="358" y="116"/>
                </a:lnTo>
                <a:close/>
                <a:moveTo>
                  <a:pt x="330" y="56"/>
                </a:moveTo>
                <a:lnTo>
                  <a:pt x="330" y="54"/>
                </a:lnTo>
                <a:lnTo>
                  <a:pt x="334" y="54"/>
                </a:lnTo>
                <a:lnTo>
                  <a:pt x="334" y="56"/>
                </a:lnTo>
                <a:lnTo>
                  <a:pt x="330" y="56"/>
                </a:lnTo>
                <a:lnTo>
                  <a:pt x="330" y="56"/>
                </a:lnTo>
                <a:lnTo>
                  <a:pt x="330" y="56"/>
                </a:lnTo>
                <a:close/>
                <a:moveTo>
                  <a:pt x="334" y="60"/>
                </a:moveTo>
                <a:lnTo>
                  <a:pt x="330" y="56"/>
                </a:lnTo>
                <a:lnTo>
                  <a:pt x="334" y="56"/>
                </a:lnTo>
                <a:lnTo>
                  <a:pt x="334" y="60"/>
                </a:lnTo>
                <a:lnTo>
                  <a:pt x="334" y="60"/>
                </a:lnTo>
                <a:lnTo>
                  <a:pt x="334" y="60"/>
                </a:lnTo>
                <a:close/>
                <a:moveTo>
                  <a:pt x="338" y="76"/>
                </a:moveTo>
                <a:lnTo>
                  <a:pt x="342" y="76"/>
                </a:lnTo>
                <a:lnTo>
                  <a:pt x="338" y="76"/>
                </a:lnTo>
                <a:lnTo>
                  <a:pt x="338" y="76"/>
                </a:lnTo>
                <a:lnTo>
                  <a:pt x="338" y="76"/>
                </a:lnTo>
                <a:close/>
                <a:moveTo>
                  <a:pt x="334" y="80"/>
                </a:moveTo>
                <a:lnTo>
                  <a:pt x="334" y="76"/>
                </a:lnTo>
                <a:lnTo>
                  <a:pt x="338" y="76"/>
                </a:lnTo>
                <a:lnTo>
                  <a:pt x="338" y="80"/>
                </a:lnTo>
                <a:lnTo>
                  <a:pt x="338" y="76"/>
                </a:lnTo>
                <a:lnTo>
                  <a:pt x="338" y="80"/>
                </a:lnTo>
                <a:lnTo>
                  <a:pt x="334" y="80"/>
                </a:lnTo>
                <a:lnTo>
                  <a:pt x="334" y="80"/>
                </a:lnTo>
                <a:lnTo>
                  <a:pt x="334" y="80"/>
                </a:lnTo>
                <a:close/>
                <a:moveTo>
                  <a:pt x="334" y="86"/>
                </a:moveTo>
                <a:lnTo>
                  <a:pt x="334" y="84"/>
                </a:lnTo>
                <a:lnTo>
                  <a:pt x="338" y="84"/>
                </a:lnTo>
                <a:lnTo>
                  <a:pt x="338" y="86"/>
                </a:lnTo>
                <a:lnTo>
                  <a:pt x="334" y="86"/>
                </a:lnTo>
                <a:lnTo>
                  <a:pt x="334" y="86"/>
                </a:lnTo>
                <a:lnTo>
                  <a:pt x="334" y="86"/>
                </a:lnTo>
                <a:close/>
                <a:moveTo>
                  <a:pt x="334" y="90"/>
                </a:moveTo>
                <a:lnTo>
                  <a:pt x="330" y="90"/>
                </a:lnTo>
                <a:lnTo>
                  <a:pt x="330" y="86"/>
                </a:lnTo>
                <a:lnTo>
                  <a:pt x="334" y="86"/>
                </a:lnTo>
                <a:lnTo>
                  <a:pt x="334" y="84"/>
                </a:lnTo>
                <a:lnTo>
                  <a:pt x="334" y="86"/>
                </a:lnTo>
                <a:lnTo>
                  <a:pt x="334" y="90"/>
                </a:lnTo>
                <a:lnTo>
                  <a:pt x="334" y="90"/>
                </a:lnTo>
                <a:lnTo>
                  <a:pt x="334" y="90"/>
                </a:lnTo>
                <a:close/>
                <a:moveTo>
                  <a:pt x="338" y="90"/>
                </a:moveTo>
                <a:lnTo>
                  <a:pt x="334" y="90"/>
                </a:lnTo>
                <a:lnTo>
                  <a:pt x="338" y="90"/>
                </a:lnTo>
                <a:lnTo>
                  <a:pt x="338" y="86"/>
                </a:lnTo>
                <a:lnTo>
                  <a:pt x="342" y="86"/>
                </a:lnTo>
                <a:lnTo>
                  <a:pt x="346" y="86"/>
                </a:lnTo>
                <a:lnTo>
                  <a:pt x="346" y="90"/>
                </a:lnTo>
                <a:lnTo>
                  <a:pt x="342" y="90"/>
                </a:lnTo>
                <a:lnTo>
                  <a:pt x="342" y="94"/>
                </a:lnTo>
                <a:lnTo>
                  <a:pt x="338" y="94"/>
                </a:lnTo>
                <a:lnTo>
                  <a:pt x="338" y="90"/>
                </a:lnTo>
                <a:lnTo>
                  <a:pt x="338" y="90"/>
                </a:lnTo>
                <a:lnTo>
                  <a:pt x="338" y="90"/>
                </a:lnTo>
                <a:close/>
                <a:moveTo>
                  <a:pt x="330" y="94"/>
                </a:moveTo>
                <a:lnTo>
                  <a:pt x="330" y="90"/>
                </a:lnTo>
                <a:lnTo>
                  <a:pt x="334" y="90"/>
                </a:lnTo>
                <a:lnTo>
                  <a:pt x="334" y="94"/>
                </a:lnTo>
                <a:lnTo>
                  <a:pt x="330" y="94"/>
                </a:lnTo>
                <a:lnTo>
                  <a:pt x="330" y="94"/>
                </a:lnTo>
                <a:lnTo>
                  <a:pt x="330" y="94"/>
                </a:lnTo>
                <a:close/>
                <a:moveTo>
                  <a:pt x="342" y="90"/>
                </a:moveTo>
                <a:lnTo>
                  <a:pt x="346" y="90"/>
                </a:lnTo>
                <a:lnTo>
                  <a:pt x="350" y="90"/>
                </a:lnTo>
                <a:lnTo>
                  <a:pt x="350" y="94"/>
                </a:lnTo>
                <a:lnTo>
                  <a:pt x="346" y="94"/>
                </a:lnTo>
                <a:lnTo>
                  <a:pt x="342" y="94"/>
                </a:lnTo>
                <a:lnTo>
                  <a:pt x="342" y="90"/>
                </a:lnTo>
                <a:lnTo>
                  <a:pt x="342" y="90"/>
                </a:lnTo>
                <a:lnTo>
                  <a:pt x="342" y="90"/>
                </a:lnTo>
                <a:close/>
                <a:moveTo>
                  <a:pt x="328" y="90"/>
                </a:moveTo>
                <a:lnTo>
                  <a:pt x="330" y="90"/>
                </a:lnTo>
                <a:lnTo>
                  <a:pt x="328" y="90"/>
                </a:lnTo>
                <a:lnTo>
                  <a:pt x="328" y="94"/>
                </a:lnTo>
                <a:lnTo>
                  <a:pt x="328" y="90"/>
                </a:lnTo>
                <a:lnTo>
                  <a:pt x="328" y="90"/>
                </a:lnTo>
                <a:lnTo>
                  <a:pt x="328" y="90"/>
                </a:lnTo>
                <a:close/>
                <a:moveTo>
                  <a:pt x="328" y="98"/>
                </a:moveTo>
                <a:lnTo>
                  <a:pt x="324" y="98"/>
                </a:lnTo>
                <a:lnTo>
                  <a:pt x="324" y="94"/>
                </a:lnTo>
                <a:lnTo>
                  <a:pt x="328" y="94"/>
                </a:lnTo>
                <a:lnTo>
                  <a:pt x="330" y="94"/>
                </a:lnTo>
                <a:lnTo>
                  <a:pt x="328" y="94"/>
                </a:lnTo>
                <a:lnTo>
                  <a:pt x="328" y="98"/>
                </a:lnTo>
                <a:lnTo>
                  <a:pt x="328" y="98"/>
                </a:lnTo>
                <a:lnTo>
                  <a:pt x="328" y="98"/>
                </a:lnTo>
                <a:close/>
                <a:moveTo>
                  <a:pt x="320" y="102"/>
                </a:moveTo>
                <a:lnTo>
                  <a:pt x="320" y="98"/>
                </a:lnTo>
                <a:lnTo>
                  <a:pt x="324" y="98"/>
                </a:lnTo>
                <a:lnTo>
                  <a:pt x="324" y="94"/>
                </a:lnTo>
                <a:lnTo>
                  <a:pt x="324" y="98"/>
                </a:lnTo>
                <a:lnTo>
                  <a:pt x="320" y="102"/>
                </a:lnTo>
                <a:lnTo>
                  <a:pt x="320" y="102"/>
                </a:lnTo>
                <a:lnTo>
                  <a:pt x="320" y="102"/>
                </a:lnTo>
                <a:close/>
                <a:moveTo>
                  <a:pt x="324" y="102"/>
                </a:moveTo>
                <a:lnTo>
                  <a:pt x="324" y="98"/>
                </a:lnTo>
                <a:lnTo>
                  <a:pt x="328" y="98"/>
                </a:lnTo>
                <a:lnTo>
                  <a:pt x="324" y="98"/>
                </a:lnTo>
                <a:lnTo>
                  <a:pt x="324" y="102"/>
                </a:lnTo>
                <a:lnTo>
                  <a:pt x="324" y="102"/>
                </a:lnTo>
                <a:lnTo>
                  <a:pt x="324" y="102"/>
                </a:lnTo>
                <a:close/>
                <a:moveTo>
                  <a:pt x="328" y="102"/>
                </a:moveTo>
                <a:lnTo>
                  <a:pt x="328" y="98"/>
                </a:lnTo>
                <a:lnTo>
                  <a:pt x="328" y="102"/>
                </a:lnTo>
                <a:lnTo>
                  <a:pt x="328" y="102"/>
                </a:lnTo>
                <a:lnTo>
                  <a:pt x="328" y="102"/>
                </a:lnTo>
                <a:close/>
                <a:moveTo>
                  <a:pt x="324" y="102"/>
                </a:moveTo>
                <a:lnTo>
                  <a:pt x="324" y="98"/>
                </a:lnTo>
                <a:lnTo>
                  <a:pt x="328" y="98"/>
                </a:lnTo>
                <a:lnTo>
                  <a:pt x="328" y="102"/>
                </a:lnTo>
                <a:lnTo>
                  <a:pt x="324" y="102"/>
                </a:lnTo>
                <a:lnTo>
                  <a:pt x="324" y="102"/>
                </a:lnTo>
                <a:lnTo>
                  <a:pt x="324" y="102"/>
                </a:lnTo>
                <a:close/>
                <a:moveTo>
                  <a:pt x="324" y="110"/>
                </a:moveTo>
                <a:lnTo>
                  <a:pt x="324" y="106"/>
                </a:lnTo>
                <a:lnTo>
                  <a:pt x="328" y="102"/>
                </a:lnTo>
                <a:lnTo>
                  <a:pt x="328" y="106"/>
                </a:lnTo>
                <a:lnTo>
                  <a:pt x="324" y="106"/>
                </a:lnTo>
                <a:lnTo>
                  <a:pt x="324" y="110"/>
                </a:lnTo>
                <a:lnTo>
                  <a:pt x="324" y="110"/>
                </a:lnTo>
                <a:lnTo>
                  <a:pt x="324" y="110"/>
                </a:lnTo>
                <a:close/>
                <a:moveTo>
                  <a:pt x="320" y="114"/>
                </a:moveTo>
                <a:lnTo>
                  <a:pt x="320" y="110"/>
                </a:lnTo>
                <a:lnTo>
                  <a:pt x="324" y="110"/>
                </a:lnTo>
                <a:lnTo>
                  <a:pt x="324" y="106"/>
                </a:lnTo>
                <a:lnTo>
                  <a:pt x="324" y="110"/>
                </a:lnTo>
                <a:lnTo>
                  <a:pt x="324" y="114"/>
                </a:lnTo>
                <a:lnTo>
                  <a:pt x="320" y="114"/>
                </a:lnTo>
                <a:lnTo>
                  <a:pt x="320" y="114"/>
                </a:lnTo>
                <a:lnTo>
                  <a:pt x="320" y="114"/>
                </a:lnTo>
                <a:close/>
                <a:moveTo>
                  <a:pt x="328" y="106"/>
                </a:moveTo>
                <a:lnTo>
                  <a:pt x="328" y="110"/>
                </a:lnTo>
                <a:lnTo>
                  <a:pt x="324" y="110"/>
                </a:lnTo>
                <a:lnTo>
                  <a:pt x="324" y="114"/>
                </a:lnTo>
                <a:lnTo>
                  <a:pt x="324" y="110"/>
                </a:lnTo>
                <a:lnTo>
                  <a:pt x="324" y="106"/>
                </a:lnTo>
                <a:lnTo>
                  <a:pt x="328" y="106"/>
                </a:lnTo>
                <a:lnTo>
                  <a:pt x="328" y="106"/>
                </a:lnTo>
                <a:lnTo>
                  <a:pt x="328" y="106"/>
                </a:lnTo>
                <a:close/>
                <a:moveTo>
                  <a:pt x="386" y="110"/>
                </a:moveTo>
                <a:lnTo>
                  <a:pt x="390" y="110"/>
                </a:lnTo>
                <a:lnTo>
                  <a:pt x="386" y="110"/>
                </a:lnTo>
                <a:lnTo>
                  <a:pt x="386" y="110"/>
                </a:lnTo>
                <a:lnTo>
                  <a:pt x="386" y="110"/>
                </a:lnTo>
                <a:close/>
                <a:moveTo>
                  <a:pt x="364" y="114"/>
                </a:moveTo>
                <a:lnTo>
                  <a:pt x="360" y="114"/>
                </a:lnTo>
                <a:lnTo>
                  <a:pt x="360" y="110"/>
                </a:lnTo>
                <a:lnTo>
                  <a:pt x="364" y="110"/>
                </a:lnTo>
                <a:lnTo>
                  <a:pt x="364" y="114"/>
                </a:lnTo>
                <a:lnTo>
                  <a:pt x="364" y="114"/>
                </a:lnTo>
                <a:lnTo>
                  <a:pt x="364" y="114"/>
                </a:lnTo>
                <a:close/>
                <a:moveTo>
                  <a:pt x="402" y="116"/>
                </a:moveTo>
                <a:lnTo>
                  <a:pt x="402" y="114"/>
                </a:lnTo>
                <a:lnTo>
                  <a:pt x="402" y="116"/>
                </a:lnTo>
                <a:lnTo>
                  <a:pt x="402" y="116"/>
                </a:lnTo>
                <a:lnTo>
                  <a:pt x="402" y="116"/>
                </a:lnTo>
                <a:close/>
                <a:moveTo>
                  <a:pt x="410" y="116"/>
                </a:moveTo>
                <a:lnTo>
                  <a:pt x="410" y="114"/>
                </a:lnTo>
                <a:lnTo>
                  <a:pt x="414" y="114"/>
                </a:lnTo>
                <a:lnTo>
                  <a:pt x="414" y="116"/>
                </a:lnTo>
                <a:lnTo>
                  <a:pt x="410" y="116"/>
                </a:lnTo>
                <a:lnTo>
                  <a:pt x="410" y="116"/>
                </a:lnTo>
                <a:lnTo>
                  <a:pt x="410" y="116"/>
                </a:lnTo>
                <a:close/>
                <a:moveTo>
                  <a:pt x="304" y="116"/>
                </a:moveTo>
                <a:lnTo>
                  <a:pt x="308" y="116"/>
                </a:lnTo>
                <a:lnTo>
                  <a:pt x="304" y="116"/>
                </a:lnTo>
                <a:lnTo>
                  <a:pt x="304" y="116"/>
                </a:lnTo>
                <a:lnTo>
                  <a:pt x="304" y="116"/>
                </a:lnTo>
                <a:close/>
                <a:moveTo>
                  <a:pt x="308" y="120"/>
                </a:moveTo>
                <a:lnTo>
                  <a:pt x="308" y="116"/>
                </a:lnTo>
                <a:lnTo>
                  <a:pt x="312" y="116"/>
                </a:lnTo>
                <a:lnTo>
                  <a:pt x="312" y="120"/>
                </a:lnTo>
                <a:lnTo>
                  <a:pt x="308" y="120"/>
                </a:lnTo>
                <a:lnTo>
                  <a:pt x="308" y="120"/>
                </a:lnTo>
                <a:lnTo>
                  <a:pt x="308" y="120"/>
                </a:lnTo>
                <a:close/>
                <a:moveTo>
                  <a:pt x="414" y="120"/>
                </a:moveTo>
                <a:lnTo>
                  <a:pt x="416" y="120"/>
                </a:lnTo>
                <a:lnTo>
                  <a:pt x="414" y="120"/>
                </a:lnTo>
                <a:lnTo>
                  <a:pt x="414" y="120"/>
                </a:lnTo>
                <a:lnTo>
                  <a:pt x="414" y="120"/>
                </a:lnTo>
                <a:close/>
                <a:moveTo>
                  <a:pt x="354" y="124"/>
                </a:moveTo>
                <a:lnTo>
                  <a:pt x="354" y="120"/>
                </a:lnTo>
                <a:lnTo>
                  <a:pt x="354" y="124"/>
                </a:lnTo>
                <a:lnTo>
                  <a:pt x="354" y="124"/>
                </a:lnTo>
                <a:lnTo>
                  <a:pt x="354" y="124"/>
                </a:lnTo>
                <a:close/>
                <a:moveTo>
                  <a:pt x="354" y="124"/>
                </a:moveTo>
                <a:lnTo>
                  <a:pt x="350" y="124"/>
                </a:lnTo>
                <a:lnTo>
                  <a:pt x="354" y="124"/>
                </a:lnTo>
                <a:lnTo>
                  <a:pt x="354" y="120"/>
                </a:lnTo>
                <a:lnTo>
                  <a:pt x="354" y="124"/>
                </a:lnTo>
                <a:lnTo>
                  <a:pt x="354" y="124"/>
                </a:lnTo>
                <a:lnTo>
                  <a:pt x="354" y="124"/>
                </a:lnTo>
                <a:close/>
                <a:moveTo>
                  <a:pt x="328" y="128"/>
                </a:moveTo>
                <a:lnTo>
                  <a:pt x="328" y="124"/>
                </a:lnTo>
                <a:lnTo>
                  <a:pt x="328" y="128"/>
                </a:lnTo>
                <a:lnTo>
                  <a:pt x="324" y="128"/>
                </a:lnTo>
                <a:lnTo>
                  <a:pt x="324" y="124"/>
                </a:lnTo>
                <a:lnTo>
                  <a:pt x="328" y="124"/>
                </a:lnTo>
                <a:lnTo>
                  <a:pt x="328" y="128"/>
                </a:lnTo>
                <a:lnTo>
                  <a:pt x="328" y="128"/>
                </a:lnTo>
                <a:lnTo>
                  <a:pt x="328" y="128"/>
                </a:lnTo>
                <a:close/>
                <a:moveTo>
                  <a:pt x="416" y="146"/>
                </a:moveTo>
                <a:lnTo>
                  <a:pt x="416" y="142"/>
                </a:lnTo>
                <a:lnTo>
                  <a:pt x="416" y="140"/>
                </a:lnTo>
                <a:lnTo>
                  <a:pt x="416" y="142"/>
                </a:lnTo>
                <a:lnTo>
                  <a:pt x="416" y="146"/>
                </a:lnTo>
                <a:lnTo>
                  <a:pt x="416" y="146"/>
                </a:lnTo>
                <a:lnTo>
                  <a:pt x="416" y="146"/>
                </a:lnTo>
                <a:close/>
                <a:moveTo>
                  <a:pt x="498" y="318"/>
                </a:moveTo>
                <a:lnTo>
                  <a:pt x="498" y="314"/>
                </a:lnTo>
                <a:lnTo>
                  <a:pt x="502" y="314"/>
                </a:lnTo>
                <a:lnTo>
                  <a:pt x="498" y="314"/>
                </a:lnTo>
                <a:lnTo>
                  <a:pt x="498" y="318"/>
                </a:lnTo>
                <a:lnTo>
                  <a:pt x="498" y="318"/>
                </a:lnTo>
                <a:lnTo>
                  <a:pt x="498" y="318"/>
                </a:lnTo>
                <a:close/>
                <a:moveTo>
                  <a:pt x="494" y="326"/>
                </a:moveTo>
                <a:lnTo>
                  <a:pt x="494" y="322"/>
                </a:lnTo>
                <a:lnTo>
                  <a:pt x="494" y="326"/>
                </a:lnTo>
                <a:lnTo>
                  <a:pt x="494" y="326"/>
                </a:lnTo>
                <a:lnTo>
                  <a:pt x="494" y="326"/>
                </a:lnTo>
                <a:close/>
                <a:moveTo>
                  <a:pt x="360" y="552"/>
                </a:moveTo>
                <a:lnTo>
                  <a:pt x="358" y="552"/>
                </a:lnTo>
                <a:lnTo>
                  <a:pt x="358" y="550"/>
                </a:lnTo>
                <a:lnTo>
                  <a:pt x="360" y="546"/>
                </a:lnTo>
                <a:lnTo>
                  <a:pt x="360" y="550"/>
                </a:lnTo>
                <a:lnTo>
                  <a:pt x="360" y="552"/>
                </a:lnTo>
                <a:lnTo>
                  <a:pt x="360" y="552"/>
                </a:lnTo>
                <a:lnTo>
                  <a:pt x="360" y="552"/>
                </a:lnTo>
                <a:close/>
                <a:moveTo>
                  <a:pt x="360" y="578"/>
                </a:moveTo>
                <a:lnTo>
                  <a:pt x="360" y="574"/>
                </a:lnTo>
                <a:lnTo>
                  <a:pt x="360" y="570"/>
                </a:lnTo>
                <a:lnTo>
                  <a:pt x="360" y="566"/>
                </a:lnTo>
                <a:lnTo>
                  <a:pt x="360" y="570"/>
                </a:lnTo>
                <a:lnTo>
                  <a:pt x="360" y="574"/>
                </a:lnTo>
                <a:lnTo>
                  <a:pt x="360" y="578"/>
                </a:lnTo>
                <a:lnTo>
                  <a:pt x="360" y="578"/>
                </a:lnTo>
                <a:lnTo>
                  <a:pt x="360" y="578"/>
                </a:lnTo>
                <a:close/>
                <a:moveTo>
                  <a:pt x="312" y="116"/>
                </a:moveTo>
                <a:lnTo>
                  <a:pt x="312" y="114"/>
                </a:lnTo>
                <a:lnTo>
                  <a:pt x="316" y="114"/>
                </a:lnTo>
                <a:lnTo>
                  <a:pt x="316" y="110"/>
                </a:lnTo>
                <a:lnTo>
                  <a:pt x="316" y="106"/>
                </a:lnTo>
                <a:lnTo>
                  <a:pt x="316" y="102"/>
                </a:lnTo>
                <a:lnTo>
                  <a:pt x="320" y="102"/>
                </a:lnTo>
                <a:lnTo>
                  <a:pt x="324" y="102"/>
                </a:lnTo>
                <a:lnTo>
                  <a:pt x="324" y="106"/>
                </a:lnTo>
                <a:lnTo>
                  <a:pt x="324" y="110"/>
                </a:lnTo>
                <a:lnTo>
                  <a:pt x="320" y="110"/>
                </a:lnTo>
                <a:lnTo>
                  <a:pt x="320" y="114"/>
                </a:lnTo>
                <a:lnTo>
                  <a:pt x="316" y="114"/>
                </a:lnTo>
                <a:lnTo>
                  <a:pt x="316" y="116"/>
                </a:lnTo>
                <a:lnTo>
                  <a:pt x="312" y="116"/>
                </a:lnTo>
                <a:lnTo>
                  <a:pt x="312" y="116"/>
                </a:lnTo>
                <a:lnTo>
                  <a:pt x="312" y="116"/>
                </a:lnTo>
                <a:close/>
                <a:moveTo>
                  <a:pt x="420" y="494"/>
                </a:moveTo>
                <a:lnTo>
                  <a:pt x="424" y="494"/>
                </a:lnTo>
                <a:lnTo>
                  <a:pt x="420" y="494"/>
                </a:lnTo>
                <a:lnTo>
                  <a:pt x="420" y="494"/>
                </a:lnTo>
                <a:lnTo>
                  <a:pt x="420" y="494"/>
                </a:lnTo>
                <a:close/>
                <a:moveTo>
                  <a:pt x="406" y="508"/>
                </a:moveTo>
                <a:lnTo>
                  <a:pt x="406" y="504"/>
                </a:lnTo>
                <a:lnTo>
                  <a:pt x="406" y="508"/>
                </a:lnTo>
                <a:lnTo>
                  <a:pt x="406" y="508"/>
                </a:lnTo>
                <a:lnTo>
                  <a:pt x="406" y="508"/>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74" name="Freeform 181"/>
          <p:cNvSpPr>
            <a:spLocks noEditPoints="1"/>
          </p:cNvSpPr>
          <p:nvPr/>
        </p:nvSpPr>
        <p:spPr bwMode="auto">
          <a:xfrm>
            <a:off x="2926556" y="3443287"/>
            <a:ext cx="204788" cy="340519"/>
          </a:xfrm>
          <a:custGeom>
            <a:avLst/>
            <a:gdLst>
              <a:gd name="T0" fmla="*/ 68 w 172"/>
              <a:gd name="T1" fmla="*/ 30 h 286"/>
              <a:gd name="T2" fmla="*/ 82 w 172"/>
              <a:gd name="T3" fmla="*/ 22 h 286"/>
              <a:gd name="T4" fmla="*/ 98 w 172"/>
              <a:gd name="T5" fmla="*/ 8 h 286"/>
              <a:gd name="T6" fmla="*/ 104 w 172"/>
              <a:gd name="T7" fmla="*/ 0 h 286"/>
              <a:gd name="T8" fmla="*/ 104 w 172"/>
              <a:gd name="T9" fmla="*/ 12 h 286"/>
              <a:gd name="T10" fmla="*/ 94 w 172"/>
              <a:gd name="T11" fmla="*/ 26 h 286"/>
              <a:gd name="T12" fmla="*/ 86 w 172"/>
              <a:gd name="T13" fmla="*/ 44 h 286"/>
              <a:gd name="T14" fmla="*/ 86 w 172"/>
              <a:gd name="T15" fmla="*/ 60 h 286"/>
              <a:gd name="T16" fmla="*/ 98 w 172"/>
              <a:gd name="T17" fmla="*/ 74 h 286"/>
              <a:gd name="T18" fmla="*/ 98 w 172"/>
              <a:gd name="T19" fmla="*/ 90 h 286"/>
              <a:gd name="T20" fmla="*/ 112 w 172"/>
              <a:gd name="T21" fmla="*/ 96 h 286"/>
              <a:gd name="T22" fmla="*/ 128 w 172"/>
              <a:gd name="T23" fmla="*/ 96 h 286"/>
              <a:gd name="T24" fmla="*/ 142 w 172"/>
              <a:gd name="T25" fmla="*/ 108 h 286"/>
              <a:gd name="T26" fmla="*/ 164 w 172"/>
              <a:gd name="T27" fmla="*/ 108 h 286"/>
              <a:gd name="T28" fmla="*/ 160 w 172"/>
              <a:gd name="T29" fmla="*/ 130 h 286"/>
              <a:gd name="T30" fmla="*/ 164 w 172"/>
              <a:gd name="T31" fmla="*/ 150 h 286"/>
              <a:gd name="T32" fmla="*/ 160 w 172"/>
              <a:gd name="T33" fmla="*/ 164 h 286"/>
              <a:gd name="T34" fmla="*/ 172 w 172"/>
              <a:gd name="T35" fmla="*/ 186 h 286"/>
              <a:gd name="T36" fmla="*/ 168 w 172"/>
              <a:gd name="T37" fmla="*/ 186 h 286"/>
              <a:gd name="T38" fmla="*/ 158 w 172"/>
              <a:gd name="T39" fmla="*/ 182 h 286"/>
              <a:gd name="T40" fmla="*/ 154 w 172"/>
              <a:gd name="T41" fmla="*/ 186 h 286"/>
              <a:gd name="T42" fmla="*/ 132 w 172"/>
              <a:gd name="T43" fmla="*/ 198 h 286"/>
              <a:gd name="T44" fmla="*/ 138 w 172"/>
              <a:gd name="T45" fmla="*/ 202 h 286"/>
              <a:gd name="T46" fmla="*/ 128 w 172"/>
              <a:gd name="T47" fmla="*/ 216 h 286"/>
              <a:gd name="T48" fmla="*/ 138 w 172"/>
              <a:gd name="T49" fmla="*/ 232 h 286"/>
              <a:gd name="T50" fmla="*/ 134 w 172"/>
              <a:gd name="T51" fmla="*/ 246 h 286"/>
              <a:gd name="T52" fmla="*/ 128 w 172"/>
              <a:gd name="T53" fmla="*/ 286 h 286"/>
              <a:gd name="T54" fmla="*/ 128 w 172"/>
              <a:gd name="T55" fmla="*/ 260 h 286"/>
              <a:gd name="T56" fmla="*/ 112 w 172"/>
              <a:gd name="T57" fmla="*/ 254 h 286"/>
              <a:gd name="T58" fmla="*/ 98 w 172"/>
              <a:gd name="T59" fmla="*/ 258 h 286"/>
              <a:gd name="T60" fmla="*/ 86 w 172"/>
              <a:gd name="T61" fmla="*/ 254 h 286"/>
              <a:gd name="T62" fmla="*/ 78 w 172"/>
              <a:gd name="T63" fmla="*/ 246 h 286"/>
              <a:gd name="T64" fmla="*/ 68 w 172"/>
              <a:gd name="T65" fmla="*/ 228 h 286"/>
              <a:gd name="T66" fmla="*/ 60 w 172"/>
              <a:gd name="T67" fmla="*/ 216 h 286"/>
              <a:gd name="T68" fmla="*/ 46 w 172"/>
              <a:gd name="T69" fmla="*/ 208 h 286"/>
              <a:gd name="T70" fmla="*/ 22 w 172"/>
              <a:gd name="T71" fmla="*/ 208 h 286"/>
              <a:gd name="T72" fmla="*/ 12 w 172"/>
              <a:gd name="T73" fmla="*/ 198 h 286"/>
              <a:gd name="T74" fmla="*/ 0 w 172"/>
              <a:gd name="T75" fmla="*/ 182 h 286"/>
              <a:gd name="T76" fmla="*/ 8 w 172"/>
              <a:gd name="T77" fmla="*/ 176 h 286"/>
              <a:gd name="T78" fmla="*/ 16 w 172"/>
              <a:gd name="T79" fmla="*/ 168 h 286"/>
              <a:gd name="T80" fmla="*/ 22 w 172"/>
              <a:gd name="T81" fmla="*/ 160 h 286"/>
              <a:gd name="T82" fmla="*/ 26 w 172"/>
              <a:gd name="T83" fmla="*/ 146 h 286"/>
              <a:gd name="T84" fmla="*/ 22 w 172"/>
              <a:gd name="T85" fmla="*/ 142 h 286"/>
              <a:gd name="T86" fmla="*/ 22 w 172"/>
              <a:gd name="T87" fmla="*/ 126 h 286"/>
              <a:gd name="T88" fmla="*/ 22 w 172"/>
              <a:gd name="T89" fmla="*/ 112 h 286"/>
              <a:gd name="T90" fmla="*/ 18 w 172"/>
              <a:gd name="T91" fmla="*/ 94 h 286"/>
              <a:gd name="T92" fmla="*/ 26 w 172"/>
              <a:gd name="T93" fmla="*/ 82 h 286"/>
              <a:gd name="T94" fmla="*/ 22 w 172"/>
              <a:gd name="T95" fmla="*/ 68 h 286"/>
              <a:gd name="T96" fmla="*/ 34 w 172"/>
              <a:gd name="T97" fmla="*/ 74 h 286"/>
              <a:gd name="T98" fmla="*/ 38 w 172"/>
              <a:gd name="T99" fmla="*/ 60 h 286"/>
              <a:gd name="T100" fmla="*/ 48 w 172"/>
              <a:gd name="T101" fmla="*/ 44 h 286"/>
              <a:gd name="T102" fmla="*/ 52 w 172"/>
              <a:gd name="T103" fmla="*/ 34 h 286"/>
              <a:gd name="T104" fmla="*/ 60 w 172"/>
              <a:gd name="T105" fmla="*/ 26 h 286"/>
              <a:gd name="T106" fmla="*/ 22 w 172"/>
              <a:gd name="T107" fmla="*/ 142 h 286"/>
              <a:gd name="T108" fmla="*/ 16 w 172"/>
              <a:gd name="T109" fmla="*/ 172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2" h="286">
                <a:moveTo>
                  <a:pt x="60" y="22"/>
                </a:moveTo>
                <a:lnTo>
                  <a:pt x="64" y="26"/>
                </a:lnTo>
                <a:lnTo>
                  <a:pt x="68" y="26"/>
                </a:lnTo>
                <a:lnTo>
                  <a:pt x="64" y="26"/>
                </a:lnTo>
                <a:lnTo>
                  <a:pt x="64" y="30"/>
                </a:lnTo>
                <a:lnTo>
                  <a:pt x="68" y="30"/>
                </a:lnTo>
                <a:lnTo>
                  <a:pt x="68" y="26"/>
                </a:lnTo>
                <a:lnTo>
                  <a:pt x="68" y="22"/>
                </a:lnTo>
                <a:lnTo>
                  <a:pt x="72" y="18"/>
                </a:lnTo>
                <a:lnTo>
                  <a:pt x="74" y="22"/>
                </a:lnTo>
                <a:lnTo>
                  <a:pt x="78" y="22"/>
                </a:lnTo>
                <a:lnTo>
                  <a:pt x="82" y="22"/>
                </a:lnTo>
                <a:lnTo>
                  <a:pt x="82" y="18"/>
                </a:lnTo>
                <a:lnTo>
                  <a:pt x="86" y="18"/>
                </a:lnTo>
                <a:lnTo>
                  <a:pt x="90" y="14"/>
                </a:lnTo>
                <a:lnTo>
                  <a:pt x="94" y="12"/>
                </a:lnTo>
                <a:lnTo>
                  <a:pt x="98" y="12"/>
                </a:lnTo>
                <a:lnTo>
                  <a:pt x="98" y="8"/>
                </a:lnTo>
                <a:lnTo>
                  <a:pt x="98" y="4"/>
                </a:lnTo>
                <a:lnTo>
                  <a:pt x="102" y="4"/>
                </a:lnTo>
                <a:lnTo>
                  <a:pt x="102" y="8"/>
                </a:lnTo>
                <a:lnTo>
                  <a:pt x="102" y="4"/>
                </a:lnTo>
                <a:lnTo>
                  <a:pt x="104" y="4"/>
                </a:lnTo>
                <a:lnTo>
                  <a:pt x="104" y="0"/>
                </a:lnTo>
                <a:lnTo>
                  <a:pt x="108" y="0"/>
                </a:lnTo>
                <a:lnTo>
                  <a:pt x="112" y="4"/>
                </a:lnTo>
                <a:lnTo>
                  <a:pt x="112" y="8"/>
                </a:lnTo>
                <a:lnTo>
                  <a:pt x="112" y="12"/>
                </a:lnTo>
                <a:lnTo>
                  <a:pt x="108" y="12"/>
                </a:lnTo>
                <a:lnTo>
                  <a:pt x="104" y="12"/>
                </a:lnTo>
                <a:lnTo>
                  <a:pt x="104" y="14"/>
                </a:lnTo>
                <a:lnTo>
                  <a:pt x="102" y="14"/>
                </a:lnTo>
                <a:lnTo>
                  <a:pt x="98" y="18"/>
                </a:lnTo>
                <a:lnTo>
                  <a:pt x="98" y="22"/>
                </a:lnTo>
                <a:lnTo>
                  <a:pt x="94" y="22"/>
                </a:lnTo>
                <a:lnTo>
                  <a:pt x="94" y="26"/>
                </a:lnTo>
                <a:lnTo>
                  <a:pt x="90" y="26"/>
                </a:lnTo>
                <a:lnTo>
                  <a:pt x="90" y="30"/>
                </a:lnTo>
                <a:lnTo>
                  <a:pt x="90" y="34"/>
                </a:lnTo>
                <a:lnTo>
                  <a:pt x="86" y="38"/>
                </a:lnTo>
                <a:lnTo>
                  <a:pt x="86" y="42"/>
                </a:lnTo>
                <a:lnTo>
                  <a:pt x="86" y="44"/>
                </a:lnTo>
                <a:lnTo>
                  <a:pt x="86" y="48"/>
                </a:lnTo>
                <a:lnTo>
                  <a:pt x="86" y="52"/>
                </a:lnTo>
                <a:lnTo>
                  <a:pt x="82" y="52"/>
                </a:lnTo>
                <a:lnTo>
                  <a:pt x="82" y="56"/>
                </a:lnTo>
                <a:lnTo>
                  <a:pt x="86" y="56"/>
                </a:lnTo>
                <a:lnTo>
                  <a:pt x="86" y="60"/>
                </a:lnTo>
                <a:lnTo>
                  <a:pt x="90" y="60"/>
                </a:lnTo>
                <a:lnTo>
                  <a:pt x="90" y="64"/>
                </a:lnTo>
                <a:lnTo>
                  <a:pt x="90" y="68"/>
                </a:lnTo>
                <a:lnTo>
                  <a:pt x="94" y="70"/>
                </a:lnTo>
                <a:lnTo>
                  <a:pt x="94" y="74"/>
                </a:lnTo>
                <a:lnTo>
                  <a:pt x="98" y="74"/>
                </a:lnTo>
                <a:lnTo>
                  <a:pt x="98" y="78"/>
                </a:lnTo>
                <a:lnTo>
                  <a:pt x="94" y="78"/>
                </a:lnTo>
                <a:lnTo>
                  <a:pt x="94" y="82"/>
                </a:lnTo>
                <a:lnTo>
                  <a:pt x="94" y="86"/>
                </a:lnTo>
                <a:lnTo>
                  <a:pt x="94" y="90"/>
                </a:lnTo>
                <a:lnTo>
                  <a:pt x="98" y="90"/>
                </a:lnTo>
                <a:lnTo>
                  <a:pt x="98" y="94"/>
                </a:lnTo>
                <a:lnTo>
                  <a:pt x="102" y="94"/>
                </a:lnTo>
                <a:lnTo>
                  <a:pt x="104" y="94"/>
                </a:lnTo>
                <a:lnTo>
                  <a:pt x="108" y="94"/>
                </a:lnTo>
                <a:lnTo>
                  <a:pt x="112" y="94"/>
                </a:lnTo>
                <a:lnTo>
                  <a:pt x="112" y="96"/>
                </a:lnTo>
                <a:lnTo>
                  <a:pt x="112" y="94"/>
                </a:lnTo>
                <a:lnTo>
                  <a:pt x="116" y="94"/>
                </a:lnTo>
                <a:lnTo>
                  <a:pt x="120" y="94"/>
                </a:lnTo>
                <a:lnTo>
                  <a:pt x="124" y="94"/>
                </a:lnTo>
                <a:lnTo>
                  <a:pt x="124" y="96"/>
                </a:lnTo>
                <a:lnTo>
                  <a:pt x="128" y="96"/>
                </a:lnTo>
                <a:lnTo>
                  <a:pt x="128" y="94"/>
                </a:lnTo>
                <a:lnTo>
                  <a:pt x="128" y="96"/>
                </a:lnTo>
                <a:lnTo>
                  <a:pt x="132" y="104"/>
                </a:lnTo>
                <a:lnTo>
                  <a:pt x="138" y="108"/>
                </a:lnTo>
                <a:lnTo>
                  <a:pt x="138" y="112"/>
                </a:lnTo>
                <a:lnTo>
                  <a:pt x="142" y="108"/>
                </a:lnTo>
                <a:lnTo>
                  <a:pt x="146" y="108"/>
                </a:lnTo>
                <a:lnTo>
                  <a:pt x="150" y="108"/>
                </a:lnTo>
                <a:lnTo>
                  <a:pt x="154" y="108"/>
                </a:lnTo>
                <a:lnTo>
                  <a:pt x="158" y="108"/>
                </a:lnTo>
                <a:lnTo>
                  <a:pt x="160" y="108"/>
                </a:lnTo>
                <a:lnTo>
                  <a:pt x="164" y="108"/>
                </a:lnTo>
                <a:lnTo>
                  <a:pt x="164" y="112"/>
                </a:lnTo>
                <a:lnTo>
                  <a:pt x="160" y="116"/>
                </a:lnTo>
                <a:lnTo>
                  <a:pt x="160" y="120"/>
                </a:lnTo>
                <a:lnTo>
                  <a:pt x="160" y="124"/>
                </a:lnTo>
                <a:lnTo>
                  <a:pt x="160" y="126"/>
                </a:lnTo>
                <a:lnTo>
                  <a:pt x="160" y="130"/>
                </a:lnTo>
                <a:lnTo>
                  <a:pt x="160" y="134"/>
                </a:lnTo>
                <a:lnTo>
                  <a:pt x="158" y="138"/>
                </a:lnTo>
                <a:lnTo>
                  <a:pt x="160" y="142"/>
                </a:lnTo>
                <a:lnTo>
                  <a:pt x="160" y="146"/>
                </a:lnTo>
                <a:lnTo>
                  <a:pt x="160" y="150"/>
                </a:lnTo>
                <a:lnTo>
                  <a:pt x="164" y="150"/>
                </a:lnTo>
                <a:lnTo>
                  <a:pt x="164" y="152"/>
                </a:lnTo>
                <a:lnTo>
                  <a:pt x="164" y="156"/>
                </a:lnTo>
                <a:lnTo>
                  <a:pt x="168" y="156"/>
                </a:lnTo>
                <a:lnTo>
                  <a:pt x="164" y="156"/>
                </a:lnTo>
                <a:lnTo>
                  <a:pt x="164" y="160"/>
                </a:lnTo>
                <a:lnTo>
                  <a:pt x="160" y="164"/>
                </a:lnTo>
                <a:lnTo>
                  <a:pt x="160" y="168"/>
                </a:lnTo>
                <a:lnTo>
                  <a:pt x="164" y="168"/>
                </a:lnTo>
                <a:lnTo>
                  <a:pt x="168" y="172"/>
                </a:lnTo>
                <a:lnTo>
                  <a:pt x="168" y="176"/>
                </a:lnTo>
                <a:lnTo>
                  <a:pt x="168" y="178"/>
                </a:lnTo>
                <a:lnTo>
                  <a:pt x="172" y="186"/>
                </a:lnTo>
                <a:lnTo>
                  <a:pt x="172" y="190"/>
                </a:lnTo>
                <a:lnTo>
                  <a:pt x="172" y="194"/>
                </a:lnTo>
                <a:lnTo>
                  <a:pt x="168" y="194"/>
                </a:lnTo>
                <a:lnTo>
                  <a:pt x="168" y="190"/>
                </a:lnTo>
                <a:lnTo>
                  <a:pt x="172" y="190"/>
                </a:lnTo>
                <a:lnTo>
                  <a:pt x="168" y="186"/>
                </a:lnTo>
                <a:lnTo>
                  <a:pt x="168" y="182"/>
                </a:lnTo>
                <a:lnTo>
                  <a:pt x="168" y="178"/>
                </a:lnTo>
                <a:lnTo>
                  <a:pt x="164" y="178"/>
                </a:lnTo>
                <a:lnTo>
                  <a:pt x="160" y="178"/>
                </a:lnTo>
                <a:lnTo>
                  <a:pt x="160" y="182"/>
                </a:lnTo>
                <a:lnTo>
                  <a:pt x="158" y="182"/>
                </a:lnTo>
                <a:lnTo>
                  <a:pt x="158" y="186"/>
                </a:lnTo>
                <a:lnTo>
                  <a:pt x="158" y="182"/>
                </a:lnTo>
                <a:lnTo>
                  <a:pt x="154" y="182"/>
                </a:lnTo>
                <a:lnTo>
                  <a:pt x="154" y="178"/>
                </a:lnTo>
                <a:lnTo>
                  <a:pt x="154" y="182"/>
                </a:lnTo>
                <a:lnTo>
                  <a:pt x="154" y="186"/>
                </a:lnTo>
                <a:lnTo>
                  <a:pt x="146" y="186"/>
                </a:lnTo>
                <a:lnTo>
                  <a:pt x="142" y="186"/>
                </a:lnTo>
                <a:lnTo>
                  <a:pt x="138" y="186"/>
                </a:lnTo>
                <a:lnTo>
                  <a:pt x="134" y="182"/>
                </a:lnTo>
                <a:lnTo>
                  <a:pt x="132" y="186"/>
                </a:lnTo>
                <a:lnTo>
                  <a:pt x="132" y="198"/>
                </a:lnTo>
                <a:lnTo>
                  <a:pt x="134" y="198"/>
                </a:lnTo>
                <a:lnTo>
                  <a:pt x="138" y="198"/>
                </a:lnTo>
                <a:lnTo>
                  <a:pt x="142" y="202"/>
                </a:lnTo>
                <a:lnTo>
                  <a:pt x="142" y="206"/>
                </a:lnTo>
                <a:lnTo>
                  <a:pt x="138" y="206"/>
                </a:lnTo>
                <a:lnTo>
                  <a:pt x="138" y="202"/>
                </a:lnTo>
                <a:lnTo>
                  <a:pt x="134" y="202"/>
                </a:lnTo>
                <a:lnTo>
                  <a:pt x="132" y="206"/>
                </a:lnTo>
                <a:lnTo>
                  <a:pt x="128" y="206"/>
                </a:lnTo>
                <a:lnTo>
                  <a:pt x="128" y="208"/>
                </a:lnTo>
                <a:lnTo>
                  <a:pt x="128" y="212"/>
                </a:lnTo>
                <a:lnTo>
                  <a:pt x="128" y="216"/>
                </a:lnTo>
                <a:lnTo>
                  <a:pt x="132" y="220"/>
                </a:lnTo>
                <a:lnTo>
                  <a:pt x="132" y="224"/>
                </a:lnTo>
                <a:lnTo>
                  <a:pt x="134" y="224"/>
                </a:lnTo>
                <a:lnTo>
                  <a:pt x="134" y="228"/>
                </a:lnTo>
                <a:lnTo>
                  <a:pt x="134" y="232"/>
                </a:lnTo>
                <a:lnTo>
                  <a:pt x="138" y="232"/>
                </a:lnTo>
                <a:lnTo>
                  <a:pt x="134" y="232"/>
                </a:lnTo>
                <a:lnTo>
                  <a:pt x="138" y="232"/>
                </a:lnTo>
                <a:lnTo>
                  <a:pt x="138" y="234"/>
                </a:lnTo>
                <a:lnTo>
                  <a:pt x="138" y="238"/>
                </a:lnTo>
                <a:lnTo>
                  <a:pt x="134" y="238"/>
                </a:lnTo>
                <a:lnTo>
                  <a:pt x="134" y="246"/>
                </a:lnTo>
                <a:lnTo>
                  <a:pt x="134" y="254"/>
                </a:lnTo>
                <a:lnTo>
                  <a:pt x="134" y="258"/>
                </a:lnTo>
                <a:lnTo>
                  <a:pt x="132" y="272"/>
                </a:lnTo>
                <a:lnTo>
                  <a:pt x="132" y="278"/>
                </a:lnTo>
                <a:lnTo>
                  <a:pt x="132" y="286"/>
                </a:lnTo>
                <a:lnTo>
                  <a:pt x="128" y="286"/>
                </a:lnTo>
                <a:lnTo>
                  <a:pt x="128" y="282"/>
                </a:lnTo>
                <a:lnTo>
                  <a:pt x="124" y="278"/>
                </a:lnTo>
                <a:lnTo>
                  <a:pt x="120" y="278"/>
                </a:lnTo>
                <a:lnTo>
                  <a:pt x="120" y="274"/>
                </a:lnTo>
                <a:lnTo>
                  <a:pt x="124" y="272"/>
                </a:lnTo>
                <a:lnTo>
                  <a:pt x="128" y="260"/>
                </a:lnTo>
                <a:lnTo>
                  <a:pt x="128" y="258"/>
                </a:lnTo>
                <a:lnTo>
                  <a:pt x="124" y="258"/>
                </a:lnTo>
                <a:lnTo>
                  <a:pt x="120" y="258"/>
                </a:lnTo>
                <a:lnTo>
                  <a:pt x="120" y="254"/>
                </a:lnTo>
                <a:lnTo>
                  <a:pt x="116" y="254"/>
                </a:lnTo>
                <a:lnTo>
                  <a:pt x="112" y="254"/>
                </a:lnTo>
                <a:lnTo>
                  <a:pt x="108" y="254"/>
                </a:lnTo>
                <a:lnTo>
                  <a:pt x="104" y="254"/>
                </a:lnTo>
                <a:lnTo>
                  <a:pt x="104" y="250"/>
                </a:lnTo>
                <a:lnTo>
                  <a:pt x="102" y="254"/>
                </a:lnTo>
                <a:lnTo>
                  <a:pt x="102" y="258"/>
                </a:lnTo>
                <a:lnTo>
                  <a:pt x="98" y="258"/>
                </a:lnTo>
                <a:lnTo>
                  <a:pt x="94" y="258"/>
                </a:lnTo>
                <a:lnTo>
                  <a:pt x="90" y="258"/>
                </a:lnTo>
                <a:lnTo>
                  <a:pt x="86" y="258"/>
                </a:lnTo>
                <a:lnTo>
                  <a:pt x="86" y="254"/>
                </a:lnTo>
                <a:lnTo>
                  <a:pt x="86" y="258"/>
                </a:lnTo>
                <a:lnTo>
                  <a:pt x="86" y="254"/>
                </a:lnTo>
                <a:lnTo>
                  <a:pt x="82" y="254"/>
                </a:lnTo>
                <a:lnTo>
                  <a:pt x="86" y="254"/>
                </a:lnTo>
                <a:lnTo>
                  <a:pt x="86" y="250"/>
                </a:lnTo>
                <a:lnTo>
                  <a:pt x="86" y="246"/>
                </a:lnTo>
                <a:lnTo>
                  <a:pt x="82" y="246"/>
                </a:lnTo>
                <a:lnTo>
                  <a:pt x="78" y="246"/>
                </a:lnTo>
                <a:lnTo>
                  <a:pt x="78" y="242"/>
                </a:lnTo>
                <a:lnTo>
                  <a:pt x="78" y="238"/>
                </a:lnTo>
                <a:lnTo>
                  <a:pt x="74" y="234"/>
                </a:lnTo>
                <a:lnTo>
                  <a:pt x="72" y="232"/>
                </a:lnTo>
                <a:lnTo>
                  <a:pt x="68" y="232"/>
                </a:lnTo>
                <a:lnTo>
                  <a:pt x="68" y="228"/>
                </a:lnTo>
                <a:lnTo>
                  <a:pt x="68" y="224"/>
                </a:lnTo>
                <a:lnTo>
                  <a:pt x="64" y="220"/>
                </a:lnTo>
                <a:lnTo>
                  <a:pt x="60" y="220"/>
                </a:lnTo>
                <a:lnTo>
                  <a:pt x="60" y="216"/>
                </a:lnTo>
                <a:lnTo>
                  <a:pt x="60" y="220"/>
                </a:lnTo>
                <a:lnTo>
                  <a:pt x="60" y="216"/>
                </a:lnTo>
                <a:lnTo>
                  <a:pt x="56" y="216"/>
                </a:lnTo>
                <a:lnTo>
                  <a:pt x="52" y="216"/>
                </a:lnTo>
                <a:lnTo>
                  <a:pt x="48" y="216"/>
                </a:lnTo>
                <a:lnTo>
                  <a:pt x="48" y="212"/>
                </a:lnTo>
                <a:lnTo>
                  <a:pt x="46" y="212"/>
                </a:lnTo>
                <a:lnTo>
                  <a:pt x="46" y="208"/>
                </a:lnTo>
                <a:lnTo>
                  <a:pt x="42" y="208"/>
                </a:lnTo>
                <a:lnTo>
                  <a:pt x="38" y="208"/>
                </a:lnTo>
                <a:lnTo>
                  <a:pt x="34" y="208"/>
                </a:lnTo>
                <a:lnTo>
                  <a:pt x="30" y="208"/>
                </a:lnTo>
                <a:lnTo>
                  <a:pt x="26" y="208"/>
                </a:lnTo>
                <a:lnTo>
                  <a:pt x="22" y="208"/>
                </a:lnTo>
                <a:lnTo>
                  <a:pt x="22" y="206"/>
                </a:lnTo>
                <a:lnTo>
                  <a:pt x="22" y="202"/>
                </a:lnTo>
                <a:lnTo>
                  <a:pt x="18" y="202"/>
                </a:lnTo>
                <a:lnTo>
                  <a:pt x="16" y="202"/>
                </a:lnTo>
                <a:lnTo>
                  <a:pt x="16" y="198"/>
                </a:lnTo>
                <a:lnTo>
                  <a:pt x="12" y="198"/>
                </a:lnTo>
                <a:lnTo>
                  <a:pt x="8" y="194"/>
                </a:lnTo>
                <a:lnTo>
                  <a:pt x="4" y="194"/>
                </a:lnTo>
                <a:lnTo>
                  <a:pt x="4" y="190"/>
                </a:lnTo>
                <a:lnTo>
                  <a:pt x="4" y="186"/>
                </a:lnTo>
                <a:lnTo>
                  <a:pt x="0" y="186"/>
                </a:lnTo>
                <a:lnTo>
                  <a:pt x="0" y="182"/>
                </a:lnTo>
                <a:lnTo>
                  <a:pt x="4" y="182"/>
                </a:lnTo>
                <a:lnTo>
                  <a:pt x="8" y="182"/>
                </a:lnTo>
                <a:lnTo>
                  <a:pt x="8" y="178"/>
                </a:lnTo>
                <a:lnTo>
                  <a:pt x="4" y="178"/>
                </a:lnTo>
                <a:lnTo>
                  <a:pt x="4" y="176"/>
                </a:lnTo>
                <a:lnTo>
                  <a:pt x="8" y="176"/>
                </a:lnTo>
                <a:lnTo>
                  <a:pt x="8" y="172"/>
                </a:lnTo>
                <a:lnTo>
                  <a:pt x="8" y="176"/>
                </a:lnTo>
                <a:lnTo>
                  <a:pt x="8" y="172"/>
                </a:lnTo>
                <a:lnTo>
                  <a:pt x="12" y="172"/>
                </a:lnTo>
                <a:lnTo>
                  <a:pt x="16" y="172"/>
                </a:lnTo>
                <a:lnTo>
                  <a:pt x="16" y="168"/>
                </a:lnTo>
                <a:lnTo>
                  <a:pt x="16" y="172"/>
                </a:lnTo>
                <a:lnTo>
                  <a:pt x="18" y="172"/>
                </a:lnTo>
                <a:lnTo>
                  <a:pt x="18" y="168"/>
                </a:lnTo>
                <a:lnTo>
                  <a:pt x="18" y="164"/>
                </a:lnTo>
                <a:lnTo>
                  <a:pt x="22" y="164"/>
                </a:lnTo>
                <a:lnTo>
                  <a:pt x="22" y="160"/>
                </a:lnTo>
                <a:lnTo>
                  <a:pt x="22" y="156"/>
                </a:lnTo>
                <a:lnTo>
                  <a:pt x="26" y="152"/>
                </a:lnTo>
                <a:lnTo>
                  <a:pt x="26" y="150"/>
                </a:lnTo>
                <a:lnTo>
                  <a:pt x="30" y="150"/>
                </a:lnTo>
                <a:lnTo>
                  <a:pt x="26" y="150"/>
                </a:lnTo>
                <a:lnTo>
                  <a:pt x="26" y="146"/>
                </a:lnTo>
                <a:lnTo>
                  <a:pt x="22" y="146"/>
                </a:lnTo>
                <a:lnTo>
                  <a:pt x="22" y="150"/>
                </a:lnTo>
                <a:lnTo>
                  <a:pt x="22" y="146"/>
                </a:lnTo>
                <a:lnTo>
                  <a:pt x="22" y="142"/>
                </a:lnTo>
                <a:lnTo>
                  <a:pt x="26" y="142"/>
                </a:lnTo>
                <a:lnTo>
                  <a:pt x="22" y="142"/>
                </a:lnTo>
                <a:lnTo>
                  <a:pt x="22" y="138"/>
                </a:lnTo>
                <a:lnTo>
                  <a:pt x="26" y="138"/>
                </a:lnTo>
                <a:lnTo>
                  <a:pt x="26" y="134"/>
                </a:lnTo>
                <a:lnTo>
                  <a:pt x="26" y="130"/>
                </a:lnTo>
                <a:lnTo>
                  <a:pt x="22" y="130"/>
                </a:lnTo>
                <a:lnTo>
                  <a:pt x="22" y="126"/>
                </a:lnTo>
                <a:lnTo>
                  <a:pt x="22" y="124"/>
                </a:lnTo>
                <a:lnTo>
                  <a:pt x="22" y="120"/>
                </a:lnTo>
                <a:lnTo>
                  <a:pt x="26" y="120"/>
                </a:lnTo>
                <a:lnTo>
                  <a:pt x="26" y="116"/>
                </a:lnTo>
                <a:lnTo>
                  <a:pt x="26" y="112"/>
                </a:lnTo>
                <a:lnTo>
                  <a:pt x="22" y="112"/>
                </a:lnTo>
                <a:lnTo>
                  <a:pt x="22" y="108"/>
                </a:lnTo>
                <a:lnTo>
                  <a:pt x="22" y="104"/>
                </a:lnTo>
                <a:lnTo>
                  <a:pt x="26" y="100"/>
                </a:lnTo>
                <a:lnTo>
                  <a:pt x="22" y="100"/>
                </a:lnTo>
                <a:lnTo>
                  <a:pt x="18" y="96"/>
                </a:lnTo>
                <a:lnTo>
                  <a:pt x="18" y="94"/>
                </a:lnTo>
                <a:lnTo>
                  <a:pt x="16" y="90"/>
                </a:lnTo>
                <a:lnTo>
                  <a:pt x="18" y="86"/>
                </a:lnTo>
                <a:lnTo>
                  <a:pt x="18" y="82"/>
                </a:lnTo>
                <a:lnTo>
                  <a:pt x="18" y="86"/>
                </a:lnTo>
                <a:lnTo>
                  <a:pt x="22" y="86"/>
                </a:lnTo>
                <a:lnTo>
                  <a:pt x="26" y="82"/>
                </a:lnTo>
                <a:lnTo>
                  <a:pt x="22" y="82"/>
                </a:lnTo>
                <a:lnTo>
                  <a:pt x="26" y="78"/>
                </a:lnTo>
                <a:lnTo>
                  <a:pt x="26" y="74"/>
                </a:lnTo>
                <a:lnTo>
                  <a:pt x="22" y="74"/>
                </a:lnTo>
                <a:lnTo>
                  <a:pt x="22" y="70"/>
                </a:lnTo>
                <a:lnTo>
                  <a:pt x="22" y="68"/>
                </a:lnTo>
                <a:lnTo>
                  <a:pt x="26" y="68"/>
                </a:lnTo>
                <a:lnTo>
                  <a:pt x="26" y="70"/>
                </a:lnTo>
                <a:lnTo>
                  <a:pt x="30" y="74"/>
                </a:lnTo>
                <a:lnTo>
                  <a:pt x="30" y="78"/>
                </a:lnTo>
                <a:lnTo>
                  <a:pt x="34" y="78"/>
                </a:lnTo>
                <a:lnTo>
                  <a:pt x="34" y="74"/>
                </a:lnTo>
                <a:lnTo>
                  <a:pt x="34" y="70"/>
                </a:lnTo>
                <a:lnTo>
                  <a:pt x="30" y="70"/>
                </a:lnTo>
                <a:lnTo>
                  <a:pt x="30" y="68"/>
                </a:lnTo>
                <a:lnTo>
                  <a:pt x="34" y="68"/>
                </a:lnTo>
                <a:lnTo>
                  <a:pt x="38" y="64"/>
                </a:lnTo>
                <a:lnTo>
                  <a:pt x="38" y="60"/>
                </a:lnTo>
                <a:lnTo>
                  <a:pt x="42" y="60"/>
                </a:lnTo>
                <a:lnTo>
                  <a:pt x="42" y="56"/>
                </a:lnTo>
                <a:lnTo>
                  <a:pt x="46" y="52"/>
                </a:lnTo>
                <a:lnTo>
                  <a:pt x="48" y="52"/>
                </a:lnTo>
                <a:lnTo>
                  <a:pt x="48" y="48"/>
                </a:lnTo>
                <a:lnTo>
                  <a:pt x="48" y="44"/>
                </a:lnTo>
                <a:lnTo>
                  <a:pt x="48" y="42"/>
                </a:lnTo>
                <a:lnTo>
                  <a:pt x="48" y="38"/>
                </a:lnTo>
                <a:lnTo>
                  <a:pt x="52" y="38"/>
                </a:lnTo>
                <a:lnTo>
                  <a:pt x="52" y="34"/>
                </a:lnTo>
                <a:lnTo>
                  <a:pt x="48" y="34"/>
                </a:lnTo>
                <a:lnTo>
                  <a:pt x="52" y="34"/>
                </a:lnTo>
                <a:lnTo>
                  <a:pt x="52" y="30"/>
                </a:lnTo>
                <a:lnTo>
                  <a:pt x="56" y="30"/>
                </a:lnTo>
                <a:lnTo>
                  <a:pt x="52" y="30"/>
                </a:lnTo>
                <a:lnTo>
                  <a:pt x="56" y="30"/>
                </a:lnTo>
                <a:lnTo>
                  <a:pt x="56" y="26"/>
                </a:lnTo>
                <a:lnTo>
                  <a:pt x="60" y="26"/>
                </a:lnTo>
                <a:lnTo>
                  <a:pt x="60" y="22"/>
                </a:lnTo>
                <a:lnTo>
                  <a:pt x="60" y="22"/>
                </a:lnTo>
                <a:lnTo>
                  <a:pt x="60" y="22"/>
                </a:lnTo>
                <a:close/>
                <a:moveTo>
                  <a:pt x="22" y="142"/>
                </a:moveTo>
                <a:lnTo>
                  <a:pt x="26" y="142"/>
                </a:lnTo>
                <a:lnTo>
                  <a:pt x="22" y="142"/>
                </a:lnTo>
                <a:lnTo>
                  <a:pt x="22" y="142"/>
                </a:lnTo>
                <a:lnTo>
                  <a:pt x="22" y="142"/>
                </a:lnTo>
                <a:close/>
                <a:moveTo>
                  <a:pt x="16" y="172"/>
                </a:moveTo>
                <a:lnTo>
                  <a:pt x="12" y="172"/>
                </a:lnTo>
                <a:lnTo>
                  <a:pt x="12" y="168"/>
                </a:lnTo>
                <a:lnTo>
                  <a:pt x="16" y="172"/>
                </a:lnTo>
                <a:lnTo>
                  <a:pt x="16" y="172"/>
                </a:lnTo>
                <a:lnTo>
                  <a:pt x="16" y="172"/>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75" name="Freeform 182"/>
          <p:cNvSpPr>
            <a:spLocks noEditPoints="1"/>
          </p:cNvSpPr>
          <p:nvPr/>
        </p:nvSpPr>
        <p:spPr bwMode="auto">
          <a:xfrm>
            <a:off x="2714625" y="3669505"/>
            <a:ext cx="278606" cy="128588"/>
          </a:xfrm>
          <a:custGeom>
            <a:avLst/>
            <a:gdLst>
              <a:gd name="T0" fmla="*/ 166 w 234"/>
              <a:gd name="T1" fmla="*/ 100 h 108"/>
              <a:gd name="T2" fmla="*/ 164 w 234"/>
              <a:gd name="T3" fmla="*/ 100 h 108"/>
              <a:gd name="T4" fmla="*/ 160 w 234"/>
              <a:gd name="T5" fmla="*/ 92 h 108"/>
              <a:gd name="T6" fmla="*/ 160 w 234"/>
              <a:gd name="T7" fmla="*/ 82 h 108"/>
              <a:gd name="T8" fmla="*/ 166 w 234"/>
              <a:gd name="T9" fmla="*/ 78 h 108"/>
              <a:gd name="T10" fmla="*/ 166 w 234"/>
              <a:gd name="T11" fmla="*/ 68 h 108"/>
              <a:gd name="T12" fmla="*/ 166 w 234"/>
              <a:gd name="T13" fmla="*/ 64 h 108"/>
              <a:gd name="T14" fmla="*/ 164 w 234"/>
              <a:gd name="T15" fmla="*/ 64 h 108"/>
              <a:gd name="T16" fmla="*/ 164 w 234"/>
              <a:gd name="T17" fmla="*/ 68 h 108"/>
              <a:gd name="T18" fmla="*/ 156 w 234"/>
              <a:gd name="T19" fmla="*/ 68 h 108"/>
              <a:gd name="T20" fmla="*/ 152 w 234"/>
              <a:gd name="T21" fmla="*/ 60 h 108"/>
              <a:gd name="T22" fmla="*/ 152 w 234"/>
              <a:gd name="T23" fmla="*/ 56 h 108"/>
              <a:gd name="T24" fmla="*/ 156 w 234"/>
              <a:gd name="T25" fmla="*/ 48 h 108"/>
              <a:gd name="T26" fmla="*/ 156 w 234"/>
              <a:gd name="T27" fmla="*/ 42 h 108"/>
              <a:gd name="T28" fmla="*/ 160 w 234"/>
              <a:gd name="T29" fmla="*/ 34 h 108"/>
              <a:gd name="T30" fmla="*/ 164 w 234"/>
              <a:gd name="T31" fmla="*/ 26 h 108"/>
              <a:gd name="T32" fmla="*/ 164 w 234"/>
              <a:gd name="T33" fmla="*/ 16 h 108"/>
              <a:gd name="T34" fmla="*/ 166 w 234"/>
              <a:gd name="T35" fmla="*/ 8 h 108"/>
              <a:gd name="T36" fmla="*/ 178 w 234"/>
              <a:gd name="T37" fmla="*/ 4 h 108"/>
              <a:gd name="T38" fmla="*/ 182 w 234"/>
              <a:gd name="T39" fmla="*/ 4 h 108"/>
              <a:gd name="T40" fmla="*/ 192 w 234"/>
              <a:gd name="T41" fmla="*/ 8 h 108"/>
              <a:gd name="T42" fmla="*/ 200 w 234"/>
              <a:gd name="T43" fmla="*/ 12 h 108"/>
              <a:gd name="T44" fmla="*/ 204 w 234"/>
              <a:gd name="T45" fmla="*/ 18 h 108"/>
              <a:gd name="T46" fmla="*/ 216 w 234"/>
              <a:gd name="T47" fmla="*/ 18 h 108"/>
              <a:gd name="T48" fmla="*/ 222 w 234"/>
              <a:gd name="T49" fmla="*/ 22 h 108"/>
              <a:gd name="T50" fmla="*/ 230 w 234"/>
              <a:gd name="T51" fmla="*/ 26 h 108"/>
              <a:gd name="T52" fmla="*/ 230 w 234"/>
              <a:gd name="T53" fmla="*/ 34 h 108"/>
              <a:gd name="T54" fmla="*/ 230 w 234"/>
              <a:gd name="T55" fmla="*/ 42 h 108"/>
              <a:gd name="T56" fmla="*/ 226 w 234"/>
              <a:gd name="T57" fmla="*/ 52 h 108"/>
              <a:gd name="T58" fmla="*/ 220 w 234"/>
              <a:gd name="T59" fmla="*/ 60 h 108"/>
              <a:gd name="T60" fmla="*/ 208 w 234"/>
              <a:gd name="T61" fmla="*/ 72 h 108"/>
              <a:gd name="T62" fmla="*/ 196 w 234"/>
              <a:gd name="T63" fmla="*/ 74 h 108"/>
              <a:gd name="T64" fmla="*/ 192 w 234"/>
              <a:gd name="T65" fmla="*/ 82 h 108"/>
              <a:gd name="T66" fmla="*/ 190 w 234"/>
              <a:gd name="T67" fmla="*/ 82 h 108"/>
              <a:gd name="T68" fmla="*/ 186 w 234"/>
              <a:gd name="T69" fmla="*/ 88 h 108"/>
              <a:gd name="T70" fmla="*/ 182 w 234"/>
              <a:gd name="T71" fmla="*/ 96 h 108"/>
              <a:gd name="T72" fmla="*/ 182 w 234"/>
              <a:gd name="T73" fmla="*/ 100 h 108"/>
              <a:gd name="T74" fmla="*/ 174 w 234"/>
              <a:gd name="T75" fmla="*/ 108 h 108"/>
              <a:gd name="T76" fmla="*/ 170 w 234"/>
              <a:gd name="T77" fmla="*/ 104 h 108"/>
              <a:gd name="T78" fmla="*/ 14 w 234"/>
              <a:gd name="T79" fmla="*/ 38 h 108"/>
              <a:gd name="T80" fmla="*/ 22 w 234"/>
              <a:gd name="T81" fmla="*/ 34 h 108"/>
              <a:gd name="T82" fmla="*/ 18 w 234"/>
              <a:gd name="T83" fmla="*/ 38 h 108"/>
              <a:gd name="T84" fmla="*/ 4 w 234"/>
              <a:gd name="T85" fmla="*/ 42 h 108"/>
              <a:gd name="T86" fmla="*/ 8 w 234"/>
              <a:gd name="T87" fmla="*/ 34 h 108"/>
              <a:gd name="T88" fmla="*/ 0 w 234"/>
              <a:gd name="T89" fmla="*/ 26 h 108"/>
              <a:gd name="T90" fmla="*/ 8 w 234"/>
              <a:gd name="T91" fmla="*/ 22 h 108"/>
              <a:gd name="T92" fmla="*/ 10 w 234"/>
              <a:gd name="T93" fmla="*/ 30 h 108"/>
              <a:gd name="T94" fmla="*/ 10 w 234"/>
              <a:gd name="T95" fmla="*/ 42 h 108"/>
              <a:gd name="T96" fmla="*/ 8 w 234"/>
              <a:gd name="T97" fmla="*/ 42 h 108"/>
              <a:gd name="T98" fmla="*/ 10 w 234"/>
              <a:gd name="T99" fmla="*/ 26 h 108"/>
              <a:gd name="T100" fmla="*/ 14 w 234"/>
              <a:gd name="T101" fmla="*/ 30 h 108"/>
              <a:gd name="T102" fmla="*/ 0 w 234"/>
              <a:gd name="T103" fmla="*/ 34 h 108"/>
              <a:gd name="T104" fmla="*/ 4 w 234"/>
              <a:gd name="T105" fmla="*/ 34 h 108"/>
              <a:gd name="T106" fmla="*/ 30 w 234"/>
              <a:gd name="T107" fmla="*/ 42 h 108"/>
              <a:gd name="T108" fmla="*/ 34 w 234"/>
              <a:gd name="T109" fmla="*/ 42 h 108"/>
              <a:gd name="T110" fmla="*/ 30 w 234"/>
              <a:gd name="T111" fmla="*/ 42 h 108"/>
              <a:gd name="T112" fmla="*/ 18 w 234"/>
              <a:gd name="T113" fmla="*/ 46 h 108"/>
              <a:gd name="T114" fmla="*/ 18 w 234"/>
              <a:gd name="T115" fmla="*/ 48 h 108"/>
              <a:gd name="T116" fmla="*/ 160 w 234"/>
              <a:gd name="T117" fmla="*/ 72 h 108"/>
              <a:gd name="T118" fmla="*/ 164 w 234"/>
              <a:gd name="T119" fmla="*/ 7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4" h="108">
                <a:moveTo>
                  <a:pt x="170" y="104"/>
                </a:moveTo>
                <a:lnTo>
                  <a:pt x="170" y="100"/>
                </a:lnTo>
                <a:lnTo>
                  <a:pt x="166" y="100"/>
                </a:lnTo>
                <a:lnTo>
                  <a:pt x="164" y="100"/>
                </a:lnTo>
                <a:lnTo>
                  <a:pt x="164" y="96"/>
                </a:lnTo>
                <a:lnTo>
                  <a:pt x="164" y="100"/>
                </a:lnTo>
                <a:lnTo>
                  <a:pt x="160" y="100"/>
                </a:lnTo>
                <a:lnTo>
                  <a:pt x="160" y="96"/>
                </a:lnTo>
                <a:lnTo>
                  <a:pt x="160" y="92"/>
                </a:lnTo>
                <a:lnTo>
                  <a:pt x="164" y="88"/>
                </a:lnTo>
                <a:lnTo>
                  <a:pt x="164" y="86"/>
                </a:lnTo>
                <a:lnTo>
                  <a:pt x="160" y="82"/>
                </a:lnTo>
                <a:lnTo>
                  <a:pt x="164" y="82"/>
                </a:lnTo>
                <a:lnTo>
                  <a:pt x="164" y="78"/>
                </a:lnTo>
                <a:lnTo>
                  <a:pt x="166" y="78"/>
                </a:lnTo>
                <a:lnTo>
                  <a:pt x="166" y="74"/>
                </a:lnTo>
                <a:lnTo>
                  <a:pt x="166" y="72"/>
                </a:lnTo>
                <a:lnTo>
                  <a:pt x="166" y="68"/>
                </a:lnTo>
                <a:lnTo>
                  <a:pt x="166" y="64"/>
                </a:lnTo>
                <a:lnTo>
                  <a:pt x="166" y="60"/>
                </a:lnTo>
                <a:lnTo>
                  <a:pt x="166" y="64"/>
                </a:lnTo>
                <a:lnTo>
                  <a:pt x="166" y="68"/>
                </a:lnTo>
                <a:lnTo>
                  <a:pt x="164" y="68"/>
                </a:lnTo>
                <a:lnTo>
                  <a:pt x="164" y="64"/>
                </a:lnTo>
                <a:lnTo>
                  <a:pt x="166" y="64"/>
                </a:lnTo>
                <a:lnTo>
                  <a:pt x="164" y="64"/>
                </a:lnTo>
                <a:lnTo>
                  <a:pt x="164" y="68"/>
                </a:lnTo>
                <a:lnTo>
                  <a:pt x="164" y="72"/>
                </a:lnTo>
                <a:lnTo>
                  <a:pt x="160" y="72"/>
                </a:lnTo>
                <a:lnTo>
                  <a:pt x="156" y="68"/>
                </a:lnTo>
                <a:lnTo>
                  <a:pt x="156" y="64"/>
                </a:lnTo>
                <a:lnTo>
                  <a:pt x="152" y="64"/>
                </a:lnTo>
                <a:lnTo>
                  <a:pt x="152" y="60"/>
                </a:lnTo>
                <a:lnTo>
                  <a:pt x="156" y="60"/>
                </a:lnTo>
                <a:lnTo>
                  <a:pt x="156" y="56"/>
                </a:lnTo>
                <a:lnTo>
                  <a:pt x="152" y="56"/>
                </a:lnTo>
                <a:lnTo>
                  <a:pt x="152" y="52"/>
                </a:lnTo>
                <a:lnTo>
                  <a:pt x="152" y="48"/>
                </a:lnTo>
                <a:lnTo>
                  <a:pt x="156" y="48"/>
                </a:lnTo>
                <a:lnTo>
                  <a:pt x="152" y="46"/>
                </a:lnTo>
                <a:lnTo>
                  <a:pt x="152" y="42"/>
                </a:lnTo>
                <a:lnTo>
                  <a:pt x="156" y="42"/>
                </a:lnTo>
                <a:lnTo>
                  <a:pt x="156" y="38"/>
                </a:lnTo>
                <a:lnTo>
                  <a:pt x="160" y="38"/>
                </a:lnTo>
                <a:lnTo>
                  <a:pt x="160" y="34"/>
                </a:lnTo>
                <a:lnTo>
                  <a:pt x="160" y="30"/>
                </a:lnTo>
                <a:lnTo>
                  <a:pt x="160" y="26"/>
                </a:lnTo>
                <a:lnTo>
                  <a:pt x="164" y="26"/>
                </a:lnTo>
                <a:lnTo>
                  <a:pt x="164" y="22"/>
                </a:lnTo>
                <a:lnTo>
                  <a:pt x="164" y="18"/>
                </a:lnTo>
                <a:lnTo>
                  <a:pt x="164" y="16"/>
                </a:lnTo>
                <a:lnTo>
                  <a:pt x="164" y="12"/>
                </a:lnTo>
                <a:lnTo>
                  <a:pt x="166" y="12"/>
                </a:lnTo>
                <a:lnTo>
                  <a:pt x="166" y="8"/>
                </a:lnTo>
                <a:lnTo>
                  <a:pt x="170" y="8"/>
                </a:lnTo>
                <a:lnTo>
                  <a:pt x="174" y="8"/>
                </a:lnTo>
                <a:lnTo>
                  <a:pt x="178" y="4"/>
                </a:lnTo>
                <a:lnTo>
                  <a:pt x="182" y="4"/>
                </a:lnTo>
                <a:lnTo>
                  <a:pt x="182" y="0"/>
                </a:lnTo>
                <a:lnTo>
                  <a:pt x="182" y="4"/>
                </a:lnTo>
                <a:lnTo>
                  <a:pt x="186" y="4"/>
                </a:lnTo>
                <a:lnTo>
                  <a:pt x="190" y="8"/>
                </a:lnTo>
                <a:lnTo>
                  <a:pt x="192" y="8"/>
                </a:lnTo>
                <a:lnTo>
                  <a:pt x="192" y="12"/>
                </a:lnTo>
                <a:lnTo>
                  <a:pt x="196" y="12"/>
                </a:lnTo>
                <a:lnTo>
                  <a:pt x="200" y="12"/>
                </a:lnTo>
                <a:lnTo>
                  <a:pt x="200" y="16"/>
                </a:lnTo>
                <a:lnTo>
                  <a:pt x="200" y="18"/>
                </a:lnTo>
                <a:lnTo>
                  <a:pt x="204" y="18"/>
                </a:lnTo>
                <a:lnTo>
                  <a:pt x="208" y="18"/>
                </a:lnTo>
                <a:lnTo>
                  <a:pt x="212" y="18"/>
                </a:lnTo>
                <a:lnTo>
                  <a:pt x="216" y="18"/>
                </a:lnTo>
                <a:lnTo>
                  <a:pt x="220" y="18"/>
                </a:lnTo>
                <a:lnTo>
                  <a:pt x="222" y="18"/>
                </a:lnTo>
                <a:lnTo>
                  <a:pt x="222" y="22"/>
                </a:lnTo>
                <a:lnTo>
                  <a:pt x="226" y="22"/>
                </a:lnTo>
                <a:lnTo>
                  <a:pt x="226" y="26"/>
                </a:lnTo>
                <a:lnTo>
                  <a:pt x="230" y="26"/>
                </a:lnTo>
                <a:lnTo>
                  <a:pt x="226" y="26"/>
                </a:lnTo>
                <a:lnTo>
                  <a:pt x="230" y="30"/>
                </a:lnTo>
                <a:lnTo>
                  <a:pt x="230" y="34"/>
                </a:lnTo>
                <a:lnTo>
                  <a:pt x="230" y="38"/>
                </a:lnTo>
                <a:lnTo>
                  <a:pt x="234" y="42"/>
                </a:lnTo>
                <a:lnTo>
                  <a:pt x="230" y="42"/>
                </a:lnTo>
                <a:lnTo>
                  <a:pt x="230" y="46"/>
                </a:lnTo>
                <a:lnTo>
                  <a:pt x="226" y="48"/>
                </a:lnTo>
                <a:lnTo>
                  <a:pt x="226" y="52"/>
                </a:lnTo>
                <a:lnTo>
                  <a:pt x="222" y="56"/>
                </a:lnTo>
                <a:lnTo>
                  <a:pt x="222" y="60"/>
                </a:lnTo>
                <a:lnTo>
                  <a:pt x="220" y="60"/>
                </a:lnTo>
                <a:lnTo>
                  <a:pt x="216" y="64"/>
                </a:lnTo>
                <a:lnTo>
                  <a:pt x="212" y="68"/>
                </a:lnTo>
                <a:lnTo>
                  <a:pt x="208" y="72"/>
                </a:lnTo>
                <a:lnTo>
                  <a:pt x="204" y="72"/>
                </a:lnTo>
                <a:lnTo>
                  <a:pt x="200" y="74"/>
                </a:lnTo>
                <a:lnTo>
                  <a:pt x="196" y="74"/>
                </a:lnTo>
                <a:lnTo>
                  <a:pt x="192" y="74"/>
                </a:lnTo>
                <a:lnTo>
                  <a:pt x="192" y="78"/>
                </a:lnTo>
                <a:lnTo>
                  <a:pt x="192" y="82"/>
                </a:lnTo>
                <a:lnTo>
                  <a:pt x="190" y="82"/>
                </a:lnTo>
                <a:lnTo>
                  <a:pt x="190" y="86"/>
                </a:lnTo>
                <a:lnTo>
                  <a:pt x="190" y="82"/>
                </a:lnTo>
                <a:lnTo>
                  <a:pt x="190" y="86"/>
                </a:lnTo>
                <a:lnTo>
                  <a:pt x="190" y="88"/>
                </a:lnTo>
                <a:lnTo>
                  <a:pt x="186" y="88"/>
                </a:lnTo>
                <a:lnTo>
                  <a:pt x="186" y="92"/>
                </a:lnTo>
                <a:lnTo>
                  <a:pt x="186" y="96"/>
                </a:lnTo>
                <a:lnTo>
                  <a:pt x="182" y="96"/>
                </a:lnTo>
                <a:lnTo>
                  <a:pt x="182" y="100"/>
                </a:lnTo>
                <a:lnTo>
                  <a:pt x="186" y="100"/>
                </a:lnTo>
                <a:lnTo>
                  <a:pt x="182" y="100"/>
                </a:lnTo>
                <a:lnTo>
                  <a:pt x="182" y="104"/>
                </a:lnTo>
                <a:lnTo>
                  <a:pt x="178" y="108"/>
                </a:lnTo>
                <a:lnTo>
                  <a:pt x="174" y="108"/>
                </a:lnTo>
                <a:lnTo>
                  <a:pt x="174" y="104"/>
                </a:lnTo>
                <a:lnTo>
                  <a:pt x="170" y="104"/>
                </a:lnTo>
                <a:lnTo>
                  <a:pt x="170" y="104"/>
                </a:lnTo>
                <a:lnTo>
                  <a:pt x="170" y="104"/>
                </a:lnTo>
                <a:close/>
                <a:moveTo>
                  <a:pt x="18" y="38"/>
                </a:moveTo>
                <a:lnTo>
                  <a:pt x="14" y="38"/>
                </a:lnTo>
                <a:lnTo>
                  <a:pt x="14" y="34"/>
                </a:lnTo>
                <a:lnTo>
                  <a:pt x="18" y="34"/>
                </a:lnTo>
                <a:lnTo>
                  <a:pt x="22" y="34"/>
                </a:lnTo>
                <a:lnTo>
                  <a:pt x="22" y="38"/>
                </a:lnTo>
                <a:lnTo>
                  <a:pt x="18" y="38"/>
                </a:lnTo>
                <a:lnTo>
                  <a:pt x="18" y="38"/>
                </a:lnTo>
                <a:lnTo>
                  <a:pt x="18" y="38"/>
                </a:lnTo>
                <a:close/>
                <a:moveTo>
                  <a:pt x="8" y="42"/>
                </a:moveTo>
                <a:lnTo>
                  <a:pt x="4" y="42"/>
                </a:lnTo>
                <a:lnTo>
                  <a:pt x="4" y="38"/>
                </a:lnTo>
                <a:lnTo>
                  <a:pt x="8" y="38"/>
                </a:lnTo>
                <a:lnTo>
                  <a:pt x="8" y="34"/>
                </a:lnTo>
                <a:lnTo>
                  <a:pt x="4" y="30"/>
                </a:lnTo>
                <a:lnTo>
                  <a:pt x="4" y="26"/>
                </a:lnTo>
                <a:lnTo>
                  <a:pt x="0" y="26"/>
                </a:lnTo>
                <a:lnTo>
                  <a:pt x="0" y="22"/>
                </a:lnTo>
                <a:lnTo>
                  <a:pt x="4" y="22"/>
                </a:lnTo>
                <a:lnTo>
                  <a:pt x="8" y="22"/>
                </a:lnTo>
                <a:lnTo>
                  <a:pt x="8" y="26"/>
                </a:lnTo>
                <a:lnTo>
                  <a:pt x="8" y="30"/>
                </a:lnTo>
                <a:lnTo>
                  <a:pt x="10" y="30"/>
                </a:lnTo>
                <a:lnTo>
                  <a:pt x="10" y="34"/>
                </a:lnTo>
                <a:lnTo>
                  <a:pt x="10" y="38"/>
                </a:lnTo>
                <a:lnTo>
                  <a:pt x="10" y="42"/>
                </a:lnTo>
                <a:lnTo>
                  <a:pt x="8" y="42"/>
                </a:lnTo>
                <a:lnTo>
                  <a:pt x="8" y="42"/>
                </a:lnTo>
                <a:lnTo>
                  <a:pt x="8" y="42"/>
                </a:lnTo>
                <a:close/>
                <a:moveTo>
                  <a:pt x="14" y="30"/>
                </a:moveTo>
                <a:lnTo>
                  <a:pt x="10" y="30"/>
                </a:lnTo>
                <a:lnTo>
                  <a:pt x="10" y="26"/>
                </a:lnTo>
                <a:lnTo>
                  <a:pt x="14" y="26"/>
                </a:lnTo>
                <a:lnTo>
                  <a:pt x="14" y="30"/>
                </a:lnTo>
                <a:lnTo>
                  <a:pt x="14" y="30"/>
                </a:lnTo>
                <a:lnTo>
                  <a:pt x="14" y="30"/>
                </a:lnTo>
                <a:close/>
                <a:moveTo>
                  <a:pt x="4" y="34"/>
                </a:moveTo>
                <a:lnTo>
                  <a:pt x="0" y="34"/>
                </a:lnTo>
                <a:lnTo>
                  <a:pt x="0" y="30"/>
                </a:lnTo>
                <a:lnTo>
                  <a:pt x="4" y="30"/>
                </a:lnTo>
                <a:lnTo>
                  <a:pt x="4" y="34"/>
                </a:lnTo>
                <a:lnTo>
                  <a:pt x="4" y="34"/>
                </a:lnTo>
                <a:lnTo>
                  <a:pt x="4" y="34"/>
                </a:lnTo>
                <a:close/>
                <a:moveTo>
                  <a:pt x="30" y="42"/>
                </a:moveTo>
                <a:lnTo>
                  <a:pt x="30" y="38"/>
                </a:lnTo>
                <a:lnTo>
                  <a:pt x="34" y="38"/>
                </a:lnTo>
                <a:lnTo>
                  <a:pt x="34" y="42"/>
                </a:lnTo>
                <a:lnTo>
                  <a:pt x="30" y="42"/>
                </a:lnTo>
                <a:lnTo>
                  <a:pt x="30" y="42"/>
                </a:lnTo>
                <a:lnTo>
                  <a:pt x="30" y="42"/>
                </a:lnTo>
                <a:close/>
                <a:moveTo>
                  <a:pt x="18" y="48"/>
                </a:moveTo>
                <a:lnTo>
                  <a:pt x="14" y="46"/>
                </a:lnTo>
                <a:lnTo>
                  <a:pt x="18" y="46"/>
                </a:lnTo>
                <a:lnTo>
                  <a:pt x="18" y="48"/>
                </a:lnTo>
                <a:lnTo>
                  <a:pt x="18" y="48"/>
                </a:lnTo>
                <a:lnTo>
                  <a:pt x="18" y="48"/>
                </a:lnTo>
                <a:close/>
                <a:moveTo>
                  <a:pt x="164" y="74"/>
                </a:moveTo>
                <a:lnTo>
                  <a:pt x="160" y="74"/>
                </a:lnTo>
                <a:lnTo>
                  <a:pt x="160" y="72"/>
                </a:lnTo>
                <a:lnTo>
                  <a:pt x="164" y="72"/>
                </a:lnTo>
                <a:lnTo>
                  <a:pt x="166" y="72"/>
                </a:lnTo>
                <a:lnTo>
                  <a:pt x="164" y="74"/>
                </a:lnTo>
                <a:lnTo>
                  <a:pt x="164" y="74"/>
                </a:lnTo>
                <a:lnTo>
                  <a:pt x="164" y="74"/>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76" name="Freeform 183"/>
          <p:cNvSpPr>
            <a:spLocks/>
          </p:cNvSpPr>
          <p:nvPr/>
        </p:nvSpPr>
        <p:spPr bwMode="auto">
          <a:xfrm>
            <a:off x="3338513" y="3581400"/>
            <a:ext cx="50006" cy="73819"/>
          </a:xfrm>
          <a:custGeom>
            <a:avLst/>
            <a:gdLst>
              <a:gd name="T0" fmla="*/ 4 w 42"/>
              <a:gd name="T1" fmla="*/ 56 h 62"/>
              <a:gd name="T2" fmla="*/ 4 w 42"/>
              <a:gd name="T3" fmla="*/ 52 h 62"/>
              <a:gd name="T4" fmla="*/ 4 w 42"/>
              <a:gd name="T5" fmla="*/ 48 h 62"/>
              <a:gd name="T6" fmla="*/ 4 w 42"/>
              <a:gd name="T7" fmla="*/ 44 h 62"/>
              <a:gd name="T8" fmla="*/ 8 w 42"/>
              <a:gd name="T9" fmla="*/ 40 h 62"/>
              <a:gd name="T10" fmla="*/ 8 w 42"/>
              <a:gd name="T11" fmla="*/ 32 h 62"/>
              <a:gd name="T12" fmla="*/ 4 w 42"/>
              <a:gd name="T13" fmla="*/ 30 h 62"/>
              <a:gd name="T14" fmla="*/ 0 w 42"/>
              <a:gd name="T15" fmla="*/ 22 h 62"/>
              <a:gd name="T16" fmla="*/ 0 w 42"/>
              <a:gd name="T17" fmla="*/ 18 h 62"/>
              <a:gd name="T18" fmla="*/ 0 w 42"/>
              <a:gd name="T19" fmla="*/ 14 h 62"/>
              <a:gd name="T20" fmla="*/ 4 w 42"/>
              <a:gd name="T21" fmla="*/ 10 h 62"/>
              <a:gd name="T22" fmla="*/ 4 w 42"/>
              <a:gd name="T23" fmla="*/ 6 h 62"/>
              <a:gd name="T24" fmla="*/ 8 w 42"/>
              <a:gd name="T25" fmla="*/ 6 h 62"/>
              <a:gd name="T26" fmla="*/ 8 w 42"/>
              <a:gd name="T27" fmla="*/ 4 h 62"/>
              <a:gd name="T28" fmla="*/ 8 w 42"/>
              <a:gd name="T29" fmla="*/ 0 h 62"/>
              <a:gd name="T30" fmla="*/ 12 w 42"/>
              <a:gd name="T31" fmla="*/ 0 h 62"/>
              <a:gd name="T32" fmla="*/ 16 w 42"/>
              <a:gd name="T33" fmla="*/ 4 h 62"/>
              <a:gd name="T34" fmla="*/ 20 w 42"/>
              <a:gd name="T35" fmla="*/ 4 h 62"/>
              <a:gd name="T36" fmla="*/ 24 w 42"/>
              <a:gd name="T37" fmla="*/ 4 h 62"/>
              <a:gd name="T38" fmla="*/ 28 w 42"/>
              <a:gd name="T39" fmla="*/ 6 h 62"/>
              <a:gd name="T40" fmla="*/ 30 w 42"/>
              <a:gd name="T41" fmla="*/ 14 h 62"/>
              <a:gd name="T42" fmla="*/ 38 w 42"/>
              <a:gd name="T43" fmla="*/ 18 h 62"/>
              <a:gd name="T44" fmla="*/ 38 w 42"/>
              <a:gd name="T45" fmla="*/ 22 h 62"/>
              <a:gd name="T46" fmla="*/ 38 w 42"/>
              <a:gd name="T47" fmla="*/ 26 h 62"/>
              <a:gd name="T48" fmla="*/ 38 w 42"/>
              <a:gd name="T49" fmla="*/ 22 h 62"/>
              <a:gd name="T50" fmla="*/ 38 w 42"/>
              <a:gd name="T51" fmla="*/ 22 h 62"/>
              <a:gd name="T52" fmla="*/ 38 w 42"/>
              <a:gd name="T53" fmla="*/ 18 h 62"/>
              <a:gd name="T54" fmla="*/ 42 w 42"/>
              <a:gd name="T55" fmla="*/ 22 h 62"/>
              <a:gd name="T56" fmla="*/ 42 w 42"/>
              <a:gd name="T57" fmla="*/ 26 h 62"/>
              <a:gd name="T58" fmla="*/ 42 w 42"/>
              <a:gd name="T59" fmla="*/ 26 h 62"/>
              <a:gd name="T60" fmla="*/ 42 w 42"/>
              <a:gd name="T61" fmla="*/ 30 h 62"/>
              <a:gd name="T62" fmla="*/ 42 w 42"/>
              <a:gd name="T63" fmla="*/ 30 h 62"/>
              <a:gd name="T64" fmla="*/ 38 w 42"/>
              <a:gd name="T65" fmla="*/ 32 h 62"/>
              <a:gd name="T66" fmla="*/ 38 w 42"/>
              <a:gd name="T67" fmla="*/ 36 h 62"/>
              <a:gd name="T68" fmla="*/ 34 w 42"/>
              <a:gd name="T69" fmla="*/ 44 h 62"/>
              <a:gd name="T70" fmla="*/ 30 w 42"/>
              <a:gd name="T71" fmla="*/ 44 h 62"/>
              <a:gd name="T72" fmla="*/ 30 w 42"/>
              <a:gd name="T73" fmla="*/ 48 h 62"/>
              <a:gd name="T74" fmla="*/ 30 w 42"/>
              <a:gd name="T75" fmla="*/ 56 h 62"/>
              <a:gd name="T76" fmla="*/ 28 w 42"/>
              <a:gd name="T77" fmla="*/ 58 h 62"/>
              <a:gd name="T78" fmla="*/ 24 w 42"/>
              <a:gd name="T79" fmla="*/ 62 h 62"/>
              <a:gd name="T80" fmla="*/ 24 w 42"/>
              <a:gd name="T81" fmla="*/ 58 h 62"/>
              <a:gd name="T82" fmla="*/ 20 w 42"/>
              <a:gd name="T83" fmla="*/ 58 h 62"/>
              <a:gd name="T84" fmla="*/ 20 w 42"/>
              <a:gd name="T85" fmla="*/ 58 h 62"/>
              <a:gd name="T86" fmla="*/ 12 w 42"/>
              <a:gd name="T87" fmla="*/ 58 h 62"/>
              <a:gd name="T88" fmla="*/ 8 w 42"/>
              <a:gd name="T89" fmla="*/ 58 h 62"/>
              <a:gd name="T90" fmla="*/ 4 w 42"/>
              <a:gd name="T91" fmla="*/ 62 h 62"/>
              <a:gd name="T92" fmla="*/ 0 w 42"/>
              <a:gd name="T93" fmla="*/ 58 h 62"/>
              <a:gd name="T94" fmla="*/ 0 w 42"/>
              <a:gd name="T95" fmla="*/ 5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2" h="62">
                <a:moveTo>
                  <a:pt x="0" y="58"/>
                </a:moveTo>
                <a:lnTo>
                  <a:pt x="0" y="58"/>
                </a:lnTo>
                <a:lnTo>
                  <a:pt x="0" y="56"/>
                </a:lnTo>
                <a:lnTo>
                  <a:pt x="4" y="56"/>
                </a:lnTo>
                <a:lnTo>
                  <a:pt x="4" y="56"/>
                </a:lnTo>
                <a:lnTo>
                  <a:pt x="4" y="56"/>
                </a:lnTo>
                <a:lnTo>
                  <a:pt x="4" y="52"/>
                </a:lnTo>
                <a:lnTo>
                  <a:pt x="4" y="52"/>
                </a:lnTo>
                <a:lnTo>
                  <a:pt x="4" y="52"/>
                </a:lnTo>
                <a:lnTo>
                  <a:pt x="4" y="52"/>
                </a:lnTo>
                <a:lnTo>
                  <a:pt x="4" y="52"/>
                </a:lnTo>
                <a:lnTo>
                  <a:pt x="4" y="48"/>
                </a:lnTo>
                <a:lnTo>
                  <a:pt x="4" y="48"/>
                </a:lnTo>
                <a:lnTo>
                  <a:pt x="4" y="44"/>
                </a:lnTo>
                <a:lnTo>
                  <a:pt x="4" y="44"/>
                </a:lnTo>
                <a:lnTo>
                  <a:pt x="4" y="44"/>
                </a:lnTo>
                <a:lnTo>
                  <a:pt x="4" y="44"/>
                </a:lnTo>
                <a:lnTo>
                  <a:pt x="8" y="40"/>
                </a:lnTo>
                <a:lnTo>
                  <a:pt x="8" y="40"/>
                </a:lnTo>
                <a:lnTo>
                  <a:pt x="8" y="40"/>
                </a:lnTo>
                <a:lnTo>
                  <a:pt x="8" y="40"/>
                </a:lnTo>
                <a:lnTo>
                  <a:pt x="8" y="36"/>
                </a:lnTo>
                <a:lnTo>
                  <a:pt x="8" y="36"/>
                </a:lnTo>
                <a:lnTo>
                  <a:pt x="8" y="32"/>
                </a:lnTo>
                <a:lnTo>
                  <a:pt x="8" y="32"/>
                </a:lnTo>
                <a:lnTo>
                  <a:pt x="4" y="32"/>
                </a:lnTo>
                <a:lnTo>
                  <a:pt x="4" y="30"/>
                </a:lnTo>
                <a:lnTo>
                  <a:pt x="4" y="30"/>
                </a:lnTo>
                <a:lnTo>
                  <a:pt x="4" y="26"/>
                </a:lnTo>
                <a:lnTo>
                  <a:pt x="4" y="26"/>
                </a:lnTo>
                <a:lnTo>
                  <a:pt x="0" y="22"/>
                </a:lnTo>
                <a:lnTo>
                  <a:pt x="0" y="22"/>
                </a:lnTo>
                <a:lnTo>
                  <a:pt x="0" y="22"/>
                </a:lnTo>
                <a:lnTo>
                  <a:pt x="0" y="22"/>
                </a:lnTo>
                <a:lnTo>
                  <a:pt x="0" y="22"/>
                </a:lnTo>
                <a:lnTo>
                  <a:pt x="0" y="18"/>
                </a:lnTo>
                <a:lnTo>
                  <a:pt x="0" y="18"/>
                </a:lnTo>
                <a:lnTo>
                  <a:pt x="0" y="18"/>
                </a:lnTo>
                <a:lnTo>
                  <a:pt x="0" y="18"/>
                </a:lnTo>
                <a:lnTo>
                  <a:pt x="0" y="14"/>
                </a:lnTo>
                <a:lnTo>
                  <a:pt x="0" y="14"/>
                </a:lnTo>
                <a:lnTo>
                  <a:pt x="0" y="10"/>
                </a:lnTo>
                <a:lnTo>
                  <a:pt x="4" y="10"/>
                </a:lnTo>
                <a:lnTo>
                  <a:pt x="4" y="10"/>
                </a:lnTo>
                <a:lnTo>
                  <a:pt x="4" y="10"/>
                </a:lnTo>
                <a:lnTo>
                  <a:pt x="4" y="10"/>
                </a:lnTo>
                <a:lnTo>
                  <a:pt x="4" y="6"/>
                </a:lnTo>
                <a:lnTo>
                  <a:pt x="4" y="6"/>
                </a:lnTo>
                <a:lnTo>
                  <a:pt x="4" y="6"/>
                </a:lnTo>
                <a:lnTo>
                  <a:pt x="4" y="6"/>
                </a:lnTo>
                <a:lnTo>
                  <a:pt x="4" y="6"/>
                </a:lnTo>
                <a:lnTo>
                  <a:pt x="8" y="6"/>
                </a:lnTo>
                <a:lnTo>
                  <a:pt x="8" y="6"/>
                </a:lnTo>
                <a:lnTo>
                  <a:pt x="8" y="6"/>
                </a:lnTo>
                <a:lnTo>
                  <a:pt x="8" y="6"/>
                </a:lnTo>
                <a:lnTo>
                  <a:pt x="8" y="4"/>
                </a:lnTo>
                <a:lnTo>
                  <a:pt x="8" y="4"/>
                </a:lnTo>
                <a:lnTo>
                  <a:pt x="8" y="4"/>
                </a:lnTo>
                <a:lnTo>
                  <a:pt x="8" y="4"/>
                </a:lnTo>
                <a:lnTo>
                  <a:pt x="8" y="0"/>
                </a:lnTo>
                <a:lnTo>
                  <a:pt x="8" y="0"/>
                </a:lnTo>
                <a:lnTo>
                  <a:pt x="8" y="0"/>
                </a:lnTo>
                <a:lnTo>
                  <a:pt x="8" y="0"/>
                </a:lnTo>
                <a:lnTo>
                  <a:pt x="12" y="0"/>
                </a:lnTo>
                <a:lnTo>
                  <a:pt x="12" y="0"/>
                </a:lnTo>
                <a:lnTo>
                  <a:pt x="12" y="0"/>
                </a:lnTo>
                <a:lnTo>
                  <a:pt x="16" y="4"/>
                </a:lnTo>
                <a:lnTo>
                  <a:pt x="16" y="4"/>
                </a:lnTo>
                <a:lnTo>
                  <a:pt x="16" y="4"/>
                </a:lnTo>
                <a:lnTo>
                  <a:pt x="16" y="4"/>
                </a:lnTo>
                <a:lnTo>
                  <a:pt x="16" y="4"/>
                </a:lnTo>
                <a:lnTo>
                  <a:pt x="20" y="4"/>
                </a:lnTo>
                <a:lnTo>
                  <a:pt x="20" y="4"/>
                </a:lnTo>
                <a:lnTo>
                  <a:pt x="24" y="4"/>
                </a:lnTo>
                <a:lnTo>
                  <a:pt x="24" y="4"/>
                </a:lnTo>
                <a:lnTo>
                  <a:pt x="24" y="4"/>
                </a:lnTo>
                <a:lnTo>
                  <a:pt x="24" y="6"/>
                </a:lnTo>
                <a:lnTo>
                  <a:pt x="28" y="6"/>
                </a:lnTo>
                <a:lnTo>
                  <a:pt x="28" y="6"/>
                </a:lnTo>
                <a:lnTo>
                  <a:pt x="28" y="6"/>
                </a:lnTo>
                <a:lnTo>
                  <a:pt x="28" y="10"/>
                </a:lnTo>
                <a:lnTo>
                  <a:pt x="30" y="10"/>
                </a:lnTo>
                <a:lnTo>
                  <a:pt x="30" y="14"/>
                </a:lnTo>
                <a:lnTo>
                  <a:pt x="30" y="14"/>
                </a:lnTo>
                <a:lnTo>
                  <a:pt x="34" y="14"/>
                </a:lnTo>
                <a:lnTo>
                  <a:pt x="34" y="18"/>
                </a:lnTo>
                <a:lnTo>
                  <a:pt x="38" y="18"/>
                </a:lnTo>
                <a:lnTo>
                  <a:pt x="38" y="18"/>
                </a:lnTo>
                <a:lnTo>
                  <a:pt x="38" y="18"/>
                </a:lnTo>
                <a:lnTo>
                  <a:pt x="38" y="18"/>
                </a:lnTo>
                <a:lnTo>
                  <a:pt x="38" y="22"/>
                </a:lnTo>
                <a:lnTo>
                  <a:pt x="38" y="22"/>
                </a:lnTo>
                <a:lnTo>
                  <a:pt x="38" y="22"/>
                </a:lnTo>
                <a:lnTo>
                  <a:pt x="38" y="22"/>
                </a:lnTo>
                <a:lnTo>
                  <a:pt x="38" y="22"/>
                </a:lnTo>
                <a:lnTo>
                  <a:pt x="38" y="26"/>
                </a:lnTo>
                <a:lnTo>
                  <a:pt x="38" y="26"/>
                </a:lnTo>
                <a:lnTo>
                  <a:pt x="38" y="26"/>
                </a:lnTo>
                <a:lnTo>
                  <a:pt x="38" y="22"/>
                </a:lnTo>
                <a:lnTo>
                  <a:pt x="38" y="22"/>
                </a:lnTo>
                <a:lnTo>
                  <a:pt x="38" y="22"/>
                </a:lnTo>
                <a:lnTo>
                  <a:pt x="38" y="22"/>
                </a:lnTo>
                <a:lnTo>
                  <a:pt x="38" y="22"/>
                </a:lnTo>
                <a:lnTo>
                  <a:pt x="38" y="22"/>
                </a:lnTo>
                <a:lnTo>
                  <a:pt x="38" y="22"/>
                </a:lnTo>
                <a:lnTo>
                  <a:pt x="38" y="18"/>
                </a:lnTo>
                <a:lnTo>
                  <a:pt x="38" y="18"/>
                </a:lnTo>
                <a:lnTo>
                  <a:pt x="38" y="18"/>
                </a:lnTo>
                <a:lnTo>
                  <a:pt x="38" y="18"/>
                </a:lnTo>
                <a:lnTo>
                  <a:pt x="38" y="18"/>
                </a:lnTo>
                <a:lnTo>
                  <a:pt x="42" y="22"/>
                </a:lnTo>
                <a:lnTo>
                  <a:pt x="42" y="22"/>
                </a:lnTo>
                <a:lnTo>
                  <a:pt x="42" y="22"/>
                </a:lnTo>
                <a:lnTo>
                  <a:pt x="42" y="22"/>
                </a:lnTo>
                <a:lnTo>
                  <a:pt x="42" y="22"/>
                </a:lnTo>
                <a:lnTo>
                  <a:pt x="42" y="26"/>
                </a:lnTo>
                <a:lnTo>
                  <a:pt x="42" y="26"/>
                </a:lnTo>
                <a:lnTo>
                  <a:pt x="42" y="26"/>
                </a:lnTo>
                <a:lnTo>
                  <a:pt x="42" y="26"/>
                </a:lnTo>
                <a:lnTo>
                  <a:pt x="42" y="26"/>
                </a:lnTo>
                <a:lnTo>
                  <a:pt x="42" y="26"/>
                </a:lnTo>
                <a:lnTo>
                  <a:pt x="42" y="30"/>
                </a:lnTo>
                <a:lnTo>
                  <a:pt x="42" y="30"/>
                </a:lnTo>
                <a:lnTo>
                  <a:pt x="42" y="30"/>
                </a:lnTo>
                <a:lnTo>
                  <a:pt x="42" y="30"/>
                </a:lnTo>
                <a:lnTo>
                  <a:pt x="42" y="30"/>
                </a:lnTo>
                <a:lnTo>
                  <a:pt x="42" y="30"/>
                </a:lnTo>
                <a:lnTo>
                  <a:pt x="42" y="30"/>
                </a:lnTo>
                <a:lnTo>
                  <a:pt x="42" y="30"/>
                </a:lnTo>
                <a:lnTo>
                  <a:pt x="38" y="30"/>
                </a:lnTo>
                <a:lnTo>
                  <a:pt x="38" y="32"/>
                </a:lnTo>
                <a:lnTo>
                  <a:pt x="38" y="32"/>
                </a:lnTo>
                <a:lnTo>
                  <a:pt x="38" y="32"/>
                </a:lnTo>
                <a:lnTo>
                  <a:pt x="38" y="32"/>
                </a:lnTo>
                <a:lnTo>
                  <a:pt x="38" y="36"/>
                </a:lnTo>
                <a:lnTo>
                  <a:pt x="38" y="36"/>
                </a:lnTo>
                <a:lnTo>
                  <a:pt x="38" y="36"/>
                </a:lnTo>
                <a:lnTo>
                  <a:pt x="34" y="40"/>
                </a:lnTo>
                <a:lnTo>
                  <a:pt x="34" y="40"/>
                </a:lnTo>
                <a:lnTo>
                  <a:pt x="34" y="44"/>
                </a:lnTo>
                <a:lnTo>
                  <a:pt x="34" y="44"/>
                </a:lnTo>
                <a:lnTo>
                  <a:pt x="34" y="44"/>
                </a:lnTo>
                <a:lnTo>
                  <a:pt x="30" y="44"/>
                </a:lnTo>
                <a:lnTo>
                  <a:pt x="30" y="44"/>
                </a:lnTo>
                <a:lnTo>
                  <a:pt x="30" y="44"/>
                </a:lnTo>
                <a:lnTo>
                  <a:pt x="30" y="48"/>
                </a:lnTo>
                <a:lnTo>
                  <a:pt x="30" y="48"/>
                </a:lnTo>
                <a:lnTo>
                  <a:pt x="30" y="48"/>
                </a:lnTo>
                <a:lnTo>
                  <a:pt x="30" y="52"/>
                </a:lnTo>
                <a:lnTo>
                  <a:pt x="30" y="52"/>
                </a:lnTo>
                <a:lnTo>
                  <a:pt x="30" y="52"/>
                </a:lnTo>
                <a:lnTo>
                  <a:pt x="30" y="56"/>
                </a:lnTo>
                <a:lnTo>
                  <a:pt x="30" y="56"/>
                </a:lnTo>
                <a:lnTo>
                  <a:pt x="30" y="56"/>
                </a:lnTo>
                <a:lnTo>
                  <a:pt x="28" y="56"/>
                </a:lnTo>
                <a:lnTo>
                  <a:pt x="28" y="58"/>
                </a:lnTo>
                <a:lnTo>
                  <a:pt x="28" y="58"/>
                </a:lnTo>
                <a:lnTo>
                  <a:pt x="24" y="58"/>
                </a:lnTo>
                <a:lnTo>
                  <a:pt x="24" y="58"/>
                </a:lnTo>
                <a:lnTo>
                  <a:pt x="24" y="62"/>
                </a:lnTo>
                <a:lnTo>
                  <a:pt x="24" y="62"/>
                </a:lnTo>
                <a:lnTo>
                  <a:pt x="24" y="58"/>
                </a:lnTo>
                <a:lnTo>
                  <a:pt x="24" y="58"/>
                </a:lnTo>
                <a:lnTo>
                  <a:pt x="24" y="58"/>
                </a:lnTo>
                <a:lnTo>
                  <a:pt x="20" y="58"/>
                </a:lnTo>
                <a:lnTo>
                  <a:pt x="20" y="58"/>
                </a:lnTo>
                <a:lnTo>
                  <a:pt x="20" y="58"/>
                </a:lnTo>
                <a:lnTo>
                  <a:pt x="20" y="58"/>
                </a:lnTo>
                <a:lnTo>
                  <a:pt x="20" y="58"/>
                </a:lnTo>
                <a:lnTo>
                  <a:pt x="20" y="58"/>
                </a:lnTo>
                <a:lnTo>
                  <a:pt x="20" y="58"/>
                </a:lnTo>
                <a:lnTo>
                  <a:pt x="20" y="58"/>
                </a:lnTo>
                <a:lnTo>
                  <a:pt x="16" y="58"/>
                </a:lnTo>
                <a:lnTo>
                  <a:pt x="16" y="58"/>
                </a:lnTo>
                <a:lnTo>
                  <a:pt x="12" y="58"/>
                </a:lnTo>
                <a:lnTo>
                  <a:pt x="12" y="58"/>
                </a:lnTo>
                <a:lnTo>
                  <a:pt x="12" y="58"/>
                </a:lnTo>
                <a:lnTo>
                  <a:pt x="12" y="58"/>
                </a:lnTo>
                <a:lnTo>
                  <a:pt x="12" y="58"/>
                </a:lnTo>
                <a:lnTo>
                  <a:pt x="8" y="58"/>
                </a:lnTo>
                <a:lnTo>
                  <a:pt x="8" y="58"/>
                </a:lnTo>
                <a:lnTo>
                  <a:pt x="8" y="58"/>
                </a:lnTo>
                <a:lnTo>
                  <a:pt x="8" y="62"/>
                </a:lnTo>
                <a:lnTo>
                  <a:pt x="4" y="62"/>
                </a:lnTo>
                <a:lnTo>
                  <a:pt x="0" y="58"/>
                </a:lnTo>
                <a:lnTo>
                  <a:pt x="0" y="58"/>
                </a:lnTo>
                <a:lnTo>
                  <a:pt x="0" y="58"/>
                </a:lnTo>
                <a:lnTo>
                  <a:pt x="0" y="58"/>
                </a:lnTo>
                <a:lnTo>
                  <a:pt x="0" y="58"/>
                </a:lnTo>
                <a:lnTo>
                  <a:pt x="0" y="58"/>
                </a:lnTo>
                <a:lnTo>
                  <a:pt x="0" y="58"/>
                </a:lnTo>
                <a:lnTo>
                  <a:pt x="0" y="58"/>
                </a:lnTo>
                <a:lnTo>
                  <a:pt x="0" y="58"/>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77" name="Freeform 184"/>
          <p:cNvSpPr>
            <a:spLocks/>
          </p:cNvSpPr>
          <p:nvPr/>
        </p:nvSpPr>
        <p:spPr bwMode="auto">
          <a:xfrm>
            <a:off x="3224212" y="3524250"/>
            <a:ext cx="83344" cy="150019"/>
          </a:xfrm>
          <a:custGeom>
            <a:avLst/>
            <a:gdLst>
              <a:gd name="T0" fmla="*/ 48 w 70"/>
              <a:gd name="T1" fmla="*/ 32 h 126"/>
              <a:gd name="T2" fmla="*/ 52 w 70"/>
              <a:gd name="T3" fmla="*/ 36 h 126"/>
              <a:gd name="T4" fmla="*/ 56 w 70"/>
              <a:gd name="T5" fmla="*/ 40 h 126"/>
              <a:gd name="T6" fmla="*/ 60 w 70"/>
              <a:gd name="T7" fmla="*/ 44 h 126"/>
              <a:gd name="T8" fmla="*/ 60 w 70"/>
              <a:gd name="T9" fmla="*/ 56 h 126"/>
              <a:gd name="T10" fmla="*/ 60 w 70"/>
              <a:gd name="T11" fmla="*/ 58 h 126"/>
              <a:gd name="T12" fmla="*/ 56 w 70"/>
              <a:gd name="T13" fmla="*/ 58 h 126"/>
              <a:gd name="T14" fmla="*/ 52 w 70"/>
              <a:gd name="T15" fmla="*/ 62 h 126"/>
              <a:gd name="T16" fmla="*/ 48 w 70"/>
              <a:gd name="T17" fmla="*/ 66 h 126"/>
              <a:gd name="T18" fmla="*/ 48 w 70"/>
              <a:gd name="T19" fmla="*/ 74 h 126"/>
              <a:gd name="T20" fmla="*/ 48 w 70"/>
              <a:gd name="T21" fmla="*/ 78 h 126"/>
              <a:gd name="T22" fmla="*/ 48 w 70"/>
              <a:gd name="T23" fmla="*/ 82 h 126"/>
              <a:gd name="T24" fmla="*/ 52 w 70"/>
              <a:gd name="T25" fmla="*/ 86 h 126"/>
              <a:gd name="T26" fmla="*/ 52 w 70"/>
              <a:gd name="T27" fmla="*/ 88 h 126"/>
              <a:gd name="T28" fmla="*/ 60 w 70"/>
              <a:gd name="T29" fmla="*/ 92 h 126"/>
              <a:gd name="T30" fmla="*/ 60 w 70"/>
              <a:gd name="T31" fmla="*/ 96 h 126"/>
              <a:gd name="T32" fmla="*/ 64 w 70"/>
              <a:gd name="T33" fmla="*/ 108 h 126"/>
              <a:gd name="T34" fmla="*/ 70 w 70"/>
              <a:gd name="T35" fmla="*/ 114 h 126"/>
              <a:gd name="T36" fmla="*/ 68 w 70"/>
              <a:gd name="T37" fmla="*/ 114 h 126"/>
              <a:gd name="T38" fmla="*/ 60 w 70"/>
              <a:gd name="T39" fmla="*/ 112 h 126"/>
              <a:gd name="T40" fmla="*/ 60 w 70"/>
              <a:gd name="T41" fmla="*/ 112 h 126"/>
              <a:gd name="T42" fmla="*/ 56 w 70"/>
              <a:gd name="T43" fmla="*/ 118 h 126"/>
              <a:gd name="T44" fmla="*/ 52 w 70"/>
              <a:gd name="T45" fmla="*/ 118 h 126"/>
              <a:gd name="T46" fmla="*/ 44 w 70"/>
              <a:gd name="T47" fmla="*/ 122 h 126"/>
              <a:gd name="T48" fmla="*/ 40 w 70"/>
              <a:gd name="T49" fmla="*/ 122 h 126"/>
              <a:gd name="T50" fmla="*/ 38 w 70"/>
              <a:gd name="T51" fmla="*/ 126 h 126"/>
              <a:gd name="T52" fmla="*/ 34 w 70"/>
              <a:gd name="T53" fmla="*/ 126 h 126"/>
              <a:gd name="T54" fmla="*/ 30 w 70"/>
              <a:gd name="T55" fmla="*/ 118 h 126"/>
              <a:gd name="T56" fmla="*/ 26 w 70"/>
              <a:gd name="T57" fmla="*/ 114 h 126"/>
              <a:gd name="T58" fmla="*/ 22 w 70"/>
              <a:gd name="T59" fmla="*/ 108 h 126"/>
              <a:gd name="T60" fmla="*/ 22 w 70"/>
              <a:gd name="T61" fmla="*/ 104 h 126"/>
              <a:gd name="T62" fmla="*/ 18 w 70"/>
              <a:gd name="T63" fmla="*/ 96 h 126"/>
              <a:gd name="T64" fmla="*/ 22 w 70"/>
              <a:gd name="T65" fmla="*/ 88 h 126"/>
              <a:gd name="T66" fmla="*/ 26 w 70"/>
              <a:gd name="T67" fmla="*/ 82 h 126"/>
              <a:gd name="T68" fmla="*/ 26 w 70"/>
              <a:gd name="T69" fmla="*/ 70 h 126"/>
              <a:gd name="T70" fmla="*/ 18 w 70"/>
              <a:gd name="T71" fmla="*/ 70 h 126"/>
              <a:gd name="T72" fmla="*/ 18 w 70"/>
              <a:gd name="T73" fmla="*/ 66 h 126"/>
              <a:gd name="T74" fmla="*/ 18 w 70"/>
              <a:gd name="T75" fmla="*/ 58 h 126"/>
              <a:gd name="T76" fmla="*/ 14 w 70"/>
              <a:gd name="T77" fmla="*/ 58 h 126"/>
              <a:gd name="T78" fmla="*/ 12 w 70"/>
              <a:gd name="T79" fmla="*/ 58 h 126"/>
              <a:gd name="T80" fmla="*/ 0 w 70"/>
              <a:gd name="T81" fmla="*/ 44 h 126"/>
              <a:gd name="T82" fmla="*/ 4 w 70"/>
              <a:gd name="T83" fmla="*/ 40 h 126"/>
              <a:gd name="T84" fmla="*/ 4 w 70"/>
              <a:gd name="T85" fmla="*/ 32 h 126"/>
              <a:gd name="T86" fmla="*/ 12 w 70"/>
              <a:gd name="T87" fmla="*/ 32 h 126"/>
              <a:gd name="T88" fmla="*/ 12 w 70"/>
              <a:gd name="T89" fmla="*/ 30 h 126"/>
              <a:gd name="T90" fmla="*/ 14 w 70"/>
              <a:gd name="T91" fmla="*/ 26 h 126"/>
              <a:gd name="T92" fmla="*/ 12 w 70"/>
              <a:gd name="T93" fmla="*/ 26 h 126"/>
              <a:gd name="T94" fmla="*/ 12 w 70"/>
              <a:gd name="T95" fmla="*/ 22 h 126"/>
              <a:gd name="T96" fmla="*/ 12 w 70"/>
              <a:gd name="T97" fmla="*/ 18 h 126"/>
              <a:gd name="T98" fmla="*/ 12 w 70"/>
              <a:gd name="T99" fmla="*/ 14 h 126"/>
              <a:gd name="T100" fmla="*/ 18 w 70"/>
              <a:gd name="T101" fmla="*/ 10 h 126"/>
              <a:gd name="T102" fmla="*/ 22 w 70"/>
              <a:gd name="T103" fmla="*/ 6 h 126"/>
              <a:gd name="T104" fmla="*/ 18 w 70"/>
              <a:gd name="T105" fmla="*/ 0 h 126"/>
              <a:gd name="T106" fmla="*/ 22 w 70"/>
              <a:gd name="T107" fmla="*/ 4 h 126"/>
              <a:gd name="T108" fmla="*/ 26 w 70"/>
              <a:gd name="T109" fmla="*/ 4 h 126"/>
              <a:gd name="T110" fmla="*/ 34 w 70"/>
              <a:gd name="T111" fmla="*/ 10 h 126"/>
              <a:gd name="T112" fmla="*/ 38 w 70"/>
              <a:gd name="T113" fmla="*/ 18 h 126"/>
              <a:gd name="T114" fmla="*/ 40 w 70"/>
              <a:gd name="T115" fmla="*/ 26 h 126"/>
              <a:gd name="T116" fmla="*/ 40 w 70"/>
              <a:gd name="T117" fmla="*/ 30 h 126"/>
              <a:gd name="T118" fmla="*/ 40 w 70"/>
              <a:gd name="T119" fmla="*/ 36 h 126"/>
              <a:gd name="T120" fmla="*/ 40 w 70"/>
              <a:gd name="T121" fmla="*/ 32 h 126"/>
              <a:gd name="T122" fmla="*/ 44 w 70"/>
              <a:gd name="T123" fmla="*/ 3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0" h="126">
                <a:moveTo>
                  <a:pt x="44" y="30"/>
                </a:moveTo>
                <a:lnTo>
                  <a:pt x="44" y="30"/>
                </a:lnTo>
                <a:lnTo>
                  <a:pt x="48" y="30"/>
                </a:lnTo>
                <a:lnTo>
                  <a:pt x="48" y="30"/>
                </a:lnTo>
                <a:lnTo>
                  <a:pt x="48" y="30"/>
                </a:lnTo>
                <a:lnTo>
                  <a:pt x="48" y="32"/>
                </a:lnTo>
                <a:lnTo>
                  <a:pt x="48" y="32"/>
                </a:lnTo>
                <a:lnTo>
                  <a:pt x="48" y="32"/>
                </a:lnTo>
                <a:lnTo>
                  <a:pt x="48" y="32"/>
                </a:lnTo>
                <a:lnTo>
                  <a:pt x="48" y="32"/>
                </a:lnTo>
                <a:lnTo>
                  <a:pt x="52" y="32"/>
                </a:lnTo>
                <a:lnTo>
                  <a:pt x="52" y="36"/>
                </a:lnTo>
                <a:lnTo>
                  <a:pt x="52" y="36"/>
                </a:lnTo>
                <a:lnTo>
                  <a:pt x="56" y="40"/>
                </a:lnTo>
                <a:lnTo>
                  <a:pt x="56" y="40"/>
                </a:lnTo>
                <a:lnTo>
                  <a:pt x="56" y="36"/>
                </a:lnTo>
                <a:lnTo>
                  <a:pt x="56" y="36"/>
                </a:lnTo>
                <a:lnTo>
                  <a:pt x="56" y="40"/>
                </a:lnTo>
                <a:lnTo>
                  <a:pt x="56" y="40"/>
                </a:lnTo>
                <a:lnTo>
                  <a:pt x="60" y="40"/>
                </a:lnTo>
                <a:lnTo>
                  <a:pt x="60" y="40"/>
                </a:lnTo>
                <a:lnTo>
                  <a:pt x="60" y="40"/>
                </a:lnTo>
                <a:lnTo>
                  <a:pt x="60" y="40"/>
                </a:lnTo>
                <a:lnTo>
                  <a:pt x="60" y="44"/>
                </a:lnTo>
                <a:lnTo>
                  <a:pt x="60" y="44"/>
                </a:lnTo>
                <a:lnTo>
                  <a:pt x="60" y="52"/>
                </a:lnTo>
                <a:lnTo>
                  <a:pt x="60" y="52"/>
                </a:lnTo>
                <a:lnTo>
                  <a:pt x="60" y="52"/>
                </a:lnTo>
                <a:lnTo>
                  <a:pt x="60" y="52"/>
                </a:lnTo>
                <a:lnTo>
                  <a:pt x="60" y="56"/>
                </a:lnTo>
                <a:lnTo>
                  <a:pt x="60" y="56"/>
                </a:lnTo>
                <a:lnTo>
                  <a:pt x="56" y="56"/>
                </a:lnTo>
                <a:lnTo>
                  <a:pt x="60" y="58"/>
                </a:lnTo>
                <a:lnTo>
                  <a:pt x="60" y="58"/>
                </a:lnTo>
                <a:lnTo>
                  <a:pt x="60" y="56"/>
                </a:lnTo>
                <a:lnTo>
                  <a:pt x="60" y="58"/>
                </a:lnTo>
                <a:lnTo>
                  <a:pt x="60" y="58"/>
                </a:lnTo>
                <a:lnTo>
                  <a:pt x="60" y="58"/>
                </a:lnTo>
                <a:lnTo>
                  <a:pt x="60" y="58"/>
                </a:lnTo>
                <a:lnTo>
                  <a:pt x="60" y="58"/>
                </a:lnTo>
                <a:lnTo>
                  <a:pt x="60" y="58"/>
                </a:lnTo>
                <a:lnTo>
                  <a:pt x="56" y="58"/>
                </a:lnTo>
                <a:lnTo>
                  <a:pt x="56" y="58"/>
                </a:lnTo>
                <a:lnTo>
                  <a:pt x="56" y="62"/>
                </a:lnTo>
                <a:lnTo>
                  <a:pt x="56" y="62"/>
                </a:lnTo>
                <a:lnTo>
                  <a:pt x="52" y="62"/>
                </a:lnTo>
                <a:lnTo>
                  <a:pt x="52" y="62"/>
                </a:lnTo>
                <a:lnTo>
                  <a:pt x="52" y="62"/>
                </a:lnTo>
                <a:lnTo>
                  <a:pt x="52" y="62"/>
                </a:lnTo>
                <a:lnTo>
                  <a:pt x="48" y="62"/>
                </a:lnTo>
                <a:lnTo>
                  <a:pt x="48" y="62"/>
                </a:lnTo>
                <a:lnTo>
                  <a:pt x="48" y="66"/>
                </a:lnTo>
                <a:lnTo>
                  <a:pt x="48" y="66"/>
                </a:lnTo>
                <a:lnTo>
                  <a:pt x="48" y="66"/>
                </a:lnTo>
                <a:lnTo>
                  <a:pt x="52" y="66"/>
                </a:lnTo>
                <a:lnTo>
                  <a:pt x="48" y="66"/>
                </a:lnTo>
                <a:lnTo>
                  <a:pt x="48" y="70"/>
                </a:lnTo>
                <a:lnTo>
                  <a:pt x="48" y="74"/>
                </a:lnTo>
                <a:lnTo>
                  <a:pt x="48" y="74"/>
                </a:lnTo>
                <a:lnTo>
                  <a:pt x="48" y="74"/>
                </a:lnTo>
                <a:lnTo>
                  <a:pt x="48" y="74"/>
                </a:lnTo>
                <a:lnTo>
                  <a:pt x="48" y="74"/>
                </a:lnTo>
                <a:lnTo>
                  <a:pt x="48" y="74"/>
                </a:lnTo>
                <a:lnTo>
                  <a:pt x="48" y="74"/>
                </a:lnTo>
                <a:lnTo>
                  <a:pt x="48" y="78"/>
                </a:lnTo>
                <a:lnTo>
                  <a:pt x="48" y="78"/>
                </a:lnTo>
                <a:lnTo>
                  <a:pt x="48" y="78"/>
                </a:lnTo>
                <a:lnTo>
                  <a:pt x="48" y="82"/>
                </a:lnTo>
                <a:lnTo>
                  <a:pt x="48" y="82"/>
                </a:lnTo>
                <a:lnTo>
                  <a:pt x="48" y="82"/>
                </a:lnTo>
                <a:lnTo>
                  <a:pt x="48" y="82"/>
                </a:lnTo>
                <a:lnTo>
                  <a:pt x="48" y="82"/>
                </a:lnTo>
                <a:lnTo>
                  <a:pt x="48" y="82"/>
                </a:lnTo>
                <a:lnTo>
                  <a:pt x="48" y="86"/>
                </a:lnTo>
                <a:lnTo>
                  <a:pt x="52" y="86"/>
                </a:lnTo>
                <a:lnTo>
                  <a:pt x="52" y="86"/>
                </a:lnTo>
                <a:lnTo>
                  <a:pt x="52" y="86"/>
                </a:lnTo>
                <a:lnTo>
                  <a:pt x="52" y="86"/>
                </a:lnTo>
                <a:lnTo>
                  <a:pt x="52" y="86"/>
                </a:lnTo>
                <a:lnTo>
                  <a:pt x="52" y="86"/>
                </a:lnTo>
                <a:lnTo>
                  <a:pt x="52" y="88"/>
                </a:lnTo>
                <a:lnTo>
                  <a:pt x="52" y="88"/>
                </a:lnTo>
                <a:lnTo>
                  <a:pt x="52" y="88"/>
                </a:lnTo>
                <a:lnTo>
                  <a:pt x="52" y="88"/>
                </a:lnTo>
                <a:lnTo>
                  <a:pt x="56" y="88"/>
                </a:lnTo>
                <a:lnTo>
                  <a:pt x="56" y="88"/>
                </a:lnTo>
                <a:lnTo>
                  <a:pt x="60" y="88"/>
                </a:lnTo>
                <a:lnTo>
                  <a:pt x="60" y="88"/>
                </a:lnTo>
                <a:lnTo>
                  <a:pt x="60" y="92"/>
                </a:lnTo>
                <a:lnTo>
                  <a:pt x="60" y="92"/>
                </a:lnTo>
                <a:lnTo>
                  <a:pt x="60" y="92"/>
                </a:lnTo>
                <a:lnTo>
                  <a:pt x="60" y="92"/>
                </a:lnTo>
                <a:lnTo>
                  <a:pt x="60" y="92"/>
                </a:lnTo>
                <a:lnTo>
                  <a:pt x="60" y="96"/>
                </a:lnTo>
                <a:lnTo>
                  <a:pt x="60" y="96"/>
                </a:lnTo>
                <a:lnTo>
                  <a:pt x="60" y="96"/>
                </a:lnTo>
                <a:lnTo>
                  <a:pt x="60" y="100"/>
                </a:lnTo>
                <a:lnTo>
                  <a:pt x="60" y="100"/>
                </a:lnTo>
                <a:lnTo>
                  <a:pt x="64" y="104"/>
                </a:lnTo>
                <a:lnTo>
                  <a:pt x="64" y="104"/>
                </a:lnTo>
                <a:lnTo>
                  <a:pt x="64" y="108"/>
                </a:lnTo>
                <a:lnTo>
                  <a:pt x="64" y="108"/>
                </a:lnTo>
                <a:lnTo>
                  <a:pt x="68" y="112"/>
                </a:lnTo>
                <a:lnTo>
                  <a:pt x="68" y="112"/>
                </a:lnTo>
                <a:lnTo>
                  <a:pt x="68" y="112"/>
                </a:lnTo>
                <a:lnTo>
                  <a:pt x="68" y="112"/>
                </a:lnTo>
                <a:lnTo>
                  <a:pt x="68" y="112"/>
                </a:lnTo>
                <a:lnTo>
                  <a:pt x="70" y="114"/>
                </a:lnTo>
                <a:lnTo>
                  <a:pt x="70" y="114"/>
                </a:lnTo>
                <a:lnTo>
                  <a:pt x="68" y="114"/>
                </a:lnTo>
                <a:lnTo>
                  <a:pt x="68" y="114"/>
                </a:lnTo>
                <a:lnTo>
                  <a:pt x="68" y="114"/>
                </a:lnTo>
                <a:lnTo>
                  <a:pt x="68" y="114"/>
                </a:lnTo>
                <a:lnTo>
                  <a:pt x="68" y="114"/>
                </a:lnTo>
                <a:lnTo>
                  <a:pt x="68" y="114"/>
                </a:lnTo>
                <a:lnTo>
                  <a:pt x="68" y="114"/>
                </a:lnTo>
                <a:lnTo>
                  <a:pt x="64" y="114"/>
                </a:lnTo>
                <a:lnTo>
                  <a:pt x="64" y="114"/>
                </a:lnTo>
                <a:lnTo>
                  <a:pt x="64" y="114"/>
                </a:lnTo>
                <a:lnTo>
                  <a:pt x="60" y="112"/>
                </a:lnTo>
                <a:lnTo>
                  <a:pt x="60" y="112"/>
                </a:lnTo>
                <a:lnTo>
                  <a:pt x="60" y="112"/>
                </a:lnTo>
                <a:lnTo>
                  <a:pt x="60" y="112"/>
                </a:lnTo>
                <a:lnTo>
                  <a:pt x="60" y="112"/>
                </a:lnTo>
                <a:lnTo>
                  <a:pt x="60" y="114"/>
                </a:lnTo>
                <a:lnTo>
                  <a:pt x="60" y="112"/>
                </a:lnTo>
                <a:lnTo>
                  <a:pt x="60" y="112"/>
                </a:lnTo>
                <a:lnTo>
                  <a:pt x="56" y="112"/>
                </a:lnTo>
                <a:lnTo>
                  <a:pt x="56" y="114"/>
                </a:lnTo>
                <a:lnTo>
                  <a:pt x="56" y="114"/>
                </a:lnTo>
                <a:lnTo>
                  <a:pt x="56" y="114"/>
                </a:lnTo>
                <a:lnTo>
                  <a:pt x="56" y="118"/>
                </a:lnTo>
                <a:lnTo>
                  <a:pt x="56" y="118"/>
                </a:lnTo>
                <a:lnTo>
                  <a:pt x="56" y="118"/>
                </a:lnTo>
                <a:lnTo>
                  <a:pt x="52" y="118"/>
                </a:lnTo>
                <a:lnTo>
                  <a:pt x="52" y="118"/>
                </a:lnTo>
                <a:lnTo>
                  <a:pt x="52" y="118"/>
                </a:lnTo>
                <a:lnTo>
                  <a:pt x="52" y="118"/>
                </a:lnTo>
                <a:lnTo>
                  <a:pt x="52" y="118"/>
                </a:lnTo>
                <a:lnTo>
                  <a:pt x="48" y="118"/>
                </a:lnTo>
                <a:lnTo>
                  <a:pt x="48" y="118"/>
                </a:lnTo>
                <a:lnTo>
                  <a:pt x="48" y="118"/>
                </a:lnTo>
                <a:lnTo>
                  <a:pt x="48" y="122"/>
                </a:lnTo>
                <a:lnTo>
                  <a:pt x="44" y="122"/>
                </a:lnTo>
                <a:lnTo>
                  <a:pt x="44" y="118"/>
                </a:lnTo>
                <a:lnTo>
                  <a:pt x="44" y="118"/>
                </a:lnTo>
                <a:lnTo>
                  <a:pt x="40" y="122"/>
                </a:lnTo>
                <a:lnTo>
                  <a:pt x="40" y="122"/>
                </a:lnTo>
                <a:lnTo>
                  <a:pt x="40" y="122"/>
                </a:lnTo>
                <a:lnTo>
                  <a:pt x="40" y="122"/>
                </a:lnTo>
                <a:lnTo>
                  <a:pt x="40" y="122"/>
                </a:lnTo>
                <a:lnTo>
                  <a:pt x="40" y="126"/>
                </a:lnTo>
                <a:lnTo>
                  <a:pt x="40" y="126"/>
                </a:lnTo>
                <a:lnTo>
                  <a:pt x="38" y="126"/>
                </a:lnTo>
                <a:lnTo>
                  <a:pt x="38" y="126"/>
                </a:lnTo>
                <a:lnTo>
                  <a:pt x="38" y="126"/>
                </a:lnTo>
                <a:lnTo>
                  <a:pt x="38" y="126"/>
                </a:lnTo>
                <a:lnTo>
                  <a:pt x="38" y="126"/>
                </a:lnTo>
                <a:lnTo>
                  <a:pt x="38" y="126"/>
                </a:lnTo>
                <a:lnTo>
                  <a:pt x="38" y="126"/>
                </a:lnTo>
                <a:lnTo>
                  <a:pt x="34" y="126"/>
                </a:lnTo>
                <a:lnTo>
                  <a:pt x="34" y="126"/>
                </a:lnTo>
                <a:lnTo>
                  <a:pt x="34" y="126"/>
                </a:lnTo>
                <a:lnTo>
                  <a:pt x="34" y="122"/>
                </a:lnTo>
                <a:lnTo>
                  <a:pt x="34" y="122"/>
                </a:lnTo>
                <a:lnTo>
                  <a:pt x="34" y="122"/>
                </a:lnTo>
                <a:lnTo>
                  <a:pt x="30" y="122"/>
                </a:lnTo>
                <a:lnTo>
                  <a:pt x="30" y="118"/>
                </a:lnTo>
                <a:lnTo>
                  <a:pt x="26" y="118"/>
                </a:lnTo>
                <a:lnTo>
                  <a:pt x="26" y="118"/>
                </a:lnTo>
                <a:lnTo>
                  <a:pt x="26" y="118"/>
                </a:lnTo>
                <a:lnTo>
                  <a:pt x="26" y="118"/>
                </a:lnTo>
                <a:lnTo>
                  <a:pt x="26" y="114"/>
                </a:lnTo>
                <a:lnTo>
                  <a:pt x="26" y="114"/>
                </a:lnTo>
                <a:lnTo>
                  <a:pt x="26" y="114"/>
                </a:lnTo>
                <a:lnTo>
                  <a:pt x="22" y="114"/>
                </a:lnTo>
                <a:lnTo>
                  <a:pt x="22" y="114"/>
                </a:lnTo>
                <a:lnTo>
                  <a:pt x="22" y="114"/>
                </a:lnTo>
                <a:lnTo>
                  <a:pt x="22" y="112"/>
                </a:lnTo>
                <a:lnTo>
                  <a:pt x="22" y="108"/>
                </a:lnTo>
                <a:lnTo>
                  <a:pt x="22" y="108"/>
                </a:lnTo>
                <a:lnTo>
                  <a:pt x="22" y="108"/>
                </a:lnTo>
                <a:lnTo>
                  <a:pt x="22" y="108"/>
                </a:lnTo>
                <a:lnTo>
                  <a:pt x="22" y="108"/>
                </a:lnTo>
                <a:lnTo>
                  <a:pt x="22" y="108"/>
                </a:lnTo>
                <a:lnTo>
                  <a:pt x="22" y="104"/>
                </a:lnTo>
                <a:lnTo>
                  <a:pt x="22" y="104"/>
                </a:lnTo>
                <a:lnTo>
                  <a:pt x="22" y="104"/>
                </a:lnTo>
                <a:lnTo>
                  <a:pt x="18" y="104"/>
                </a:lnTo>
                <a:lnTo>
                  <a:pt x="18" y="100"/>
                </a:lnTo>
                <a:lnTo>
                  <a:pt x="18" y="96"/>
                </a:lnTo>
                <a:lnTo>
                  <a:pt x="18" y="96"/>
                </a:lnTo>
                <a:lnTo>
                  <a:pt x="18" y="96"/>
                </a:lnTo>
                <a:lnTo>
                  <a:pt x="22" y="92"/>
                </a:lnTo>
                <a:lnTo>
                  <a:pt x="22" y="92"/>
                </a:lnTo>
                <a:lnTo>
                  <a:pt x="22" y="88"/>
                </a:lnTo>
                <a:lnTo>
                  <a:pt x="22" y="88"/>
                </a:lnTo>
                <a:lnTo>
                  <a:pt x="22" y="88"/>
                </a:lnTo>
                <a:lnTo>
                  <a:pt x="22" y="88"/>
                </a:lnTo>
                <a:lnTo>
                  <a:pt x="22" y="86"/>
                </a:lnTo>
                <a:lnTo>
                  <a:pt x="22" y="86"/>
                </a:lnTo>
                <a:lnTo>
                  <a:pt x="22" y="86"/>
                </a:lnTo>
                <a:lnTo>
                  <a:pt x="26" y="82"/>
                </a:lnTo>
                <a:lnTo>
                  <a:pt x="26" y="82"/>
                </a:lnTo>
                <a:lnTo>
                  <a:pt x="26" y="78"/>
                </a:lnTo>
                <a:lnTo>
                  <a:pt x="22" y="74"/>
                </a:lnTo>
                <a:lnTo>
                  <a:pt x="22" y="74"/>
                </a:lnTo>
                <a:lnTo>
                  <a:pt x="22" y="74"/>
                </a:lnTo>
                <a:lnTo>
                  <a:pt x="22" y="74"/>
                </a:lnTo>
                <a:lnTo>
                  <a:pt x="26" y="70"/>
                </a:lnTo>
                <a:lnTo>
                  <a:pt x="26" y="70"/>
                </a:lnTo>
                <a:lnTo>
                  <a:pt x="22" y="70"/>
                </a:lnTo>
                <a:lnTo>
                  <a:pt x="22" y="70"/>
                </a:lnTo>
                <a:lnTo>
                  <a:pt x="22" y="70"/>
                </a:lnTo>
                <a:lnTo>
                  <a:pt x="18" y="70"/>
                </a:lnTo>
                <a:lnTo>
                  <a:pt x="18" y="70"/>
                </a:lnTo>
                <a:lnTo>
                  <a:pt x="18" y="70"/>
                </a:lnTo>
                <a:lnTo>
                  <a:pt x="18" y="70"/>
                </a:lnTo>
                <a:lnTo>
                  <a:pt x="18" y="70"/>
                </a:lnTo>
                <a:lnTo>
                  <a:pt x="18" y="66"/>
                </a:lnTo>
                <a:lnTo>
                  <a:pt x="18" y="66"/>
                </a:lnTo>
                <a:lnTo>
                  <a:pt x="18" y="66"/>
                </a:lnTo>
                <a:lnTo>
                  <a:pt x="18" y="66"/>
                </a:lnTo>
                <a:lnTo>
                  <a:pt x="18" y="66"/>
                </a:lnTo>
                <a:lnTo>
                  <a:pt x="18" y="62"/>
                </a:lnTo>
                <a:lnTo>
                  <a:pt x="18" y="58"/>
                </a:lnTo>
                <a:lnTo>
                  <a:pt x="18" y="58"/>
                </a:lnTo>
                <a:lnTo>
                  <a:pt x="18" y="58"/>
                </a:lnTo>
                <a:lnTo>
                  <a:pt x="18" y="58"/>
                </a:lnTo>
                <a:lnTo>
                  <a:pt x="18" y="58"/>
                </a:lnTo>
                <a:lnTo>
                  <a:pt x="18" y="56"/>
                </a:lnTo>
                <a:lnTo>
                  <a:pt x="18" y="56"/>
                </a:lnTo>
                <a:lnTo>
                  <a:pt x="14" y="56"/>
                </a:lnTo>
                <a:lnTo>
                  <a:pt x="14" y="58"/>
                </a:lnTo>
                <a:lnTo>
                  <a:pt x="14" y="58"/>
                </a:lnTo>
                <a:lnTo>
                  <a:pt x="12" y="58"/>
                </a:lnTo>
                <a:lnTo>
                  <a:pt x="12" y="58"/>
                </a:lnTo>
                <a:lnTo>
                  <a:pt x="12" y="58"/>
                </a:lnTo>
                <a:lnTo>
                  <a:pt x="12" y="58"/>
                </a:lnTo>
                <a:lnTo>
                  <a:pt x="12" y="58"/>
                </a:lnTo>
                <a:lnTo>
                  <a:pt x="8" y="58"/>
                </a:lnTo>
                <a:lnTo>
                  <a:pt x="8" y="56"/>
                </a:lnTo>
                <a:lnTo>
                  <a:pt x="8" y="56"/>
                </a:lnTo>
                <a:lnTo>
                  <a:pt x="4" y="52"/>
                </a:lnTo>
                <a:lnTo>
                  <a:pt x="0" y="44"/>
                </a:lnTo>
                <a:lnTo>
                  <a:pt x="0" y="44"/>
                </a:lnTo>
                <a:lnTo>
                  <a:pt x="0" y="44"/>
                </a:lnTo>
                <a:lnTo>
                  <a:pt x="0" y="44"/>
                </a:lnTo>
                <a:lnTo>
                  <a:pt x="0" y="44"/>
                </a:lnTo>
                <a:lnTo>
                  <a:pt x="0" y="44"/>
                </a:lnTo>
                <a:lnTo>
                  <a:pt x="4" y="40"/>
                </a:lnTo>
                <a:lnTo>
                  <a:pt x="4" y="40"/>
                </a:lnTo>
                <a:lnTo>
                  <a:pt x="4" y="40"/>
                </a:lnTo>
                <a:lnTo>
                  <a:pt x="4" y="36"/>
                </a:lnTo>
                <a:lnTo>
                  <a:pt x="4" y="36"/>
                </a:lnTo>
                <a:lnTo>
                  <a:pt x="4" y="32"/>
                </a:lnTo>
                <a:lnTo>
                  <a:pt x="4" y="32"/>
                </a:lnTo>
                <a:lnTo>
                  <a:pt x="4" y="32"/>
                </a:lnTo>
                <a:lnTo>
                  <a:pt x="4" y="32"/>
                </a:lnTo>
                <a:lnTo>
                  <a:pt x="4" y="32"/>
                </a:lnTo>
                <a:lnTo>
                  <a:pt x="8" y="32"/>
                </a:lnTo>
                <a:lnTo>
                  <a:pt x="8" y="30"/>
                </a:lnTo>
                <a:lnTo>
                  <a:pt x="8" y="30"/>
                </a:lnTo>
                <a:lnTo>
                  <a:pt x="12" y="32"/>
                </a:lnTo>
                <a:lnTo>
                  <a:pt x="12" y="30"/>
                </a:lnTo>
                <a:lnTo>
                  <a:pt x="12" y="30"/>
                </a:lnTo>
                <a:lnTo>
                  <a:pt x="12" y="30"/>
                </a:lnTo>
                <a:lnTo>
                  <a:pt x="12" y="30"/>
                </a:lnTo>
                <a:lnTo>
                  <a:pt x="12" y="30"/>
                </a:lnTo>
                <a:lnTo>
                  <a:pt x="12" y="30"/>
                </a:lnTo>
                <a:lnTo>
                  <a:pt x="12" y="30"/>
                </a:lnTo>
                <a:lnTo>
                  <a:pt x="14" y="30"/>
                </a:lnTo>
                <a:lnTo>
                  <a:pt x="14" y="30"/>
                </a:lnTo>
                <a:lnTo>
                  <a:pt x="14" y="26"/>
                </a:lnTo>
                <a:lnTo>
                  <a:pt x="14" y="26"/>
                </a:lnTo>
                <a:lnTo>
                  <a:pt x="14" y="26"/>
                </a:lnTo>
                <a:lnTo>
                  <a:pt x="14" y="26"/>
                </a:lnTo>
                <a:lnTo>
                  <a:pt x="14" y="26"/>
                </a:lnTo>
                <a:lnTo>
                  <a:pt x="14" y="26"/>
                </a:lnTo>
                <a:lnTo>
                  <a:pt x="14" y="22"/>
                </a:lnTo>
                <a:lnTo>
                  <a:pt x="12" y="26"/>
                </a:lnTo>
                <a:lnTo>
                  <a:pt x="12" y="26"/>
                </a:lnTo>
                <a:lnTo>
                  <a:pt x="12" y="26"/>
                </a:lnTo>
                <a:lnTo>
                  <a:pt x="12" y="26"/>
                </a:lnTo>
                <a:lnTo>
                  <a:pt x="12" y="22"/>
                </a:lnTo>
                <a:lnTo>
                  <a:pt x="12" y="22"/>
                </a:lnTo>
                <a:lnTo>
                  <a:pt x="12" y="22"/>
                </a:lnTo>
                <a:lnTo>
                  <a:pt x="12" y="22"/>
                </a:lnTo>
                <a:lnTo>
                  <a:pt x="12" y="22"/>
                </a:lnTo>
                <a:lnTo>
                  <a:pt x="12" y="22"/>
                </a:lnTo>
                <a:lnTo>
                  <a:pt x="12" y="18"/>
                </a:lnTo>
                <a:lnTo>
                  <a:pt x="12" y="18"/>
                </a:lnTo>
                <a:lnTo>
                  <a:pt x="12" y="18"/>
                </a:lnTo>
                <a:lnTo>
                  <a:pt x="12" y="18"/>
                </a:lnTo>
                <a:lnTo>
                  <a:pt x="12" y="18"/>
                </a:lnTo>
                <a:lnTo>
                  <a:pt x="12" y="18"/>
                </a:lnTo>
                <a:lnTo>
                  <a:pt x="12" y="14"/>
                </a:lnTo>
                <a:lnTo>
                  <a:pt x="12" y="14"/>
                </a:lnTo>
                <a:lnTo>
                  <a:pt x="12" y="14"/>
                </a:lnTo>
                <a:lnTo>
                  <a:pt x="12" y="14"/>
                </a:lnTo>
                <a:lnTo>
                  <a:pt x="14" y="10"/>
                </a:lnTo>
                <a:lnTo>
                  <a:pt x="14" y="10"/>
                </a:lnTo>
                <a:lnTo>
                  <a:pt x="14" y="10"/>
                </a:lnTo>
                <a:lnTo>
                  <a:pt x="18" y="10"/>
                </a:lnTo>
                <a:lnTo>
                  <a:pt x="18" y="10"/>
                </a:lnTo>
                <a:lnTo>
                  <a:pt x="18" y="10"/>
                </a:lnTo>
                <a:lnTo>
                  <a:pt x="18" y="10"/>
                </a:lnTo>
                <a:lnTo>
                  <a:pt x="18" y="6"/>
                </a:lnTo>
                <a:lnTo>
                  <a:pt x="18" y="6"/>
                </a:lnTo>
                <a:lnTo>
                  <a:pt x="22" y="6"/>
                </a:lnTo>
                <a:lnTo>
                  <a:pt x="22" y="6"/>
                </a:lnTo>
                <a:lnTo>
                  <a:pt x="22" y="6"/>
                </a:lnTo>
                <a:lnTo>
                  <a:pt x="22" y="6"/>
                </a:lnTo>
                <a:lnTo>
                  <a:pt x="22" y="4"/>
                </a:lnTo>
                <a:lnTo>
                  <a:pt x="22" y="4"/>
                </a:lnTo>
                <a:lnTo>
                  <a:pt x="22" y="4"/>
                </a:lnTo>
                <a:lnTo>
                  <a:pt x="18" y="0"/>
                </a:lnTo>
                <a:lnTo>
                  <a:pt x="18" y="0"/>
                </a:lnTo>
                <a:lnTo>
                  <a:pt x="18" y="0"/>
                </a:lnTo>
                <a:lnTo>
                  <a:pt x="22" y="4"/>
                </a:lnTo>
                <a:lnTo>
                  <a:pt x="22" y="4"/>
                </a:lnTo>
                <a:lnTo>
                  <a:pt x="22" y="4"/>
                </a:lnTo>
                <a:lnTo>
                  <a:pt x="22" y="4"/>
                </a:lnTo>
                <a:lnTo>
                  <a:pt x="22" y="4"/>
                </a:lnTo>
                <a:lnTo>
                  <a:pt x="22" y="4"/>
                </a:lnTo>
                <a:lnTo>
                  <a:pt x="22" y="4"/>
                </a:lnTo>
                <a:lnTo>
                  <a:pt x="22" y="4"/>
                </a:lnTo>
                <a:lnTo>
                  <a:pt x="22" y="4"/>
                </a:lnTo>
                <a:lnTo>
                  <a:pt x="22" y="4"/>
                </a:lnTo>
                <a:lnTo>
                  <a:pt x="26" y="4"/>
                </a:lnTo>
                <a:lnTo>
                  <a:pt x="26" y="4"/>
                </a:lnTo>
                <a:lnTo>
                  <a:pt x="30" y="6"/>
                </a:lnTo>
                <a:lnTo>
                  <a:pt x="34" y="10"/>
                </a:lnTo>
                <a:lnTo>
                  <a:pt x="34" y="10"/>
                </a:lnTo>
                <a:lnTo>
                  <a:pt x="34" y="10"/>
                </a:lnTo>
                <a:lnTo>
                  <a:pt x="34" y="10"/>
                </a:lnTo>
                <a:lnTo>
                  <a:pt x="34" y="10"/>
                </a:lnTo>
                <a:lnTo>
                  <a:pt x="34" y="10"/>
                </a:lnTo>
                <a:lnTo>
                  <a:pt x="38" y="14"/>
                </a:lnTo>
                <a:lnTo>
                  <a:pt x="38" y="14"/>
                </a:lnTo>
                <a:lnTo>
                  <a:pt x="38" y="14"/>
                </a:lnTo>
                <a:lnTo>
                  <a:pt x="38" y="18"/>
                </a:lnTo>
                <a:lnTo>
                  <a:pt x="38" y="18"/>
                </a:lnTo>
                <a:lnTo>
                  <a:pt x="40" y="22"/>
                </a:lnTo>
                <a:lnTo>
                  <a:pt x="40" y="22"/>
                </a:lnTo>
                <a:lnTo>
                  <a:pt x="40" y="26"/>
                </a:lnTo>
                <a:lnTo>
                  <a:pt x="40" y="26"/>
                </a:lnTo>
                <a:lnTo>
                  <a:pt x="40" y="26"/>
                </a:lnTo>
                <a:lnTo>
                  <a:pt x="40" y="26"/>
                </a:lnTo>
                <a:lnTo>
                  <a:pt x="40" y="26"/>
                </a:lnTo>
                <a:lnTo>
                  <a:pt x="40" y="30"/>
                </a:lnTo>
                <a:lnTo>
                  <a:pt x="40" y="30"/>
                </a:lnTo>
                <a:lnTo>
                  <a:pt x="40" y="30"/>
                </a:lnTo>
                <a:lnTo>
                  <a:pt x="40" y="30"/>
                </a:lnTo>
                <a:lnTo>
                  <a:pt x="40" y="30"/>
                </a:lnTo>
                <a:lnTo>
                  <a:pt x="40" y="32"/>
                </a:lnTo>
                <a:lnTo>
                  <a:pt x="40" y="36"/>
                </a:lnTo>
                <a:lnTo>
                  <a:pt x="38" y="36"/>
                </a:lnTo>
                <a:lnTo>
                  <a:pt x="40" y="36"/>
                </a:lnTo>
                <a:lnTo>
                  <a:pt x="40" y="36"/>
                </a:lnTo>
                <a:lnTo>
                  <a:pt x="40" y="36"/>
                </a:lnTo>
                <a:lnTo>
                  <a:pt x="40" y="36"/>
                </a:lnTo>
                <a:lnTo>
                  <a:pt x="40" y="36"/>
                </a:lnTo>
                <a:lnTo>
                  <a:pt x="40" y="32"/>
                </a:lnTo>
                <a:lnTo>
                  <a:pt x="40" y="32"/>
                </a:lnTo>
                <a:lnTo>
                  <a:pt x="40" y="32"/>
                </a:lnTo>
                <a:lnTo>
                  <a:pt x="40" y="30"/>
                </a:lnTo>
                <a:lnTo>
                  <a:pt x="40" y="30"/>
                </a:lnTo>
                <a:lnTo>
                  <a:pt x="40" y="30"/>
                </a:lnTo>
                <a:lnTo>
                  <a:pt x="40" y="30"/>
                </a:lnTo>
                <a:lnTo>
                  <a:pt x="44" y="30"/>
                </a:lnTo>
                <a:lnTo>
                  <a:pt x="44" y="30"/>
                </a:lnTo>
                <a:lnTo>
                  <a:pt x="44" y="30"/>
                </a:lnTo>
                <a:lnTo>
                  <a:pt x="44" y="30"/>
                </a:lnTo>
                <a:lnTo>
                  <a:pt x="44" y="30"/>
                </a:lnTo>
                <a:lnTo>
                  <a:pt x="44" y="30"/>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78" name="Freeform 185"/>
          <p:cNvSpPr>
            <a:spLocks/>
          </p:cNvSpPr>
          <p:nvPr/>
        </p:nvSpPr>
        <p:spPr bwMode="auto">
          <a:xfrm>
            <a:off x="3200400" y="4095750"/>
            <a:ext cx="142875" cy="173831"/>
          </a:xfrm>
          <a:custGeom>
            <a:avLst/>
            <a:gdLst>
              <a:gd name="T0" fmla="*/ 68 w 120"/>
              <a:gd name="T1" fmla="*/ 102 h 146"/>
              <a:gd name="T2" fmla="*/ 64 w 120"/>
              <a:gd name="T3" fmla="*/ 102 h 146"/>
              <a:gd name="T4" fmla="*/ 56 w 120"/>
              <a:gd name="T5" fmla="*/ 98 h 146"/>
              <a:gd name="T6" fmla="*/ 50 w 120"/>
              <a:gd name="T7" fmla="*/ 90 h 146"/>
              <a:gd name="T8" fmla="*/ 38 w 120"/>
              <a:gd name="T9" fmla="*/ 82 h 146"/>
              <a:gd name="T10" fmla="*/ 34 w 120"/>
              <a:gd name="T11" fmla="*/ 82 h 146"/>
              <a:gd name="T12" fmla="*/ 26 w 120"/>
              <a:gd name="T13" fmla="*/ 78 h 146"/>
              <a:gd name="T14" fmla="*/ 20 w 120"/>
              <a:gd name="T15" fmla="*/ 72 h 146"/>
              <a:gd name="T16" fmla="*/ 16 w 120"/>
              <a:gd name="T17" fmla="*/ 68 h 146"/>
              <a:gd name="T18" fmla="*/ 12 w 120"/>
              <a:gd name="T19" fmla="*/ 64 h 146"/>
              <a:gd name="T20" fmla="*/ 8 w 120"/>
              <a:gd name="T21" fmla="*/ 56 h 146"/>
              <a:gd name="T22" fmla="*/ 0 w 120"/>
              <a:gd name="T23" fmla="*/ 52 h 146"/>
              <a:gd name="T24" fmla="*/ 4 w 120"/>
              <a:gd name="T25" fmla="*/ 38 h 146"/>
              <a:gd name="T26" fmla="*/ 8 w 120"/>
              <a:gd name="T27" fmla="*/ 18 h 146"/>
              <a:gd name="T28" fmla="*/ 20 w 120"/>
              <a:gd name="T29" fmla="*/ 4 h 146"/>
              <a:gd name="T30" fmla="*/ 38 w 120"/>
              <a:gd name="T31" fmla="*/ 0 h 146"/>
              <a:gd name="T32" fmla="*/ 64 w 120"/>
              <a:gd name="T33" fmla="*/ 8 h 146"/>
              <a:gd name="T34" fmla="*/ 64 w 120"/>
              <a:gd name="T35" fmla="*/ 16 h 146"/>
              <a:gd name="T36" fmla="*/ 68 w 120"/>
              <a:gd name="T37" fmla="*/ 22 h 146"/>
              <a:gd name="T38" fmla="*/ 68 w 120"/>
              <a:gd name="T39" fmla="*/ 38 h 146"/>
              <a:gd name="T40" fmla="*/ 68 w 120"/>
              <a:gd name="T41" fmla="*/ 48 h 146"/>
              <a:gd name="T42" fmla="*/ 72 w 120"/>
              <a:gd name="T43" fmla="*/ 48 h 146"/>
              <a:gd name="T44" fmla="*/ 80 w 120"/>
              <a:gd name="T45" fmla="*/ 52 h 146"/>
              <a:gd name="T46" fmla="*/ 86 w 120"/>
              <a:gd name="T47" fmla="*/ 52 h 146"/>
              <a:gd name="T48" fmla="*/ 90 w 120"/>
              <a:gd name="T49" fmla="*/ 48 h 146"/>
              <a:gd name="T50" fmla="*/ 94 w 120"/>
              <a:gd name="T51" fmla="*/ 52 h 146"/>
              <a:gd name="T52" fmla="*/ 98 w 120"/>
              <a:gd name="T53" fmla="*/ 56 h 146"/>
              <a:gd name="T54" fmla="*/ 102 w 120"/>
              <a:gd name="T55" fmla="*/ 56 h 146"/>
              <a:gd name="T56" fmla="*/ 102 w 120"/>
              <a:gd name="T57" fmla="*/ 68 h 146"/>
              <a:gd name="T58" fmla="*/ 102 w 120"/>
              <a:gd name="T59" fmla="*/ 76 h 146"/>
              <a:gd name="T60" fmla="*/ 106 w 120"/>
              <a:gd name="T61" fmla="*/ 82 h 146"/>
              <a:gd name="T62" fmla="*/ 110 w 120"/>
              <a:gd name="T63" fmla="*/ 82 h 146"/>
              <a:gd name="T64" fmla="*/ 120 w 120"/>
              <a:gd name="T65" fmla="*/ 82 h 146"/>
              <a:gd name="T66" fmla="*/ 120 w 120"/>
              <a:gd name="T67" fmla="*/ 86 h 146"/>
              <a:gd name="T68" fmla="*/ 120 w 120"/>
              <a:gd name="T69" fmla="*/ 90 h 146"/>
              <a:gd name="T70" fmla="*/ 120 w 120"/>
              <a:gd name="T71" fmla="*/ 94 h 146"/>
              <a:gd name="T72" fmla="*/ 116 w 120"/>
              <a:gd name="T73" fmla="*/ 104 h 146"/>
              <a:gd name="T74" fmla="*/ 116 w 120"/>
              <a:gd name="T75" fmla="*/ 108 h 146"/>
              <a:gd name="T76" fmla="*/ 116 w 120"/>
              <a:gd name="T77" fmla="*/ 124 h 146"/>
              <a:gd name="T78" fmla="*/ 114 w 120"/>
              <a:gd name="T79" fmla="*/ 130 h 146"/>
              <a:gd name="T80" fmla="*/ 110 w 120"/>
              <a:gd name="T81" fmla="*/ 134 h 146"/>
              <a:gd name="T82" fmla="*/ 102 w 120"/>
              <a:gd name="T83" fmla="*/ 138 h 146"/>
              <a:gd name="T84" fmla="*/ 102 w 120"/>
              <a:gd name="T85" fmla="*/ 146 h 146"/>
              <a:gd name="T86" fmla="*/ 98 w 120"/>
              <a:gd name="T87" fmla="*/ 142 h 146"/>
              <a:gd name="T88" fmla="*/ 90 w 120"/>
              <a:gd name="T89" fmla="*/ 146 h 146"/>
              <a:gd name="T90" fmla="*/ 90 w 120"/>
              <a:gd name="T91" fmla="*/ 146 h 146"/>
              <a:gd name="T92" fmla="*/ 86 w 120"/>
              <a:gd name="T93" fmla="*/ 146 h 146"/>
              <a:gd name="T94" fmla="*/ 84 w 120"/>
              <a:gd name="T95" fmla="*/ 146 h 146"/>
              <a:gd name="T96" fmla="*/ 80 w 120"/>
              <a:gd name="T97" fmla="*/ 146 h 146"/>
              <a:gd name="T98" fmla="*/ 76 w 120"/>
              <a:gd name="T99" fmla="*/ 146 h 146"/>
              <a:gd name="T100" fmla="*/ 72 w 120"/>
              <a:gd name="T101" fmla="*/ 142 h 146"/>
              <a:gd name="T102" fmla="*/ 60 w 120"/>
              <a:gd name="T103" fmla="*/ 142 h 146"/>
              <a:gd name="T104" fmla="*/ 56 w 120"/>
              <a:gd name="T105" fmla="*/ 138 h 146"/>
              <a:gd name="T106" fmla="*/ 64 w 120"/>
              <a:gd name="T107" fmla="*/ 134 h 146"/>
              <a:gd name="T108" fmla="*/ 64 w 120"/>
              <a:gd name="T109" fmla="*/ 124 h 146"/>
              <a:gd name="T110" fmla="*/ 68 w 120"/>
              <a:gd name="T111" fmla="*/ 116 h 146"/>
              <a:gd name="T112" fmla="*/ 76 w 120"/>
              <a:gd name="T113" fmla="*/ 10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0" h="146">
                <a:moveTo>
                  <a:pt x="72" y="104"/>
                </a:moveTo>
                <a:lnTo>
                  <a:pt x="72" y="104"/>
                </a:lnTo>
                <a:lnTo>
                  <a:pt x="72" y="104"/>
                </a:lnTo>
                <a:lnTo>
                  <a:pt x="72" y="104"/>
                </a:lnTo>
                <a:lnTo>
                  <a:pt x="72" y="104"/>
                </a:lnTo>
                <a:lnTo>
                  <a:pt x="68" y="102"/>
                </a:lnTo>
                <a:lnTo>
                  <a:pt x="68" y="102"/>
                </a:lnTo>
                <a:lnTo>
                  <a:pt x="68" y="102"/>
                </a:lnTo>
                <a:lnTo>
                  <a:pt x="68" y="102"/>
                </a:lnTo>
                <a:lnTo>
                  <a:pt x="68" y="102"/>
                </a:lnTo>
                <a:lnTo>
                  <a:pt x="64" y="102"/>
                </a:lnTo>
                <a:lnTo>
                  <a:pt x="64" y="102"/>
                </a:lnTo>
                <a:lnTo>
                  <a:pt x="64" y="102"/>
                </a:lnTo>
                <a:lnTo>
                  <a:pt x="64" y="102"/>
                </a:lnTo>
                <a:lnTo>
                  <a:pt x="60" y="98"/>
                </a:lnTo>
                <a:lnTo>
                  <a:pt x="60" y="98"/>
                </a:lnTo>
                <a:lnTo>
                  <a:pt x="60" y="98"/>
                </a:lnTo>
                <a:lnTo>
                  <a:pt x="60" y="98"/>
                </a:lnTo>
                <a:lnTo>
                  <a:pt x="56" y="98"/>
                </a:lnTo>
                <a:lnTo>
                  <a:pt x="56" y="98"/>
                </a:lnTo>
                <a:lnTo>
                  <a:pt x="56" y="98"/>
                </a:lnTo>
                <a:lnTo>
                  <a:pt x="54" y="94"/>
                </a:lnTo>
                <a:lnTo>
                  <a:pt x="54" y="94"/>
                </a:lnTo>
                <a:lnTo>
                  <a:pt x="54" y="94"/>
                </a:lnTo>
                <a:lnTo>
                  <a:pt x="54" y="94"/>
                </a:lnTo>
                <a:lnTo>
                  <a:pt x="54" y="94"/>
                </a:lnTo>
                <a:lnTo>
                  <a:pt x="50" y="94"/>
                </a:lnTo>
                <a:lnTo>
                  <a:pt x="50" y="90"/>
                </a:lnTo>
                <a:lnTo>
                  <a:pt x="50" y="90"/>
                </a:lnTo>
                <a:lnTo>
                  <a:pt x="50" y="90"/>
                </a:lnTo>
                <a:lnTo>
                  <a:pt x="46" y="90"/>
                </a:lnTo>
                <a:lnTo>
                  <a:pt x="46" y="90"/>
                </a:lnTo>
                <a:lnTo>
                  <a:pt x="46" y="86"/>
                </a:lnTo>
                <a:lnTo>
                  <a:pt x="38" y="82"/>
                </a:lnTo>
                <a:lnTo>
                  <a:pt x="38" y="82"/>
                </a:lnTo>
                <a:lnTo>
                  <a:pt x="38" y="82"/>
                </a:lnTo>
                <a:lnTo>
                  <a:pt x="38" y="82"/>
                </a:lnTo>
                <a:lnTo>
                  <a:pt x="38" y="82"/>
                </a:lnTo>
                <a:lnTo>
                  <a:pt x="38" y="82"/>
                </a:lnTo>
                <a:lnTo>
                  <a:pt x="38" y="82"/>
                </a:lnTo>
                <a:lnTo>
                  <a:pt x="34" y="82"/>
                </a:lnTo>
                <a:lnTo>
                  <a:pt x="34" y="82"/>
                </a:lnTo>
                <a:lnTo>
                  <a:pt x="30" y="82"/>
                </a:lnTo>
                <a:lnTo>
                  <a:pt x="30" y="82"/>
                </a:lnTo>
                <a:lnTo>
                  <a:pt x="30" y="82"/>
                </a:lnTo>
                <a:lnTo>
                  <a:pt x="30" y="78"/>
                </a:lnTo>
                <a:lnTo>
                  <a:pt x="26" y="78"/>
                </a:lnTo>
                <a:lnTo>
                  <a:pt x="26" y="78"/>
                </a:lnTo>
                <a:lnTo>
                  <a:pt x="26" y="78"/>
                </a:lnTo>
                <a:lnTo>
                  <a:pt x="24" y="78"/>
                </a:lnTo>
                <a:lnTo>
                  <a:pt x="24" y="78"/>
                </a:lnTo>
                <a:lnTo>
                  <a:pt x="24" y="78"/>
                </a:lnTo>
                <a:lnTo>
                  <a:pt x="24" y="76"/>
                </a:lnTo>
                <a:lnTo>
                  <a:pt x="24" y="76"/>
                </a:lnTo>
                <a:lnTo>
                  <a:pt x="20" y="76"/>
                </a:lnTo>
                <a:lnTo>
                  <a:pt x="20" y="72"/>
                </a:lnTo>
                <a:lnTo>
                  <a:pt x="20" y="72"/>
                </a:lnTo>
                <a:lnTo>
                  <a:pt x="16" y="72"/>
                </a:lnTo>
                <a:lnTo>
                  <a:pt x="16" y="72"/>
                </a:lnTo>
                <a:lnTo>
                  <a:pt x="16" y="72"/>
                </a:lnTo>
                <a:lnTo>
                  <a:pt x="16" y="68"/>
                </a:lnTo>
                <a:lnTo>
                  <a:pt x="16" y="68"/>
                </a:lnTo>
                <a:lnTo>
                  <a:pt x="16" y="68"/>
                </a:lnTo>
                <a:lnTo>
                  <a:pt x="12" y="68"/>
                </a:lnTo>
                <a:lnTo>
                  <a:pt x="12" y="68"/>
                </a:lnTo>
                <a:lnTo>
                  <a:pt x="12" y="68"/>
                </a:lnTo>
                <a:lnTo>
                  <a:pt x="12" y="64"/>
                </a:lnTo>
                <a:lnTo>
                  <a:pt x="12" y="64"/>
                </a:lnTo>
                <a:lnTo>
                  <a:pt x="12" y="64"/>
                </a:lnTo>
                <a:lnTo>
                  <a:pt x="12" y="64"/>
                </a:lnTo>
                <a:lnTo>
                  <a:pt x="12" y="64"/>
                </a:lnTo>
                <a:lnTo>
                  <a:pt x="8" y="60"/>
                </a:lnTo>
                <a:lnTo>
                  <a:pt x="8" y="60"/>
                </a:lnTo>
                <a:lnTo>
                  <a:pt x="8" y="56"/>
                </a:lnTo>
                <a:lnTo>
                  <a:pt x="8" y="56"/>
                </a:lnTo>
                <a:lnTo>
                  <a:pt x="8" y="56"/>
                </a:lnTo>
                <a:lnTo>
                  <a:pt x="8" y="56"/>
                </a:lnTo>
                <a:lnTo>
                  <a:pt x="8" y="56"/>
                </a:lnTo>
                <a:lnTo>
                  <a:pt x="4" y="56"/>
                </a:lnTo>
                <a:lnTo>
                  <a:pt x="4" y="56"/>
                </a:lnTo>
                <a:lnTo>
                  <a:pt x="4" y="56"/>
                </a:lnTo>
                <a:lnTo>
                  <a:pt x="4" y="52"/>
                </a:lnTo>
                <a:lnTo>
                  <a:pt x="0" y="52"/>
                </a:lnTo>
                <a:lnTo>
                  <a:pt x="0" y="52"/>
                </a:lnTo>
                <a:lnTo>
                  <a:pt x="0" y="52"/>
                </a:lnTo>
                <a:lnTo>
                  <a:pt x="0" y="48"/>
                </a:lnTo>
                <a:lnTo>
                  <a:pt x="4" y="46"/>
                </a:lnTo>
                <a:lnTo>
                  <a:pt x="4" y="42"/>
                </a:lnTo>
                <a:lnTo>
                  <a:pt x="4" y="42"/>
                </a:lnTo>
                <a:lnTo>
                  <a:pt x="4" y="42"/>
                </a:lnTo>
                <a:lnTo>
                  <a:pt x="4" y="38"/>
                </a:lnTo>
                <a:lnTo>
                  <a:pt x="8" y="30"/>
                </a:lnTo>
                <a:lnTo>
                  <a:pt x="8" y="30"/>
                </a:lnTo>
                <a:lnTo>
                  <a:pt x="8" y="26"/>
                </a:lnTo>
                <a:lnTo>
                  <a:pt x="8" y="26"/>
                </a:lnTo>
                <a:lnTo>
                  <a:pt x="8" y="22"/>
                </a:lnTo>
                <a:lnTo>
                  <a:pt x="8" y="22"/>
                </a:lnTo>
                <a:lnTo>
                  <a:pt x="8" y="18"/>
                </a:lnTo>
                <a:lnTo>
                  <a:pt x="8" y="18"/>
                </a:lnTo>
                <a:lnTo>
                  <a:pt x="12" y="12"/>
                </a:lnTo>
                <a:lnTo>
                  <a:pt x="12" y="12"/>
                </a:lnTo>
                <a:lnTo>
                  <a:pt x="16" y="8"/>
                </a:lnTo>
                <a:lnTo>
                  <a:pt x="16" y="4"/>
                </a:lnTo>
                <a:lnTo>
                  <a:pt x="16" y="4"/>
                </a:lnTo>
                <a:lnTo>
                  <a:pt x="20" y="4"/>
                </a:lnTo>
                <a:lnTo>
                  <a:pt x="26" y="4"/>
                </a:lnTo>
                <a:lnTo>
                  <a:pt x="30" y="4"/>
                </a:lnTo>
                <a:lnTo>
                  <a:pt x="30" y="0"/>
                </a:lnTo>
                <a:lnTo>
                  <a:pt x="34" y="0"/>
                </a:lnTo>
                <a:lnTo>
                  <a:pt x="38" y="0"/>
                </a:lnTo>
                <a:lnTo>
                  <a:pt x="38" y="0"/>
                </a:lnTo>
                <a:lnTo>
                  <a:pt x="38" y="0"/>
                </a:lnTo>
                <a:lnTo>
                  <a:pt x="46" y="0"/>
                </a:lnTo>
                <a:lnTo>
                  <a:pt x="46" y="0"/>
                </a:lnTo>
                <a:lnTo>
                  <a:pt x="54" y="0"/>
                </a:lnTo>
                <a:lnTo>
                  <a:pt x="54" y="0"/>
                </a:lnTo>
                <a:lnTo>
                  <a:pt x="56" y="4"/>
                </a:lnTo>
                <a:lnTo>
                  <a:pt x="60" y="4"/>
                </a:lnTo>
                <a:lnTo>
                  <a:pt x="64" y="8"/>
                </a:lnTo>
                <a:lnTo>
                  <a:pt x="64" y="8"/>
                </a:lnTo>
                <a:lnTo>
                  <a:pt x="64" y="8"/>
                </a:lnTo>
                <a:lnTo>
                  <a:pt x="64" y="12"/>
                </a:lnTo>
                <a:lnTo>
                  <a:pt x="64" y="12"/>
                </a:lnTo>
                <a:lnTo>
                  <a:pt x="64" y="16"/>
                </a:lnTo>
                <a:lnTo>
                  <a:pt x="64" y="16"/>
                </a:lnTo>
                <a:lnTo>
                  <a:pt x="64" y="16"/>
                </a:lnTo>
                <a:lnTo>
                  <a:pt x="64" y="16"/>
                </a:lnTo>
                <a:lnTo>
                  <a:pt x="68" y="18"/>
                </a:lnTo>
                <a:lnTo>
                  <a:pt x="68" y="18"/>
                </a:lnTo>
                <a:lnTo>
                  <a:pt x="68" y="18"/>
                </a:lnTo>
                <a:lnTo>
                  <a:pt x="68" y="22"/>
                </a:lnTo>
                <a:lnTo>
                  <a:pt x="68" y="22"/>
                </a:lnTo>
                <a:lnTo>
                  <a:pt x="68" y="22"/>
                </a:lnTo>
                <a:lnTo>
                  <a:pt x="68" y="22"/>
                </a:lnTo>
                <a:lnTo>
                  <a:pt x="68" y="26"/>
                </a:lnTo>
                <a:lnTo>
                  <a:pt x="68" y="26"/>
                </a:lnTo>
                <a:lnTo>
                  <a:pt x="72" y="30"/>
                </a:lnTo>
                <a:lnTo>
                  <a:pt x="68" y="34"/>
                </a:lnTo>
                <a:lnTo>
                  <a:pt x="68" y="38"/>
                </a:lnTo>
                <a:lnTo>
                  <a:pt x="68" y="38"/>
                </a:lnTo>
                <a:lnTo>
                  <a:pt x="68" y="38"/>
                </a:lnTo>
                <a:lnTo>
                  <a:pt x="68" y="38"/>
                </a:lnTo>
                <a:lnTo>
                  <a:pt x="68" y="42"/>
                </a:lnTo>
                <a:lnTo>
                  <a:pt x="68" y="42"/>
                </a:lnTo>
                <a:lnTo>
                  <a:pt x="68" y="42"/>
                </a:lnTo>
                <a:lnTo>
                  <a:pt x="68" y="46"/>
                </a:lnTo>
                <a:lnTo>
                  <a:pt x="68" y="48"/>
                </a:lnTo>
                <a:lnTo>
                  <a:pt x="68" y="48"/>
                </a:lnTo>
                <a:lnTo>
                  <a:pt x="68" y="48"/>
                </a:lnTo>
                <a:lnTo>
                  <a:pt x="68" y="48"/>
                </a:lnTo>
                <a:lnTo>
                  <a:pt x="68" y="48"/>
                </a:lnTo>
                <a:lnTo>
                  <a:pt x="72" y="48"/>
                </a:lnTo>
                <a:lnTo>
                  <a:pt x="72" y="48"/>
                </a:lnTo>
                <a:lnTo>
                  <a:pt x="72" y="48"/>
                </a:lnTo>
                <a:lnTo>
                  <a:pt x="72" y="48"/>
                </a:lnTo>
                <a:lnTo>
                  <a:pt x="72" y="48"/>
                </a:lnTo>
                <a:lnTo>
                  <a:pt x="76" y="52"/>
                </a:lnTo>
                <a:lnTo>
                  <a:pt x="76" y="52"/>
                </a:lnTo>
                <a:lnTo>
                  <a:pt x="80" y="52"/>
                </a:lnTo>
                <a:lnTo>
                  <a:pt x="80" y="52"/>
                </a:lnTo>
                <a:lnTo>
                  <a:pt x="80" y="52"/>
                </a:lnTo>
                <a:lnTo>
                  <a:pt x="84" y="52"/>
                </a:lnTo>
                <a:lnTo>
                  <a:pt x="84" y="52"/>
                </a:lnTo>
                <a:lnTo>
                  <a:pt x="84" y="52"/>
                </a:lnTo>
                <a:lnTo>
                  <a:pt x="86" y="52"/>
                </a:lnTo>
                <a:lnTo>
                  <a:pt x="86" y="52"/>
                </a:lnTo>
                <a:lnTo>
                  <a:pt x="86" y="52"/>
                </a:lnTo>
                <a:lnTo>
                  <a:pt x="86" y="52"/>
                </a:lnTo>
                <a:lnTo>
                  <a:pt x="86" y="52"/>
                </a:lnTo>
                <a:lnTo>
                  <a:pt x="86" y="48"/>
                </a:lnTo>
                <a:lnTo>
                  <a:pt x="86" y="48"/>
                </a:lnTo>
                <a:lnTo>
                  <a:pt x="86" y="48"/>
                </a:lnTo>
                <a:lnTo>
                  <a:pt x="86" y="48"/>
                </a:lnTo>
                <a:lnTo>
                  <a:pt x="90" y="48"/>
                </a:lnTo>
                <a:lnTo>
                  <a:pt x="90" y="48"/>
                </a:lnTo>
                <a:lnTo>
                  <a:pt x="90" y="48"/>
                </a:lnTo>
                <a:lnTo>
                  <a:pt x="90" y="48"/>
                </a:lnTo>
                <a:lnTo>
                  <a:pt x="90" y="48"/>
                </a:lnTo>
                <a:lnTo>
                  <a:pt x="90" y="48"/>
                </a:lnTo>
                <a:lnTo>
                  <a:pt x="90" y="52"/>
                </a:lnTo>
                <a:lnTo>
                  <a:pt x="94" y="52"/>
                </a:lnTo>
                <a:lnTo>
                  <a:pt x="94" y="52"/>
                </a:lnTo>
                <a:lnTo>
                  <a:pt x="94" y="52"/>
                </a:lnTo>
                <a:lnTo>
                  <a:pt x="94" y="52"/>
                </a:lnTo>
                <a:lnTo>
                  <a:pt x="98" y="52"/>
                </a:lnTo>
                <a:lnTo>
                  <a:pt x="98" y="52"/>
                </a:lnTo>
                <a:lnTo>
                  <a:pt x="98" y="52"/>
                </a:lnTo>
                <a:lnTo>
                  <a:pt x="98" y="56"/>
                </a:lnTo>
                <a:lnTo>
                  <a:pt x="98" y="56"/>
                </a:lnTo>
                <a:lnTo>
                  <a:pt x="98" y="56"/>
                </a:lnTo>
                <a:lnTo>
                  <a:pt x="98" y="56"/>
                </a:lnTo>
                <a:lnTo>
                  <a:pt x="102" y="56"/>
                </a:lnTo>
                <a:lnTo>
                  <a:pt x="102" y="56"/>
                </a:lnTo>
                <a:lnTo>
                  <a:pt x="102" y="56"/>
                </a:lnTo>
                <a:lnTo>
                  <a:pt x="102" y="56"/>
                </a:lnTo>
                <a:lnTo>
                  <a:pt x="102" y="56"/>
                </a:lnTo>
                <a:lnTo>
                  <a:pt x="102" y="60"/>
                </a:lnTo>
                <a:lnTo>
                  <a:pt x="102" y="60"/>
                </a:lnTo>
                <a:lnTo>
                  <a:pt x="102" y="60"/>
                </a:lnTo>
                <a:lnTo>
                  <a:pt x="102" y="60"/>
                </a:lnTo>
                <a:lnTo>
                  <a:pt x="102" y="64"/>
                </a:lnTo>
                <a:lnTo>
                  <a:pt x="102" y="64"/>
                </a:lnTo>
                <a:lnTo>
                  <a:pt x="102" y="68"/>
                </a:lnTo>
                <a:lnTo>
                  <a:pt x="102" y="68"/>
                </a:lnTo>
                <a:lnTo>
                  <a:pt x="102" y="72"/>
                </a:lnTo>
                <a:lnTo>
                  <a:pt x="102" y="72"/>
                </a:lnTo>
                <a:lnTo>
                  <a:pt x="102" y="72"/>
                </a:lnTo>
                <a:lnTo>
                  <a:pt x="102" y="72"/>
                </a:lnTo>
                <a:lnTo>
                  <a:pt x="102" y="76"/>
                </a:lnTo>
                <a:lnTo>
                  <a:pt x="102" y="76"/>
                </a:lnTo>
                <a:lnTo>
                  <a:pt x="102" y="76"/>
                </a:lnTo>
                <a:lnTo>
                  <a:pt x="106" y="76"/>
                </a:lnTo>
                <a:lnTo>
                  <a:pt x="106" y="78"/>
                </a:lnTo>
                <a:lnTo>
                  <a:pt x="106" y="78"/>
                </a:lnTo>
                <a:lnTo>
                  <a:pt x="106" y="78"/>
                </a:lnTo>
                <a:lnTo>
                  <a:pt x="106" y="78"/>
                </a:lnTo>
                <a:lnTo>
                  <a:pt x="106" y="82"/>
                </a:lnTo>
                <a:lnTo>
                  <a:pt x="106" y="82"/>
                </a:lnTo>
                <a:lnTo>
                  <a:pt x="106" y="82"/>
                </a:lnTo>
                <a:lnTo>
                  <a:pt x="106" y="82"/>
                </a:lnTo>
                <a:lnTo>
                  <a:pt x="106" y="82"/>
                </a:lnTo>
                <a:lnTo>
                  <a:pt x="110" y="82"/>
                </a:lnTo>
                <a:lnTo>
                  <a:pt x="110" y="82"/>
                </a:lnTo>
                <a:lnTo>
                  <a:pt x="110" y="82"/>
                </a:lnTo>
                <a:lnTo>
                  <a:pt x="110" y="82"/>
                </a:lnTo>
                <a:lnTo>
                  <a:pt x="114" y="82"/>
                </a:lnTo>
                <a:lnTo>
                  <a:pt x="114" y="82"/>
                </a:lnTo>
                <a:lnTo>
                  <a:pt x="114" y="82"/>
                </a:lnTo>
                <a:lnTo>
                  <a:pt x="116" y="78"/>
                </a:lnTo>
                <a:lnTo>
                  <a:pt x="116" y="78"/>
                </a:lnTo>
                <a:lnTo>
                  <a:pt x="120" y="82"/>
                </a:lnTo>
                <a:lnTo>
                  <a:pt x="120" y="82"/>
                </a:lnTo>
                <a:lnTo>
                  <a:pt x="120" y="82"/>
                </a:lnTo>
                <a:lnTo>
                  <a:pt x="120" y="82"/>
                </a:lnTo>
                <a:lnTo>
                  <a:pt x="120" y="82"/>
                </a:lnTo>
                <a:lnTo>
                  <a:pt x="120" y="86"/>
                </a:lnTo>
                <a:lnTo>
                  <a:pt x="120" y="86"/>
                </a:lnTo>
                <a:lnTo>
                  <a:pt x="120" y="86"/>
                </a:lnTo>
                <a:lnTo>
                  <a:pt x="120" y="86"/>
                </a:lnTo>
                <a:lnTo>
                  <a:pt x="120" y="86"/>
                </a:lnTo>
                <a:lnTo>
                  <a:pt x="120" y="86"/>
                </a:lnTo>
                <a:lnTo>
                  <a:pt x="120" y="90"/>
                </a:lnTo>
                <a:lnTo>
                  <a:pt x="120" y="90"/>
                </a:lnTo>
                <a:lnTo>
                  <a:pt x="120" y="90"/>
                </a:lnTo>
                <a:lnTo>
                  <a:pt x="120" y="90"/>
                </a:lnTo>
                <a:lnTo>
                  <a:pt x="120" y="90"/>
                </a:lnTo>
                <a:lnTo>
                  <a:pt x="120" y="90"/>
                </a:lnTo>
                <a:lnTo>
                  <a:pt x="120" y="94"/>
                </a:lnTo>
                <a:lnTo>
                  <a:pt x="120" y="94"/>
                </a:lnTo>
                <a:lnTo>
                  <a:pt x="120" y="94"/>
                </a:lnTo>
                <a:lnTo>
                  <a:pt x="120" y="94"/>
                </a:lnTo>
                <a:lnTo>
                  <a:pt x="120" y="94"/>
                </a:lnTo>
                <a:lnTo>
                  <a:pt x="120" y="94"/>
                </a:lnTo>
                <a:lnTo>
                  <a:pt x="120" y="98"/>
                </a:lnTo>
                <a:lnTo>
                  <a:pt x="120" y="98"/>
                </a:lnTo>
                <a:lnTo>
                  <a:pt x="116" y="102"/>
                </a:lnTo>
                <a:lnTo>
                  <a:pt x="116" y="102"/>
                </a:lnTo>
                <a:lnTo>
                  <a:pt x="116" y="102"/>
                </a:lnTo>
                <a:lnTo>
                  <a:pt x="116" y="104"/>
                </a:lnTo>
                <a:lnTo>
                  <a:pt x="116" y="104"/>
                </a:lnTo>
                <a:lnTo>
                  <a:pt x="116" y="104"/>
                </a:lnTo>
                <a:lnTo>
                  <a:pt x="116" y="104"/>
                </a:lnTo>
                <a:lnTo>
                  <a:pt x="116" y="104"/>
                </a:lnTo>
                <a:lnTo>
                  <a:pt x="116" y="108"/>
                </a:lnTo>
                <a:lnTo>
                  <a:pt x="116" y="108"/>
                </a:lnTo>
                <a:lnTo>
                  <a:pt x="116" y="108"/>
                </a:lnTo>
                <a:lnTo>
                  <a:pt x="116" y="112"/>
                </a:lnTo>
                <a:lnTo>
                  <a:pt x="116" y="112"/>
                </a:lnTo>
                <a:lnTo>
                  <a:pt x="116" y="116"/>
                </a:lnTo>
                <a:lnTo>
                  <a:pt x="116" y="116"/>
                </a:lnTo>
                <a:lnTo>
                  <a:pt x="116" y="120"/>
                </a:lnTo>
                <a:lnTo>
                  <a:pt x="116" y="120"/>
                </a:lnTo>
                <a:lnTo>
                  <a:pt x="116" y="124"/>
                </a:lnTo>
                <a:lnTo>
                  <a:pt x="116" y="124"/>
                </a:lnTo>
                <a:lnTo>
                  <a:pt x="116" y="124"/>
                </a:lnTo>
                <a:lnTo>
                  <a:pt x="116" y="124"/>
                </a:lnTo>
                <a:lnTo>
                  <a:pt x="114" y="126"/>
                </a:lnTo>
                <a:lnTo>
                  <a:pt x="114" y="130"/>
                </a:lnTo>
                <a:lnTo>
                  <a:pt x="114" y="130"/>
                </a:lnTo>
                <a:lnTo>
                  <a:pt x="114" y="130"/>
                </a:lnTo>
                <a:lnTo>
                  <a:pt x="114" y="130"/>
                </a:lnTo>
                <a:lnTo>
                  <a:pt x="114" y="130"/>
                </a:lnTo>
                <a:lnTo>
                  <a:pt x="110" y="130"/>
                </a:lnTo>
                <a:lnTo>
                  <a:pt x="110" y="130"/>
                </a:lnTo>
                <a:lnTo>
                  <a:pt x="110" y="134"/>
                </a:lnTo>
                <a:lnTo>
                  <a:pt x="110" y="134"/>
                </a:lnTo>
                <a:lnTo>
                  <a:pt x="110" y="134"/>
                </a:lnTo>
                <a:lnTo>
                  <a:pt x="110" y="134"/>
                </a:lnTo>
                <a:lnTo>
                  <a:pt x="106" y="134"/>
                </a:lnTo>
                <a:lnTo>
                  <a:pt x="106" y="134"/>
                </a:lnTo>
                <a:lnTo>
                  <a:pt x="106" y="134"/>
                </a:lnTo>
                <a:lnTo>
                  <a:pt x="106" y="134"/>
                </a:lnTo>
                <a:lnTo>
                  <a:pt x="106" y="134"/>
                </a:lnTo>
                <a:lnTo>
                  <a:pt x="102" y="138"/>
                </a:lnTo>
                <a:lnTo>
                  <a:pt x="102" y="138"/>
                </a:lnTo>
                <a:lnTo>
                  <a:pt x="102" y="142"/>
                </a:lnTo>
                <a:lnTo>
                  <a:pt x="102" y="142"/>
                </a:lnTo>
                <a:lnTo>
                  <a:pt x="102" y="142"/>
                </a:lnTo>
                <a:lnTo>
                  <a:pt x="102" y="142"/>
                </a:lnTo>
                <a:lnTo>
                  <a:pt x="102" y="142"/>
                </a:lnTo>
                <a:lnTo>
                  <a:pt x="102" y="146"/>
                </a:lnTo>
                <a:lnTo>
                  <a:pt x="98" y="146"/>
                </a:lnTo>
                <a:lnTo>
                  <a:pt x="98" y="142"/>
                </a:lnTo>
                <a:lnTo>
                  <a:pt x="98" y="142"/>
                </a:lnTo>
                <a:lnTo>
                  <a:pt x="98" y="142"/>
                </a:lnTo>
                <a:lnTo>
                  <a:pt x="98" y="142"/>
                </a:lnTo>
                <a:lnTo>
                  <a:pt x="98" y="142"/>
                </a:lnTo>
                <a:lnTo>
                  <a:pt x="98" y="142"/>
                </a:lnTo>
                <a:lnTo>
                  <a:pt x="94" y="142"/>
                </a:lnTo>
                <a:lnTo>
                  <a:pt x="94" y="142"/>
                </a:lnTo>
                <a:lnTo>
                  <a:pt x="94" y="142"/>
                </a:lnTo>
                <a:lnTo>
                  <a:pt x="94" y="142"/>
                </a:lnTo>
                <a:lnTo>
                  <a:pt x="90" y="142"/>
                </a:lnTo>
                <a:lnTo>
                  <a:pt x="90" y="146"/>
                </a:lnTo>
                <a:lnTo>
                  <a:pt x="90" y="146"/>
                </a:lnTo>
                <a:lnTo>
                  <a:pt x="90" y="146"/>
                </a:lnTo>
                <a:lnTo>
                  <a:pt x="90" y="146"/>
                </a:lnTo>
                <a:lnTo>
                  <a:pt x="90" y="146"/>
                </a:lnTo>
                <a:lnTo>
                  <a:pt x="90" y="146"/>
                </a:lnTo>
                <a:lnTo>
                  <a:pt x="90" y="146"/>
                </a:lnTo>
                <a:lnTo>
                  <a:pt x="90" y="146"/>
                </a:lnTo>
                <a:lnTo>
                  <a:pt x="90" y="146"/>
                </a:lnTo>
                <a:lnTo>
                  <a:pt x="90" y="146"/>
                </a:lnTo>
                <a:lnTo>
                  <a:pt x="90" y="146"/>
                </a:lnTo>
                <a:lnTo>
                  <a:pt x="86" y="146"/>
                </a:lnTo>
                <a:lnTo>
                  <a:pt x="86" y="146"/>
                </a:lnTo>
                <a:lnTo>
                  <a:pt x="86" y="146"/>
                </a:lnTo>
                <a:lnTo>
                  <a:pt x="86" y="146"/>
                </a:lnTo>
                <a:lnTo>
                  <a:pt x="86" y="146"/>
                </a:lnTo>
                <a:lnTo>
                  <a:pt x="86" y="146"/>
                </a:lnTo>
                <a:lnTo>
                  <a:pt x="86" y="146"/>
                </a:lnTo>
                <a:lnTo>
                  <a:pt x="86" y="146"/>
                </a:lnTo>
                <a:lnTo>
                  <a:pt x="86" y="146"/>
                </a:lnTo>
                <a:lnTo>
                  <a:pt x="84" y="146"/>
                </a:lnTo>
                <a:lnTo>
                  <a:pt x="84" y="146"/>
                </a:lnTo>
                <a:lnTo>
                  <a:pt x="84" y="146"/>
                </a:lnTo>
                <a:lnTo>
                  <a:pt x="84" y="146"/>
                </a:lnTo>
                <a:lnTo>
                  <a:pt x="84" y="146"/>
                </a:lnTo>
                <a:lnTo>
                  <a:pt x="84" y="146"/>
                </a:lnTo>
                <a:lnTo>
                  <a:pt x="84" y="146"/>
                </a:lnTo>
                <a:lnTo>
                  <a:pt x="84" y="146"/>
                </a:lnTo>
                <a:lnTo>
                  <a:pt x="84" y="146"/>
                </a:lnTo>
                <a:lnTo>
                  <a:pt x="80" y="146"/>
                </a:lnTo>
                <a:lnTo>
                  <a:pt x="80" y="146"/>
                </a:lnTo>
                <a:lnTo>
                  <a:pt x="80" y="146"/>
                </a:lnTo>
                <a:lnTo>
                  <a:pt x="80" y="146"/>
                </a:lnTo>
                <a:lnTo>
                  <a:pt x="80" y="146"/>
                </a:lnTo>
                <a:lnTo>
                  <a:pt x="80" y="146"/>
                </a:lnTo>
                <a:lnTo>
                  <a:pt x="80" y="146"/>
                </a:lnTo>
                <a:lnTo>
                  <a:pt x="76" y="146"/>
                </a:lnTo>
                <a:lnTo>
                  <a:pt x="76" y="146"/>
                </a:lnTo>
                <a:lnTo>
                  <a:pt x="76" y="146"/>
                </a:lnTo>
                <a:lnTo>
                  <a:pt x="72" y="142"/>
                </a:lnTo>
                <a:lnTo>
                  <a:pt x="72" y="142"/>
                </a:lnTo>
                <a:lnTo>
                  <a:pt x="72" y="142"/>
                </a:lnTo>
                <a:lnTo>
                  <a:pt x="72" y="142"/>
                </a:lnTo>
                <a:lnTo>
                  <a:pt x="72" y="142"/>
                </a:lnTo>
                <a:lnTo>
                  <a:pt x="72" y="142"/>
                </a:lnTo>
                <a:lnTo>
                  <a:pt x="68" y="142"/>
                </a:lnTo>
                <a:lnTo>
                  <a:pt x="68" y="142"/>
                </a:lnTo>
                <a:lnTo>
                  <a:pt x="64" y="142"/>
                </a:lnTo>
                <a:lnTo>
                  <a:pt x="64" y="142"/>
                </a:lnTo>
                <a:lnTo>
                  <a:pt x="60" y="142"/>
                </a:lnTo>
                <a:lnTo>
                  <a:pt x="60" y="142"/>
                </a:lnTo>
                <a:lnTo>
                  <a:pt x="60" y="142"/>
                </a:lnTo>
                <a:lnTo>
                  <a:pt x="60" y="142"/>
                </a:lnTo>
                <a:lnTo>
                  <a:pt x="60" y="142"/>
                </a:lnTo>
                <a:lnTo>
                  <a:pt x="60" y="142"/>
                </a:lnTo>
                <a:lnTo>
                  <a:pt x="60" y="142"/>
                </a:lnTo>
                <a:lnTo>
                  <a:pt x="56" y="138"/>
                </a:lnTo>
                <a:lnTo>
                  <a:pt x="56" y="138"/>
                </a:lnTo>
                <a:lnTo>
                  <a:pt x="60" y="138"/>
                </a:lnTo>
                <a:lnTo>
                  <a:pt x="60" y="138"/>
                </a:lnTo>
                <a:lnTo>
                  <a:pt x="60" y="138"/>
                </a:lnTo>
                <a:lnTo>
                  <a:pt x="60" y="134"/>
                </a:lnTo>
                <a:lnTo>
                  <a:pt x="60" y="134"/>
                </a:lnTo>
                <a:lnTo>
                  <a:pt x="64" y="134"/>
                </a:lnTo>
                <a:lnTo>
                  <a:pt x="64" y="134"/>
                </a:lnTo>
                <a:lnTo>
                  <a:pt x="64" y="130"/>
                </a:lnTo>
                <a:lnTo>
                  <a:pt x="64" y="130"/>
                </a:lnTo>
                <a:lnTo>
                  <a:pt x="64" y="126"/>
                </a:lnTo>
                <a:lnTo>
                  <a:pt x="64" y="126"/>
                </a:lnTo>
                <a:lnTo>
                  <a:pt x="64" y="126"/>
                </a:lnTo>
                <a:lnTo>
                  <a:pt x="64" y="124"/>
                </a:lnTo>
                <a:lnTo>
                  <a:pt x="64" y="124"/>
                </a:lnTo>
                <a:lnTo>
                  <a:pt x="64" y="124"/>
                </a:lnTo>
                <a:lnTo>
                  <a:pt x="68" y="120"/>
                </a:lnTo>
                <a:lnTo>
                  <a:pt x="68" y="120"/>
                </a:lnTo>
                <a:lnTo>
                  <a:pt x="68" y="120"/>
                </a:lnTo>
                <a:lnTo>
                  <a:pt x="68" y="120"/>
                </a:lnTo>
                <a:lnTo>
                  <a:pt x="68" y="116"/>
                </a:lnTo>
                <a:lnTo>
                  <a:pt x="68" y="116"/>
                </a:lnTo>
                <a:lnTo>
                  <a:pt x="72" y="116"/>
                </a:lnTo>
                <a:lnTo>
                  <a:pt x="72" y="116"/>
                </a:lnTo>
                <a:lnTo>
                  <a:pt x="72" y="116"/>
                </a:lnTo>
                <a:lnTo>
                  <a:pt x="72" y="112"/>
                </a:lnTo>
                <a:lnTo>
                  <a:pt x="76" y="112"/>
                </a:lnTo>
                <a:lnTo>
                  <a:pt x="76" y="108"/>
                </a:lnTo>
                <a:lnTo>
                  <a:pt x="76" y="108"/>
                </a:lnTo>
                <a:lnTo>
                  <a:pt x="72" y="108"/>
                </a:lnTo>
                <a:lnTo>
                  <a:pt x="72" y="108"/>
                </a:lnTo>
                <a:lnTo>
                  <a:pt x="72" y="104"/>
                </a:lnTo>
                <a:lnTo>
                  <a:pt x="72" y="104"/>
                </a:lnTo>
                <a:lnTo>
                  <a:pt x="72" y="104"/>
                </a:lnTo>
                <a:lnTo>
                  <a:pt x="72" y="104"/>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79" name="Freeform 186"/>
          <p:cNvSpPr>
            <a:spLocks/>
          </p:cNvSpPr>
          <p:nvPr/>
        </p:nvSpPr>
        <p:spPr bwMode="auto">
          <a:xfrm>
            <a:off x="2886074" y="3700462"/>
            <a:ext cx="214313" cy="373856"/>
          </a:xfrm>
          <a:custGeom>
            <a:avLst/>
            <a:gdLst>
              <a:gd name="T0" fmla="*/ 166 w 180"/>
              <a:gd name="T1" fmla="*/ 310 h 314"/>
              <a:gd name="T2" fmla="*/ 154 w 180"/>
              <a:gd name="T3" fmla="*/ 310 h 314"/>
              <a:gd name="T4" fmla="*/ 142 w 180"/>
              <a:gd name="T5" fmla="*/ 298 h 314"/>
              <a:gd name="T6" fmla="*/ 132 w 180"/>
              <a:gd name="T7" fmla="*/ 290 h 314"/>
              <a:gd name="T8" fmla="*/ 120 w 180"/>
              <a:gd name="T9" fmla="*/ 284 h 314"/>
              <a:gd name="T10" fmla="*/ 106 w 180"/>
              <a:gd name="T11" fmla="*/ 276 h 314"/>
              <a:gd name="T12" fmla="*/ 94 w 180"/>
              <a:gd name="T13" fmla="*/ 264 h 314"/>
              <a:gd name="T14" fmla="*/ 82 w 180"/>
              <a:gd name="T15" fmla="*/ 254 h 314"/>
              <a:gd name="T16" fmla="*/ 76 w 180"/>
              <a:gd name="T17" fmla="*/ 238 h 314"/>
              <a:gd name="T18" fmla="*/ 76 w 180"/>
              <a:gd name="T19" fmla="*/ 230 h 314"/>
              <a:gd name="T20" fmla="*/ 68 w 180"/>
              <a:gd name="T21" fmla="*/ 212 h 314"/>
              <a:gd name="T22" fmla="*/ 60 w 180"/>
              <a:gd name="T23" fmla="*/ 200 h 314"/>
              <a:gd name="T24" fmla="*/ 54 w 180"/>
              <a:gd name="T25" fmla="*/ 186 h 314"/>
              <a:gd name="T26" fmla="*/ 46 w 180"/>
              <a:gd name="T27" fmla="*/ 168 h 314"/>
              <a:gd name="T28" fmla="*/ 38 w 180"/>
              <a:gd name="T29" fmla="*/ 152 h 314"/>
              <a:gd name="T30" fmla="*/ 34 w 180"/>
              <a:gd name="T31" fmla="*/ 138 h 314"/>
              <a:gd name="T32" fmla="*/ 26 w 180"/>
              <a:gd name="T33" fmla="*/ 126 h 314"/>
              <a:gd name="T34" fmla="*/ 20 w 180"/>
              <a:gd name="T35" fmla="*/ 114 h 314"/>
              <a:gd name="T36" fmla="*/ 12 w 180"/>
              <a:gd name="T37" fmla="*/ 104 h 314"/>
              <a:gd name="T38" fmla="*/ 8 w 180"/>
              <a:gd name="T39" fmla="*/ 96 h 314"/>
              <a:gd name="T40" fmla="*/ 4 w 180"/>
              <a:gd name="T41" fmla="*/ 82 h 314"/>
              <a:gd name="T42" fmla="*/ 4 w 180"/>
              <a:gd name="T43" fmla="*/ 66 h 314"/>
              <a:gd name="T44" fmla="*/ 16 w 180"/>
              <a:gd name="T45" fmla="*/ 56 h 314"/>
              <a:gd name="T46" fmla="*/ 16 w 180"/>
              <a:gd name="T47" fmla="*/ 74 h 314"/>
              <a:gd name="T48" fmla="*/ 26 w 180"/>
              <a:gd name="T49" fmla="*/ 74 h 314"/>
              <a:gd name="T50" fmla="*/ 38 w 180"/>
              <a:gd name="T51" fmla="*/ 78 h 314"/>
              <a:gd name="T52" fmla="*/ 42 w 180"/>
              <a:gd name="T53" fmla="*/ 70 h 314"/>
              <a:gd name="T54" fmla="*/ 46 w 180"/>
              <a:gd name="T55" fmla="*/ 56 h 314"/>
              <a:gd name="T56" fmla="*/ 50 w 180"/>
              <a:gd name="T57" fmla="*/ 48 h 314"/>
              <a:gd name="T58" fmla="*/ 68 w 180"/>
              <a:gd name="T59" fmla="*/ 42 h 314"/>
              <a:gd name="T60" fmla="*/ 82 w 180"/>
              <a:gd name="T61" fmla="*/ 26 h 314"/>
              <a:gd name="T62" fmla="*/ 86 w 180"/>
              <a:gd name="T63" fmla="*/ 12 h 314"/>
              <a:gd name="T64" fmla="*/ 90 w 180"/>
              <a:gd name="T65" fmla="*/ 0 h 314"/>
              <a:gd name="T66" fmla="*/ 98 w 180"/>
              <a:gd name="T67" fmla="*/ 4 h 314"/>
              <a:gd name="T68" fmla="*/ 110 w 180"/>
              <a:gd name="T69" fmla="*/ 18 h 314"/>
              <a:gd name="T70" fmla="*/ 120 w 180"/>
              <a:gd name="T71" fmla="*/ 30 h 314"/>
              <a:gd name="T72" fmla="*/ 120 w 180"/>
              <a:gd name="T73" fmla="*/ 42 h 314"/>
              <a:gd name="T74" fmla="*/ 132 w 180"/>
              <a:gd name="T75" fmla="*/ 42 h 314"/>
              <a:gd name="T76" fmla="*/ 142 w 180"/>
              <a:gd name="T77" fmla="*/ 38 h 314"/>
              <a:gd name="T78" fmla="*/ 158 w 180"/>
              <a:gd name="T79" fmla="*/ 42 h 314"/>
              <a:gd name="T80" fmla="*/ 154 w 180"/>
              <a:gd name="T81" fmla="*/ 62 h 314"/>
              <a:gd name="T82" fmla="*/ 162 w 180"/>
              <a:gd name="T83" fmla="*/ 70 h 314"/>
              <a:gd name="T84" fmla="*/ 150 w 180"/>
              <a:gd name="T85" fmla="*/ 70 h 314"/>
              <a:gd name="T86" fmla="*/ 140 w 180"/>
              <a:gd name="T87" fmla="*/ 74 h 314"/>
              <a:gd name="T88" fmla="*/ 128 w 180"/>
              <a:gd name="T89" fmla="*/ 82 h 314"/>
              <a:gd name="T90" fmla="*/ 120 w 180"/>
              <a:gd name="T91" fmla="*/ 96 h 314"/>
              <a:gd name="T92" fmla="*/ 116 w 180"/>
              <a:gd name="T93" fmla="*/ 108 h 314"/>
              <a:gd name="T94" fmla="*/ 110 w 180"/>
              <a:gd name="T95" fmla="*/ 122 h 314"/>
              <a:gd name="T96" fmla="*/ 112 w 180"/>
              <a:gd name="T97" fmla="*/ 134 h 314"/>
              <a:gd name="T98" fmla="*/ 120 w 180"/>
              <a:gd name="T99" fmla="*/ 148 h 314"/>
              <a:gd name="T100" fmla="*/ 120 w 180"/>
              <a:gd name="T101" fmla="*/ 160 h 314"/>
              <a:gd name="T102" fmla="*/ 132 w 180"/>
              <a:gd name="T103" fmla="*/ 168 h 314"/>
              <a:gd name="T104" fmla="*/ 150 w 180"/>
              <a:gd name="T105" fmla="*/ 168 h 314"/>
              <a:gd name="T106" fmla="*/ 154 w 180"/>
              <a:gd name="T107" fmla="*/ 172 h 314"/>
              <a:gd name="T108" fmla="*/ 158 w 180"/>
              <a:gd name="T109" fmla="*/ 186 h 314"/>
              <a:gd name="T110" fmla="*/ 172 w 180"/>
              <a:gd name="T111" fmla="*/ 194 h 314"/>
              <a:gd name="T112" fmla="*/ 180 w 180"/>
              <a:gd name="T113" fmla="*/ 208 h 314"/>
              <a:gd name="T114" fmla="*/ 176 w 180"/>
              <a:gd name="T115" fmla="*/ 224 h 314"/>
              <a:gd name="T116" fmla="*/ 180 w 180"/>
              <a:gd name="T117" fmla="*/ 238 h 314"/>
              <a:gd name="T118" fmla="*/ 172 w 180"/>
              <a:gd name="T119" fmla="*/ 254 h 314"/>
              <a:gd name="T120" fmla="*/ 172 w 180"/>
              <a:gd name="T121" fmla="*/ 264 h 314"/>
              <a:gd name="T122" fmla="*/ 176 w 180"/>
              <a:gd name="T123" fmla="*/ 280 h 314"/>
              <a:gd name="T124" fmla="*/ 168 w 180"/>
              <a:gd name="T125" fmla="*/ 29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0" h="314">
                <a:moveTo>
                  <a:pt x="168" y="298"/>
                </a:moveTo>
                <a:lnTo>
                  <a:pt x="168" y="302"/>
                </a:lnTo>
                <a:lnTo>
                  <a:pt x="166" y="302"/>
                </a:lnTo>
                <a:lnTo>
                  <a:pt x="166" y="306"/>
                </a:lnTo>
                <a:lnTo>
                  <a:pt x="166" y="310"/>
                </a:lnTo>
                <a:lnTo>
                  <a:pt x="166" y="314"/>
                </a:lnTo>
                <a:lnTo>
                  <a:pt x="162" y="314"/>
                </a:lnTo>
                <a:lnTo>
                  <a:pt x="158" y="314"/>
                </a:lnTo>
                <a:lnTo>
                  <a:pt x="154" y="314"/>
                </a:lnTo>
                <a:lnTo>
                  <a:pt x="154" y="310"/>
                </a:lnTo>
                <a:lnTo>
                  <a:pt x="150" y="310"/>
                </a:lnTo>
                <a:lnTo>
                  <a:pt x="150" y="306"/>
                </a:lnTo>
                <a:lnTo>
                  <a:pt x="146" y="306"/>
                </a:lnTo>
                <a:lnTo>
                  <a:pt x="142" y="302"/>
                </a:lnTo>
                <a:lnTo>
                  <a:pt x="142" y="298"/>
                </a:lnTo>
                <a:lnTo>
                  <a:pt x="142" y="294"/>
                </a:lnTo>
                <a:lnTo>
                  <a:pt x="140" y="294"/>
                </a:lnTo>
                <a:lnTo>
                  <a:pt x="136" y="294"/>
                </a:lnTo>
                <a:lnTo>
                  <a:pt x="136" y="290"/>
                </a:lnTo>
                <a:lnTo>
                  <a:pt x="132" y="290"/>
                </a:lnTo>
                <a:lnTo>
                  <a:pt x="132" y="286"/>
                </a:lnTo>
                <a:lnTo>
                  <a:pt x="128" y="286"/>
                </a:lnTo>
                <a:lnTo>
                  <a:pt x="128" y="284"/>
                </a:lnTo>
                <a:lnTo>
                  <a:pt x="124" y="284"/>
                </a:lnTo>
                <a:lnTo>
                  <a:pt x="120" y="284"/>
                </a:lnTo>
                <a:lnTo>
                  <a:pt x="116" y="280"/>
                </a:lnTo>
                <a:lnTo>
                  <a:pt x="112" y="280"/>
                </a:lnTo>
                <a:lnTo>
                  <a:pt x="112" y="276"/>
                </a:lnTo>
                <a:lnTo>
                  <a:pt x="110" y="276"/>
                </a:lnTo>
                <a:lnTo>
                  <a:pt x="106" y="276"/>
                </a:lnTo>
                <a:lnTo>
                  <a:pt x="106" y="272"/>
                </a:lnTo>
                <a:lnTo>
                  <a:pt x="102" y="272"/>
                </a:lnTo>
                <a:lnTo>
                  <a:pt x="102" y="268"/>
                </a:lnTo>
                <a:lnTo>
                  <a:pt x="98" y="268"/>
                </a:lnTo>
                <a:lnTo>
                  <a:pt x="94" y="264"/>
                </a:lnTo>
                <a:lnTo>
                  <a:pt x="90" y="264"/>
                </a:lnTo>
                <a:lnTo>
                  <a:pt x="90" y="260"/>
                </a:lnTo>
                <a:lnTo>
                  <a:pt x="86" y="260"/>
                </a:lnTo>
                <a:lnTo>
                  <a:pt x="86" y="256"/>
                </a:lnTo>
                <a:lnTo>
                  <a:pt x="82" y="254"/>
                </a:lnTo>
                <a:lnTo>
                  <a:pt x="80" y="250"/>
                </a:lnTo>
                <a:lnTo>
                  <a:pt x="80" y="246"/>
                </a:lnTo>
                <a:lnTo>
                  <a:pt x="76" y="246"/>
                </a:lnTo>
                <a:lnTo>
                  <a:pt x="76" y="242"/>
                </a:lnTo>
                <a:lnTo>
                  <a:pt x="76" y="238"/>
                </a:lnTo>
                <a:lnTo>
                  <a:pt x="72" y="234"/>
                </a:lnTo>
                <a:lnTo>
                  <a:pt x="72" y="238"/>
                </a:lnTo>
                <a:lnTo>
                  <a:pt x="72" y="234"/>
                </a:lnTo>
                <a:lnTo>
                  <a:pt x="76" y="234"/>
                </a:lnTo>
                <a:lnTo>
                  <a:pt x="76" y="230"/>
                </a:lnTo>
                <a:lnTo>
                  <a:pt x="76" y="228"/>
                </a:lnTo>
                <a:lnTo>
                  <a:pt x="72" y="224"/>
                </a:lnTo>
                <a:lnTo>
                  <a:pt x="72" y="220"/>
                </a:lnTo>
                <a:lnTo>
                  <a:pt x="68" y="216"/>
                </a:lnTo>
                <a:lnTo>
                  <a:pt x="68" y="212"/>
                </a:lnTo>
                <a:lnTo>
                  <a:pt x="68" y="208"/>
                </a:lnTo>
                <a:lnTo>
                  <a:pt x="64" y="208"/>
                </a:lnTo>
                <a:lnTo>
                  <a:pt x="64" y="204"/>
                </a:lnTo>
                <a:lnTo>
                  <a:pt x="60" y="204"/>
                </a:lnTo>
                <a:lnTo>
                  <a:pt x="60" y="200"/>
                </a:lnTo>
                <a:lnTo>
                  <a:pt x="60" y="198"/>
                </a:lnTo>
                <a:lnTo>
                  <a:pt x="60" y="194"/>
                </a:lnTo>
                <a:lnTo>
                  <a:pt x="56" y="194"/>
                </a:lnTo>
                <a:lnTo>
                  <a:pt x="54" y="190"/>
                </a:lnTo>
                <a:lnTo>
                  <a:pt x="54" y="186"/>
                </a:lnTo>
                <a:lnTo>
                  <a:pt x="54" y="182"/>
                </a:lnTo>
                <a:lnTo>
                  <a:pt x="50" y="178"/>
                </a:lnTo>
                <a:lnTo>
                  <a:pt x="50" y="174"/>
                </a:lnTo>
                <a:lnTo>
                  <a:pt x="46" y="172"/>
                </a:lnTo>
                <a:lnTo>
                  <a:pt x="46" y="168"/>
                </a:lnTo>
                <a:lnTo>
                  <a:pt x="46" y="164"/>
                </a:lnTo>
                <a:lnTo>
                  <a:pt x="42" y="160"/>
                </a:lnTo>
                <a:lnTo>
                  <a:pt x="42" y="156"/>
                </a:lnTo>
                <a:lnTo>
                  <a:pt x="42" y="152"/>
                </a:lnTo>
                <a:lnTo>
                  <a:pt x="38" y="152"/>
                </a:lnTo>
                <a:lnTo>
                  <a:pt x="38" y="148"/>
                </a:lnTo>
                <a:lnTo>
                  <a:pt x="38" y="144"/>
                </a:lnTo>
                <a:lnTo>
                  <a:pt x="34" y="142"/>
                </a:lnTo>
                <a:lnTo>
                  <a:pt x="38" y="142"/>
                </a:lnTo>
                <a:lnTo>
                  <a:pt x="34" y="138"/>
                </a:lnTo>
                <a:lnTo>
                  <a:pt x="34" y="134"/>
                </a:lnTo>
                <a:lnTo>
                  <a:pt x="30" y="134"/>
                </a:lnTo>
                <a:lnTo>
                  <a:pt x="30" y="130"/>
                </a:lnTo>
                <a:lnTo>
                  <a:pt x="26" y="130"/>
                </a:lnTo>
                <a:lnTo>
                  <a:pt x="26" y="126"/>
                </a:lnTo>
                <a:lnTo>
                  <a:pt x="26" y="122"/>
                </a:lnTo>
                <a:lnTo>
                  <a:pt x="26" y="118"/>
                </a:lnTo>
                <a:lnTo>
                  <a:pt x="24" y="118"/>
                </a:lnTo>
                <a:lnTo>
                  <a:pt x="24" y="114"/>
                </a:lnTo>
                <a:lnTo>
                  <a:pt x="20" y="114"/>
                </a:lnTo>
                <a:lnTo>
                  <a:pt x="20" y="112"/>
                </a:lnTo>
                <a:lnTo>
                  <a:pt x="16" y="112"/>
                </a:lnTo>
                <a:lnTo>
                  <a:pt x="16" y="108"/>
                </a:lnTo>
                <a:lnTo>
                  <a:pt x="12" y="108"/>
                </a:lnTo>
                <a:lnTo>
                  <a:pt x="12" y="104"/>
                </a:lnTo>
                <a:lnTo>
                  <a:pt x="8" y="104"/>
                </a:lnTo>
                <a:lnTo>
                  <a:pt x="4" y="104"/>
                </a:lnTo>
                <a:lnTo>
                  <a:pt x="4" y="100"/>
                </a:lnTo>
                <a:lnTo>
                  <a:pt x="4" y="96"/>
                </a:lnTo>
                <a:lnTo>
                  <a:pt x="8" y="96"/>
                </a:lnTo>
                <a:lnTo>
                  <a:pt x="8" y="92"/>
                </a:lnTo>
                <a:lnTo>
                  <a:pt x="8" y="88"/>
                </a:lnTo>
                <a:lnTo>
                  <a:pt x="4" y="88"/>
                </a:lnTo>
                <a:lnTo>
                  <a:pt x="4" y="86"/>
                </a:lnTo>
                <a:lnTo>
                  <a:pt x="4" y="82"/>
                </a:lnTo>
                <a:lnTo>
                  <a:pt x="0" y="78"/>
                </a:lnTo>
                <a:lnTo>
                  <a:pt x="0" y="74"/>
                </a:lnTo>
                <a:lnTo>
                  <a:pt x="4" y="74"/>
                </a:lnTo>
                <a:lnTo>
                  <a:pt x="4" y="70"/>
                </a:lnTo>
                <a:lnTo>
                  <a:pt x="4" y="66"/>
                </a:lnTo>
                <a:lnTo>
                  <a:pt x="8" y="66"/>
                </a:lnTo>
                <a:lnTo>
                  <a:pt x="8" y="62"/>
                </a:lnTo>
                <a:lnTo>
                  <a:pt x="12" y="58"/>
                </a:lnTo>
                <a:lnTo>
                  <a:pt x="16" y="58"/>
                </a:lnTo>
                <a:lnTo>
                  <a:pt x="16" y="56"/>
                </a:lnTo>
                <a:lnTo>
                  <a:pt x="20" y="58"/>
                </a:lnTo>
                <a:lnTo>
                  <a:pt x="20" y="62"/>
                </a:lnTo>
                <a:lnTo>
                  <a:pt x="16" y="66"/>
                </a:lnTo>
                <a:lnTo>
                  <a:pt x="16" y="70"/>
                </a:lnTo>
                <a:lnTo>
                  <a:pt x="16" y="74"/>
                </a:lnTo>
                <a:lnTo>
                  <a:pt x="20" y="74"/>
                </a:lnTo>
                <a:lnTo>
                  <a:pt x="20" y="70"/>
                </a:lnTo>
                <a:lnTo>
                  <a:pt x="20" y="74"/>
                </a:lnTo>
                <a:lnTo>
                  <a:pt x="24" y="74"/>
                </a:lnTo>
                <a:lnTo>
                  <a:pt x="26" y="74"/>
                </a:lnTo>
                <a:lnTo>
                  <a:pt x="26" y="78"/>
                </a:lnTo>
                <a:lnTo>
                  <a:pt x="30" y="78"/>
                </a:lnTo>
                <a:lnTo>
                  <a:pt x="30" y="82"/>
                </a:lnTo>
                <a:lnTo>
                  <a:pt x="34" y="82"/>
                </a:lnTo>
                <a:lnTo>
                  <a:pt x="38" y="78"/>
                </a:lnTo>
                <a:lnTo>
                  <a:pt x="38" y="74"/>
                </a:lnTo>
                <a:lnTo>
                  <a:pt x="42" y="74"/>
                </a:lnTo>
                <a:lnTo>
                  <a:pt x="38" y="74"/>
                </a:lnTo>
                <a:lnTo>
                  <a:pt x="38" y="70"/>
                </a:lnTo>
                <a:lnTo>
                  <a:pt x="42" y="70"/>
                </a:lnTo>
                <a:lnTo>
                  <a:pt x="42" y="66"/>
                </a:lnTo>
                <a:lnTo>
                  <a:pt x="42" y="62"/>
                </a:lnTo>
                <a:lnTo>
                  <a:pt x="46" y="62"/>
                </a:lnTo>
                <a:lnTo>
                  <a:pt x="46" y="58"/>
                </a:lnTo>
                <a:lnTo>
                  <a:pt x="46" y="56"/>
                </a:lnTo>
                <a:lnTo>
                  <a:pt x="46" y="58"/>
                </a:lnTo>
                <a:lnTo>
                  <a:pt x="46" y="56"/>
                </a:lnTo>
                <a:lnTo>
                  <a:pt x="50" y="56"/>
                </a:lnTo>
                <a:lnTo>
                  <a:pt x="50" y="52"/>
                </a:lnTo>
                <a:lnTo>
                  <a:pt x="50" y="48"/>
                </a:lnTo>
                <a:lnTo>
                  <a:pt x="54" y="48"/>
                </a:lnTo>
                <a:lnTo>
                  <a:pt x="56" y="48"/>
                </a:lnTo>
                <a:lnTo>
                  <a:pt x="60" y="44"/>
                </a:lnTo>
                <a:lnTo>
                  <a:pt x="64" y="44"/>
                </a:lnTo>
                <a:lnTo>
                  <a:pt x="68" y="42"/>
                </a:lnTo>
                <a:lnTo>
                  <a:pt x="72" y="38"/>
                </a:lnTo>
                <a:lnTo>
                  <a:pt x="76" y="34"/>
                </a:lnTo>
                <a:lnTo>
                  <a:pt x="80" y="34"/>
                </a:lnTo>
                <a:lnTo>
                  <a:pt x="80" y="30"/>
                </a:lnTo>
                <a:lnTo>
                  <a:pt x="82" y="26"/>
                </a:lnTo>
                <a:lnTo>
                  <a:pt x="82" y="22"/>
                </a:lnTo>
                <a:lnTo>
                  <a:pt x="86" y="18"/>
                </a:lnTo>
                <a:lnTo>
                  <a:pt x="86" y="16"/>
                </a:lnTo>
                <a:lnTo>
                  <a:pt x="90" y="16"/>
                </a:lnTo>
                <a:lnTo>
                  <a:pt x="86" y="12"/>
                </a:lnTo>
                <a:lnTo>
                  <a:pt x="86" y="8"/>
                </a:lnTo>
                <a:lnTo>
                  <a:pt x="86" y="4"/>
                </a:lnTo>
                <a:lnTo>
                  <a:pt x="82" y="0"/>
                </a:lnTo>
                <a:lnTo>
                  <a:pt x="86" y="0"/>
                </a:lnTo>
                <a:lnTo>
                  <a:pt x="90" y="0"/>
                </a:lnTo>
                <a:lnTo>
                  <a:pt x="94" y="0"/>
                </a:lnTo>
                <a:lnTo>
                  <a:pt x="94" y="4"/>
                </a:lnTo>
                <a:lnTo>
                  <a:pt x="94" y="0"/>
                </a:lnTo>
                <a:lnTo>
                  <a:pt x="94" y="4"/>
                </a:lnTo>
                <a:lnTo>
                  <a:pt x="98" y="4"/>
                </a:lnTo>
                <a:lnTo>
                  <a:pt x="102" y="8"/>
                </a:lnTo>
                <a:lnTo>
                  <a:pt x="102" y="12"/>
                </a:lnTo>
                <a:lnTo>
                  <a:pt x="102" y="16"/>
                </a:lnTo>
                <a:lnTo>
                  <a:pt x="106" y="16"/>
                </a:lnTo>
                <a:lnTo>
                  <a:pt x="110" y="18"/>
                </a:lnTo>
                <a:lnTo>
                  <a:pt x="112" y="22"/>
                </a:lnTo>
                <a:lnTo>
                  <a:pt x="112" y="26"/>
                </a:lnTo>
                <a:lnTo>
                  <a:pt x="112" y="30"/>
                </a:lnTo>
                <a:lnTo>
                  <a:pt x="116" y="30"/>
                </a:lnTo>
                <a:lnTo>
                  <a:pt x="120" y="30"/>
                </a:lnTo>
                <a:lnTo>
                  <a:pt x="120" y="34"/>
                </a:lnTo>
                <a:lnTo>
                  <a:pt x="120" y="38"/>
                </a:lnTo>
                <a:lnTo>
                  <a:pt x="116" y="38"/>
                </a:lnTo>
                <a:lnTo>
                  <a:pt x="120" y="38"/>
                </a:lnTo>
                <a:lnTo>
                  <a:pt x="120" y="42"/>
                </a:lnTo>
                <a:lnTo>
                  <a:pt x="120" y="38"/>
                </a:lnTo>
                <a:lnTo>
                  <a:pt x="120" y="42"/>
                </a:lnTo>
                <a:lnTo>
                  <a:pt x="124" y="42"/>
                </a:lnTo>
                <a:lnTo>
                  <a:pt x="128" y="42"/>
                </a:lnTo>
                <a:lnTo>
                  <a:pt x="132" y="42"/>
                </a:lnTo>
                <a:lnTo>
                  <a:pt x="136" y="42"/>
                </a:lnTo>
                <a:lnTo>
                  <a:pt x="136" y="38"/>
                </a:lnTo>
                <a:lnTo>
                  <a:pt x="140" y="34"/>
                </a:lnTo>
                <a:lnTo>
                  <a:pt x="140" y="38"/>
                </a:lnTo>
                <a:lnTo>
                  <a:pt x="142" y="38"/>
                </a:lnTo>
                <a:lnTo>
                  <a:pt x="146" y="38"/>
                </a:lnTo>
                <a:lnTo>
                  <a:pt x="150" y="38"/>
                </a:lnTo>
                <a:lnTo>
                  <a:pt x="154" y="38"/>
                </a:lnTo>
                <a:lnTo>
                  <a:pt x="154" y="42"/>
                </a:lnTo>
                <a:lnTo>
                  <a:pt x="158" y="42"/>
                </a:lnTo>
                <a:lnTo>
                  <a:pt x="162" y="42"/>
                </a:lnTo>
                <a:lnTo>
                  <a:pt x="162" y="44"/>
                </a:lnTo>
                <a:lnTo>
                  <a:pt x="158" y="56"/>
                </a:lnTo>
                <a:lnTo>
                  <a:pt x="154" y="58"/>
                </a:lnTo>
                <a:lnTo>
                  <a:pt x="154" y="62"/>
                </a:lnTo>
                <a:lnTo>
                  <a:pt x="158" y="62"/>
                </a:lnTo>
                <a:lnTo>
                  <a:pt x="162" y="66"/>
                </a:lnTo>
                <a:lnTo>
                  <a:pt x="162" y="70"/>
                </a:lnTo>
                <a:lnTo>
                  <a:pt x="166" y="70"/>
                </a:lnTo>
                <a:lnTo>
                  <a:pt x="162" y="70"/>
                </a:lnTo>
                <a:lnTo>
                  <a:pt x="158" y="70"/>
                </a:lnTo>
                <a:lnTo>
                  <a:pt x="158" y="66"/>
                </a:lnTo>
                <a:lnTo>
                  <a:pt x="158" y="70"/>
                </a:lnTo>
                <a:lnTo>
                  <a:pt x="154" y="70"/>
                </a:lnTo>
                <a:lnTo>
                  <a:pt x="150" y="70"/>
                </a:lnTo>
                <a:lnTo>
                  <a:pt x="150" y="74"/>
                </a:lnTo>
                <a:lnTo>
                  <a:pt x="146" y="74"/>
                </a:lnTo>
                <a:lnTo>
                  <a:pt x="146" y="70"/>
                </a:lnTo>
                <a:lnTo>
                  <a:pt x="142" y="74"/>
                </a:lnTo>
                <a:lnTo>
                  <a:pt x="140" y="74"/>
                </a:lnTo>
                <a:lnTo>
                  <a:pt x="136" y="74"/>
                </a:lnTo>
                <a:lnTo>
                  <a:pt x="136" y="78"/>
                </a:lnTo>
                <a:lnTo>
                  <a:pt x="132" y="78"/>
                </a:lnTo>
                <a:lnTo>
                  <a:pt x="128" y="78"/>
                </a:lnTo>
                <a:lnTo>
                  <a:pt x="128" y="82"/>
                </a:lnTo>
                <a:lnTo>
                  <a:pt x="124" y="86"/>
                </a:lnTo>
                <a:lnTo>
                  <a:pt x="120" y="86"/>
                </a:lnTo>
                <a:lnTo>
                  <a:pt x="120" y="88"/>
                </a:lnTo>
                <a:lnTo>
                  <a:pt x="120" y="92"/>
                </a:lnTo>
                <a:lnTo>
                  <a:pt x="120" y="96"/>
                </a:lnTo>
                <a:lnTo>
                  <a:pt x="116" y="96"/>
                </a:lnTo>
                <a:lnTo>
                  <a:pt x="116" y="100"/>
                </a:lnTo>
                <a:lnTo>
                  <a:pt x="116" y="104"/>
                </a:lnTo>
                <a:lnTo>
                  <a:pt x="120" y="108"/>
                </a:lnTo>
                <a:lnTo>
                  <a:pt x="116" y="108"/>
                </a:lnTo>
                <a:lnTo>
                  <a:pt x="116" y="112"/>
                </a:lnTo>
                <a:lnTo>
                  <a:pt x="112" y="112"/>
                </a:lnTo>
                <a:lnTo>
                  <a:pt x="110" y="114"/>
                </a:lnTo>
                <a:lnTo>
                  <a:pt x="110" y="118"/>
                </a:lnTo>
                <a:lnTo>
                  <a:pt x="110" y="122"/>
                </a:lnTo>
                <a:lnTo>
                  <a:pt x="106" y="122"/>
                </a:lnTo>
                <a:lnTo>
                  <a:pt x="106" y="126"/>
                </a:lnTo>
                <a:lnTo>
                  <a:pt x="110" y="130"/>
                </a:lnTo>
                <a:lnTo>
                  <a:pt x="110" y="134"/>
                </a:lnTo>
                <a:lnTo>
                  <a:pt x="112" y="134"/>
                </a:lnTo>
                <a:lnTo>
                  <a:pt x="112" y="138"/>
                </a:lnTo>
                <a:lnTo>
                  <a:pt x="112" y="142"/>
                </a:lnTo>
                <a:lnTo>
                  <a:pt x="116" y="144"/>
                </a:lnTo>
                <a:lnTo>
                  <a:pt x="116" y="148"/>
                </a:lnTo>
                <a:lnTo>
                  <a:pt x="120" y="148"/>
                </a:lnTo>
                <a:lnTo>
                  <a:pt x="120" y="152"/>
                </a:lnTo>
                <a:lnTo>
                  <a:pt x="120" y="156"/>
                </a:lnTo>
                <a:lnTo>
                  <a:pt x="116" y="156"/>
                </a:lnTo>
                <a:lnTo>
                  <a:pt x="116" y="160"/>
                </a:lnTo>
                <a:lnTo>
                  <a:pt x="120" y="160"/>
                </a:lnTo>
                <a:lnTo>
                  <a:pt x="124" y="160"/>
                </a:lnTo>
                <a:lnTo>
                  <a:pt x="128" y="160"/>
                </a:lnTo>
                <a:lnTo>
                  <a:pt x="132" y="160"/>
                </a:lnTo>
                <a:lnTo>
                  <a:pt x="132" y="164"/>
                </a:lnTo>
                <a:lnTo>
                  <a:pt x="132" y="168"/>
                </a:lnTo>
                <a:lnTo>
                  <a:pt x="136" y="168"/>
                </a:lnTo>
                <a:lnTo>
                  <a:pt x="140" y="168"/>
                </a:lnTo>
                <a:lnTo>
                  <a:pt x="142" y="168"/>
                </a:lnTo>
                <a:lnTo>
                  <a:pt x="146" y="168"/>
                </a:lnTo>
                <a:lnTo>
                  <a:pt x="150" y="168"/>
                </a:lnTo>
                <a:lnTo>
                  <a:pt x="150" y="164"/>
                </a:lnTo>
                <a:lnTo>
                  <a:pt x="154" y="160"/>
                </a:lnTo>
                <a:lnTo>
                  <a:pt x="154" y="164"/>
                </a:lnTo>
                <a:lnTo>
                  <a:pt x="154" y="168"/>
                </a:lnTo>
                <a:lnTo>
                  <a:pt x="154" y="172"/>
                </a:lnTo>
                <a:lnTo>
                  <a:pt x="154" y="174"/>
                </a:lnTo>
                <a:lnTo>
                  <a:pt x="154" y="178"/>
                </a:lnTo>
                <a:lnTo>
                  <a:pt x="154" y="182"/>
                </a:lnTo>
                <a:lnTo>
                  <a:pt x="154" y="186"/>
                </a:lnTo>
                <a:lnTo>
                  <a:pt x="158" y="186"/>
                </a:lnTo>
                <a:lnTo>
                  <a:pt x="162" y="186"/>
                </a:lnTo>
                <a:lnTo>
                  <a:pt x="166" y="186"/>
                </a:lnTo>
                <a:lnTo>
                  <a:pt x="168" y="186"/>
                </a:lnTo>
                <a:lnTo>
                  <a:pt x="172" y="190"/>
                </a:lnTo>
                <a:lnTo>
                  <a:pt x="172" y="194"/>
                </a:lnTo>
                <a:lnTo>
                  <a:pt x="172" y="198"/>
                </a:lnTo>
                <a:lnTo>
                  <a:pt x="176" y="200"/>
                </a:lnTo>
                <a:lnTo>
                  <a:pt x="176" y="204"/>
                </a:lnTo>
                <a:lnTo>
                  <a:pt x="180" y="204"/>
                </a:lnTo>
                <a:lnTo>
                  <a:pt x="180" y="208"/>
                </a:lnTo>
                <a:lnTo>
                  <a:pt x="180" y="212"/>
                </a:lnTo>
                <a:lnTo>
                  <a:pt x="180" y="216"/>
                </a:lnTo>
                <a:lnTo>
                  <a:pt x="176" y="216"/>
                </a:lnTo>
                <a:lnTo>
                  <a:pt x="176" y="220"/>
                </a:lnTo>
                <a:lnTo>
                  <a:pt x="176" y="224"/>
                </a:lnTo>
                <a:lnTo>
                  <a:pt x="176" y="228"/>
                </a:lnTo>
                <a:lnTo>
                  <a:pt x="176" y="230"/>
                </a:lnTo>
                <a:lnTo>
                  <a:pt x="176" y="234"/>
                </a:lnTo>
                <a:lnTo>
                  <a:pt x="176" y="238"/>
                </a:lnTo>
                <a:lnTo>
                  <a:pt x="180" y="238"/>
                </a:lnTo>
                <a:lnTo>
                  <a:pt x="180" y="242"/>
                </a:lnTo>
                <a:lnTo>
                  <a:pt x="176" y="242"/>
                </a:lnTo>
                <a:lnTo>
                  <a:pt x="176" y="246"/>
                </a:lnTo>
                <a:lnTo>
                  <a:pt x="172" y="250"/>
                </a:lnTo>
                <a:lnTo>
                  <a:pt x="172" y="254"/>
                </a:lnTo>
                <a:lnTo>
                  <a:pt x="172" y="256"/>
                </a:lnTo>
                <a:lnTo>
                  <a:pt x="176" y="256"/>
                </a:lnTo>
                <a:lnTo>
                  <a:pt x="176" y="260"/>
                </a:lnTo>
                <a:lnTo>
                  <a:pt x="172" y="260"/>
                </a:lnTo>
                <a:lnTo>
                  <a:pt x="172" y="264"/>
                </a:lnTo>
                <a:lnTo>
                  <a:pt x="172" y="268"/>
                </a:lnTo>
                <a:lnTo>
                  <a:pt x="172" y="276"/>
                </a:lnTo>
                <a:lnTo>
                  <a:pt x="176" y="276"/>
                </a:lnTo>
                <a:lnTo>
                  <a:pt x="180" y="280"/>
                </a:lnTo>
                <a:lnTo>
                  <a:pt x="176" y="280"/>
                </a:lnTo>
                <a:lnTo>
                  <a:pt x="176" y="284"/>
                </a:lnTo>
                <a:lnTo>
                  <a:pt x="176" y="286"/>
                </a:lnTo>
                <a:lnTo>
                  <a:pt x="172" y="286"/>
                </a:lnTo>
                <a:lnTo>
                  <a:pt x="172" y="290"/>
                </a:lnTo>
                <a:lnTo>
                  <a:pt x="168" y="290"/>
                </a:lnTo>
                <a:lnTo>
                  <a:pt x="168" y="294"/>
                </a:lnTo>
                <a:lnTo>
                  <a:pt x="168" y="298"/>
                </a:lnTo>
                <a:lnTo>
                  <a:pt x="168" y="298"/>
                </a:lnTo>
                <a:lnTo>
                  <a:pt x="168" y="298"/>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80" name="Freeform 187"/>
          <p:cNvSpPr>
            <a:spLocks/>
          </p:cNvSpPr>
          <p:nvPr/>
        </p:nvSpPr>
        <p:spPr bwMode="auto">
          <a:xfrm>
            <a:off x="3281362" y="3576637"/>
            <a:ext cx="66675" cy="83344"/>
          </a:xfrm>
          <a:custGeom>
            <a:avLst/>
            <a:gdLst>
              <a:gd name="T0" fmla="*/ 42 w 56"/>
              <a:gd name="T1" fmla="*/ 4 h 70"/>
              <a:gd name="T2" fmla="*/ 42 w 56"/>
              <a:gd name="T3" fmla="*/ 4 h 70"/>
              <a:gd name="T4" fmla="*/ 42 w 56"/>
              <a:gd name="T5" fmla="*/ 0 h 70"/>
              <a:gd name="T6" fmla="*/ 46 w 56"/>
              <a:gd name="T7" fmla="*/ 0 h 70"/>
              <a:gd name="T8" fmla="*/ 52 w 56"/>
              <a:gd name="T9" fmla="*/ 4 h 70"/>
              <a:gd name="T10" fmla="*/ 56 w 56"/>
              <a:gd name="T11" fmla="*/ 4 h 70"/>
              <a:gd name="T12" fmla="*/ 56 w 56"/>
              <a:gd name="T13" fmla="*/ 6 h 70"/>
              <a:gd name="T14" fmla="*/ 52 w 56"/>
              <a:gd name="T15" fmla="*/ 10 h 70"/>
              <a:gd name="T16" fmla="*/ 52 w 56"/>
              <a:gd name="T17" fmla="*/ 10 h 70"/>
              <a:gd name="T18" fmla="*/ 52 w 56"/>
              <a:gd name="T19" fmla="*/ 14 h 70"/>
              <a:gd name="T20" fmla="*/ 48 w 56"/>
              <a:gd name="T21" fmla="*/ 22 h 70"/>
              <a:gd name="T22" fmla="*/ 48 w 56"/>
              <a:gd name="T23" fmla="*/ 26 h 70"/>
              <a:gd name="T24" fmla="*/ 48 w 56"/>
              <a:gd name="T25" fmla="*/ 26 h 70"/>
              <a:gd name="T26" fmla="*/ 52 w 56"/>
              <a:gd name="T27" fmla="*/ 34 h 70"/>
              <a:gd name="T28" fmla="*/ 56 w 56"/>
              <a:gd name="T29" fmla="*/ 40 h 70"/>
              <a:gd name="T30" fmla="*/ 56 w 56"/>
              <a:gd name="T31" fmla="*/ 44 h 70"/>
              <a:gd name="T32" fmla="*/ 52 w 56"/>
              <a:gd name="T33" fmla="*/ 48 h 70"/>
              <a:gd name="T34" fmla="*/ 52 w 56"/>
              <a:gd name="T35" fmla="*/ 56 h 70"/>
              <a:gd name="T36" fmla="*/ 52 w 56"/>
              <a:gd name="T37" fmla="*/ 56 h 70"/>
              <a:gd name="T38" fmla="*/ 48 w 56"/>
              <a:gd name="T39" fmla="*/ 60 h 70"/>
              <a:gd name="T40" fmla="*/ 46 w 56"/>
              <a:gd name="T41" fmla="*/ 64 h 70"/>
              <a:gd name="T42" fmla="*/ 46 w 56"/>
              <a:gd name="T43" fmla="*/ 60 h 70"/>
              <a:gd name="T44" fmla="*/ 46 w 56"/>
              <a:gd name="T45" fmla="*/ 60 h 70"/>
              <a:gd name="T46" fmla="*/ 34 w 56"/>
              <a:gd name="T47" fmla="*/ 60 h 70"/>
              <a:gd name="T48" fmla="*/ 30 w 56"/>
              <a:gd name="T49" fmla="*/ 60 h 70"/>
              <a:gd name="T50" fmla="*/ 26 w 56"/>
              <a:gd name="T51" fmla="*/ 60 h 70"/>
              <a:gd name="T52" fmla="*/ 30 w 56"/>
              <a:gd name="T53" fmla="*/ 66 h 70"/>
              <a:gd name="T54" fmla="*/ 30 w 56"/>
              <a:gd name="T55" fmla="*/ 70 h 70"/>
              <a:gd name="T56" fmla="*/ 26 w 56"/>
              <a:gd name="T57" fmla="*/ 70 h 70"/>
              <a:gd name="T58" fmla="*/ 22 w 56"/>
              <a:gd name="T59" fmla="*/ 70 h 70"/>
              <a:gd name="T60" fmla="*/ 18 w 56"/>
              <a:gd name="T61" fmla="*/ 66 h 70"/>
              <a:gd name="T62" fmla="*/ 14 w 56"/>
              <a:gd name="T63" fmla="*/ 60 h 70"/>
              <a:gd name="T64" fmla="*/ 12 w 56"/>
              <a:gd name="T65" fmla="*/ 52 h 70"/>
              <a:gd name="T66" fmla="*/ 12 w 56"/>
              <a:gd name="T67" fmla="*/ 48 h 70"/>
              <a:gd name="T68" fmla="*/ 12 w 56"/>
              <a:gd name="T69" fmla="*/ 44 h 70"/>
              <a:gd name="T70" fmla="*/ 4 w 56"/>
              <a:gd name="T71" fmla="*/ 44 h 70"/>
              <a:gd name="T72" fmla="*/ 4 w 56"/>
              <a:gd name="T73" fmla="*/ 40 h 70"/>
              <a:gd name="T74" fmla="*/ 4 w 56"/>
              <a:gd name="T75" fmla="*/ 40 h 70"/>
              <a:gd name="T76" fmla="*/ 0 w 56"/>
              <a:gd name="T77" fmla="*/ 36 h 70"/>
              <a:gd name="T78" fmla="*/ 0 w 56"/>
              <a:gd name="T79" fmla="*/ 36 h 70"/>
              <a:gd name="T80" fmla="*/ 0 w 56"/>
              <a:gd name="T81" fmla="*/ 30 h 70"/>
              <a:gd name="T82" fmla="*/ 0 w 56"/>
              <a:gd name="T83" fmla="*/ 30 h 70"/>
              <a:gd name="T84" fmla="*/ 0 w 56"/>
              <a:gd name="T85" fmla="*/ 22 h 70"/>
              <a:gd name="T86" fmla="*/ 0 w 56"/>
              <a:gd name="T87" fmla="*/ 22 h 70"/>
              <a:gd name="T88" fmla="*/ 4 w 56"/>
              <a:gd name="T89" fmla="*/ 18 h 70"/>
              <a:gd name="T90" fmla="*/ 8 w 56"/>
              <a:gd name="T91" fmla="*/ 18 h 70"/>
              <a:gd name="T92" fmla="*/ 12 w 56"/>
              <a:gd name="T93" fmla="*/ 14 h 70"/>
              <a:gd name="T94" fmla="*/ 12 w 56"/>
              <a:gd name="T95" fmla="*/ 14 h 70"/>
              <a:gd name="T96" fmla="*/ 8 w 56"/>
              <a:gd name="T97" fmla="*/ 10 h 70"/>
              <a:gd name="T98" fmla="*/ 12 w 56"/>
              <a:gd name="T99" fmla="*/ 6 h 70"/>
              <a:gd name="T100" fmla="*/ 12 w 56"/>
              <a:gd name="T101" fmla="*/ 4 h 70"/>
              <a:gd name="T102" fmla="*/ 18 w 56"/>
              <a:gd name="T103" fmla="*/ 0 h 70"/>
              <a:gd name="T104" fmla="*/ 26 w 56"/>
              <a:gd name="T105" fmla="*/ 0 h 70"/>
              <a:gd name="T106" fmla="*/ 30 w 56"/>
              <a:gd name="T107" fmla="*/ 4 h 70"/>
              <a:gd name="T108" fmla="*/ 30 w 56"/>
              <a:gd name="T109" fmla="*/ 4 h 70"/>
              <a:gd name="T110" fmla="*/ 30 w 56"/>
              <a:gd name="T111" fmla="*/ 0 h 70"/>
              <a:gd name="T112" fmla="*/ 38 w 56"/>
              <a:gd name="T113" fmla="*/ 0 h 70"/>
              <a:gd name="T114" fmla="*/ 38 w 56"/>
              <a:gd name="T115" fmla="*/ 0 h 70"/>
              <a:gd name="T116" fmla="*/ 42 w 56"/>
              <a:gd name="T117" fmla="*/ 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6" h="70">
                <a:moveTo>
                  <a:pt x="42" y="4"/>
                </a:moveTo>
                <a:lnTo>
                  <a:pt x="42" y="4"/>
                </a:lnTo>
                <a:lnTo>
                  <a:pt x="42" y="4"/>
                </a:lnTo>
                <a:lnTo>
                  <a:pt x="42" y="4"/>
                </a:lnTo>
                <a:lnTo>
                  <a:pt x="46" y="4"/>
                </a:lnTo>
                <a:lnTo>
                  <a:pt x="46" y="4"/>
                </a:lnTo>
                <a:lnTo>
                  <a:pt x="42" y="4"/>
                </a:lnTo>
                <a:lnTo>
                  <a:pt x="42" y="4"/>
                </a:lnTo>
                <a:lnTo>
                  <a:pt x="42" y="0"/>
                </a:lnTo>
                <a:lnTo>
                  <a:pt x="42" y="0"/>
                </a:lnTo>
                <a:lnTo>
                  <a:pt x="42" y="0"/>
                </a:lnTo>
                <a:lnTo>
                  <a:pt x="42" y="0"/>
                </a:lnTo>
                <a:lnTo>
                  <a:pt x="42" y="0"/>
                </a:lnTo>
                <a:lnTo>
                  <a:pt x="46" y="0"/>
                </a:lnTo>
                <a:lnTo>
                  <a:pt x="46" y="0"/>
                </a:lnTo>
                <a:lnTo>
                  <a:pt x="46" y="0"/>
                </a:lnTo>
                <a:lnTo>
                  <a:pt x="48" y="0"/>
                </a:lnTo>
                <a:lnTo>
                  <a:pt x="52" y="0"/>
                </a:lnTo>
                <a:lnTo>
                  <a:pt x="52" y="0"/>
                </a:lnTo>
                <a:lnTo>
                  <a:pt x="52" y="4"/>
                </a:lnTo>
                <a:lnTo>
                  <a:pt x="52" y="4"/>
                </a:lnTo>
                <a:lnTo>
                  <a:pt x="56" y="4"/>
                </a:lnTo>
                <a:lnTo>
                  <a:pt x="56" y="4"/>
                </a:lnTo>
                <a:lnTo>
                  <a:pt x="56" y="4"/>
                </a:lnTo>
                <a:lnTo>
                  <a:pt x="56" y="6"/>
                </a:lnTo>
                <a:lnTo>
                  <a:pt x="56" y="6"/>
                </a:lnTo>
                <a:lnTo>
                  <a:pt x="56" y="6"/>
                </a:lnTo>
                <a:lnTo>
                  <a:pt x="56" y="6"/>
                </a:lnTo>
                <a:lnTo>
                  <a:pt x="56" y="6"/>
                </a:lnTo>
                <a:lnTo>
                  <a:pt x="56" y="10"/>
                </a:lnTo>
                <a:lnTo>
                  <a:pt x="56" y="10"/>
                </a:lnTo>
                <a:lnTo>
                  <a:pt x="52" y="10"/>
                </a:lnTo>
                <a:lnTo>
                  <a:pt x="52" y="10"/>
                </a:lnTo>
                <a:lnTo>
                  <a:pt x="52" y="10"/>
                </a:lnTo>
                <a:lnTo>
                  <a:pt x="52" y="10"/>
                </a:lnTo>
                <a:lnTo>
                  <a:pt x="52" y="10"/>
                </a:lnTo>
                <a:lnTo>
                  <a:pt x="52" y="14"/>
                </a:lnTo>
                <a:lnTo>
                  <a:pt x="52" y="14"/>
                </a:lnTo>
                <a:lnTo>
                  <a:pt x="52" y="14"/>
                </a:lnTo>
                <a:lnTo>
                  <a:pt x="52" y="14"/>
                </a:lnTo>
                <a:lnTo>
                  <a:pt x="48" y="14"/>
                </a:lnTo>
                <a:lnTo>
                  <a:pt x="48" y="18"/>
                </a:lnTo>
                <a:lnTo>
                  <a:pt x="48" y="18"/>
                </a:lnTo>
                <a:lnTo>
                  <a:pt x="48" y="22"/>
                </a:lnTo>
                <a:lnTo>
                  <a:pt x="48" y="22"/>
                </a:lnTo>
                <a:lnTo>
                  <a:pt x="48" y="22"/>
                </a:lnTo>
                <a:lnTo>
                  <a:pt x="48" y="22"/>
                </a:lnTo>
                <a:lnTo>
                  <a:pt x="48" y="26"/>
                </a:lnTo>
                <a:lnTo>
                  <a:pt x="48" y="26"/>
                </a:lnTo>
                <a:lnTo>
                  <a:pt x="48" y="26"/>
                </a:lnTo>
                <a:lnTo>
                  <a:pt x="48" y="26"/>
                </a:lnTo>
                <a:lnTo>
                  <a:pt x="48" y="26"/>
                </a:lnTo>
                <a:lnTo>
                  <a:pt x="52" y="30"/>
                </a:lnTo>
                <a:lnTo>
                  <a:pt x="52" y="30"/>
                </a:lnTo>
                <a:lnTo>
                  <a:pt x="52" y="34"/>
                </a:lnTo>
                <a:lnTo>
                  <a:pt x="52" y="34"/>
                </a:lnTo>
                <a:lnTo>
                  <a:pt x="52" y="36"/>
                </a:lnTo>
                <a:lnTo>
                  <a:pt x="56" y="36"/>
                </a:lnTo>
                <a:lnTo>
                  <a:pt x="56" y="36"/>
                </a:lnTo>
                <a:lnTo>
                  <a:pt x="56" y="40"/>
                </a:lnTo>
                <a:lnTo>
                  <a:pt x="56" y="40"/>
                </a:lnTo>
                <a:lnTo>
                  <a:pt x="56" y="44"/>
                </a:lnTo>
                <a:lnTo>
                  <a:pt x="56" y="44"/>
                </a:lnTo>
                <a:lnTo>
                  <a:pt x="56" y="44"/>
                </a:lnTo>
                <a:lnTo>
                  <a:pt x="56" y="44"/>
                </a:lnTo>
                <a:lnTo>
                  <a:pt x="52" y="48"/>
                </a:lnTo>
                <a:lnTo>
                  <a:pt x="52" y="48"/>
                </a:lnTo>
                <a:lnTo>
                  <a:pt x="52" y="48"/>
                </a:lnTo>
                <a:lnTo>
                  <a:pt x="52" y="48"/>
                </a:lnTo>
                <a:lnTo>
                  <a:pt x="52" y="52"/>
                </a:lnTo>
                <a:lnTo>
                  <a:pt x="52" y="52"/>
                </a:lnTo>
                <a:lnTo>
                  <a:pt x="52" y="56"/>
                </a:lnTo>
                <a:lnTo>
                  <a:pt x="52" y="56"/>
                </a:lnTo>
                <a:lnTo>
                  <a:pt x="52" y="56"/>
                </a:lnTo>
                <a:lnTo>
                  <a:pt x="52" y="56"/>
                </a:lnTo>
                <a:lnTo>
                  <a:pt x="52" y="56"/>
                </a:lnTo>
                <a:lnTo>
                  <a:pt x="52" y="60"/>
                </a:lnTo>
                <a:lnTo>
                  <a:pt x="52" y="60"/>
                </a:lnTo>
                <a:lnTo>
                  <a:pt x="52" y="60"/>
                </a:lnTo>
                <a:lnTo>
                  <a:pt x="48" y="60"/>
                </a:lnTo>
                <a:lnTo>
                  <a:pt x="48" y="64"/>
                </a:lnTo>
                <a:lnTo>
                  <a:pt x="48" y="64"/>
                </a:lnTo>
                <a:lnTo>
                  <a:pt x="48" y="64"/>
                </a:lnTo>
                <a:lnTo>
                  <a:pt x="46" y="64"/>
                </a:lnTo>
                <a:lnTo>
                  <a:pt x="46" y="64"/>
                </a:lnTo>
                <a:lnTo>
                  <a:pt x="46" y="64"/>
                </a:lnTo>
                <a:lnTo>
                  <a:pt x="46" y="60"/>
                </a:lnTo>
                <a:lnTo>
                  <a:pt x="46" y="60"/>
                </a:lnTo>
                <a:lnTo>
                  <a:pt x="46" y="60"/>
                </a:lnTo>
                <a:lnTo>
                  <a:pt x="46" y="60"/>
                </a:lnTo>
                <a:lnTo>
                  <a:pt x="46" y="60"/>
                </a:lnTo>
                <a:lnTo>
                  <a:pt x="46" y="60"/>
                </a:lnTo>
                <a:lnTo>
                  <a:pt x="42" y="60"/>
                </a:lnTo>
                <a:lnTo>
                  <a:pt x="42" y="60"/>
                </a:lnTo>
                <a:lnTo>
                  <a:pt x="42" y="60"/>
                </a:lnTo>
                <a:lnTo>
                  <a:pt x="34" y="60"/>
                </a:lnTo>
                <a:lnTo>
                  <a:pt x="34" y="64"/>
                </a:lnTo>
                <a:lnTo>
                  <a:pt x="30" y="60"/>
                </a:lnTo>
                <a:lnTo>
                  <a:pt x="30" y="60"/>
                </a:lnTo>
                <a:lnTo>
                  <a:pt x="30" y="60"/>
                </a:lnTo>
                <a:lnTo>
                  <a:pt x="30" y="60"/>
                </a:lnTo>
                <a:lnTo>
                  <a:pt x="30" y="60"/>
                </a:lnTo>
                <a:lnTo>
                  <a:pt x="30" y="60"/>
                </a:lnTo>
                <a:lnTo>
                  <a:pt x="26" y="60"/>
                </a:lnTo>
                <a:lnTo>
                  <a:pt x="26" y="64"/>
                </a:lnTo>
                <a:lnTo>
                  <a:pt x="26" y="64"/>
                </a:lnTo>
                <a:lnTo>
                  <a:pt x="26" y="64"/>
                </a:lnTo>
                <a:lnTo>
                  <a:pt x="30" y="66"/>
                </a:lnTo>
                <a:lnTo>
                  <a:pt x="30" y="70"/>
                </a:lnTo>
                <a:lnTo>
                  <a:pt x="30" y="70"/>
                </a:lnTo>
                <a:lnTo>
                  <a:pt x="30" y="70"/>
                </a:lnTo>
                <a:lnTo>
                  <a:pt x="30" y="70"/>
                </a:lnTo>
                <a:lnTo>
                  <a:pt x="26" y="70"/>
                </a:lnTo>
                <a:lnTo>
                  <a:pt x="26" y="70"/>
                </a:lnTo>
                <a:lnTo>
                  <a:pt x="26" y="70"/>
                </a:lnTo>
                <a:lnTo>
                  <a:pt x="26" y="70"/>
                </a:lnTo>
                <a:lnTo>
                  <a:pt x="22" y="70"/>
                </a:lnTo>
                <a:lnTo>
                  <a:pt x="22" y="70"/>
                </a:lnTo>
                <a:lnTo>
                  <a:pt x="22" y="70"/>
                </a:lnTo>
                <a:lnTo>
                  <a:pt x="22" y="70"/>
                </a:lnTo>
                <a:lnTo>
                  <a:pt x="18" y="66"/>
                </a:lnTo>
                <a:lnTo>
                  <a:pt x="18" y="66"/>
                </a:lnTo>
                <a:lnTo>
                  <a:pt x="18" y="66"/>
                </a:lnTo>
                <a:lnTo>
                  <a:pt x="18" y="66"/>
                </a:lnTo>
                <a:lnTo>
                  <a:pt x="18" y="66"/>
                </a:lnTo>
                <a:lnTo>
                  <a:pt x="14" y="64"/>
                </a:lnTo>
                <a:lnTo>
                  <a:pt x="14" y="64"/>
                </a:lnTo>
                <a:lnTo>
                  <a:pt x="14" y="60"/>
                </a:lnTo>
                <a:lnTo>
                  <a:pt x="14" y="60"/>
                </a:lnTo>
                <a:lnTo>
                  <a:pt x="12" y="56"/>
                </a:lnTo>
                <a:lnTo>
                  <a:pt x="12" y="56"/>
                </a:lnTo>
                <a:lnTo>
                  <a:pt x="12" y="52"/>
                </a:lnTo>
                <a:lnTo>
                  <a:pt x="12" y="52"/>
                </a:lnTo>
                <a:lnTo>
                  <a:pt x="12" y="52"/>
                </a:lnTo>
                <a:lnTo>
                  <a:pt x="12" y="48"/>
                </a:lnTo>
                <a:lnTo>
                  <a:pt x="12" y="48"/>
                </a:lnTo>
                <a:lnTo>
                  <a:pt x="12" y="48"/>
                </a:lnTo>
                <a:lnTo>
                  <a:pt x="12" y="48"/>
                </a:lnTo>
                <a:lnTo>
                  <a:pt x="12" y="48"/>
                </a:lnTo>
                <a:lnTo>
                  <a:pt x="12" y="44"/>
                </a:lnTo>
                <a:lnTo>
                  <a:pt x="12" y="44"/>
                </a:lnTo>
                <a:lnTo>
                  <a:pt x="8" y="44"/>
                </a:lnTo>
                <a:lnTo>
                  <a:pt x="8" y="44"/>
                </a:lnTo>
                <a:lnTo>
                  <a:pt x="4" y="44"/>
                </a:lnTo>
                <a:lnTo>
                  <a:pt x="4" y="44"/>
                </a:lnTo>
                <a:lnTo>
                  <a:pt x="4" y="44"/>
                </a:lnTo>
                <a:lnTo>
                  <a:pt x="4" y="44"/>
                </a:lnTo>
                <a:lnTo>
                  <a:pt x="4" y="40"/>
                </a:lnTo>
                <a:lnTo>
                  <a:pt x="4" y="40"/>
                </a:lnTo>
                <a:lnTo>
                  <a:pt x="4" y="40"/>
                </a:lnTo>
                <a:lnTo>
                  <a:pt x="4" y="40"/>
                </a:lnTo>
                <a:lnTo>
                  <a:pt x="4" y="40"/>
                </a:lnTo>
                <a:lnTo>
                  <a:pt x="4" y="40"/>
                </a:lnTo>
                <a:lnTo>
                  <a:pt x="0" y="40"/>
                </a:lnTo>
                <a:lnTo>
                  <a:pt x="0" y="36"/>
                </a:lnTo>
                <a:lnTo>
                  <a:pt x="0" y="36"/>
                </a:lnTo>
                <a:lnTo>
                  <a:pt x="0" y="36"/>
                </a:lnTo>
                <a:lnTo>
                  <a:pt x="0" y="36"/>
                </a:lnTo>
                <a:lnTo>
                  <a:pt x="0" y="36"/>
                </a:lnTo>
                <a:lnTo>
                  <a:pt x="0" y="36"/>
                </a:lnTo>
                <a:lnTo>
                  <a:pt x="0" y="34"/>
                </a:lnTo>
                <a:lnTo>
                  <a:pt x="0" y="34"/>
                </a:lnTo>
                <a:lnTo>
                  <a:pt x="0" y="34"/>
                </a:lnTo>
                <a:lnTo>
                  <a:pt x="0" y="30"/>
                </a:lnTo>
                <a:lnTo>
                  <a:pt x="0" y="30"/>
                </a:lnTo>
                <a:lnTo>
                  <a:pt x="0" y="30"/>
                </a:lnTo>
                <a:lnTo>
                  <a:pt x="0" y="30"/>
                </a:lnTo>
                <a:lnTo>
                  <a:pt x="0" y="30"/>
                </a:lnTo>
                <a:lnTo>
                  <a:pt x="0" y="30"/>
                </a:lnTo>
                <a:lnTo>
                  <a:pt x="0" y="30"/>
                </a:lnTo>
                <a:lnTo>
                  <a:pt x="0" y="26"/>
                </a:lnTo>
                <a:lnTo>
                  <a:pt x="0" y="22"/>
                </a:lnTo>
                <a:lnTo>
                  <a:pt x="4" y="22"/>
                </a:lnTo>
                <a:lnTo>
                  <a:pt x="0" y="22"/>
                </a:lnTo>
                <a:lnTo>
                  <a:pt x="0" y="22"/>
                </a:lnTo>
                <a:lnTo>
                  <a:pt x="0" y="22"/>
                </a:lnTo>
                <a:lnTo>
                  <a:pt x="0" y="18"/>
                </a:lnTo>
                <a:lnTo>
                  <a:pt x="0" y="18"/>
                </a:lnTo>
                <a:lnTo>
                  <a:pt x="4" y="18"/>
                </a:lnTo>
                <a:lnTo>
                  <a:pt x="4" y="18"/>
                </a:lnTo>
                <a:lnTo>
                  <a:pt x="4" y="18"/>
                </a:lnTo>
                <a:lnTo>
                  <a:pt x="4" y="18"/>
                </a:lnTo>
                <a:lnTo>
                  <a:pt x="8" y="18"/>
                </a:lnTo>
                <a:lnTo>
                  <a:pt x="8" y="18"/>
                </a:lnTo>
                <a:lnTo>
                  <a:pt x="8" y="14"/>
                </a:lnTo>
                <a:lnTo>
                  <a:pt x="8" y="14"/>
                </a:lnTo>
                <a:lnTo>
                  <a:pt x="12" y="14"/>
                </a:lnTo>
                <a:lnTo>
                  <a:pt x="12" y="14"/>
                </a:lnTo>
                <a:lnTo>
                  <a:pt x="12" y="14"/>
                </a:lnTo>
                <a:lnTo>
                  <a:pt x="12" y="14"/>
                </a:lnTo>
                <a:lnTo>
                  <a:pt x="12" y="14"/>
                </a:lnTo>
                <a:lnTo>
                  <a:pt x="12" y="14"/>
                </a:lnTo>
                <a:lnTo>
                  <a:pt x="12" y="10"/>
                </a:lnTo>
                <a:lnTo>
                  <a:pt x="12" y="14"/>
                </a:lnTo>
                <a:lnTo>
                  <a:pt x="12" y="14"/>
                </a:lnTo>
                <a:lnTo>
                  <a:pt x="8" y="10"/>
                </a:lnTo>
                <a:lnTo>
                  <a:pt x="12" y="10"/>
                </a:lnTo>
                <a:lnTo>
                  <a:pt x="12" y="10"/>
                </a:lnTo>
                <a:lnTo>
                  <a:pt x="12" y="6"/>
                </a:lnTo>
                <a:lnTo>
                  <a:pt x="12" y="6"/>
                </a:lnTo>
                <a:lnTo>
                  <a:pt x="12" y="6"/>
                </a:lnTo>
                <a:lnTo>
                  <a:pt x="12" y="4"/>
                </a:lnTo>
                <a:lnTo>
                  <a:pt x="12" y="4"/>
                </a:lnTo>
                <a:lnTo>
                  <a:pt x="12" y="4"/>
                </a:lnTo>
                <a:lnTo>
                  <a:pt x="12" y="0"/>
                </a:lnTo>
                <a:lnTo>
                  <a:pt x="14" y="0"/>
                </a:lnTo>
                <a:lnTo>
                  <a:pt x="14" y="0"/>
                </a:lnTo>
                <a:lnTo>
                  <a:pt x="18" y="0"/>
                </a:lnTo>
                <a:lnTo>
                  <a:pt x="18" y="0"/>
                </a:lnTo>
                <a:lnTo>
                  <a:pt x="18" y="0"/>
                </a:lnTo>
                <a:lnTo>
                  <a:pt x="22" y="0"/>
                </a:lnTo>
                <a:lnTo>
                  <a:pt x="26" y="0"/>
                </a:lnTo>
                <a:lnTo>
                  <a:pt x="26" y="4"/>
                </a:lnTo>
                <a:lnTo>
                  <a:pt x="30" y="4"/>
                </a:lnTo>
                <a:lnTo>
                  <a:pt x="30" y="4"/>
                </a:lnTo>
                <a:lnTo>
                  <a:pt x="30" y="4"/>
                </a:lnTo>
                <a:lnTo>
                  <a:pt x="30" y="4"/>
                </a:lnTo>
                <a:lnTo>
                  <a:pt x="30" y="4"/>
                </a:lnTo>
                <a:lnTo>
                  <a:pt x="30" y="4"/>
                </a:lnTo>
                <a:lnTo>
                  <a:pt x="30" y="4"/>
                </a:lnTo>
                <a:lnTo>
                  <a:pt x="30" y="4"/>
                </a:lnTo>
                <a:lnTo>
                  <a:pt x="30" y="0"/>
                </a:lnTo>
                <a:lnTo>
                  <a:pt x="30" y="0"/>
                </a:lnTo>
                <a:lnTo>
                  <a:pt x="30" y="0"/>
                </a:lnTo>
                <a:lnTo>
                  <a:pt x="34" y="0"/>
                </a:lnTo>
                <a:lnTo>
                  <a:pt x="34" y="0"/>
                </a:lnTo>
                <a:lnTo>
                  <a:pt x="38" y="0"/>
                </a:lnTo>
                <a:lnTo>
                  <a:pt x="38" y="0"/>
                </a:lnTo>
                <a:lnTo>
                  <a:pt x="38" y="0"/>
                </a:lnTo>
                <a:lnTo>
                  <a:pt x="38" y="0"/>
                </a:lnTo>
                <a:lnTo>
                  <a:pt x="38" y="0"/>
                </a:lnTo>
                <a:lnTo>
                  <a:pt x="38" y="0"/>
                </a:lnTo>
                <a:lnTo>
                  <a:pt x="42" y="0"/>
                </a:lnTo>
                <a:lnTo>
                  <a:pt x="42" y="4"/>
                </a:lnTo>
                <a:lnTo>
                  <a:pt x="42" y="4"/>
                </a:lnTo>
                <a:lnTo>
                  <a:pt x="42" y="4"/>
                </a:lnTo>
                <a:lnTo>
                  <a:pt x="42" y="4"/>
                </a:lnTo>
                <a:lnTo>
                  <a:pt x="42" y="4"/>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81" name="Freeform 188"/>
          <p:cNvSpPr>
            <a:spLocks/>
          </p:cNvSpPr>
          <p:nvPr/>
        </p:nvSpPr>
        <p:spPr bwMode="auto">
          <a:xfrm>
            <a:off x="3271837" y="4326731"/>
            <a:ext cx="92869" cy="107156"/>
          </a:xfrm>
          <a:custGeom>
            <a:avLst/>
            <a:gdLst>
              <a:gd name="T0" fmla="*/ 4 w 78"/>
              <a:gd name="T1" fmla="*/ 60 h 90"/>
              <a:gd name="T2" fmla="*/ 4 w 78"/>
              <a:gd name="T3" fmla="*/ 56 h 90"/>
              <a:gd name="T4" fmla="*/ 4 w 78"/>
              <a:gd name="T5" fmla="*/ 56 h 90"/>
              <a:gd name="T6" fmla="*/ 8 w 78"/>
              <a:gd name="T7" fmla="*/ 48 h 90"/>
              <a:gd name="T8" fmla="*/ 4 w 78"/>
              <a:gd name="T9" fmla="*/ 48 h 90"/>
              <a:gd name="T10" fmla="*/ 4 w 78"/>
              <a:gd name="T11" fmla="*/ 40 h 90"/>
              <a:gd name="T12" fmla="*/ 4 w 78"/>
              <a:gd name="T13" fmla="*/ 40 h 90"/>
              <a:gd name="T14" fmla="*/ 4 w 78"/>
              <a:gd name="T15" fmla="*/ 36 h 90"/>
              <a:gd name="T16" fmla="*/ 4 w 78"/>
              <a:gd name="T17" fmla="*/ 34 h 90"/>
              <a:gd name="T18" fmla="*/ 4 w 78"/>
              <a:gd name="T19" fmla="*/ 30 h 90"/>
              <a:gd name="T20" fmla="*/ 8 w 78"/>
              <a:gd name="T21" fmla="*/ 26 h 90"/>
              <a:gd name="T22" fmla="*/ 8 w 78"/>
              <a:gd name="T23" fmla="*/ 22 h 90"/>
              <a:gd name="T24" fmla="*/ 8 w 78"/>
              <a:gd name="T25" fmla="*/ 14 h 90"/>
              <a:gd name="T26" fmla="*/ 12 w 78"/>
              <a:gd name="T27" fmla="*/ 10 h 90"/>
              <a:gd name="T28" fmla="*/ 8 w 78"/>
              <a:gd name="T29" fmla="*/ 6 h 90"/>
              <a:gd name="T30" fmla="*/ 12 w 78"/>
              <a:gd name="T31" fmla="*/ 2 h 90"/>
              <a:gd name="T32" fmla="*/ 16 w 78"/>
              <a:gd name="T33" fmla="*/ 0 h 90"/>
              <a:gd name="T34" fmla="*/ 16 w 78"/>
              <a:gd name="T35" fmla="*/ 2 h 90"/>
              <a:gd name="T36" fmla="*/ 18 w 78"/>
              <a:gd name="T37" fmla="*/ 2 h 90"/>
              <a:gd name="T38" fmla="*/ 18 w 78"/>
              <a:gd name="T39" fmla="*/ 0 h 90"/>
              <a:gd name="T40" fmla="*/ 22 w 78"/>
              <a:gd name="T41" fmla="*/ 0 h 90"/>
              <a:gd name="T42" fmla="*/ 26 w 78"/>
              <a:gd name="T43" fmla="*/ 2 h 90"/>
              <a:gd name="T44" fmla="*/ 34 w 78"/>
              <a:gd name="T45" fmla="*/ 6 h 90"/>
              <a:gd name="T46" fmla="*/ 38 w 78"/>
              <a:gd name="T47" fmla="*/ 14 h 90"/>
              <a:gd name="T48" fmla="*/ 38 w 78"/>
              <a:gd name="T49" fmla="*/ 14 h 90"/>
              <a:gd name="T50" fmla="*/ 42 w 78"/>
              <a:gd name="T51" fmla="*/ 14 h 90"/>
              <a:gd name="T52" fmla="*/ 46 w 78"/>
              <a:gd name="T53" fmla="*/ 14 h 90"/>
              <a:gd name="T54" fmla="*/ 48 w 78"/>
              <a:gd name="T55" fmla="*/ 22 h 90"/>
              <a:gd name="T56" fmla="*/ 52 w 78"/>
              <a:gd name="T57" fmla="*/ 22 h 90"/>
              <a:gd name="T58" fmla="*/ 52 w 78"/>
              <a:gd name="T59" fmla="*/ 22 h 90"/>
              <a:gd name="T60" fmla="*/ 60 w 78"/>
              <a:gd name="T61" fmla="*/ 30 h 90"/>
              <a:gd name="T62" fmla="*/ 64 w 78"/>
              <a:gd name="T63" fmla="*/ 30 h 90"/>
              <a:gd name="T64" fmla="*/ 68 w 78"/>
              <a:gd name="T65" fmla="*/ 36 h 90"/>
              <a:gd name="T66" fmla="*/ 72 w 78"/>
              <a:gd name="T67" fmla="*/ 40 h 90"/>
              <a:gd name="T68" fmla="*/ 76 w 78"/>
              <a:gd name="T69" fmla="*/ 44 h 90"/>
              <a:gd name="T70" fmla="*/ 76 w 78"/>
              <a:gd name="T71" fmla="*/ 48 h 90"/>
              <a:gd name="T72" fmla="*/ 72 w 78"/>
              <a:gd name="T73" fmla="*/ 52 h 90"/>
              <a:gd name="T74" fmla="*/ 72 w 78"/>
              <a:gd name="T75" fmla="*/ 56 h 90"/>
              <a:gd name="T76" fmla="*/ 72 w 78"/>
              <a:gd name="T77" fmla="*/ 60 h 90"/>
              <a:gd name="T78" fmla="*/ 72 w 78"/>
              <a:gd name="T79" fmla="*/ 64 h 90"/>
              <a:gd name="T80" fmla="*/ 72 w 78"/>
              <a:gd name="T81" fmla="*/ 66 h 90"/>
              <a:gd name="T82" fmla="*/ 72 w 78"/>
              <a:gd name="T83" fmla="*/ 66 h 90"/>
              <a:gd name="T84" fmla="*/ 72 w 78"/>
              <a:gd name="T85" fmla="*/ 70 h 90"/>
              <a:gd name="T86" fmla="*/ 68 w 78"/>
              <a:gd name="T87" fmla="*/ 78 h 90"/>
              <a:gd name="T88" fmla="*/ 64 w 78"/>
              <a:gd name="T89" fmla="*/ 82 h 90"/>
              <a:gd name="T90" fmla="*/ 60 w 78"/>
              <a:gd name="T91" fmla="*/ 82 h 90"/>
              <a:gd name="T92" fmla="*/ 60 w 78"/>
              <a:gd name="T93" fmla="*/ 82 h 90"/>
              <a:gd name="T94" fmla="*/ 52 w 78"/>
              <a:gd name="T95" fmla="*/ 86 h 90"/>
              <a:gd name="T96" fmla="*/ 48 w 78"/>
              <a:gd name="T97" fmla="*/ 86 h 90"/>
              <a:gd name="T98" fmla="*/ 46 w 78"/>
              <a:gd name="T99" fmla="*/ 90 h 90"/>
              <a:gd name="T100" fmla="*/ 46 w 78"/>
              <a:gd name="T101" fmla="*/ 86 h 90"/>
              <a:gd name="T102" fmla="*/ 38 w 78"/>
              <a:gd name="T103" fmla="*/ 86 h 90"/>
              <a:gd name="T104" fmla="*/ 34 w 78"/>
              <a:gd name="T105" fmla="*/ 86 h 90"/>
              <a:gd name="T106" fmla="*/ 30 w 78"/>
              <a:gd name="T107" fmla="*/ 86 h 90"/>
              <a:gd name="T108" fmla="*/ 22 w 78"/>
              <a:gd name="T109" fmla="*/ 82 h 90"/>
              <a:gd name="T110" fmla="*/ 16 w 78"/>
              <a:gd name="T111" fmla="*/ 78 h 90"/>
              <a:gd name="T112" fmla="*/ 8 w 78"/>
              <a:gd name="T113" fmla="*/ 78 h 90"/>
              <a:gd name="T114" fmla="*/ 4 w 78"/>
              <a:gd name="T115" fmla="*/ 74 h 90"/>
              <a:gd name="T116" fmla="*/ 4 w 78"/>
              <a:gd name="T117" fmla="*/ 70 h 90"/>
              <a:gd name="T118" fmla="*/ 0 w 78"/>
              <a:gd name="T119" fmla="*/ 64 h 90"/>
              <a:gd name="T120" fmla="*/ 0 w 78"/>
              <a:gd name="T121" fmla="*/ 6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8" h="90">
                <a:moveTo>
                  <a:pt x="0" y="60"/>
                </a:moveTo>
                <a:lnTo>
                  <a:pt x="0" y="60"/>
                </a:lnTo>
                <a:lnTo>
                  <a:pt x="0" y="60"/>
                </a:lnTo>
                <a:lnTo>
                  <a:pt x="0" y="60"/>
                </a:lnTo>
                <a:lnTo>
                  <a:pt x="4" y="60"/>
                </a:lnTo>
                <a:lnTo>
                  <a:pt x="4" y="56"/>
                </a:lnTo>
                <a:lnTo>
                  <a:pt x="4" y="56"/>
                </a:lnTo>
                <a:lnTo>
                  <a:pt x="4" y="56"/>
                </a:lnTo>
                <a:lnTo>
                  <a:pt x="4" y="56"/>
                </a:lnTo>
                <a:lnTo>
                  <a:pt x="4" y="56"/>
                </a:lnTo>
                <a:lnTo>
                  <a:pt x="4" y="56"/>
                </a:lnTo>
                <a:lnTo>
                  <a:pt x="4" y="56"/>
                </a:lnTo>
                <a:lnTo>
                  <a:pt x="4" y="56"/>
                </a:lnTo>
                <a:lnTo>
                  <a:pt x="4" y="56"/>
                </a:lnTo>
                <a:lnTo>
                  <a:pt x="4" y="56"/>
                </a:lnTo>
                <a:lnTo>
                  <a:pt x="4" y="56"/>
                </a:lnTo>
                <a:lnTo>
                  <a:pt x="4" y="52"/>
                </a:lnTo>
                <a:lnTo>
                  <a:pt x="8" y="52"/>
                </a:lnTo>
                <a:lnTo>
                  <a:pt x="8" y="52"/>
                </a:lnTo>
                <a:lnTo>
                  <a:pt x="8" y="48"/>
                </a:lnTo>
                <a:lnTo>
                  <a:pt x="8" y="48"/>
                </a:lnTo>
                <a:lnTo>
                  <a:pt x="8" y="48"/>
                </a:lnTo>
                <a:lnTo>
                  <a:pt x="4" y="48"/>
                </a:lnTo>
                <a:lnTo>
                  <a:pt x="4" y="48"/>
                </a:lnTo>
                <a:lnTo>
                  <a:pt x="4" y="48"/>
                </a:lnTo>
                <a:lnTo>
                  <a:pt x="4" y="48"/>
                </a:lnTo>
                <a:lnTo>
                  <a:pt x="4" y="48"/>
                </a:lnTo>
                <a:lnTo>
                  <a:pt x="4" y="44"/>
                </a:lnTo>
                <a:lnTo>
                  <a:pt x="4" y="44"/>
                </a:lnTo>
                <a:lnTo>
                  <a:pt x="4" y="40"/>
                </a:lnTo>
                <a:lnTo>
                  <a:pt x="4" y="40"/>
                </a:lnTo>
                <a:lnTo>
                  <a:pt x="4" y="40"/>
                </a:lnTo>
                <a:lnTo>
                  <a:pt x="4" y="40"/>
                </a:lnTo>
                <a:lnTo>
                  <a:pt x="4" y="40"/>
                </a:lnTo>
                <a:lnTo>
                  <a:pt x="4" y="40"/>
                </a:lnTo>
                <a:lnTo>
                  <a:pt x="8" y="40"/>
                </a:lnTo>
                <a:lnTo>
                  <a:pt x="8" y="36"/>
                </a:lnTo>
                <a:lnTo>
                  <a:pt x="8" y="36"/>
                </a:lnTo>
                <a:lnTo>
                  <a:pt x="4" y="36"/>
                </a:lnTo>
                <a:lnTo>
                  <a:pt x="4" y="36"/>
                </a:lnTo>
                <a:lnTo>
                  <a:pt x="4" y="36"/>
                </a:lnTo>
                <a:lnTo>
                  <a:pt x="4" y="36"/>
                </a:lnTo>
                <a:lnTo>
                  <a:pt x="4" y="36"/>
                </a:lnTo>
                <a:lnTo>
                  <a:pt x="4" y="34"/>
                </a:lnTo>
                <a:lnTo>
                  <a:pt x="4" y="34"/>
                </a:lnTo>
                <a:lnTo>
                  <a:pt x="4" y="34"/>
                </a:lnTo>
                <a:lnTo>
                  <a:pt x="4" y="30"/>
                </a:lnTo>
                <a:lnTo>
                  <a:pt x="4" y="30"/>
                </a:lnTo>
                <a:lnTo>
                  <a:pt x="4" y="30"/>
                </a:lnTo>
                <a:lnTo>
                  <a:pt x="4" y="30"/>
                </a:lnTo>
                <a:lnTo>
                  <a:pt x="8" y="30"/>
                </a:lnTo>
                <a:lnTo>
                  <a:pt x="8" y="30"/>
                </a:lnTo>
                <a:lnTo>
                  <a:pt x="8" y="30"/>
                </a:lnTo>
                <a:lnTo>
                  <a:pt x="8" y="26"/>
                </a:lnTo>
                <a:lnTo>
                  <a:pt x="8" y="26"/>
                </a:lnTo>
                <a:lnTo>
                  <a:pt x="8" y="26"/>
                </a:lnTo>
                <a:lnTo>
                  <a:pt x="8" y="26"/>
                </a:lnTo>
                <a:lnTo>
                  <a:pt x="8" y="26"/>
                </a:lnTo>
                <a:lnTo>
                  <a:pt x="8" y="26"/>
                </a:lnTo>
                <a:lnTo>
                  <a:pt x="8" y="22"/>
                </a:lnTo>
                <a:lnTo>
                  <a:pt x="8" y="22"/>
                </a:lnTo>
                <a:lnTo>
                  <a:pt x="8" y="22"/>
                </a:lnTo>
                <a:lnTo>
                  <a:pt x="8" y="22"/>
                </a:lnTo>
                <a:lnTo>
                  <a:pt x="8" y="18"/>
                </a:lnTo>
                <a:lnTo>
                  <a:pt x="8" y="14"/>
                </a:lnTo>
                <a:lnTo>
                  <a:pt x="12" y="10"/>
                </a:lnTo>
                <a:lnTo>
                  <a:pt x="12" y="10"/>
                </a:lnTo>
                <a:lnTo>
                  <a:pt x="12" y="10"/>
                </a:lnTo>
                <a:lnTo>
                  <a:pt x="12" y="10"/>
                </a:lnTo>
                <a:lnTo>
                  <a:pt x="12" y="10"/>
                </a:lnTo>
                <a:lnTo>
                  <a:pt x="12" y="10"/>
                </a:lnTo>
                <a:lnTo>
                  <a:pt x="8" y="6"/>
                </a:lnTo>
                <a:lnTo>
                  <a:pt x="8" y="6"/>
                </a:lnTo>
                <a:lnTo>
                  <a:pt x="8" y="6"/>
                </a:lnTo>
                <a:lnTo>
                  <a:pt x="8" y="6"/>
                </a:lnTo>
                <a:lnTo>
                  <a:pt x="8" y="6"/>
                </a:lnTo>
                <a:lnTo>
                  <a:pt x="8" y="6"/>
                </a:lnTo>
                <a:lnTo>
                  <a:pt x="12" y="2"/>
                </a:lnTo>
                <a:lnTo>
                  <a:pt x="12" y="2"/>
                </a:lnTo>
                <a:lnTo>
                  <a:pt x="12" y="2"/>
                </a:lnTo>
                <a:lnTo>
                  <a:pt x="12" y="2"/>
                </a:lnTo>
                <a:lnTo>
                  <a:pt x="12" y="2"/>
                </a:lnTo>
                <a:lnTo>
                  <a:pt x="12" y="0"/>
                </a:lnTo>
                <a:lnTo>
                  <a:pt x="12" y="0"/>
                </a:lnTo>
                <a:lnTo>
                  <a:pt x="16" y="0"/>
                </a:lnTo>
                <a:lnTo>
                  <a:pt x="16" y="0"/>
                </a:lnTo>
                <a:lnTo>
                  <a:pt x="16" y="0"/>
                </a:lnTo>
                <a:lnTo>
                  <a:pt x="16" y="0"/>
                </a:lnTo>
                <a:lnTo>
                  <a:pt x="16" y="2"/>
                </a:lnTo>
                <a:lnTo>
                  <a:pt x="16" y="2"/>
                </a:lnTo>
                <a:lnTo>
                  <a:pt x="16" y="0"/>
                </a:lnTo>
                <a:lnTo>
                  <a:pt x="16" y="0"/>
                </a:lnTo>
                <a:lnTo>
                  <a:pt x="18" y="2"/>
                </a:lnTo>
                <a:lnTo>
                  <a:pt x="18" y="2"/>
                </a:lnTo>
                <a:lnTo>
                  <a:pt x="18" y="2"/>
                </a:lnTo>
                <a:lnTo>
                  <a:pt x="18" y="2"/>
                </a:lnTo>
                <a:lnTo>
                  <a:pt x="18" y="2"/>
                </a:lnTo>
                <a:lnTo>
                  <a:pt x="18" y="0"/>
                </a:lnTo>
                <a:lnTo>
                  <a:pt x="18" y="0"/>
                </a:lnTo>
                <a:lnTo>
                  <a:pt x="18" y="0"/>
                </a:lnTo>
                <a:lnTo>
                  <a:pt x="18" y="0"/>
                </a:lnTo>
                <a:lnTo>
                  <a:pt x="18" y="0"/>
                </a:lnTo>
                <a:lnTo>
                  <a:pt x="22" y="0"/>
                </a:lnTo>
                <a:lnTo>
                  <a:pt x="22" y="0"/>
                </a:lnTo>
                <a:lnTo>
                  <a:pt x="22" y="0"/>
                </a:lnTo>
                <a:lnTo>
                  <a:pt x="22" y="0"/>
                </a:lnTo>
                <a:lnTo>
                  <a:pt x="26" y="0"/>
                </a:lnTo>
                <a:lnTo>
                  <a:pt x="26" y="2"/>
                </a:lnTo>
                <a:lnTo>
                  <a:pt x="26" y="2"/>
                </a:lnTo>
                <a:lnTo>
                  <a:pt x="26" y="2"/>
                </a:lnTo>
                <a:lnTo>
                  <a:pt x="30" y="2"/>
                </a:lnTo>
                <a:lnTo>
                  <a:pt x="30" y="2"/>
                </a:lnTo>
                <a:lnTo>
                  <a:pt x="30" y="6"/>
                </a:lnTo>
                <a:lnTo>
                  <a:pt x="30" y="6"/>
                </a:lnTo>
                <a:lnTo>
                  <a:pt x="34" y="6"/>
                </a:lnTo>
                <a:lnTo>
                  <a:pt x="34" y="6"/>
                </a:lnTo>
                <a:lnTo>
                  <a:pt x="34" y="10"/>
                </a:lnTo>
                <a:lnTo>
                  <a:pt x="38" y="10"/>
                </a:lnTo>
                <a:lnTo>
                  <a:pt x="38" y="10"/>
                </a:lnTo>
                <a:lnTo>
                  <a:pt x="38" y="14"/>
                </a:lnTo>
                <a:lnTo>
                  <a:pt x="34" y="14"/>
                </a:lnTo>
                <a:lnTo>
                  <a:pt x="34" y="14"/>
                </a:lnTo>
                <a:lnTo>
                  <a:pt x="34" y="14"/>
                </a:lnTo>
                <a:lnTo>
                  <a:pt x="34" y="14"/>
                </a:lnTo>
                <a:lnTo>
                  <a:pt x="38" y="14"/>
                </a:lnTo>
                <a:lnTo>
                  <a:pt x="38" y="14"/>
                </a:lnTo>
                <a:lnTo>
                  <a:pt x="38" y="14"/>
                </a:lnTo>
                <a:lnTo>
                  <a:pt x="38" y="14"/>
                </a:lnTo>
                <a:lnTo>
                  <a:pt x="38" y="14"/>
                </a:lnTo>
                <a:lnTo>
                  <a:pt x="42" y="14"/>
                </a:lnTo>
                <a:lnTo>
                  <a:pt x="42" y="10"/>
                </a:lnTo>
                <a:lnTo>
                  <a:pt x="42" y="10"/>
                </a:lnTo>
                <a:lnTo>
                  <a:pt x="42" y="10"/>
                </a:lnTo>
                <a:lnTo>
                  <a:pt x="42" y="14"/>
                </a:lnTo>
                <a:lnTo>
                  <a:pt x="46" y="14"/>
                </a:lnTo>
                <a:lnTo>
                  <a:pt x="46" y="14"/>
                </a:lnTo>
                <a:lnTo>
                  <a:pt x="46" y="14"/>
                </a:lnTo>
                <a:lnTo>
                  <a:pt x="46" y="18"/>
                </a:lnTo>
                <a:lnTo>
                  <a:pt x="46" y="18"/>
                </a:lnTo>
                <a:lnTo>
                  <a:pt x="48" y="22"/>
                </a:lnTo>
                <a:lnTo>
                  <a:pt x="48" y="22"/>
                </a:lnTo>
                <a:lnTo>
                  <a:pt x="48" y="22"/>
                </a:lnTo>
                <a:lnTo>
                  <a:pt x="52" y="22"/>
                </a:lnTo>
                <a:lnTo>
                  <a:pt x="52" y="22"/>
                </a:lnTo>
                <a:lnTo>
                  <a:pt x="52" y="22"/>
                </a:lnTo>
                <a:lnTo>
                  <a:pt x="52" y="22"/>
                </a:lnTo>
                <a:lnTo>
                  <a:pt x="52" y="22"/>
                </a:lnTo>
                <a:lnTo>
                  <a:pt x="52" y="22"/>
                </a:lnTo>
                <a:lnTo>
                  <a:pt x="52" y="22"/>
                </a:lnTo>
                <a:lnTo>
                  <a:pt x="52" y="22"/>
                </a:lnTo>
                <a:lnTo>
                  <a:pt x="56" y="22"/>
                </a:lnTo>
                <a:lnTo>
                  <a:pt x="56" y="26"/>
                </a:lnTo>
                <a:lnTo>
                  <a:pt x="56" y="26"/>
                </a:lnTo>
                <a:lnTo>
                  <a:pt x="56" y="26"/>
                </a:lnTo>
                <a:lnTo>
                  <a:pt x="60" y="30"/>
                </a:lnTo>
                <a:lnTo>
                  <a:pt x="60" y="30"/>
                </a:lnTo>
                <a:lnTo>
                  <a:pt x="60" y="30"/>
                </a:lnTo>
                <a:lnTo>
                  <a:pt x="60" y="30"/>
                </a:lnTo>
                <a:lnTo>
                  <a:pt x="60" y="30"/>
                </a:lnTo>
                <a:lnTo>
                  <a:pt x="64" y="30"/>
                </a:lnTo>
                <a:lnTo>
                  <a:pt x="64" y="30"/>
                </a:lnTo>
                <a:lnTo>
                  <a:pt x="64" y="34"/>
                </a:lnTo>
                <a:lnTo>
                  <a:pt x="68" y="34"/>
                </a:lnTo>
                <a:lnTo>
                  <a:pt x="68" y="34"/>
                </a:lnTo>
                <a:lnTo>
                  <a:pt x="68" y="36"/>
                </a:lnTo>
                <a:lnTo>
                  <a:pt x="68" y="36"/>
                </a:lnTo>
                <a:lnTo>
                  <a:pt x="68" y="40"/>
                </a:lnTo>
                <a:lnTo>
                  <a:pt x="68" y="40"/>
                </a:lnTo>
                <a:lnTo>
                  <a:pt x="72" y="40"/>
                </a:lnTo>
                <a:lnTo>
                  <a:pt x="72" y="40"/>
                </a:lnTo>
                <a:lnTo>
                  <a:pt x="72" y="40"/>
                </a:lnTo>
                <a:lnTo>
                  <a:pt x="72" y="40"/>
                </a:lnTo>
                <a:lnTo>
                  <a:pt x="72" y="44"/>
                </a:lnTo>
                <a:lnTo>
                  <a:pt x="72" y="44"/>
                </a:lnTo>
                <a:lnTo>
                  <a:pt x="76" y="44"/>
                </a:lnTo>
                <a:lnTo>
                  <a:pt x="76" y="44"/>
                </a:lnTo>
                <a:lnTo>
                  <a:pt x="76" y="44"/>
                </a:lnTo>
                <a:lnTo>
                  <a:pt x="76" y="44"/>
                </a:lnTo>
                <a:lnTo>
                  <a:pt x="78" y="48"/>
                </a:lnTo>
                <a:lnTo>
                  <a:pt x="76" y="48"/>
                </a:lnTo>
                <a:lnTo>
                  <a:pt x="76" y="48"/>
                </a:lnTo>
                <a:lnTo>
                  <a:pt x="76" y="52"/>
                </a:lnTo>
                <a:lnTo>
                  <a:pt x="72" y="52"/>
                </a:lnTo>
                <a:lnTo>
                  <a:pt x="72" y="52"/>
                </a:lnTo>
                <a:lnTo>
                  <a:pt x="72" y="52"/>
                </a:lnTo>
                <a:lnTo>
                  <a:pt x="72" y="52"/>
                </a:lnTo>
                <a:lnTo>
                  <a:pt x="72" y="56"/>
                </a:lnTo>
                <a:lnTo>
                  <a:pt x="72" y="56"/>
                </a:lnTo>
                <a:lnTo>
                  <a:pt x="72" y="56"/>
                </a:lnTo>
                <a:lnTo>
                  <a:pt x="72" y="56"/>
                </a:lnTo>
                <a:lnTo>
                  <a:pt x="72" y="56"/>
                </a:lnTo>
                <a:lnTo>
                  <a:pt x="72" y="56"/>
                </a:lnTo>
                <a:lnTo>
                  <a:pt x="72" y="56"/>
                </a:lnTo>
                <a:lnTo>
                  <a:pt x="72" y="60"/>
                </a:lnTo>
                <a:lnTo>
                  <a:pt x="72" y="60"/>
                </a:lnTo>
                <a:lnTo>
                  <a:pt x="72" y="60"/>
                </a:lnTo>
                <a:lnTo>
                  <a:pt x="72" y="60"/>
                </a:lnTo>
                <a:lnTo>
                  <a:pt x="72" y="60"/>
                </a:lnTo>
                <a:lnTo>
                  <a:pt x="72" y="64"/>
                </a:lnTo>
                <a:lnTo>
                  <a:pt x="72" y="64"/>
                </a:lnTo>
                <a:lnTo>
                  <a:pt x="72" y="64"/>
                </a:lnTo>
                <a:lnTo>
                  <a:pt x="72" y="64"/>
                </a:lnTo>
                <a:lnTo>
                  <a:pt x="72" y="64"/>
                </a:lnTo>
                <a:lnTo>
                  <a:pt x="72" y="66"/>
                </a:lnTo>
                <a:lnTo>
                  <a:pt x="72" y="66"/>
                </a:lnTo>
                <a:lnTo>
                  <a:pt x="72" y="66"/>
                </a:lnTo>
                <a:lnTo>
                  <a:pt x="72" y="66"/>
                </a:lnTo>
                <a:lnTo>
                  <a:pt x="72" y="66"/>
                </a:lnTo>
                <a:lnTo>
                  <a:pt x="72" y="66"/>
                </a:lnTo>
                <a:lnTo>
                  <a:pt x="72" y="66"/>
                </a:lnTo>
                <a:lnTo>
                  <a:pt x="72" y="66"/>
                </a:lnTo>
                <a:lnTo>
                  <a:pt x="72" y="70"/>
                </a:lnTo>
                <a:lnTo>
                  <a:pt x="72" y="70"/>
                </a:lnTo>
                <a:lnTo>
                  <a:pt x="72" y="70"/>
                </a:lnTo>
                <a:lnTo>
                  <a:pt x="72" y="70"/>
                </a:lnTo>
                <a:lnTo>
                  <a:pt x="72" y="74"/>
                </a:lnTo>
                <a:lnTo>
                  <a:pt x="68" y="74"/>
                </a:lnTo>
                <a:lnTo>
                  <a:pt x="68" y="74"/>
                </a:lnTo>
                <a:lnTo>
                  <a:pt x="68" y="74"/>
                </a:lnTo>
                <a:lnTo>
                  <a:pt x="68" y="78"/>
                </a:lnTo>
                <a:lnTo>
                  <a:pt x="68" y="78"/>
                </a:lnTo>
                <a:lnTo>
                  <a:pt x="64" y="78"/>
                </a:lnTo>
                <a:lnTo>
                  <a:pt x="64" y="78"/>
                </a:lnTo>
                <a:lnTo>
                  <a:pt x="64" y="82"/>
                </a:lnTo>
                <a:lnTo>
                  <a:pt x="64" y="82"/>
                </a:lnTo>
                <a:lnTo>
                  <a:pt x="64" y="82"/>
                </a:lnTo>
                <a:lnTo>
                  <a:pt x="64" y="82"/>
                </a:lnTo>
                <a:lnTo>
                  <a:pt x="60" y="82"/>
                </a:lnTo>
                <a:lnTo>
                  <a:pt x="60" y="82"/>
                </a:lnTo>
                <a:lnTo>
                  <a:pt x="60" y="82"/>
                </a:lnTo>
                <a:lnTo>
                  <a:pt x="60" y="82"/>
                </a:lnTo>
                <a:lnTo>
                  <a:pt x="60" y="82"/>
                </a:lnTo>
                <a:lnTo>
                  <a:pt x="60" y="82"/>
                </a:lnTo>
                <a:lnTo>
                  <a:pt x="60" y="82"/>
                </a:lnTo>
                <a:lnTo>
                  <a:pt x="60" y="82"/>
                </a:lnTo>
                <a:lnTo>
                  <a:pt x="60" y="86"/>
                </a:lnTo>
                <a:lnTo>
                  <a:pt x="56" y="86"/>
                </a:lnTo>
                <a:lnTo>
                  <a:pt x="56" y="86"/>
                </a:lnTo>
                <a:lnTo>
                  <a:pt x="56" y="86"/>
                </a:lnTo>
                <a:lnTo>
                  <a:pt x="52" y="86"/>
                </a:lnTo>
                <a:lnTo>
                  <a:pt x="52" y="86"/>
                </a:lnTo>
                <a:lnTo>
                  <a:pt x="52" y="90"/>
                </a:lnTo>
                <a:lnTo>
                  <a:pt x="52" y="90"/>
                </a:lnTo>
                <a:lnTo>
                  <a:pt x="48" y="90"/>
                </a:lnTo>
                <a:lnTo>
                  <a:pt x="48" y="86"/>
                </a:lnTo>
                <a:lnTo>
                  <a:pt x="48" y="86"/>
                </a:lnTo>
                <a:lnTo>
                  <a:pt x="48" y="86"/>
                </a:lnTo>
                <a:lnTo>
                  <a:pt x="48" y="86"/>
                </a:lnTo>
                <a:lnTo>
                  <a:pt x="46" y="90"/>
                </a:lnTo>
                <a:lnTo>
                  <a:pt x="46" y="90"/>
                </a:lnTo>
                <a:lnTo>
                  <a:pt x="46" y="86"/>
                </a:lnTo>
                <a:lnTo>
                  <a:pt x="46" y="86"/>
                </a:lnTo>
                <a:lnTo>
                  <a:pt x="46" y="86"/>
                </a:lnTo>
                <a:lnTo>
                  <a:pt x="46" y="86"/>
                </a:lnTo>
                <a:lnTo>
                  <a:pt x="46" y="86"/>
                </a:lnTo>
                <a:lnTo>
                  <a:pt x="46" y="86"/>
                </a:lnTo>
                <a:lnTo>
                  <a:pt x="42" y="86"/>
                </a:lnTo>
                <a:lnTo>
                  <a:pt x="42" y="86"/>
                </a:lnTo>
                <a:lnTo>
                  <a:pt x="38" y="86"/>
                </a:lnTo>
                <a:lnTo>
                  <a:pt x="38" y="86"/>
                </a:lnTo>
                <a:lnTo>
                  <a:pt x="38" y="86"/>
                </a:lnTo>
                <a:lnTo>
                  <a:pt x="38" y="86"/>
                </a:lnTo>
                <a:lnTo>
                  <a:pt x="38" y="86"/>
                </a:lnTo>
                <a:lnTo>
                  <a:pt x="34" y="86"/>
                </a:lnTo>
                <a:lnTo>
                  <a:pt x="34" y="86"/>
                </a:lnTo>
                <a:lnTo>
                  <a:pt x="34" y="86"/>
                </a:lnTo>
                <a:lnTo>
                  <a:pt x="34" y="90"/>
                </a:lnTo>
                <a:lnTo>
                  <a:pt x="30" y="90"/>
                </a:lnTo>
                <a:lnTo>
                  <a:pt x="30" y="86"/>
                </a:lnTo>
                <a:lnTo>
                  <a:pt x="30" y="86"/>
                </a:lnTo>
                <a:lnTo>
                  <a:pt x="30" y="86"/>
                </a:lnTo>
                <a:lnTo>
                  <a:pt x="30" y="86"/>
                </a:lnTo>
                <a:lnTo>
                  <a:pt x="26" y="86"/>
                </a:lnTo>
                <a:lnTo>
                  <a:pt x="22" y="82"/>
                </a:lnTo>
                <a:lnTo>
                  <a:pt x="22" y="82"/>
                </a:lnTo>
                <a:lnTo>
                  <a:pt x="18" y="78"/>
                </a:lnTo>
                <a:lnTo>
                  <a:pt x="18" y="78"/>
                </a:lnTo>
                <a:lnTo>
                  <a:pt x="18" y="78"/>
                </a:lnTo>
                <a:lnTo>
                  <a:pt x="16" y="78"/>
                </a:lnTo>
                <a:lnTo>
                  <a:pt x="16" y="78"/>
                </a:lnTo>
                <a:lnTo>
                  <a:pt x="12" y="78"/>
                </a:lnTo>
                <a:lnTo>
                  <a:pt x="12" y="78"/>
                </a:lnTo>
                <a:lnTo>
                  <a:pt x="8" y="78"/>
                </a:lnTo>
                <a:lnTo>
                  <a:pt x="8" y="78"/>
                </a:lnTo>
                <a:lnTo>
                  <a:pt x="8" y="78"/>
                </a:lnTo>
                <a:lnTo>
                  <a:pt x="8" y="78"/>
                </a:lnTo>
                <a:lnTo>
                  <a:pt x="8" y="74"/>
                </a:lnTo>
                <a:lnTo>
                  <a:pt x="8" y="74"/>
                </a:lnTo>
                <a:lnTo>
                  <a:pt x="4" y="74"/>
                </a:lnTo>
                <a:lnTo>
                  <a:pt x="4" y="74"/>
                </a:lnTo>
                <a:lnTo>
                  <a:pt x="4" y="70"/>
                </a:lnTo>
                <a:lnTo>
                  <a:pt x="4" y="70"/>
                </a:lnTo>
                <a:lnTo>
                  <a:pt x="4" y="70"/>
                </a:lnTo>
                <a:lnTo>
                  <a:pt x="4" y="70"/>
                </a:lnTo>
                <a:lnTo>
                  <a:pt x="4" y="70"/>
                </a:lnTo>
                <a:lnTo>
                  <a:pt x="0" y="70"/>
                </a:lnTo>
                <a:lnTo>
                  <a:pt x="0" y="66"/>
                </a:lnTo>
                <a:lnTo>
                  <a:pt x="0" y="66"/>
                </a:lnTo>
                <a:lnTo>
                  <a:pt x="0" y="66"/>
                </a:lnTo>
                <a:lnTo>
                  <a:pt x="0" y="64"/>
                </a:lnTo>
                <a:lnTo>
                  <a:pt x="0" y="64"/>
                </a:lnTo>
                <a:lnTo>
                  <a:pt x="0" y="64"/>
                </a:lnTo>
                <a:lnTo>
                  <a:pt x="0" y="64"/>
                </a:lnTo>
                <a:lnTo>
                  <a:pt x="0" y="60"/>
                </a:lnTo>
                <a:lnTo>
                  <a:pt x="0" y="60"/>
                </a:lnTo>
                <a:lnTo>
                  <a:pt x="0" y="60"/>
                </a:lnTo>
                <a:lnTo>
                  <a:pt x="0" y="60"/>
                </a:lnTo>
                <a:lnTo>
                  <a:pt x="0" y="60"/>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82" name="Freeform 189"/>
          <p:cNvSpPr>
            <a:spLocks noEditPoints="1"/>
          </p:cNvSpPr>
          <p:nvPr/>
        </p:nvSpPr>
        <p:spPr bwMode="auto">
          <a:xfrm>
            <a:off x="3024187" y="3445668"/>
            <a:ext cx="226219" cy="242888"/>
          </a:xfrm>
          <a:custGeom>
            <a:avLst/>
            <a:gdLst>
              <a:gd name="T0" fmla="*/ 108 w 190"/>
              <a:gd name="T1" fmla="*/ 38 h 204"/>
              <a:gd name="T2" fmla="*/ 126 w 190"/>
              <a:gd name="T3" fmla="*/ 30 h 204"/>
              <a:gd name="T4" fmla="*/ 126 w 190"/>
              <a:gd name="T5" fmla="*/ 30 h 204"/>
              <a:gd name="T6" fmla="*/ 148 w 190"/>
              <a:gd name="T7" fmla="*/ 28 h 204"/>
              <a:gd name="T8" fmla="*/ 152 w 190"/>
              <a:gd name="T9" fmla="*/ 30 h 204"/>
              <a:gd name="T10" fmla="*/ 148 w 190"/>
              <a:gd name="T11" fmla="*/ 34 h 204"/>
              <a:gd name="T12" fmla="*/ 152 w 190"/>
              <a:gd name="T13" fmla="*/ 42 h 204"/>
              <a:gd name="T14" fmla="*/ 156 w 190"/>
              <a:gd name="T15" fmla="*/ 42 h 204"/>
              <a:gd name="T16" fmla="*/ 160 w 190"/>
              <a:gd name="T17" fmla="*/ 42 h 204"/>
              <a:gd name="T18" fmla="*/ 172 w 190"/>
              <a:gd name="T19" fmla="*/ 46 h 204"/>
              <a:gd name="T20" fmla="*/ 172 w 190"/>
              <a:gd name="T21" fmla="*/ 58 h 204"/>
              <a:gd name="T22" fmla="*/ 168 w 190"/>
              <a:gd name="T23" fmla="*/ 68 h 204"/>
              <a:gd name="T24" fmla="*/ 190 w 190"/>
              <a:gd name="T25" fmla="*/ 68 h 204"/>
              <a:gd name="T26" fmla="*/ 178 w 190"/>
              <a:gd name="T27" fmla="*/ 84 h 204"/>
              <a:gd name="T28" fmla="*/ 178 w 190"/>
              <a:gd name="T29" fmla="*/ 94 h 204"/>
              <a:gd name="T30" fmla="*/ 172 w 190"/>
              <a:gd name="T31" fmla="*/ 106 h 204"/>
              <a:gd name="T32" fmla="*/ 178 w 190"/>
              <a:gd name="T33" fmla="*/ 128 h 204"/>
              <a:gd name="T34" fmla="*/ 168 w 190"/>
              <a:gd name="T35" fmla="*/ 140 h 204"/>
              <a:gd name="T36" fmla="*/ 152 w 190"/>
              <a:gd name="T37" fmla="*/ 144 h 204"/>
              <a:gd name="T38" fmla="*/ 142 w 190"/>
              <a:gd name="T39" fmla="*/ 144 h 204"/>
              <a:gd name="T40" fmla="*/ 130 w 190"/>
              <a:gd name="T41" fmla="*/ 148 h 204"/>
              <a:gd name="T42" fmla="*/ 118 w 190"/>
              <a:gd name="T43" fmla="*/ 140 h 204"/>
              <a:gd name="T44" fmla="*/ 126 w 190"/>
              <a:gd name="T45" fmla="*/ 154 h 204"/>
              <a:gd name="T46" fmla="*/ 134 w 190"/>
              <a:gd name="T47" fmla="*/ 170 h 204"/>
              <a:gd name="T48" fmla="*/ 134 w 190"/>
              <a:gd name="T49" fmla="*/ 178 h 204"/>
              <a:gd name="T50" fmla="*/ 118 w 190"/>
              <a:gd name="T51" fmla="*/ 192 h 204"/>
              <a:gd name="T52" fmla="*/ 108 w 190"/>
              <a:gd name="T53" fmla="*/ 204 h 204"/>
              <a:gd name="T54" fmla="*/ 98 w 190"/>
              <a:gd name="T55" fmla="*/ 200 h 204"/>
              <a:gd name="T56" fmla="*/ 86 w 190"/>
              <a:gd name="T57" fmla="*/ 174 h 204"/>
              <a:gd name="T58" fmla="*/ 82 w 190"/>
              <a:gd name="T59" fmla="*/ 154 h 204"/>
              <a:gd name="T60" fmla="*/ 78 w 190"/>
              <a:gd name="T61" fmla="*/ 144 h 204"/>
              <a:gd name="T62" fmla="*/ 78 w 190"/>
              <a:gd name="T63" fmla="*/ 120 h 204"/>
              <a:gd name="T64" fmla="*/ 74 w 190"/>
              <a:gd name="T65" fmla="*/ 106 h 204"/>
              <a:gd name="T66" fmla="*/ 56 w 190"/>
              <a:gd name="T67" fmla="*/ 106 h 204"/>
              <a:gd name="T68" fmla="*/ 42 w 190"/>
              <a:gd name="T69" fmla="*/ 90 h 204"/>
              <a:gd name="T70" fmla="*/ 26 w 190"/>
              <a:gd name="T71" fmla="*/ 90 h 204"/>
              <a:gd name="T72" fmla="*/ 12 w 190"/>
              <a:gd name="T73" fmla="*/ 84 h 204"/>
              <a:gd name="T74" fmla="*/ 12 w 190"/>
              <a:gd name="T75" fmla="*/ 68 h 204"/>
              <a:gd name="T76" fmla="*/ 0 w 190"/>
              <a:gd name="T77" fmla="*/ 54 h 204"/>
              <a:gd name="T78" fmla="*/ 4 w 190"/>
              <a:gd name="T79" fmla="*/ 34 h 204"/>
              <a:gd name="T80" fmla="*/ 14 w 190"/>
              <a:gd name="T81" fmla="*/ 20 h 204"/>
              <a:gd name="T82" fmla="*/ 26 w 190"/>
              <a:gd name="T83" fmla="*/ 12 h 204"/>
              <a:gd name="T84" fmla="*/ 22 w 190"/>
              <a:gd name="T85" fmla="*/ 24 h 204"/>
              <a:gd name="T86" fmla="*/ 14 w 190"/>
              <a:gd name="T87" fmla="*/ 42 h 204"/>
              <a:gd name="T88" fmla="*/ 22 w 190"/>
              <a:gd name="T89" fmla="*/ 58 h 204"/>
              <a:gd name="T90" fmla="*/ 30 w 190"/>
              <a:gd name="T91" fmla="*/ 38 h 204"/>
              <a:gd name="T92" fmla="*/ 26 w 190"/>
              <a:gd name="T93" fmla="*/ 24 h 204"/>
              <a:gd name="T94" fmla="*/ 42 w 190"/>
              <a:gd name="T95" fmla="*/ 16 h 204"/>
              <a:gd name="T96" fmla="*/ 44 w 190"/>
              <a:gd name="T97" fmla="*/ 12 h 204"/>
              <a:gd name="T98" fmla="*/ 48 w 190"/>
              <a:gd name="T99" fmla="*/ 8 h 204"/>
              <a:gd name="T100" fmla="*/ 64 w 190"/>
              <a:gd name="T101" fmla="*/ 16 h 204"/>
              <a:gd name="T102" fmla="*/ 78 w 190"/>
              <a:gd name="T103" fmla="*/ 30 h 204"/>
              <a:gd name="T104" fmla="*/ 98 w 190"/>
              <a:gd name="T105" fmla="*/ 30 h 204"/>
              <a:gd name="T106" fmla="*/ 174 w 190"/>
              <a:gd name="T107" fmla="*/ 58 h 204"/>
              <a:gd name="T108" fmla="*/ 174 w 190"/>
              <a:gd name="T109" fmla="*/ 60 h 204"/>
              <a:gd name="T110" fmla="*/ 172 w 190"/>
              <a:gd name="T111" fmla="*/ 64 h 204"/>
              <a:gd name="T112" fmla="*/ 172 w 190"/>
              <a:gd name="T113" fmla="*/ 64 h 204"/>
              <a:gd name="T114" fmla="*/ 172 w 190"/>
              <a:gd name="T115" fmla="*/ 64 h 204"/>
              <a:gd name="T116" fmla="*/ 168 w 190"/>
              <a:gd name="T117" fmla="*/ 68 h 204"/>
              <a:gd name="T118" fmla="*/ 172 w 190"/>
              <a:gd name="T119" fmla="*/ 64 h 204"/>
              <a:gd name="T120" fmla="*/ 126 w 190"/>
              <a:gd name="T121" fmla="*/ 24 h 204"/>
              <a:gd name="T122" fmla="*/ 130 w 190"/>
              <a:gd name="T123" fmla="*/ 28 h 204"/>
              <a:gd name="T124" fmla="*/ 112 w 190"/>
              <a:gd name="T125" fmla="*/ 28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90" h="204">
                <a:moveTo>
                  <a:pt x="98" y="30"/>
                </a:moveTo>
                <a:lnTo>
                  <a:pt x="100" y="30"/>
                </a:lnTo>
                <a:lnTo>
                  <a:pt x="100" y="34"/>
                </a:lnTo>
                <a:lnTo>
                  <a:pt x="104" y="34"/>
                </a:lnTo>
                <a:lnTo>
                  <a:pt x="104" y="38"/>
                </a:lnTo>
                <a:lnTo>
                  <a:pt x="108" y="38"/>
                </a:lnTo>
                <a:lnTo>
                  <a:pt x="112" y="38"/>
                </a:lnTo>
                <a:lnTo>
                  <a:pt x="116" y="38"/>
                </a:lnTo>
                <a:lnTo>
                  <a:pt x="118" y="38"/>
                </a:lnTo>
                <a:lnTo>
                  <a:pt x="122" y="34"/>
                </a:lnTo>
                <a:lnTo>
                  <a:pt x="126" y="34"/>
                </a:lnTo>
                <a:lnTo>
                  <a:pt x="126" y="30"/>
                </a:lnTo>
                <a:lnTo>
                  <a:pt x="130" y="30"/>
                </a:lnTo>
                <a:lnTo>
                  <a:pt x="130" y="34"/>
                </a:lnTo>
                <a:lnTo>
                  <a:pt x="134" y="34"/>
                </a:lnTo>
                <a:lnTo>
                  <a:pt x="134" y="30"/>
                </a:lnTo>
                <a:lnTo>
                  <a:pt x="130" y="30"/>
                </a:lnTo>
                <a:lnTo>
                  <a:pt x="126" y="30"/>
                </a:lnTo>
                <a:lnTo>
                  <a:pt x="130" y="30"/>
                </a:lnTo>
                <a:lnTo>
                  <a:pt x="134" y="30"/>
                </a:lnTo>
                <a:lnTo>
                  <a:pt x="138" y="30"/>
                </a:lnTo>
                <a:lnTo>
                  <a:pt x="142" y="28"/>
                </a:lnTo>
                <a:lnTo>
                  <a:pt x="144" y="28"/>
                </a:lnTo>
                <a:lnTo>
                  <a:pt x="148" y="28"/>
                </a:lnTo>
                <a:lnTo>
                  <a:pt x="152" y="28"/>
                </a:lnTo>
                <a:lnTo>
                  <a:pt x="156" y="28"/>
                </a:lnTo>
                <a:lnTo>
                  <a:pt x="160" y="28"/>
                </a:lnTo>
                <a:lnTo>
                  <a:pt x="160" y="30"/>
                </a:lnTo>
                <a:lnTo>
                  <a:pt x="156" y="30"/>
                </a:lnTo>
                <a:lnTo>
                  <a:pt x="152" y="30"/>
                </a:lnTo>
                <a:lnTo>
                  <a:pt x="148" y="30"/>
                </a:lnTo>
                <a:lnTo>
                  <a:pt x="144" y="30"/>
                </a:lnTo>
                <a:lnTo>
                  <a:pt x="148" y="30"/>
                </a:lnTo>
                <a:lnTo>
                  <a:pt x="148" y="34"/>
                </a:lnTo>
                <a:lnTo>
                  <a:pt x="144" y="34"/>
                </a:lnTo>
                <a:lnTo>
                  <a:pt x="148" y="34"/>
                </a:lnTo>
                <a:lnTo>
                  <a:pt x="148" y="38"/>
                </a:lnTo>
                <a:lnTo>
                  <a:pt x="144" y="38"/>
                </a:lnTo>
                <a:lnTo>
                  <a:pt x="148" y="42"/>
                </a:lnTo>
                <a:lnTo>
                  <a:pt x="148" y="38"/>
                </a:lnTo>
                <a:lnTo>
                  <a:pt x="152" y="38"/>
                </a:lnTo>
                <a:lnTo>
                  <a:pt x="152" y="42"/>
                </a:lnTo>
                <a:lnTo>
                  <a:pt x="156" y="46"/>
                </a:lnTo>
                <a:lnTo>
                  <a:pt x="152" y="46"/>
                </a:lnTo>
                <a:lnTo>
                  <a:pt x="156" y="46"/>
                </a:lnTo>
                <a:lnTo>
                  <a:pt x="156" y="42"/>
                </a:lnTo>
                <a:lnTo>
                  <a:pt x="156" y="46"/>
                </a:lnTo>
                <a:lnTo>
                  <a:pt x="156" y="42"/>
                </a:lnTo>
                <a:lnTo>
                  <a:pt x="160" y="42"/>
                </a:lnTo>
                <a:lnTo>
                  <a:pt x="156" y="42"/>
                </a:lnTo>
                <a:lnTo>
                  <a:pt x="160" y="42"/>
                </a:lnTo>
                <a:lnTo>
                  <a:pt x="160" y="46"/>
                </a:lnTo>
                <a:lnTo>
                  <a:pt x="164" y="46"/>
                </a:lnTo>
                <a:lnTo>
                  <a:pt x="160" y="42"/>
                </a:lnTo>
                <a:lnTo>
                  <a:pt x="164" y="42"/>
                </a:lnTo>
                <a:lnTo>
                  <a:pt x="164" y="46"/>
                </a:lnTo>
                <a:lnTo>
                  <a:pt x="164" y="42"/>
                </a:lnTo>
                <a:lnTo>
                  <a:pt x="168" y="42"/>
                </a:lnTo>
                <a:lnTo>
                  <a:pt x="168" y="46"/>
                </a:lnTo>
                <a:lnTo>
                  <a:pt x="172" y="46"/>
                </a:lnTo>
                <a:lnTo>
                  <a:pt x="172" y="50"/>
                </a:lnTo>
                <a:lnTo>
                  <a:pt x="174" y="50"/>
                </a:lnTo>
                <a:lnTo>
                  <a:pt x="174" y="54"/>
                </a:lnTo>
                <a:lnTo>
                  <a:pt x="172" y="58"/>
                </a:lnTo>
                <a:lnTo>
                  <a:pt x="174" y="54"/>
                </a:lnTo>
                <a:lnTo>
                  <a:pt x="172" y="58"/>
                </a:lnTo>
                <a:lnTo>
                  <a:pt x="172" y="60"/>
                </a:lnTo>
                <a:lnTo>
                  <a:pt x="172" y="64"/>
                </a:lnTo>
                <a:lnTo>
                  <a:pt x="168" y="64"/>
                </a:lnTo>
                <a:lnTo>
                  <a:pt x="164" y="64"/>
                </a:lnTo>
                <a:lnTo>
                  <a:pt x="168" y="64"/>
                </a:lnTo>
                <a:lnTo>
                  <a:pt x="168" y="68"/>
                </a:lnTo>
                <a:lnTo>
                  <a:pt x="172" y="68"/>
                </a:lnTo>
                <a:lnTo>
                  <a:pt x="174" y="64"/>
                </a:lnTo>
                <a:lnTo>
                  <a:pt x="178" y="64"/>
                </a:lnTo>
                <a:lnTo>
                  <a:pt x="182" y="64"/>
                </a:lnTo>
                <a:lnTo>
                  <a:pt x="186" y="64"/>
                </a:lnTo>
                <a:lnTo>
                  <a:pt x="190" y="68"/>
                </a:lnTo>
                <a:lnTo>
                  <a:pt x="190" y="72"/>
                </a:lnTo>
                <a:lnTo>
                  <a:pt x="186" y="72"/>
                </a:lnTo>
                <a:lnTo>
                  <a:pt x="186" y="76"/>
                </a:lnTo>
                <a:lnTo>
                  <a:pt x="182" y="76"/>
                </a:lnTo>
                <a:lnTo>
                  <a:pt x="178" y="80"/>
                </a:lnTo>
                <a:lnTo>
                  <a:pt x="178" y="84"/>
                </a:lnTo>
                <a:lnTo>
                  <a:pt x="178" y="88"/>
                </a:lnTo>
                <a:lnTo>
                  <a:pt x="178" y="90"/>
                </a:lnTo>
                <a:lnTo>
                  <a:pt x="182" y="88"/>
                </a:lnTo>
                <a:lnTo>
                  <a:pt x="182" y="90"/>
                </a:lnTo>
                <a:lnTo>
                  <a:pt x="182" y="94"/>
                </a:lnTo>
                <a:lnTo>
                  <a:pt x="178" y="94"/>
                </a:lnTo>
                <a:lnTo>
                  <a:pt x="178" y="98"/>
                </a:lnTo>
                <a:lnTo>
                  <a:pt x="174" y="94"/>
                </a:lnTo>
                <a:lnTo>
                  <a:pt x="174" y="98"/>
                </a:lnTo>
                <a:lnTo>
                  <a:pt x="172" y="98"/>
                </a:lnTo>
                <a:lnTo>
                  <a:pt x="172" y="102"/>
                </a:lnTo>
                <a:lnTo>
                  <a:pt x="172" y="106"/>
                </a:lnTo>
                <a:lnTo>
                  <a:pt x="168" y="110"/>
                </a:lnTo>
                <a:lnTo>
                  <a:pt x="172" y="118"/>
                </a:lnTo>
                <a:lnTo>
                  <a:pt x="174" y="120"/>
                </a:lnTo>
                <a:lnTo>
                  <a:pt x="174" y="124"/>
                </a:lnTo>
                <a:lnTo>
                  <a:pt x="178" y="124"/>
                </a:lnTo>
                <a:lnTo>
                  <a:pt x="178" y="128"/>
                </a:lnTo>
                <a:lnTo>
                  <a:pt x="178" y="132"/>
                </a:lnTo>
                <a:lnTo>
                  <a:pt x="174" y="132"/>
                </a:lnTo>
                <a:lnTo>
                  <a:pt x="174" y="136"/>
                </a:lnTo>
                <a:lnTo>
                  <a:pt x="172" y="136"/>
                </a:lnTo>
                <a:lnTo>
                  <a:pt x="168" y="136"/>
                </a:lnTo>
                <a:lnTo>
                  <a:pt x="168" y="140"/>
                </a:lnTo>
                <a:lnTo>
                  <a:pt x="164" y="140"/>
                </a:lnTo>
                <a:lnTo>
                  <a:pt x="160" y="140"/>
                </a:lnTo>
                <a:lnTo>
                  <a:pt x="156" y="144"/>
                </a:lnTo>
                <a:lnTo>
                  <a:pt x="156" y="140"/>
                </a:lnTo>
                <a:lnTo>
                  <a:pt x="152" y="140"/>
                </a:lnTo>
                <a:lnTo>
                  <a:pt x="152" y="144"/>
                </a:lnTo>
                <a:lnTo>
                  <a:pt x="148" y="144"/>
                </a:lnTo>
                <a:lnTo>
                  <a:pt x="148" y="148"/>
                </a:lnTo>
                <a:lnTo>
                  <a:pt x="148" y="152"/>
                </a:lnTo>
                <a:lnTo>
                  <a:pt x="144" y="152"/>
                </a:lnTo>
                <a:lnTo>
                  <a:pt x="142" y="148"/>
                </a:lnTo>
                <a:lnTo>
                  <a:pt x="142" y="144"/>
                </a:lnTo>
                <a:lnTo>
                  <a:pt x="138" y="144"/>
                </a:lnTo>
                <a:lnTo>
                  <a:pt x="138" y="148"/>
                </a:lnTo>
                <a:lnTo>
                  <a:pt x="138" y="144"/>
                </a:lnTo>
                <a:lnTo>
                  <a:pt x="134" y="144"/>
                </a:lnTo>
                <a:lnTo>
                  <a:pt x="130" y="144"/>
                </a:lnTo>
                <a:lnTo>
                  <a:pt x="130" y="148"/>
                </a:lnTo>
                <a:lnTo>
                  <a:pt x="130" y="144"/>
                </a:lnTo>
                <a:lnTo>
                  <a:pt x="126" y="144"/>
                </a:lnTo>
                <a:lnTo>
                  <a:pt x="126" y="140"/>
                </a:lnTo>
                <a:lnTo>
                  <a:pt x="122" y="144"/>
                </a:lnTo>
                <a:lnTo>
                  <a:pt x="122" y="140"/>
                </a:lnTo>
                <a:lnTo>
                  <a:pt x="118" y="140"/>
                </a:lnTo>
                <a:lnTo>
                  <a:pt x="118" y="144"/>
                </a:lnTo>
                <a:lnTo>
                  <a:pt x="122" y="144"/>
                </a:lnTo>
                <a:lnTo>
                  <a:pt x="122" y="148"/>
                </a:lnTo>
                <a:lnTo>
                  <a:pt x="126" y="148"/>
                </a:lnTo>
                <a:lnTo>
                  <a:pt x="126" y="152"/>
                </a:lnTo>
                <a:lnTo>
                  <a:pt x="126" y="154"/>
                </a:lnTo>
                <a:lnTo>
                  <a:pt x="126" y="158"/>
                </a:lnTo>
                <a:lnTo>
                  <a:pt x="130" y="158"/>
                </a:lnTo>
                <a:lnTo>
                  <a:pt x="130" y="162"/>
                </a:lnTo>
                <a:lnTo>
                  <a:pt x="130" y="166"/>
                </a:lnTo>
                <a:lnTo>
                  <a:pt x="130" y="170"/>
                </a:lnTo>
                <a:lnTo>
                  <a:pt x="134" y="170"/>
                </a:lnTo>
                <a:lnTo>
                  <a:pt x="138" y="170"/>
                </a:lnTo>
                <a:lnTo>
                  <a:pt x="142" y="170"/>
                </a:lnTo>
                <a:lnTo>
                  <a:pt x="142" y="174"/>
                </a:lnTo>
                <a:lnTo>
                  <a:pt x="138" y="174"/>
                </a:lnTo>
                <a:lnTo>
                  <a:pt x="138" y="178"/>
                </a:lnTo>
                <a:lnTo>
                  <a:pt x="134" y="178"/>
                </a:lnTo>
                <a:lnTo>
                  <a:pt x="130" y="178"/>
                </a:lnTo>
                <a:lnTo>
                  <a:pt x="130" y="182"/>
                </a:lnTo>
                <a:lnTo>
                  <a:pt x="130" y="184"/>
                </a:lnTo>
                <a:lnTo>
                  <a:pt x="126" y="188"/>
                </a:lnTo>
                <a:lnTo>
                  <a:pt x="122" y="188"/>
                </a:lnTo>
                <a:lnTo>
                  <a:pt x="118" y="192"/>
                </a:lnTo>
                <a:lnTo>
                  <a:pt x="116" y="192"/>
                </a:lnTo>
                <a:lnTo>
                  <a:pt x="116" y="196"/>
                </a:lnTo>
                <a:lnTo>
                  <a:pt x="112" y="196"/>
                </a:lnTo>
                <a:lnTo>
                  <a:pt x="112" y="200"/>
                </a:lnTo>
                <a:lnTo>
                  <a:pt x="108" y="200"/>
                </a:lnTo>
                <a:lnTo>
                  <a:pt x="108" y="204"/>
                </a:lnTo>
                <a:lnTo>
                  <a:pt x="108" y="200"/>
                </a:lnTo>
                <a:lnTo>
                  <a:pt x="108" y="196"/>
                </a:lnTo>
                <a:lnTo>
                  <a:pt x="104" y="196"/>
                </a:lnTo>
                <a:lnTo>
                  <a:pt x="104" y="200"/>
                </a:lnTo>
                <a:lnTo>
                  <a:pt x="100" y="200"/>
                </a:lnTo>
                <a:lnTo>
                  <a:pt x="98" y="200"/>
                </a:lnTo>
                <a:lnTo>
                  <a:pt x="94" y="192"/>
                </a:lnTo>
                <a:lnTo>
                  <a:pt x="90" y="192"/>
                </a:lnTo>
                <a:lnTo>
                  <a:pt x="90" y="188"/>
                </a:lnTo>
                <a:lnTo>
                  <a:pt x="90" y="184"/>
                </a:lnTo>
                <a:lnTo>
                  <a:pt x="86" y="178"/>
                </a:lnTo>
                <a:lnTo>
                  <a:pt x="86" y="174"/>
                </a:lnTo>
                <a:lnTo>
                  <a:pt x="86" y="170"/>
                </a:lnTo>
                <a:lnTo>
                  <a:pt x="82" y="166"/>
                </a:lnTo>
                <a:lnTo>
                  <a:pt x="78" y="166"/>
                </a:lnTo>
                <a:lnTo>
                  <a:pt x="78" y="162"/>
                </a:lnTo>
                <a:lnTo>
                  <a:pt x="82" y="158"/>
                </a:lnTo>
                <a:lnTo>
                  <a:pt x="82" y="154"/>
                </a:lnTo>
                <a:lnTo>
                  <a:pt x="86" y="154"/>
                </a:lnTo>
                <a:lnTo>
                  <a:pt x="82" y="154"/>
                </a:lnTo>
                <a:lnTo>
                  <a:pt x="82" y="152"/>
                </a:lnTo>
                <a:lnTo>
                  <a:pt x="82" y="148"/>
                </a:lnTo>
                <a:lnTo>
                  <a:pt x="78" y="148"/>
                </a:lnTo>
                <a:lnTo>
                  <a:pt x="78" y="144"/>
                </a:lnTo>
                <a:lnTo>
                  <a:pt x="78" y="140"/>
                </a:lnTo>
                <a:lnTo>
                  <a:pt x="74" y="136"/>
                </a:lnTo>
                <a:lnTo>
                  <a:pt x="78" y="132"/>
                </a:lnTo>
                <a:lnTo>
                  <a:pt x="78" y="128"/>
                </a:lnTo>
                <a:lnTo>
                  <a:pt x="78" y="124"/>
                </a:lnTo>
                <a:lnTo>
                  <a:pt x="78" y="120"/>
                </a:lnTo>
                <a:lnTo>
                  <a:pt x="78" y="118"/>
                </a:lnTo>
                <a:lnTo>
                  <a:pt x="78" y="114"/>
                </a:lnTo>
                <a:lnTo>
                  <a:pt x="82" y="110"/>
                </a:lnTo>
                <a:lnTo>
                  <a:pt x="82" y="106"/>
                </a:lnTo>
                <a:lnTo>
                  <a:pt x="78" y="106"/>
                </a:lnTo>
                <a:lnTo>
                  <a:pt x="74" y="106"/>
                </a:lnTo>
                <a:lnTo>
                  <a:pt x="72" y="106"/>
                </a:lnTo>
                <a:lnTo>
                  <a:pt x="68" y="106"/>
                </a:lnTo>
                <a:lnTo>
                  <a:pt x="64" y="106"/>
                </a:lnTo>
                <a:lnTo>
                  <a:pt x="60" y="106"/>
                </a:lnTo>
                <a:lnTo>
                  <a:pt x="56" y="110"/>
                </a:lnTo>
                <a:lnTo>
                  <a:pt x="56" y="106"/>
                </a:lnTo>
                <a:lnTo>
                  <a:pt x="48" y="102"/>
                </a:lnTo>
                <a:lnTo>
                  <a:pt x="44" y="94"/>
                </a:lnTo>
                <a:lnTo>
                  <a:pt x="44" y="90"/>
                </a:lnTo>
                <a:lnTo>
                  <a:pt x="44" y="94"/>
                </a:lnTo>
                <a:lnTo>
                  <a:pt x="42" y="94"/>
                </a:lnTo>
                <a:lnTo>
                  <a:pt x="42" y="90"/>
                </a:lnTo>
                <a:lnTo>
                  <a:pt x="38" y="90"/>
                </a:lnTo>
                <a:lnTo>
                  <a:pt x="34" y="90"/>
                </a:lnTo>
                <a:lnTo>
                  <a:pt x="30" y="90"/>
                </a:lnTo>
                <a:lnTo>
                  <a:pt x="30" y="94"/>
                </a:lnTo>
                <a:lnTo>
                  <a:pt x="30" y="90"/>
                </a:lnTo>
                <a:lnTo>
                  <a:pt x="26" y="90"/>
                </a:lnTo>
                <a:lnTo>
                  <a:pt x="22" y="90"/>
                </a:lnTo>
                <a:lnTo>
                  <a:pt x="18" y="90"/>
                </a:lnTo>
                <a:lnTo>
                  <a:pt x="14" y="90"/>
                </a:lnTo>
                <a:lnTo>
                  <a:pt x="14" y="88"/>
                </a:lnTo>
                <a:lnTo>
                  <a:pt x="12" y="88"/>
                </a:lnTo>
                <a:lnTo>
                  <a:pt x="12" y="84"/>
                </a:lnTo>
                <a:lnTo>
                  <a:pt x="12" y="80"/>
                </a:lnTo>
                <a:lnTo>
                  <a:pt x="12" y="76"/>
                </a:lnTo>
                <a:lnTo>
                  <a:pt x="14" y="76"/>
                </a:lnTo>
                <a:lnTo>
                  <a:pt x="14" y="72"/>
                </a:lnTo>
                <a:lnTo>
                  <a:pt x="12" y="72"/>
                </a:lnTo>
                <a:lnTo>
                  <a:pt x="12" y="68"/>
                </a:lnTo>
                <a:lnTo>
                  <a:pt x="8" y="64"/>
                </a:lnTo>
                <a:lnTo>
                  <a:pt x="8" y="60"/>
                </a:lnTo>
                <a:lnTo>
                  <a:pt x="8" y="58"/>
                </a:lnTo>
                <a:lnTo>
                  <a:pt x="4" y="58"/>
                </a:lnTo>
                <a:lnTo>
                  <a:pt x="4" y="54"/>
                </a:lnTo>
                <a:lnTo>
                  <a:pt x="0" y="54"/>
                </a:lnTo>
                <a:lnTo>
                  <a:pt x="0" y="50"/>
                </a:lnTo>
                <a:lnTo>
                  <a:pt x="4" y="50"/>
                </a:lnTo>
                <a:lnTo>
                  <a:pt x="4" y="46"/>
                </a:lnTo>
                <a:lnTo>
                  <a:pt x="4" y="42"/>
                </a:lnTo>
                <a:lnTo>
                  <a:pt x="4" y="38"/>
                </a:lnTo>
                <a:lnTo>
                  <a:pt x="4" y="34"/>
                </a:lnTo>
                <a:lnTo>
                  <a:pt x="8" y="30"/>
                </a:lnTo>
                <a:lnTo>
                  <a:pt x="8" y="28"/>
                </a:lnTo>
                <a:lnTo>
                  <a:pt x="8" y="24"/>
                </a:lnTo>
                <a:lnTo>
                  <a:pt x="12" y="24"/>
                </a:lnTo>
                <a:lnTo>
                  <a:pt x="12" y="20"/>
                </a:lnTo>
                <a:lnTo>
                  <a:pt x="14" y="20"/>
                </a:lnTo>
                <a:lnTo>
                  <a:pt x="14" y="16"/>
                </a:lnTo>
                <a:lnTo>
                  <a:pt x="18" y="12"/>
                </a:lnTo>
                <a:lnTo>
                  <a:pt x="22" y="12"/>
                </a:lnTo>
                <a:lnTo>
                  <a:pt x="22" y="8"/>
                </a:lnTo>
                <a:lnTo>
                  <a:pt x="26" y="8"/>
                </a:lnTo>
                <a:lnTo>
                  <a:pt x="26" y="12"/>
                </a:lnTo>
                <a:lnTo>
                  <a:pt x="22" y="12"/>
                </a:lnTo>
                <a:lnTo>
                  <a:pt x="18" y="12"/>
                </a:lnTo>
                <a:lnTo>
                  <a:pt x="18" y="16"/>
                </a:lnTo>
                <a:lnTo>
                  <a:pt x="18" y="20"/>
                </a:lnTo>
                <a:lnTo>
                  <a:pt x="22" y="20"/>
                </a:lnTo>
                <a:lnTo>
                  <a:pt x="22" y="24"/>
                </a:lnTo>
                <a:lnTo>
                  <a:pt x="22" y="28"/>
                </a:lnTo>
                <a:lnTo>
                  <a:pt x="22" y="30"/>
                </a:lnTo>
                <a:lnTo>
                  <a:pt x="22" y="34"/>
                </a:lnTo>
                <a:lnTo>
                  <a:pt x="18" y="34"/>
                </a:lnTo>
                <a:lnTo>
                  <a:pt x="18" y="38"/>
                </a:lnTo>
                <a:lnTo>
                  <a:pt x="14" y="42"/>
                </a:lnTo>
                <a:lnTo>
                  <a:pt x="14" y="46"/>
                </a:lnTo>
                <a:lnTo>
                  <a:pt x="18" y="46"/>
                </a:lnTo>
                <a:lnTo>
                  <a:pt x="18" y="50"/>
                </a:lnTo>
                <a:lnTo>
                  <a:pt x="22" y="50"/>
                </a:lnTo>
                <a:lnTo>
                  <a:pt x="22" y="54"/>
                </a:lnTo>
                <a:lnTo>
                  <a:pt x="22" y="58"/>
                </a:lnTo>
                <a:lnTo>
                  <a:pt x="26" y="58"/>
                </a:lnTo>
                <a:lnTo>
                  <a:pt x="30" y="54"/>
                </a:lnTo>
                <a:lnTo>
                  <a:pt x="30" y="50"/>
                </a:lnTo>
                <a:lnTo>
                  <a:pt x="30" y="46"/>
                </a:lnTo>
                <a:lnTo>
                  <a:pt x="30" y="42"/>
                </a:lnTo>
                <a:lnTo>
                  <a:pt x="30" y="38"/>
                </a:lnTo>
                <a:lnTo>
                  <a:pt x="26" y="38"/>
                </a:lnTo>
                <a:lnTo>
                  <a:pt x="26" y="34"/>
                </a:lnTo>
                <a:lnTo>
                  <a:pt x="26" y="30"/>
                </a:lnTo>
                <a:lnTo>
                  <a:pt x="22" y="30"/>
                </a:lnTo>
                <a:lnTo>
                  <a:pt x="26" y="28"/>
                </a:lnTo>
                <a:lnTo>
                  <a:pt x="26" y="24"/>
                </a:lnTo>
                <a:lnTo>
                  <a:pt x="30" y="24"/>
                </a:lnTo>
                <a:lnTo>
                  <a:pt x="30" y="20"/>
                </a:lnTo>
                <a:lnTo>
                  <a:pt x="34" y="20"/>
                </a:lnTo>
                <a:lnTo>
                  <a:pt x="38" y="20"/>
                </a:lnTo>
                <a:lnTo>
                  <a:pt x="42" y="20"/>
                </a:lnTo>
                <a:lnTo>
                  <a:pt x="42" y="16"/>
                </a:lnTo>
                <a:lnTo>
                  <a:pt x="44" y="16"/>
                </a:lnTo>
                <a:lnTo>
                  <a:pt x="48" y="16"/>
                </a:lnTo>
                <a:lnTo>
                  <a:pt x="48" y="12"/>
                </a:lnTo>
                <a:lnTo>
                  <a:pt x="44" y="12"/>
                </a:lnTo>
                <a:lnTo>
                  <a:pt x="42" y="12"/>
                </a:lnTo>
                <a:lnTo>
                  <a:pt x="44" y="12"/>
                </a:lnTo>
                <a:lnTo>
                  <a:pt x="42" y="8"/>
                </a:lnTo>
                <a:lnTo>
                  <a:pt x="42" y="4"/>
                </a:lnTo>
                <a:lnTo>
                  <a:pt x="44" y="4"/>
                </a:lnTo>
                <a:lnTo>
                  <a:pt x="44" y="0"/>
                </a:lnTo>
                <a:lnTo>
                  <a:pt x="48" y="4"/>
                </a:lnTo>
                <a:lnTo>
                  <a:pt x="48" y="8"/>
                </a:lnTo>
                <a:lnTo>
                  <a:pt x="48" y="12"/>
                </a:lnTo>
                <a:lnTo>
                  <a:pt x="52" y="16"/>
                </a:lnTo>
                <a:lnTo>
                  <a:pt x="56" y="16"/>
                </a:lnTo>
                <a:lnTo>
                  <a:pt x="56" y="12"/>
                </a:lnTo>
                <a:lnTo>
                  <a:pt x="60" y="16"/>
                </a:lnTo>
                <a:lnTo>
                  <a:pt x="64" y="16"/>
                </a:lnTo>
                <a:lnTo>
                  <a:pt x="68" y="20"/>
                </a:lnTo>
                <a:lnTo>
                  <a:pt x="72" y="24"/>
                </a:lnTo>
                <a:lnTo>
                  <a:pt x="72" y="28"/>
                </a:lnTo>
                <a:lnTo>
                  <a:pt x="72" y="30"/>
                </a:lnTo>
                <a:lnTo>
                  <a:pt x="74" y="30"/>
                </a:lnTo>
                <a:lnTo>
                  <a:pt x="78" y="30"/>
                </a:lnTo>
                <a:lnTo>
                  <a:pt x="82" y="30"/>
                </a:lnTo>
                <a:lnTo>
                  <a:pt x="86" y="30"/>
                </a:lnTo>
                <a:lnTo>
                  <a:pt x="90" y="30"/>
                </a:lnTo>
                <a:lnTo>
                  <a:pt x="98" y="30"/>
                </a:lnTo>
                <a:lnTo>
                  <a:pt x="98" y="30"/>
                </a:lnTo>
                <a:lnTo>
                  <a:pt x="98" y="30"/>
                </a:lnTo>
                <a:close/>
                <a:moveTo>
                  <a:pt x="174" y="58"/>
                </a:moveTo>
                <a:lnTo>
                  <a:pt x="172" y="60"/>
                </a:lnTo>
                <a:lnTo>
                  <a:pt x="172" y="58"/>
                </a:lnTo>
                <a:lnTo>
                  <a:pt x="174" y="58"/>
                </a:lnTo>
                <a:lnTo>
                  <a:pt x="174" y="58"/>
                </a:lnTo>
                <a:lnTo>
                  <a:pt x="174" y="58"/>
                </a:lnTo>
                <a:close/>
                <a:moveTo>
                  <a:pt x="174" y="60"/>
                </a:moveTo>
                <a:lnTo>
                  <a:pt x="172" y="60"/>
                </a:lnTo>
                <a:lnTo>
                  <a:pt x="174" y="58"/>
                </a:lnTo>
                <a:lnTo>
                  <a:pt x="174" y="60"/>
                </a:lnTo>
                <a:lnTo>
                  <a:pt x="174" y="60"/>
                </a:lnTo>
                <a:lnTo>
                  <a:pt x="174" y="60"/>
                </a:lnTo>
                <a:close/>
                <a:moveTo>
                  <a:pt x="172" y="64"/>
                </a:moveTo>
                <a:lnTo>
                  <a:pt x="172" y="60"/>
                </a:lnTo>
                <a:lnTo>
                  <a:pt x="174" y="60"/>
                </a:lnTo>
                <a:lnTo>
                  <a:pt x="172" y="64"/>
                </a:lnTo>
                <a:lnTo>
                  <a:pt x="172" y="64"/>
                </a:lnTo>
                <a:lnTo>
                  <a:pt x="172" y="64"/>
                </a:lnTo>
                <a:close/>
                <a:moveTo>
                  <a:pt x="174" y="64"/>
                </a:moveTo>
                <a:lnTo>
                  <a:pt x="174" y="60"/>
                </a:lnTo>
                <a:lnTo>
                  <a:pt x="174" y="64"/>
                </a:lnTo>
                <a:lnTo>
                  <a:pt x="174" y="64"/>
                </a:lnTo>
                <a:lnTo>
                  <a:pt x="174" y="64"/>
                </a:lnTo>
                <a:close/>
                <a:moveTo>
                  <a:pt x="172" y="64"/>
                </a:moveTo>
                <a:lnTo>
                  <a:pt x="174" y="60"/>
                </a:lnTo>
                <a:lnTo>
                  <a:pt x="174" y="64"/>
                </a:lnTo>
                <a:lnTo>
                  <a:pt x="172" y="64"/>
                </a:lnTo>
                <a:lnTo>
                  <a:pt x="172" y="64"/>
                </a:lnTo>
                <a:lnTo>
                  <a:pt x="172" y="64"/>
                </a:lnTo>
                <a:close/>
                <a:moveTo>
                  <a:pt x="172" y="64"/>
                </a:moveTo>
                <a:lnTo>
                  <a:pt x="174" y="64"/>
                </a:lnTo>
                <a:lnTo>
                  <a:pt x="172" y="64"/>
                </a:lnTo>
                <a:lnTo>
                  <a:pt x="172" y="64"/>
                </a:lnTo>
                <a:lnTo>
                  <a:pt x="172" y="64"/>
                </a:lnTo>
                <a:close/>
                <a:moveTo>
                  <a:pt x="172" y="68"/>
                </a:moveTo>
                <a:lnTo>
                  <a:pt x="168" y="68"/>
                </a:lnTo>
                <a:lnTo>
                  <a:pt x="168" y="64"/>
                </a:lnTo>
                <a:lnTo>
                  <a:pt x="164" y="64"/>
                </a:lnTo>
                <a:lnTo>
                  <a:pt x="168" y="64"/>
                </a:lnTo>
                <a:lnTo>
                  <a:pt x="172" y="64"/>
                </a:lnTo>
                <a:lnTo>
                  <a:pt x="168" y="64"/>
                </a:lnTo>
                <a:lnTo>
                  <a:pt x="172" y="64"/>
                </a:lnTo>
                <a:lnTo>
                  <a:pt x="172" y="68"/>
                </a:lnTo>
                <a:lnTo>
                  <a:pt x="172" y="68"/>
                </a:lnTo>
                <a:lnTo>
                  <a:pt x="172" y="68"/>
                </a:lnTo>
                <a:close/>
                <a:moveTo>
                  <a:pt x="130" y="28"/>
                </a:moveTo>
                <a:lnTo>
                  <a:pt x="130" y="24"/>
                </a:lnTo>
                <a:lnTo>
                  <a:pt x="126" y="24"/>
                </a:lnTo>
                <a:lnTo>
                  <a:pt x="130" y="24"/>
                </a:lnTo>
                <a:lnTo>
                  <a:pt x="130" y="20"/>
                </a:lnTo>
                <a:lnTo>
                  <a:pt x="134" y="20"/>
                </a:lnTo>
                <a:lnTo>
                  <a:pt x="134" y="24"/>
                </a:lnTo>
                <a:lnTo>
                  <a:pt x="130" y="24"/>
                </a:lnTo>
                <a:lnTo>
                  <a:pt x="130" y="28"/>
                </a:lnTo>
                <a:lnTo>
                  <a:pt x="130" y="28"/>
                </a:lnTo>
                <a:lnTo>
                  <a:pt x="130" y="28"/>
                </a:lnTo>
                <a:close/>
                <a:moveTo>
                  <a:pt x="112" y="28"/>
                </a:moveTo>
                <a:lnTo>
                  <a:pt x="112" y="24"/>
                </a:lnTo>
                <a:lnTo>
                  <a:pt x="116" y="24"/>
                </a:lnTo>
                <a:lnTo>
                  <a:pt x="112" y="28"/>
                </a:lnTo>
                <a:lnTo>
                  <a:pt x="112" y="28"/>
                </a:lnTo>
                <a:lnTo>
                  <a:pt x="112" y="28"/>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83" name="Freeform 190"/>
          <p:cNvSpPr>
            <a:spLocks noEditPoints="1"/>
          </p:cNvSpPr>
          <p:nvPr/>
        </p:nvSpPr>
        <p:spPr bwMode="auto">
          <a:xfrm>
            <a:off x="6155531" y="3902868"/>
            <a:ext cx="776288" cy="1000125"/>
          </a:xfrm>
          <a:custGeom>
            <a:avLst/>
            <a:gdLst>
              <a:gd name="T0" fmla="*/ 570 w 652"/>
              <a:gd name="T1" fmla="*/ 288 h 840"/>
              <a:gd name="T2" fmla="*/ 570 w 652"/>
              <a:gd name="T3" fmla="*/ 362 h 840"/>
              <a:gd name="T4" fmla="*/ 540 w 652"/>
              <a:gd name="T5" fmla="*/ 426 h 840"/>
              <a:gd name="T6" fmla="*/ 526 w 652"/>
              <a:gd name="T7" fmla="*/ 482 h 840"/>
              <a:gd name="T8" fmla="*/ 472 w 652"/>
              <a:gd name="T9" fmla="*/ 516 h 840"/>
              <a:gd name="T10" fmla="*/ 454 w 652"/>
              <a:gd name="T11" fmla="*/ 500 h 840"/>
              <a:gd name="T12" fmla="*/ 410 w 652"/>
              <a:gd name="T13" fmla="*/ 508 h 840"/>
              <a:gd name="T14" fmla="*/ 372 w 652"/>
              <a:gd name="T15" fmla="*/ 456 h 840"/>
              <a:gd name="T16" fmla="*/ 362 w 652"/>
              <a:gd name="T17" fmla="*/ 448 h 840"/>
              <a:gd name="T18" fmla="*/ 350 w 652"/>
              <a:gd name="T19" fmla="*/ 442 h 840"/>
              <a:gd name="T20" fmla="*/ 342 w 652"/>
              <a:gd name="T21" fmla="*/ 418 h 840"/>
              <a:gd name="T22" fmla="*/ 320 w 652"/>
              <a:gd name="T23" fmla="*/ 438 h 840"/>
              <a:gd name="T24" fmla="*/ 294 w 652"/>
              <a:gd name="T25" fmla="*/ 392 h 840"/>
              <a:gd name="T26" fmla="*/ 228 w 652"/>
              <a:gd name="T27" fmla="*/ 384 h 840"/>
              <a:gd name="T28" fmla="*/ 160 w 652"/>
              <a:gd name="T29" fmla="*/ 408 h 840"/>
              <a:gd name="T30" fmla="*/ 120 w 652"/>
              <a:gd name="T31" fmla="*/ 422 h 840"/>
              <a:gd name="T32" fmla="*/ 74 w 652"/>
              <a:gd name="T33" fmla="*/ 448 h 840"/>
              <a:gd name="T34" fmla="*/ 30 w 652"/>
              <a:gd name="T35" fmla="*/ 422 h 840"/>
              <a:gd name="T36" fmla="*/ 34 w 652"/>
              <a:gd name="T37" fmla="*/ 366 h 840"/>
              <a:gd name="T38" fmla="*/ 16 w 652"/>
              <a:gd name="T39" fmla="*/ 296 h 840"/>
              <a:gd name="T40" fmla="*/ 12 w 652"/>
              <a:gd name="T41" fmla="*/ 278 h 840"/>
              <a:gd name="T42" fmla="*/ 12 w 652"/>
              <a:gd name="T43" fmla="*/ 244 h 840"/>
              <a:gd name="T44" fmla="*/ 26 w 652"/>
              <a:gd name="T45" fmla="*/ 210 h 840"/>
              <a:gd name="T46" fmla="*/ 78 w 652"/>
              <a:gd name="T47" fmla="*/ 180 h 840"/>
              <a:gd name="T48" fmla="*/ 134 w 652"/>
              <a:gd name="T49" fmla="*/ 132 h 840"/>
              <a:gd name="T50" fmla="*/ 152 w 652"/>
              <a:gd name="T51" fmla="*/ 120 h 840"/>
              <a:gd name="T52" fmla="*/ 164 w 652"/>
              <a:gd name="T53" fmla="*/ 106 h 840"/>
              <a:gd name="T54" fmla="*/ 174 w 652"/>
              <a:gd name="T55" fmla="*/ 86 h 840"/>
              <a:gd name="T56" fmla="*/ 194 w 652"/>
              <a:gd name="T57" fmla="*/ 72 h 840"/>
              <a:gd name="T58" fmla="*/ 216 w 652"/>
              <a:gd name="T59" fmla="*/ 86 h 840"/>
              <a:gd name="T60" fmla="*/ 238 w 652"/>
              <a:gd name="T61" fmla="*/ 80 h 840"/>
              <a:gd name="T62" fmla="*/ 258 w 652"/>
              <a:gd name="T63" fmla="*/ 46 h 840"/>
              <a:gd name="T64" fmla="*/ 280 w 652"/>
              <a:gd name="T65" fmla="*/ 24 h 840"/>
              <a:gd name="T66" fmla="*/ 298 w 652"/>
              <a:gd name="T67" fmla="*/ 30 h 840"/>
              <a:gd name="T68" fmla="*/ 332 w 652"/>
              <a:gd name="T69" fmla="*/ 34 h 840"/>
              <a:gd name="T70" fmla="*/ 324 w 652"/>
              <a:gd name="T71" fmla="*/ 76 h 840"/>
              <a:gd name="T72" fmla="*/ 362 w 652"/>
              <a:gd name="T73" fmla="*/ 116 h 840"/>
              <a:gd name="T74" fmla="*/ 402 w 652"/>
              <a:gd name="T75" fmla="*/ 110 h 840"/>
              <a:gd name="T76" fmla="*/ 410 w 652"/>
              <a:gd name="T77" fmla="*/ 46 h 840"/>
              <a:gd name="T78" fmla="*/ 426 w 652"/>
              <a:gd name="T79" fmla="*/ 20 h 840"/>
              <a:gd name="T80" fmla="*/ 452 w 652"/>
              <a:gd name="T81" fmla="*/ 72 h 840"/>
              <a:gd name="T82" fmla="*/ 470 w 652"/>
              <a:gd name="T83" fmla="*/ 132 h 840"/>
              <a:gd name="T84" fmla="*/ 502 w 652"/>
              <a:gd name="T85" fmla="*/ 172 h 840"/>
              <a:gd name="T86" fmla="*/ 522 w 652"/>
              <a:gd name="T87" fmla="*/ 218 h 840"/>
              <a:gd name="T88" fmla="*/ 548 w 652"/>
              <a:gd name="T89" fmla="*/ 244 h 840"/>
              <a:gd name="T90" fmla="*/ 574 w 652"/>
              <a:gd name="T91" fmla="*/ 266 h 840"/>
              <a:gd name="T92" fmla="*/ 498 w 652"/>
              <a:gd name="T93" fmla="*/ 594 h 840"/>
              <a:gd name="T94" fmla="*/ 652 w 652"/>
              <a:gd name="T95" fmla="*/ 840 h 840"/>
              <a:gd name="T96" fmla="*/ 336 w 652"/>
              <a:gd name="T97" fmla="*/ 24 h 840"/>
              <a:gd name="T98" fmla="*/ 260 w 652"/>
              <a:gd name="T99" fmla="*/ 24 h 840"/>
              <a:gd name="T100" fmla="*/ 250 w 652"/>
              <a:gd name="T101" fmla="*/ 30 h 840"/>
              <a:gd name="T102" fmla="*/ 332 w 652"/>
              <a:gd name="T103" fmla="*/ 64 h 840"/>
              <a:gd name="T104" fmla="*/ 372 w 652"/>
              <a:gd name="T105" fmla="*/ 114 h 840"/>
              <a:gd name="T106" fmla="*/ 0 w 652"/>
              <a:gd name="T107" fmla="*/ 274 h 840"/>
              <a:gd name="T108" fmla="*/ 574 w 652"/>
              <a:gd name="T109" fmla="*/ 310 h 840"/>
              <a:gd name="T110" fmla="*/ 462 w 652"/>
              <a:gd name="T111" fmla="*/ 508 h 840"/>
              <a:gd name="T112" fmla="*/ 502 w 652"/>
              <a:gd name="T113" fmla="*/ 550 h 840"/>
              <a:gd name="T114" fmla="*/ 458 w 652"/>
              <a:gd name="T115" fmla="*/ 586 h 840"/>
              <a:gd name="T116" fmla="*/ 480 w 652"/>
              <a:gd name="T117" fmla="*/ 560 h 840"/>
              <a:gd name="T118" fmla="*/ 498 w 652"/>
              <a:gd name="T119" fmla="*/ 580 h 840"/>
              <a:gd name="T120" fmla="*/ 488 w 652"/>
              <a:gd name="T121" fmla="*/ 598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52" h="840">
                <a:moveTo>
                  <a:pt x="548" y="244"/>
                </a:moveTo>
                <a:lnTo>
                  <a:pt x="548" y="248"/>
                </a:lnTo>
                <a:lnTo>
                  <a:pt x="548" y="244"/>
                </a:lnTo>
                <a:lnTo>
                  <a:pt x="552" y="244"/>
                </a:lnTo>
                <a:lnTo>
                  <a:pt x="552" y="248"/>
                </a:lnTo>
                <a:lnTo>
                  <a:pt x="554" y="248"/>
                </a:lnTo>
                <a:lnTo>
                  <a:pt x="554" y="252"/>
                </a:lnTo>
                <a:lnTo>
                  <a:pt x="554" y="256"/>
                </a:lnTo>
                <a:lnTo>
                  <a:pt x="558" y="256"/>
                </a:lnTo>
                <a:lnTo>
                  <a:pt x="558" y="258"/>
                </a:lnTo>
                <a:lnTo>
                  <a:pt x="562" y="258"/>
                </a:lnTo>
                <a:lnTo>
                  <a:pt x="562" y="262"/>
                </a:lnTo>
                <a:lnTo>
                  <a:pt x="562" y="266"/>
                </a:lnTo>
                <a:lnTo>
                  <a:pt x="566" y="266"/>
                </a:lnTo>
                <a:lnTo>
                  <a:pt x="566" y="270"/>
                </a:lnTo>
                <a:lnTo>
                  <a:pt x="566" y="274"/>
                </a:lnTo>
                <a:lnTo>
                  <a:pt x="566" y="278"/>
                </a:lnTo>
                <a:lnTo>
                  <a:pt x="570" y="278"/>
                </a:lnTo>
                <a:lnTo>
                  <a:pt x="570" y="282"/>
                </a:lnTo>
                <a:lnTo>
                  <a:pt x="570" y="286"/>
                </a:lnTo>
                <a:lnTo>
                  <a:pt x="570" y="288"/>
                </a:lnTo>
                <a:lnTo>
                  <a:pt x="570" y="292"/>
                </a:lnTo>
                <a:lnTo>
                  <a:pt x="570" y="296"/>
                </a:lnTo>
                <a:lnTo>
                  <a:pt x="570" y="300"/>
                </a:lnTo>
                <a:lnTo>
                  <a:pt x="570" y="302"/>
                </a:lnTo>
                <a:lnTo>
                  <a:pt x="574" y="306"/>
                </a:lnTo>
                <a:lnTo>
                  <a:pt x="574" y="310"/>
                </a:lnTo>
                <a:lnTo>
                  <a:pt x="574" y="314"/>
                </a:lnTo>
                <a:lnTo>
                  <a:pt x="574" y="318"/>
                </a:lnTo>
                <a:lnTo>
                  <a:pt x="578" y="318"/>
                </a:lnTo>
                <a:lnTo>
                  <a:pt x="578" y="322"/>
                </a:lnTo>
                <a:lnTo>
                  <a:pt x="578" y="326"/>
                </a:lnTo>
                <a:lnTo>
                  <a:pt x="578" y="328"/>
                </a:lnTo>
                <a:lnTo>
                  <a:pt x="578" y="332"/>
                </a:lnTo>
                <a:lnTo>
                  <a:pt x="574" y="332"/>
                </a:lnTo>
                <a:lnTo>
                  <a:pt x="574" y="336"/>
                </a:lnTo>
                <a:lnTo>
                  <a:pt x="574" y="340"/>
                </a:lnTo>
                <a:lnTo>
                  <a:pt x="574" y="344"/>
                </a:lnTo>
                <a:lnTo>
                  <a:pt x="574" y="348"/>
                </a:lnTo>
                <a:lnTo>
                  <a:pt x="574" y="352"/>
                </a:lnTo>
                <a:lnTo>
                  <a:pt x="570" y="356"/>
                </a:lnTo>
                <a:lnTo>
                  <a:pt x="570" y="362"/>
                </a:lnTo>
                <a:lnTo>
                  <a:pt x="570" y="366"/>
                </a:lnTo>
                <a:lnTo>
                  <a:pt x="570" y="370"/>
                </a:lnTo>
                <a:lnTo>
                  <a:pt x="570" y="374"/>
                </a:lnTo>
                <a:lnTo>
                  <a:pt x="566" y="378"/>
                </a:lnTo>
                <a:lnTo>
                  <a:pt x="566" y="382"/>
                </a:lnTo>
                <a:lnTo>
                  <a:pt x="566" y="384"/>
                </a:lnTo>
                <a:lnTo>
                  <a:pt x="562" y="384"/>
                </a:lnTo>
                <a:lnTo>
                  <a:pt x="562" y="388"/>
                </a:lnTo>
                <a:lnTo>
                  <a:pt x="562" y="392"/>
                </a:lnTo>
                <a:lnTo>
                  <a:pt x="562" y="396"/>
                </a:lnTo>
                <a:lnTo>
                  <a:pt x="558" y="400"/>
                </a:lnTo>
                <a:lnTo>
                  <a:pt x="554" y="400"/>
                </a:lnTo>
                <a:lnTo>
                  <a:pt x="554" y="404"/>
                </a:lnTo>
                <a:lnTo>
                  <a:pt x="552" y="404"/>
                </a:lnTo>
                <a:lnTo>
                  <a:pt x="552" y="408"/>
                </a:lnTo>
                <a:lnTo>
                  <a:pt x="548" y="412"/>
                </a:lnTo>
                <a:lnTo>
                  <a:pt x="548" y="414"/>
                </a:lnTo>
                <a:lnTo>
                  <a:pt x="544" y="418"/>
                </a:lnTo>
                <a:lnTo>
                  <a:pt x="544" y="422"/>
                </a:lnTo>
                <a:lnTo>
                  <a:pt x="544" y="426"/>
                </a:lnTo>
                <a:lnTo>
                  <a:pt x="540" y="426"/>
                </a:lnTo>
                <a:lnTo>
                  <a:pt x="544" y="426"/>
                </a:lnTo>
                <a:lnTo>
                  <a:pt x="540" y="430"/>
                </a:lnTo>
                <a:lnTo>
                  <a:pt x="540" y="434"/>
                </a:lnTo>
                <a:lnTo>
                  <a:pt x="536" y="438"/>
                </a:lnTo>
                <a:lnTo>
                  <a:pt x="540" y="438"/>
                </a:lnTo>
                <a:lnTo>
                  <a:pt x="536" y="442"/>
                </a:lnTo>
                <a:lnTo>
                  <a:pt x="536" y="444"/>
                </a:lnTo>
                <a:lnTo>
                  <a:pt x="536" y="448"/>
                </a:lnTo>
                <a:lnTo>
                  <a:pt x="536" y="444"/>
                </a:lnTo>
                <a:lnTo>
                  <a:pt x="536" y="448"/>
                </a:lnTo>
                <a:lnTo>
                  <a:pt x="532" y="448"/>
                </a:lnTo>
                <a:lnTo>
                  <a:pt x="532" y="452"/>
                </a:lnTo>
                <a:lnTo>
                  <a:pt x="532" y="456"/>
                </a:lnTo>
                <a:lnTo>
                  <a:pt x="528" y="460"/>
                </a:lnTo>
                <a:lnTo>
                  <a:pt x="528" y="464"/>
                </a:lnTo>
                <a:lnTo>
                  <a:pt x="528" y="468"/>
                </a:lnTo>
                <a:lnTo>
                  <a:pt x="528" y="470"/>
                </a:lnTo>
                <a:lnTo>
                  <a:pt x="526" y="470"/>
                </a:lnTo>
                <a:lnTo>
                  <a:pt x="526" y="474"/>
                </a:lnTo>
                <a:lnTo>
                  <a:pt x="526" y="478"/>
                </a:lnTo>
                <a:lnTo>
                  <a:pt x="526" y="482"/>
                </a:lnTo>
                <a:lnTo>
                  <a:pt x="526" y="486"/>
                </a:lnTo>
                <a:lnTo>
                  <a:pt x="526" y="490"/>
                </a:lnTo>
                <a:lnTo>
                  <a:pt x="526" y="494"/>
                </a:lnTo>
                <a:lnTo>
                  <a:pt x="522" y="494"/>
                </a:lnTo>
                <a:lnTo>
                  <a:pt x="522" y="498"/>
                </a:lnTo>
                <a:lnTo>
                  <a:pt x="518" y="498"/>
                </a:lnTo>
                <a:lnTo>
                  <a:pt x="514" y="498"/>
                </a:lnTo>
                <a:lnTo>
                  <a:pt x="510" y="498"/>
                </a:lnTo>
                <a:lnTo>
                  <a:pt x="506" y="498"/>
                </a:lnTo>
                <a:lnTo>
                  <a:pt x="502" y="498"/>
                </a:lnTo>
                <a:lnTo>
                  <a:pt x="498" y="498"/>
                </a:lnTo>
                <a:lnTo>
                  <a:pt x="498" y="500"/>
                </a:lnTo>
                <a:lnTo>
                  <a:pt x="496" y="500"/>
                </a:lnTo>
                <a:lnTo>
                  <a:pt x="492" y="500"/>
                </a:lnTo>
                <a:lnTo>
                  <a:pt x="492" y="504"/>
                </a:lnTo>
                <a:lnTo>
                  <a:pt x="488" y="504"/>
                </a:lnTo>
                <a:lnTo>
                  <a:pt x="488" y="508"/>
                </a:lnTo>
                <a:lnTo>
                  <a:pt x="484" y="512"/>
                </a:lnTo>
                <a:lnTo>
                  <a:pt x="480" y="516"/>
                </a:lnTo>
                <a:lnTo>
                  <a:pt x="476" y="516"/>
                </a:lnTo>
                <a:lnTo>
                  <a:pt x="472" y="516"/>
                </a:lnTo>
                <a:lnTo>
                  <a:pt x="472" y="520"/>
                </a:lnTo>
                <a:lnTo>
                  <a:pt x="476" y="520"/>
                </a:lnTo>
                <a:lnTo>
                  <a:pt x="476" y="516"/>
                </a:lnTo>
                <a:lnTo>
                  <a:pt x="476" y="524"/>
                </a:lnTo>
                <a:lnTo>
                  <a:pt x="472" y="524"/>
                </a:lnTo>
                <a:lnTo>
                  <a:pt x="472" y="520"/>
                </a:lnTo>
                <a:lnTo>
                  <a:pt x="470" y="516"/>
                </a:lnTo>
                <a:lnTo>
                  <a:pt x="470" y="520"/>
                </a:lnTo>
                <a:lnTo>
                  <a:pt x="466" y="516"/>
                </a:lnTo>
                <a:lnTo>
                  <a:pt x="462" y="516"/>
                </a:lnTo>
                <a:lnTo>
                  <a:pt x="462" y="512"/>
                </a:lnTo>
                <a:lnTo>
                  <a:pt x="462" y="508"/>
                </a:lnTo>
                <a:lnTo>
                  <a:pt x="462" y="504"/>
                </a:lnTo>
                <a:lnTo>
                  <a:pt x="458" y="504"/>
                </a:lnTo>
                <a:lnTo>
                  <a:pt x="458" y="508"/>
                </a:lnTo>
                <a:lnTo>
                  <a:pt x="454" y="512"/>
                </a:lnTo>
                <a:lnTo>
                  <a:pt x="452" y="508"/>
                </a:lnTo>
                <a:lnTo>
                  <a:pt x="454" y="508"/>
                </a:lnTo>
                <a:lnTo>
                  <a:pt x="458" y="504"/>
                </a:lnTo>
                <a:lnTo>
                  <a:pt x="458" y="500"/>
                </a:lnTo>
                <a:lnTo>
                  <a:pt x="454" y="500"/>
                </a:lnTo>
                <a:lnTo>
                  <a:pt x="452" y="500"/>
                </a:lnTo>
                <a:lnTo>
                  <a:pt x="448" y="504"/>
                </a:lnTo>
                <a:lnTo>
                  <a:pt x="452" y="504"/>
                </a:lnTo>
                <a:lnTo>
                  <a:pt x="452" y="508"/>
                </a:lnTo>
                <a:lnTo>
                  <a:pt x="448" y="508"/>
                </a:lnTo>
                <a:lnTo>
                  <a:pt x="444" y="512"/>
                </a:lnTo>
                <a:lnTo>
                  <a:pt x="440" y="512"/>
                </a:lnTo>
                <a:lnTo>
                  <a:pt x="440" y="516"/>
                </a:lnTo>
                <a:lnTo>
                  <a:pt x="436" y="516"/>
                </a:lnTo>
                <a:lnTo>
                  <a:pt x="436" y="520"/>
                </a:lnTo>
                <a:lnTo>
                  <a:pt x="432" y="516"/>
                </a:lnTo>
                <a:lnTo>
                  <a:pt x="428" y="516"/>
                </a:lnTo>
                <a:lnTo>
                  <a:pt x="428" y="512"/>
                </a:lnTo>
                <a:lnTo>
                  <a:pt x="426" y="512"/>
                </a:lnTo>
                <a:lnTo>
                  <a:pt x="422" y="512"/>
                </a:lnTo>
                <a:lnTo>
                  <a:pt x="422" y="508"/>
                </a:lnTo>
                <a:lnTo>
                  <a:pt x="418" y="508"/>
                </a:lnTo>
                <a:lnTo>
                  <a:pt x="414" y="508"/>
                </a:lnTo>
                <a:lnTo>
                  <a:pt x="410" y="508"/>
                </a:lnTo>
                <a:lnTo>
                  <a:pt x="406" y="508"/>
                </a:lnTo>
                <a:lnTo>
                  <a:pt x="410" y="508"/>
                </a:lnTo>
                <a:lnTo>
                  <a:pt x="406" y="508"/>
                </a:lnTo>
                <a:lnTo>
                  <a:pt x="402" y="508"/>
                </a:lnTo>
                <a:lnTo>
                  <a:pt x="402" y="504"/>
                </a:lnTo>
                <a:lnTo>
                  <a:pt x="400" y="504"/>
                </a:lnTo>
                <a:lnTo>
                  <a:pt x="396" y="504"/>
                </a:lnTo>
                <a:lnTo>
                  <a:pt x="396" y="500"/>
                </a:lnTo>
                <a:lnTo>
                  <a:pt x="392" y="500"/>
                </a:lnTo>
                <a:lnTo>
                  <a:pt x="392" y="498"/>
                </a:lnTo>
                <a:lnTo>
                  <a:pt x="388" y="498"/>
                </a:lnTo>
                <a:lnTo>
                  <a:pt x="388" y="494"/>
                </a:lnTo>
                <a:lnTo>
                  <a:pt x="384" y="494"/>
                </a:lnTo>
                <a:lnTo>
                  <a:pt x="384" y="490"/>
                </a:lnTo>
                <a:lnTo>
                  <a:pt x="380" y="486"/>
                </a:lnTo>
                <a:lnTo>
                  <a:pt x="380" y="482"/>
                </a:lnTo>
                <a:lnTo>
                  <a:pt x="384" y="478"/>
                </a:lnTo>
                <a:lnTo>
                  <a:pt x="384" y="474"/>
                </a:lnTo>
                <a:lnTo>
                  <a:pt x="380" y="468"/>
                </a:lnTo>
                <a:lnTo>
                  <a:pt x="376" y="464"/>
                </a:lnTo>
                <a:lnTo>
                  <a:pt x="376" y="460"/>
                </a:lnTo>
                <a:lnTo>
                  <a:pt x="372" y="460"/>
                </a:lnTo>
                <a:lnTo>
                  <a:pt x="372" y="456"/>
                </a:lnTo>
                <a:lnTo>
                  <a:pt x="372" y="460"/>
                </a:lnTo>
                <a:lnTo>
                  <a:pt x="376" y="460"/>
                </a:lnTo>
                <a:lnTo>
                  <a:pt x="376" y="464"/>
                </a:lnTo>
                <a:lnTo>
                  <a:pt x="380" y="468"/>
                </a:lnTo>
                <a:lnTo>
                  <a:pt x="380" y="464"/>
                </a:lnTo>
                <a:lnTo>
                  <a:pt x="376" y="464"/>
                </a:lnTo>
                <a:lnTo>
                  <a:pt x="376" y="460"/>
                </a:lnTo>
                <a:lnTo>
                  <a:pt x="372" y="456"/>
                </a:lnTo>
                <a:lnTo>
                  <a:pt x="372" y="460"/>
                </a:lnTo>
                <a:lnTo>
                  <a:pt x="376" y="456"/>
                </a:lnTo>
                <a:lnTo>
                  <a:pt x="376" y="452"/>
                </a:lnTo>
                <a:lnTo>
                  <a:pt x="372" y="452"/>
                </a:lnTo>
                <a:lnTo>
                  <a:pt x="370" y="452"/>
                </a:lnTo>
                <a:lnTo>
                  <a:pt x="372" y="452"/>
                </a:lnTo>
                <a:lnTo>
                  <a:pt x="372" y="456"/>
                </a:lnTo>
                <a:lnTo>
                  <a:pt x="370" y="456"/>
                </a:lnTo>
                <a:lnTo>
                  <a:pt x="366" y="456"/>
                </a:lnTo>
                <a:lnTo>
                  <a:pt x="358" y="456"/>
                </a:lnTo>
                <a:lnTo>
                  <a:pt x="362" y="456"/>
                </a:lnTo>
                <a:lnTo>
                  <a:pt x="362" y="452"/>
                </a:lnTo>
                <a:lnTo>
                  <a:pt x="362" y="448"/>
                </a:lnTo>
                <a:lnTo>
                  <a:pt x="366" y="444"/>
                </a:lnTo>
                <a:lnTo>
                  <a:pt x="366" y="442"/>
                </a:lnTo>
                <a:lnTo>
                  <a:pt x="362" y="438"/>
                </a:lnTo>
                <a:lnTo>
                  <a:pt x="362" y="434"/>
                </a:lnTo>
                <a:lnTo>
                  <a:pt x="358" y="430"/>
                </a:lnTo>
                <a:lnTo>
                  <a:pt x="358" y="434"/>
                </a:lnTo>
                <a:lnTo>
                  <a:pt x="354" y="434"/>
                </a:lnTo>
                <a:lnTo>
                  <a:pt x="354" y="438"/>
                </a:lnTo>
                <a:lnTo>
                  <a:pt x="354" y="442"/>
                </a:lnTo>
                <a:lnTo>
                  <a:pt x="354" y="444"/>
                </a:lnTo>
                <a:lnTo>
                  <a:pt x="354" y="448"/>
                </a:lnTo>
                <a:lnTo>
                  <a:pt x="350" y="448"/>
                </a:lnTo>
                <a:lnTo>
                  <a:pt x="346" y="448"/>
                </a:lnTo>
                <a:lnTo>
                  <a:pt x="342" y="448"/>
                </a:lnTo>
                <a:lnTo>
                  <a:pt x="340" y="452"/>
                </a:lnTo>
                <a:lnTo>
                  <a:pt x="340" y="448"/>
                </a:lnTo>
                <a:lnTo>
                  <a:pt x="342" y="448"/>
                </a:lnTo>
                <a:lnTo>
                  <a:pt x="342" y="444"/>
                </a:lnTo>
                <a:lnTo>
                  <a:pt x="346" y="444"/>
                </a:lnTo>
                <a:lnTo>
                  <a:pt x="350" y="444"/>
                </a:lnTo>
                <a:lnTo>
                  <a:pt x="350" y="442"/>
                </a:lnTo>
                <a:lnTo>
                  <a:pt x="350" y="438"/>
                </a:lnTo>
                <a:lnTo>
                  <a:pt x="350" y="434"/>
                </a:lnTo>
                <a:lnTo>
                  <a:pt x="350" y="430"/>
                </a:lnTo>
                <a:lnTo>
                  <a:pt x="350" y="426"/>
                </a:lnTo>
                <a:lnTo>
                  <a:pt x="350" y="422"/>
                </a:lnTo>
                <a:lnTo>
                  <a:pt x="354" y="418"/>
                </a:lnTo>
                <a:lnTo>
                  <a:pt x="354" y="414"/>
                </a:lnTo>
                <a:lnTo>
                  <a:pt x="354" y="412"/>
                </a:lnTo>
                <a:lnTo>
                  <a:pt x="358" y="412"/>
                </a:lnTo>
                <a:lnTo>
                  <a:pt x="358" y="408"/>
                </a:lnTo>
                <a:lnTo>
                  <a:pt x="354" y="404"/>
                </a:lnTo>
                <a:lnTo>
                  <a:pt x="354" y="400"/>
                </a:lnTo>
                <a:lnTo>
                  <a:pt x="354" y="404"/>
                </a:lnTo>
                <a:lnTo>
                  <a:pt x="354" y="408"/>
                </a:lnTo>
                <a:lnTo>
                  <a:pt x="350" y="408"/>
                </a:lnTo>
                <a:lnTo>
                  <a:pt x="350" y="412"/>
                </a:lnTo>
                <a:lnTo>
                  <a:pt x="346" y="412"/>
                </a:lnTo>
                <a:lnTo>
                  <a:pt x="346" y="414"/>
                </a:lnTo>
                <a:lnTo>
                  <a:pt x="346" y="418"/>
                </a:lnTo>
                <a:lnTo>
                  <a:pt x="342" y="422"/>
                </a:lnTo>
                <a:lnTo>
                  <a:pt x="342" y="418"/>
                </a:lnTo>
                <a:lnTo>
                  <a:pt x="340" y="422"/>
                </a:lnTo>
                <a:lnTo>
                  <a:pt x="342" y="422"/>
                </a:lnTo>
                <a:lnTo>
                  <a:pt x="340" y="422"/>
                </a:lnTo>
                <a:lnTo>
                  <a:pt x="336" y="426"/>
                </a:lnTo>
                <a:lnTo>
                  <a:pt x="332" y="426"/>
                </a:lnTo>
                <a:lnTo>
                  <a:pt x="332" y="430"/>
                </a:lnTo>
                <a:lnTo>
                  <a:pt x="332" y="434"/>
                </a:lnTo>
                <a:lnTo>
                  <a:pt x="328" y="434"/>
                </a:lnTo>
                <a:lnTo>
                  <a:pt x="328" y="438"/>
                </a:lnTo>
                <a:lnTo>
                  <a:pt x="324" y="442"/>
                </a:lnTo>
                <a:lnTo>
                  <a:pt x="328" y="442"/>
                </a:lnTo>
                <a:lnTo>
                  <a:pt x="328" y="444"/>
                </a:lnTo>
                <a:lnTo>
                  <a:pt x="328" y="442"/>
                </a:lnTo>
                <a:lnTo>
                  <a:pt x="324" y="442"/>
                </a:lnTo>
                <a:lnTo>
                  <a:pt x="324" y="444"/>
                </a:lnTo>
                <a:lnTo>
                  <a:pt x="324" y="442"/>
                </a:lnTo>
                <a:lnTo>
                  <a:pt x="320" y="442"/>
                </a:lnTo>
                <a:lnTo>
                  <a:pt x="320" y="438"/>
                </a:lnTo>
                <a:lnTo>
                  <a:pt x="316" y="438"/>
                </a:lnTo>
                <a:lnTo>
                  <a:pt x="316" y="434"/>
                </a:lnTo>
                <a:lnTo>
                  <a:pt x="320" y="438"/>
                </a:lnTo>
                <a:lnTo>
                  <a:pt x="320" y="434"/>
                </a:lnTo>
                <a:lnTo>
                  <a:pt x="320" y="430"/>
                </a:lnTo>
                <a:lnTo>
                  <a:pt x="316" y="430"/>
                </a:lnTo>
                <a:lnTo>
                  <a:pt x="316" y="426"/>
                </a:lnTo>
                <a:lnTo>
                  <a:pt x="316" y="422"/>
                </a:lnTo>
                <a:lnTo>
                  <a:pt x="314" y="422"/>
                </a:lnTo>
                <a:lnTo>
                  <a:pt x="314" y="418"/>
                </a:lnTo>
                <a:lnTo>
                  <a:pt x="314" y="414"/>
                </a:lnTo>
                <a:lnTo>
                  <a:pt x="310" y="412"/>
                </a:lnTo>
                <a:lnTo>
                  <a:pt x="306" y="412"/>
                </a:lnTo>
                <a:lnTo>
                  <a:pt x="302" y="408"/>
                </a:lnTo>
                <a:lnTo>
                  <a:pt x="302" y="404"/>
                </a:lnTo>
                <a:lnTo>
                  <a:pt x="306" y="404"/>
                </a:lnTo>
                <a:lnTo>
                  <a:pt x="306" y="400"/>
                </a:lnTo>
                <a:lnTo>
                  <a:pt x="302" y="400"/>
                </a:lnTo>
                <a:lnTo>
                  <a:pt x="302" y="396"/>
                </a:lnTo>
                <a:lnTo>
                  <a:pt x="298" y="396"/>
                </a:lnTo>
                <a:lnTo>
                  <a:pt x="298" y="400"/>
                </a:lnTo>
                <a:lnTo>
                  <a:pt x="298" y="396"/>
                </a:lnTo>
                <a:lnTo>
                  <a:pt x="298" y="392"/>
                </a:lnTo>
                <a:lnTo>
                  <a:pt x="294" y="392"/>
                </a:lnTo>
                <a:lnTo>
                  <a:pt x="290" y="392"/>
                </a:lnTo>
                <a:lnTo>
                  <a:pt x="286" y="392"/>
                </a:lnTo>
                <a:lnTo>
                  <a:pt x="286" y="388"/>
                </a:lnTo>
                <a:lnTo>
                  <a:pt x="284" y="388"/>
                </a:lnTo>
                <a:lnTo>
                  <a:pt x="280" y="388"/>
                </a:lnTo>
                <a:lnTo>
                  <a:pt x="276" y="388"/>
                </a:lnTo>
                <a:lnTo>
                  <a:pt x="272" y="388"/>
                </a:lnTo>
                <a:lnTo>
                  <a:pt x="272" y="384"/>
                </a:lnTo>
                <a:lnTo>
                  <a:pt x="268" y="384"/>
                </a:lnTo>
                <a:lnTo>
                  <a:pt x="268" y="382"/>
                </a:lnTo>
                <a:lnTo>
                  <a:pt x="264" y="382"/>
                </a:lnTo>
                <a:lnTo>
                  <a:pt x="260" y="382"/>
                </a:lnTo>
                <a:lnTo>
                  <a:pt x="260" y="378"/>
                </a:lnTo>
                <a:lnTo>
                  <a:pt x="258" y="382"/>
                </a:lnTo>
                <a:lnTo>
                  <a:pt x="254" y="382"/>
                </a:lnTo>
                <a:lnTo>
                  <a:pt x="246" y="382"/>
                </a:lnTo>
                <a:lnTo>
                  <a:pt x="242" y="382"/>
                </a:lnTo>
                <a:lnTo>
                  <a:pt x="238" y="382"/>
                </a:lnTo>
                <a:lnTo>
                  <a:pt x="234" y="382"/>
                </a:lnTo>
                <a:lnTo>
                  <a:pt x="230" y="382"/>
                </a:lnTo>
                <a:lnTo>
                  <a:pt x="228" y="384"/>
                </a:lnTo>
                <a:lnTo>
                  <a:pt x="224" y="384"/>
                </a:lnTo>
                <a:lnTo>
                  <a:pt x="216" y="388"/>
                </a:lnTo>
                <a:lnTo>
                  <a:pt x="216" y="392"/>
                </a:lnTo>
                <a:lnTo>
                  <a:pt x="212" y="392"/>
                </a:lnTo>
                <a:lnTo>
                  <a:pt x="208" y="392"/>
                </a:lnTo>
                <a:lnTo>
                  <a:pt x="204" y="392"/>
                </a:lnTo>
                <a:lnTo>
                  <a:pt x="202" y="392"/>
                </a:lnTo>
                <a:lnTo>
                  <a:pt x="202" y="396"/>
                </a:lnTo>
                <a:lnTo>
                  <a:pt x="198" y="396"/>
                </a:lnTo>
                <a:lnTo>
                  <a:pt x="194" y="396"/>
                </a:lnTo>
                <a:lnTo>
                  <a:pt x="194" y="392"/>
                </a:lnTo>
                <a:lnTo>
                  <a:pt x="190" y="392"/>
                </a:lnTo>
                <a:lnTo>
                  <a:pt x="186" y="392"/>
                </a:lnTo>
                <a:lnTo>
                  <a:pt x="182" y="396"/>
                </a:lnTo>
                <a:lnTo>
                  <a:pt x="178" y="400"/>
                </a:lnTo>
                <a:lnTo>
                  <a:pt x="174" y="400"/>
                </a:lnTo>
                <a:lnTo>
                  <a:pt x="172" y="404"/>
                </a:lnTo>
                <a:lnTo>
                  <a:pt x="168" y="404"/>
                </a:lnTo>
                <a:lnTo>
                  <a:pt x="168" y="408"/>
                </a:lnTo>
                <a:lnTo>
                  <a:pt x="164" y="408"/>
                </a:lnTo>
                <a:lnTo>
                  <a:pt x="160" y="408"/>
                </a:lnTo>
                <a:lnTo>
                  <a:pt x="160" y="412"/>
                </a:lnTo>
                <a:lnTo>
                  <a:pt x="160" y="414"/>
                </a:lnTo>
                <a:lnTo>
                  <a:pt x="156" y="418"/>
                </a:lnTo>
                <a:lnTo>
                  <a:pt x="156" y="422"/>
                </a:lnTo>
                <a:lnTo>
                  <a:pt x="152" y="422"/>
                </a:lnTo>
                <a:lnTo>
                  <a:pt x="152" y="426"/>
                </a:lnTo>
                <a:lnTo>
                  <a:pt x="148" y="422"/>
                </a:lnTo>
                <a:lnTo>
                  <a:pt x="148" y="426"/>
                </a:lnTo>
                <a:lnTo>
                  <a:pt x="146" y="426"/>
                </a:lnTo>
                <a:lnTo>
                  <a:pt x="146" y="422"/>
                </a:lnTo>
                <a:lnTo>
                  <a:pt x="142" y="422"/>
                </a:lnTo>
                <a:lnTo>
                  <a:pt x="142" y="426"/>
                </a:lnTo>
                <a:lnTo>
                  <a:pt x="142" y="422"/>
                </a:lnTo>
                <a:lnTo>
                  <a:pt x="138" y="422"/>
                </a:lnTo>
                <a:lnTo>
                  <a:pt x="138" y="426"/>
                </a:lnTo>
                <a:lnTo>
                  <a:pt x="134" y="426"/>
                </a:lnTo>
                <a:lnTo>
                  <a:pt x="130" y="426"/>
                </a:lnTo>
                <a:lnTo>
                  <a:pt x="130" y="422"/>
                </a:lnTo>
                <a:lnTo>
                  <a:pt x="126" y="422"/>
                </a:lnTo>
                <a:lnTo>
                  <a:pt x="122" y="422"/>
                </a:lnTo>
                <a:lnTo>
                  <a:pt x="120" y="422"/>
                </a:lnTo>
                <a:lnTo>
                  <a:pt x="116" y="422"/>
                </a:lnTo>
                <a:lnTo>
                  <a:pt x="112" y="422"/>
                </a:lnTo>
                <a:lnTo>
                  <a:pt x="108" y="426"/>
                </a:lnTo>
                <a:lnTo>
                  <a:pt x="104" y="426"/>
                </a:lnTo>
                <a:lnTo>
                  <a:pt x="102" y="426"/>
                </a:lnTo>
                <a:lnTo>
                  <a:pt x="98" y="426"/>
                </a:lnTo>
                <a:lnTo>
                  <a:pt x="98" y="430"/>
                </a:lnTo>
                <a:lnTo>
                  <a:pt x="94" y="430"/>
                </a:lnTo>
                <a:lnTo>
                  <a:pt x="94" y="434"/>
                </a:lnTo>
                <a:lnTo>
                  <a:pt x="90" y="438"/>
                </a:lnTo>
                <a:lnTo>
                  <a:pt x="90" y="434"/>
                </a:lnTo>
                <a:lnTo>
                  <a:pt x="86" y="434"/>
                </a:lnTo>
                <a:lnTo>
                  <a:pt x="86" y="438"/>
                </a:lnTo>
                <a:lnTo>
                  <a:pt x="82" y="438"/>
                </a:lnTo>
                <a:lnTo>
                  <a:pt x="82" y="442"/>
                </a:lnTo>
                <a:lnTo>
                  <a:pt x="78" y="442"/>
                </a:lnTo>
                <a:lnTo>
                  <a:pt x="78" y="444"/>
                </a:lnTo>
                <a:lnTo>
                  <a:pt x="74" y="444"/>
                </a:lnTo>
                <a:lnTo>
                  <a:pt x="72" y="444"/>
                </a:lnTo>
                <a:lnTo>
                  <a:pt x="74" y="444"/>
                </a:lnTo>
                <a:lnTo>
                  <a:pt x="74" y="448"/>
                </a:lnTo>
                <a:lnTo>
                  <a:pt x="72" y="448"/>
                </a:lnTo>
                <a:lnTo>
                  <a:pt x="72" y="444"/>
                </a:lnTo>
                <a:lnTo>
                  <a:pt x="68" y="444"/>
                </a:lnTo>
                <a:lnTo>
                  <a:pt x="68" y="448"/>
                </a:lnTo>
                <a:lnTo>
                  <a:pt x="68" y="444"/>
                </a:lnTo>
                <a:lnTo>
                  <a:pt x="64" y="444"/>
                </a:lnTo>
                <a:lnTo>
                  <a:pt x="60" y="444"/>
                </a:lnTo>
                <a:lnTo>
                  <a:pt x="56" y="444"/>
                </a:lnTo>
                <a:lnTo>
                  <a:pt x="52" y="444"/>
                </a:lnTo>
                <a:lnTo>
                  <a:pt x="48" y="444"/>
                </a:lnTo>
                <a:lnTo>
                  <a:pt x="48" y="442"/>
                </a:lnTo>
                <a:lnTo>
                  <a:pt x="46" y="442"/>
                </a:lnTo>
                <a:lnTo>
                  <a:pt x="46" y="438"/>
                </a:lnTo>
                <a:lnTo>
                  <a:pt x="42" y="438"/>
                </a:lnTo>
                <a:lnTo>
                  <a:pt x="42" y="434"/>
                </a:lnTo>
                <a:lnTo>
                  <a:pt x="38" y="434"/>
                </a:lnTo>
                <a:lnTo>
                  <a:pt x="34" y="430"/>
                </a:lnTo>
                <a:lnTo>
                  <a:pt x="34" y="434"/>
                </a:lnTo>
                <a:lnTo>
                  <a:pt x="30" y="430"/>
                </a:lnTo>
                <a:lnTo>
                  <a:pt x="30" y="426"/>
                </a:lnTo>
                <a:lnTo>
                  <a:pt x="30" y="422"/>
                </a:lnTo>
                <a:lnTo>
                  <a:pt x="30" y="418"/>
                </a:lnTo>
                <a:lnTo>
                  <a:pt x="34" y="418"/>
                </a:lnTo>
                <a:lnTo>
                  <a:pt x="38" y="418"/>
                </a:lnTo>
                <a:lnTo>
                  <a:pt x="42" y="414"/>
                </a:lnTo>
                <a:lnTo>
                  <a:pt x="42" y="412"/>
                </a:lnTo>
                <a:lnTo>
                  <a:pt x="42" y="408"/>
                </a:lnTo>
                <a:lnTo>
                  <a:pt x="42" y="404"/>
                </a:lnTo>
                <a:lnTo>
                  <a:pt x="42" y="400"/>
                </a:lnTo>
                <a:lnTo>
                  <a:pt x="42" y="404"/>
                </a:lnTo>
                <a:lnTo>
                  <a:pt x="42" y="400"/>
                </a:lnTo>
                <a:lnTo>
                  <a:pt x="42" y="396"/>
                </a:lnTo>
                <a:lnTo>
                  <a:pt x="42" y="392"/>
                </a:lnTo>
                <a:lnTo>
                  <a:pt x="42" y="388"/>
                </a:lnTo>
                <a:lnTo>
                  <a:pt x="42" y="384"/>
                </a:lnTo>
                <a:lnTo>
                  <a:pt x="42" y="382"/>
                </a:lnTo>
                <a:lnTo>
                  <a:pt x="42" y="378"/>
                </a:lnTo>
                <a:lnTo>
                  <a:pt x="38" y="378"/>
                </a:lnTo>
                <a:lnTo>
                  <a:pt x="38" y="374"/>
                </a:lnTo>
                <a:lnTo>
                  <a:pt x="38" y="370"/>
                </a:lnTo>
                <a:lnTo>
                  <a:pt x="34" y="370"/>
                </a:lnTo>
                <a:lnTo>
                  <a:pt x="34" y="366"/>
                </a:lnTo>
                <a:lnTo>
                  <a:pt x="34" y="362"/>
                </a:lnTo>
                <a:lnTo>
                  <a:pt x="34" y="358"/>
                </a:lnTo>
                <a:lnTo>
                  <a:pt x="34" y="356"/>
                </a:lnTo>
                <a:lnTo>
                  <a:pt x="30" y="356"/>
                </a:lnTo>
                <a:lnTo>
                  <a:pt x="30" y="352"/>
                </a:lnTo>
                <a:lnTo>
                  <a:pt x="30" y="348"/>
                </a:lnTo>
                <a:lnTo>
                  <a:pt x="30" y="344"/>
                </a:lnTo>
                <a:lnTo>
                  <a:pt x="30" y="340"/>
                </a:lnTo>
                <a:lnTo>
                  <a:pt x="30" y="336"/>
                </a:lnTo>
                <a:lnTo>
                  <a:pt x="26" y="332"/>
                </a:lnTo>
                <a:lnTo>
                  <a:pt x="26" y="328"/>
                </a:lnTo>
                <a:lnTo>
                  <a:pt x="26" y="326"/>
                </a:lnTo>
                <a:lnTo>
                  <a:pt x="22" y="322"/>
                </a:lnTo>
                <a:lnTo>
                  <a:pt x="22" y="318"/>
                </a:lnTo>
                <a:lnTo>
                  <a:pt x="18" y="318"/>
                </a:lnTo>
                <a:lnTo>
                  <a:pt x="18" y="314"/>
                </a:lnTo>
                <a:lnTo>
                  <a:pt x="18" y="310"/>
                </a:lnTo>
                <a:lnTo>
                  <a:pt x="18" y="306"/>
                </a:lnTo>
                <a:lnTo>
                  <a:pt x="18" y="302"/>
                </a:lnTo>
                <a:lnTo>
                  <a:pt x="16" y="300"/>
                </a:lnTo>
                <a:lnTo>
                  <a:pt x="16" y="296"/>
                </a:lnTo>
                <a:lnTo>
                  <a:pt x="12" y="296"/>
                </a:lnTo>
                <a:lnTo>
                  <a:pt x="12" y="292"/>
                </a:lnTo>
                <a:lnTo>
                  <a:pt x="12" y="288"/>
                </a:lnTo>
                <a:lnTo>
                  <a:pt x="8" y="288"/>
                </a:lnTo>
                <a:lnTo>
                  <a:pt x="8" y="286"/>
                </a:lnTo>
                <a:lnTo>
                  <a:pt x="8" y="282"/>
                </a:lnTo>
                <a:lnTo>
                  <a:pt x="8" y="286"/>
                </a:lnTo>
                <a:lnTo>
                  <a:pt x="8" y="282"/>
                </a:lnTo>
                <a:lnTo>
                  <a:pt x="12" y="286"/>
                </a:lnTo>
                <a:lnTo>
                  <a:pt x="12" y="288"/>
                </a:lnTo>
                <a:lnTo>
                  <a:pt x="12" y="292"/>
                </a:lnTo>
                <a:lnTo>
                  <a:pt x="16" y="292"/>
                </a:lnTo>
                <a:lnTo>
                  <a:pt x="16" y="288"/>
                </a:lnTo>
                <a:lnTo>
                  <a:pt x="16" y="286"/>
                </a:lnTo>
                <a:lnTo>
                  <a:pt x="12" y="286"/>
                </a:lnTo>
                <a:lnTo>
                  <a:pt x="12" y="282"/>
                </a:lnTo>
                <a:lnTo>
                  <a:pt x="12" y="278"/>
                </a:lnTo>
                <a:lnTo>
                  <a:pt x="8" y="274"/>
                </a:lnTo>
                <a:lnTo>
                  <a:pt x="12" y="270"/>
                </a:lnTo>
                <a:lnTo>
                  <a:pt x="12" y="274"/>
                </a:lnTo>
                <a:lnTo>
                  <a:pt x="12" y="278"/>
                </a:lnTo>
                <a:lnTo>
                  <a:pt x="16" y="278"/>
                </a:lnTo>
                <a:lnTo>
                  <a:pt x="16" y="282"/>
                </a:lnTo>
                <a:lnTo>
                  <a:pt x="12" y="282"/>
                </a:lnTo>
                <a:lnTo>
                  <a:pt x="16" y="286"/>
                </a:lnTo>
                <a:lnTo>
                  <a:pt x="16" y="282"/>
                </a:lnTo>
                <a:lnTo>
                  <a:pt x="16" y="286"/>
                </a:lnTo>
                <a:lnTo>
                  <a:pt x="18" y="288"/>
                </a:lnTo>
                <a:lnTo>
                  <a:pt x="18" y="286"/>
                </a:lnTo>
                <a:lnTo>
                  <a:pt x="18" y="282"/>
                </a:lnTo>
                <a:lnTo>
                  <a:pt x="22" y="282"/>
                </a:lnTo>
                <a:lnTo>
                  <a:pt x="22" y="278"/>
                </a:lnTo>
                <a:lnTo>
                  <a:pt x="18" y="274"/>
                </a:lnTo>
                <a:lnTo>
                  <a:pt x="16" y="270"/>
                </a:lnTo>
                <a:lnTo>
                  <a:pt x="16" y="266"/>
                </a:lnTo>
                <a:lnTo>
                  <a:pt x="12" y="262"/>
                </a:lnTo>
                <a:lnTo>
                  <a:pt x="12" y="258"/>
                </a:lnTo>
                <a:lnTo>
                  <a:pt x="12" y="256"/>
                </a:lnTo>
                <a:lnTo>
                  <a:pt x="8" y="256"/>
                </a:lnTo>
                <a:lnTo>
                  <a:pt x="8" y="252"/>
                </a:lnTo>
                <a:lnTo>
                  <a:pt x="8" y="248"/>
                </a:lnTo>
                <a:lnTo>
                  <a:pt x="12" y="244"/>
                </a:lnTo>
                <a:lnTo>
                  <a:pt x="12" y="240"/>
                </a:lnTo>
                <a:lnTo>
                  <a:pt x="12" y="236"/>
                </a:lnTo>
                <a:lnTo>
                  <a:pt x="16" y="236"/>
                </a:lnTo>
                <a:lnTo>
                  <a:pt x="16" y="232"/>
                </a:lnTo>
                <a:lnTo>
                  <a:pt x="16" y="228"/>
                </a:lnTo>
                <a:lnTo>
                  <a:pt x="16" y="226"/>
                </a:lnTo>
                <a:lnTo>
                  <a:pt x="16" y="222"/>
                </a:lnTo>
                <a:lnTo>
                  <a:pt x="12" y="222"/>
                </a:lnTo>
                <a:lnTo>
                  <a:pt x="12" y="218"/>
                </a:lnTo>
                <a:lnTo>
                  <a:pt x="16" y="218"/>
                </a:lnTo>
                <a:lnTo>
                  <a:pt x="16" y="214"/>
                </a:lnTo>
                <a:lnTo>
                  <a:pt x="16" y="210"/>
                </a:lnTo>
                <a:lnTo>
                  <a:pt x="16" y="206"/>
                </a:lnTo>
                <a:lnTo>
                  <a:pt x="18" y="206"/>
                </a:lnTo>
                <a:lnTo>
                  <a:pt x="18" y="210"/>
                </a:lnTo>
                <a:lnTo>
                  <a:pt x="18" y="214"/>
                </a:lnTo>
                <a:lnTo>
                  <a:pt x="18" y="218"/>
                </a:lnTo>
                <a:lnTo>
                  <a:pt x="22" y="218"/>
                </a:lnTo>
                <a:lnTo>
                  <a:pt x="22" y="214"/>
                </a:lnTo>
                <a:lnTo>
                  <a:pt x="22" y="210"/>
                </a:lnTo>
                <a:lnTo>
                  <a:pt x="26" y="210"/>
                </a:lnTo>
                <a:lnTo>
                  <a:pt x="26" y="206"/>
                </a:lnTo>
                <a:lnTo>
                  <a:pt x="30" y="202"/>
                </a:lnTo>
                <a:lnTo>
                  <a:pt x="34" y="202"/>
                </a:lnTo>
                <a:lnTo>
                  <a:pt x="38" y="200"/>
                </a:lnTo>
                <a:lnTo>
                  <a:pt x="42" y="196"/>
                </a:lnTo>
                <a:lnTo>
                  <a:pt x="46" y="196"/>
                </a:lnTo>
                <a:lnTo>
                  <a:pt x="46" y="192"/>
                </a:lnTo>
                <a:lnTo>
                  <a:pt x="48" y="192"/>
                </a:lnTo>
                <a:lnTo>
                  <a:pt x="48" y="188"/>
                </a:lnTo>
                <a:lnTo>
                  <a:pt x="52" y="188"/>
                </a:lnTo>
                <a:lnTo>
                  <a:pt x="56" y="188"/>
                </a:lnTo>
                <a:lnTo>
                  <a:pt x="56" y="184"/>
                </a:lnTo>
                <a:lnTo>
                  <a:pt x="60" y="184"/>
                </a:lnTo>
                <a:lnTo>
                  <a:pt x="64" y="184"/>
                </a:lnTo>
                <a:lnTo>
                  <a:pt x="64" y="188"/>
                </a:lnTo>
                <a:lnTo>
                  <a:pt x="68" y="188"/>
                </a:lnTo>
                <a:lnTo>
                  <a:pt x="68" y="184"/>
                </a:lnTo>
                <a:lnTo>
                  <a:pt x="72" y="184"/>
                </a:lnTo>
                <a:lnTo>
                  <a:pt x="74" y="184"/>
                </a:lnTo>
                <a:lnTo>
                  <a:pt x="74" y="180"/>
                </a:lnTo>
                <a:lnTo>
                  <a:pt x="78" y="180"/>
                </a:lnTo>
                <a:lnTo>
                  <a:pt x="82" y="180"/>
                </a:lnTo>
                <a:lnTo>
                  <a:pt x="86" y="176"/>
                </a:lnTo>
                <a:lnTo>
                  <a:pt x="90" y="172"/>
                </a:lnTo>
                <a:lnTo>
                  <a:pt x="94" y="172"/>
                </a:lnTo>
                <a:lnTo>
                  <a:pt x="98" y="172"/>
                </a:lnTo>
                <a:lnTo>
                  <a:pt x="102" y="172"/>
                </a:lnTo>
                <a:lnTo>
                  <a:pt x="104" y="172"/>
                </a:lnTo>
                <a:lnTo>
                  <a:pt x="108" y="170"/>
                </a:lnTo>
                <a:lnTo>
                  <a:pt x="112" y="170"/>
                </a:lnTo>
                <a:lnTo>
                  <a:pt x="116" y="166"/>
                </a:lnTo>
                <a:lnTo>
                  <a:pt x="120" y="166"/>
                </a:lnTo>
                <a:lnTo>
                  <a:pt x="120" y="162"/>
                </a:lnTo>
                <a:lnTo>
                  <a:pt x="122" y="158"/>
                </a:lnTo>
                <a:lnTo>
                  <a:pt x="122" y="154"/>
                </a:lnTo>
                <a:lnTo>
                  <a:pt x="126" y="150"/>
                </a:lnTo>
                <a:lnTo>
                  <a:pt x="126" y="146"/>
                </a:lnTo>
                <a:lnTo>
                  <a:pt x="130" y="146"/>
                </a:lnTo>
                <a:lnTo>
                  <a:pt x="130" y="142"/>
                </a:lnTo>
                <a:lnTo>
                  <a:pt x="134" y="140"/>
                </a:lnTo>
                <a:lnTo>
                  <a:pt x="134" y="136"/>
                </a:lnTo>
                <a:lnTo>
                  <a:pt x="134" y="132"/>
                </a:lnTo>
                <a:lnTo>
                  <a:pt x="134" y="128"/>
                </a:lnTo>
                <a:lnTo>
                  <a:pt x="134" y="124"/>
                </a:lnTo>
                <a:lnTo>
                  <a:pt x="134" y="120"/>
                </a:lnTo>
                <a:lnTo>
                  <a:pt x="138" y="120"/>
                </a:lnTo>
                <a:lnTo>
                  <a:pt x="138" y="116"/>
                </a:lnTo>
                <a:lnTo>
                  <a:pt x="142" y="116"/>
                </a:lnTo>
                <a:lnTo>
                  <a:pt x="142" y="114"/>
                </a:lnTo>
                <a:lnTo>
                  <a:pt x="142" y="110"/>
                </a:lnTo>
                <a:lnTo>
                  <a:pt x="146" y="110"/>
                </a:lnTo>
                <a:lnTo>
                  <a:pt x="146" y="114"/>
                </a:lnTo>
                <a:lnTo>
                  <a:pt x="146" y="110"/>
                </a:lnTo>
                <a:lnTo>
                  <a:pt x="146" y="114"/>
                </a:lnTo>
                <a:lnTo>
                  <a:pt x="146" y="116"/>
                </a:lnTo>
                <a:lnTo>
                  <a:pt x="148" y="120"/>
                </a:lnTo>
                <a:lnTo>
                  <a:pt x="148" y="124"/>
                </a:lnTo>
                <a:lnTo>
                  <a:pt x="148" y="128"/>
                </a:lnTo>
                <a:lnTo>
                  <a:pt x="152" y="128"/>
                </a:lnTo>
                <a:lnTo>
                  <a:pt x="152" y="132"/>
                </a:lnTo>
                <a:lnTo>
                  <a:pt x="152" y="128"/>
                </a:lnTo>
                <a:lnTo>
                  <a:pt x="152" y="124"/>
                </a:lnTo>
                <a:lnTo>
                  <a:pt x="152" y="120"/>
                </a:lnTo>
                <a:lnTo>
                  <a:pt x="156" y="120"/>
                </a:lnTo>
                <a:lnTo>
                  <a:pt x="156" y="124"/>
                </a:lnTo>
                <a:lnTo>
                  <a:pt x="156" y="120"/>
                </a:lnTo>
                <a:lnTo>
                  <a:pt x="156" y="116"/>
                </a:lnTo>
                <a:lnTo>
                  <a:pt x="152" y="116"/>
                </a:lnTo>
                <a:lnTo>
                  <a:pt x="152" y="114"/>
                </a:lnTo>
                <a:lnTo>
                  <a:pt x="148" y="114"/>
                </a:lnTo>
                <a:lnTo>
                  <a:pt x="152" y="114"/>
                </a:lnTo>
                <a:lnTo>
                  <a:pt x="152" y="110"/>
                </a:lnTo>
                <a:lnTo>
                  <a:pt x="152" y="106"/>
                </a:lnTo>
                <a:lnTo>
                  <a:pt x="156" y="106"/>
                </a:lnTo>
                <a:lnTo>
                  <a:pt x="156" y="110"/>
                </a:lnTo>
                <a:lnTo>
                  <a:pt x="156" y="106"/>
                </a:lnTo>
                <a:lnTo>
                  <a:pt x="160" y="106"/>
                </a:lnTo>
                <a:lnTo>
                  <a:pt x="160" y="110"/>
                </a:lnTo>
                <a:lnTo>
                  <a:pt x="164" y="110"/>
                </a:lnTo>
                <a:lnTo>
                  <a:pt x="168" y="110"/>
                </a:lnTo>
                <a:lnTo>
                  <a:pt x="172" y="110"/>
                </a:lnTo>
                <a:lnTo>
                  <a:pt x="168" y="110"/>
                </a:lnTo>
                <a:lnTo>
                  <a:pt x="164" y="110"/>
                </a:lnTo>
                <a:lnTo>
                  <a:pt x="164" y="106"/>
                </a:lnTo>
                <a:lnTo>
                  <a:pt x="168" y="106"/>
                </a:lnTo>
                <a:lnTo>
                  <a:pt x="168" y="102"/>
                </a:lnTo>
                <a:lnTo>
                  <a:pt x="168" y="98"/>
                </a:lnTo>
                <a:lnTo>
                  <a:pt x="168" y="102"/>
                </a:lnTo>
                <a:lnTo>
                  <a:pt x="164" y="102"/>
                </a:lnTo>
                <a:lnTo>
                  <a:pt x="164" y="98"/>
                </a:lnTo>
                <a:lnTo>
                  <a:pt x="164" y="94"/>
                </a:lnTo>
                <a:lnTo>
                  <a:pt x="168" y="94"/>
                </a:lnTo>
                <a:lnTo>
                  <a:pt x="168" y="90"/>
                </a:lnTo>
                <a:lnTo>
                  <a:pt x="172" y="90"/>
                </a:lnTo>
                <a:lnTo>
                  <a:pt x="172" y="94"/>
                </a:lnTo>
                <a:lnTo>
                  <a:pt x="174" y="94"/>
                </a:lnTo>
                <a:lnTo>
                  <a:pt x="174" y="90"/>
                </a:lnTo>
                <a:lnTo>
                  <a:pt x="172" y="90"/>
                </a:lnTo>
                <a:lnTo>
                  <a:pt x="174" y="86"/>
                </a:lnTo>
                <a:lnTo>
                  <a:pt x="172" y="86"/>
                </a:lnTo>
                <a:lnTo>
                  <a:pt x="172" y="90"/>
                </a:lnTo>
                <a:lnTo>
                  <a:pt x="172" y="86"/>
                </a:lnTo>
                <a:lnTo>
                  <a:pt x="174" y="86"/>
                </a:lnTo>
                <a:lnTo>
                  <a:pt x="178" y="86"/>
                </a:lnTo>
                <a:lnTo>
                  <a:pt x="174" y="86"/>
                </a:lnTo>
                <a:lnTo>
                  <a:pt x="174" y="84"/>
                </a:lnTo>
                <a:lnTo>
                  <a:pt x="174" y="80"/>
                </a:lnTo>
                <a:lnTo>
                  <a:pt x="178" y="76"/>
                </a:lnTo>
                <a:lnTo>
                  <a:pt x="178" y="80"/>
                </a:lnTo>
                <a:lnTo>
                  <a:pt x="182" y="80"/>
                </a:lnTo>
                <a:lnTo>
                  <a:pt x="182" y="76"/>
                </a:lnTo>
                <a:lnTo>
                  <a:pt x="182" y="72"/>
                </a:lnTo>
                <a:lnTo>
                  <a:pt x="182" y="76"/>
                </a:lnTo>
                <a:lnTo>
                  <a:pt x="182" y="80"/>
                </a:lnTo>
                <a:lnTo>
                  <a:pt x="182" y="76"/>
                </a:lnTo>
                <a:lnTo>
                  <a:pt x="186" y="76"/>
                </a:lnTo>
                <a:lnTo>
                  <a:pt x="182" y="80"/>
                </a:lnTo>
                <a:lnTo>
                  <a:pt x="186" y="80"/>
                </a:lnTo>
                <a:lnTo>
                  <a:pt x="186" y="76"/>
                </a:lnTo>
                <a:lnTo>
                  <a:pt x="190" y="72"/>
                </a:lnTo>
                <a:lnTo>
                  <a:pt x="186" y="68"/>
                </a:lnTo>
                <a:lnTo>
                  <a:pt x="190" y="68"/>
                </a:lnTo>
                <a:lnTo>
                  <a:pt x="190" y="72"/>
                </a:lnTo>
                <a:lnTo>
                  <a:pt x="190" y="68"/>
                </a:lnTo>
                <a:lnTo>
                  <a:pt x="194" y="68"/>
                </a:lnTo>
                <a:lnTo>
                  <a:pt x="194" y="72"/>
                </a:lnTo>
                <a:lnTo>
                  <a:pt x="198" y="72"/>
                </a:lnTo>
                <a:lnTo>
                  <a:pt x="198" y="68"/>
                </a:lnTo>
                <a:lnTo>
                  <a:pt x="198" y="64"/>
                </a:lnTo>
                <a:lnTo>
                  <a:pt x="202" y="64"/>
                </a:lnTo>
                <a:lnTo>
                  <a:pt x="202" y="68"/>
                </a:lnTo>
                <a:lnTo>
                  <a:pt x="204" y="68"/>
                </a:lnTo>
                <a:lnTo>
                  <a:pt x="204" y="64"/>
                </a:lnTo>
                <a:lnTo>
                  <a:pt x="204" y="68"/>
                </a:lnTo>
                <a:lnTo>
                  <a:pt x="208" y="68"/>
                </a:lnTo>
                <a:lnTo>
                  <a:pt x="208" y="72"/>
                </a:lnTo>
                <a:lnTo>
                  <a:pt x="212" y="72"/>
                </a:lnTo>
                <a:lnTo>
                  <a:pt x="212" y="76"/>
                </a:lnTo>
                <a:lnTo>
                  <a:pt x="216" y="80"/>
                </a:lnTo>
                <a:lnTo>
                  <a:pt x="216" y="84"/>
                </a:lnTo>
                <a:lnTo>
                  <a:pt x="216" y="86"/>
                </a:lnTo>
                <a:lnTo>
                  <a:pt x="216" y="90"/>
                </a:lnTo>
                <a:lnTo>
                  <a:pt x="216" y="94"/>
                </a:lnTo>
                <a:lnTo>
                  <a:pt x="216" y="90"/>
                </a:lnTo>
                <a:lnTo>
                  <a:pt x="220" y="90"/>
                </a:lnTo>
                <a:lnTo>
                  <a:pt x="220" y="86"/>
                </a:lnTo>
                <a:lnTo>
                  <a:pt x="216" y="86"/>
                </a:lnTo>
                <a:lnTo>
                  <a:pt x="220" y="86"/>
                </a:lnTo>
                <a:lnTo>
                  <a:pt x="220" y="84"/>
                </a:lnTo>
                <a:lnTo>
                  <a:pt x="220" y="86"/>
                </a:lnTo>
                <a:lnTo>
                  <a:pt x="220" y="84"/>
                </a:lnTo>
                <a:lnTo>
                  <a:pt x="224" y="84"/>
                </a:lnTo>
                <a:lnTo>
                  <a:pt x="224" y="80"/>
                </a:lnTo>
                <a:lnTo>
                  <a:pt x="224" y="84"/>
                </a:lnTo>
                <a:lnTo>
                  <a:pt x="228" y="84"/>
                </a:lnTo>
                <a:lnTo>
                  <a:pt x="230" y="84"/>
                </a:lnTo>
                <a:lnTo>
                  <a:pt x="230" y="86"/>
                </a:lnTo>
                <a:lnTo>
                  <a:pt x="234" y="86"/>
                </a:lnTo>
                <a:lnTo>
                  <a:pt x="230" y="86"/>
                </a:lnTo>
                <a:lnTo>
                  <a:pt x="230" y="84"/>
                </a:lnTo>
                <a:lnTo>
                  <a:pt x="234" y="84"/>
                </a:lnTo>
                <a:lnTo>
                  <a:pt x="238" y="86"/>
                </a:lnTo>
                <a:lnTo>
                  <a:pt x="238" y="90"/>
                </a:lnTo>
                <a:lnTo>
                  <a:pt x="238" y="86"/>
                </a:lnTo>
                <a:lnTo>
                  <a:pt x="238" y="84"/>
                </a:lnTo>
                <a:lnTo>
                  <a:pt x="242" y="84"/>
                </a:lnTo>
                <a:lnTo>
                  <a:pt x="238" y="84"/>
                </a:lnTo>
                <a:lnTo>
                  <a:pt x="238" y="80"/>
                </a:lnTo>
                <a:lnTo>
                  <a:pt x="238" y="76"/>
                </a:lnTo>
                <a:lnTo>
                  <a:pt x="238" y="80"/>
                </a:lnTo>
                <a:lnTo>
                  <a:pt x="234" y="76"/>
                </a:lnTo>
                <a:lnTo>
                  <a:pt x="234" y="72"/>
                </a:lnTo>
                <a:lnTo>
                  <a:pt x="238" y="68"/>
                </a:lnTo>
                <a:lnTo>
                  <a:pt x="242" y="64"/>
                </a:lnTo>
                <a:lnTo>
                  <a:pt x="242" y="60"/>
                </a:lnTo>
                <a:lnTo>
                  <a:pt x="242" y="58"/>
                </a:lnTo>
                <a:lnTo>
                  <a:pt x="242" y="60"/>
                </a:lnTo>
                <a:lnTo>
                  <a:pt x="246" y="58"/>
                </a:lnTo>
                <a:lnTo>
                  <a:pt x="246" y="54"/>
                </a:lnTo>
                <a:lnTo>
                  <a:pt x="246" y="50"/>
                </a:lnTo>
                <a:lnTo>
                  <a:pt x="250" y="50"/>
                </a:lnTo>
                <a:lnTo>
                  <a:pt x="250" y="46"/>
                </a:lnTo>
                <a:lnTo>
                  <a:pt x="250" y="42"/>
                </a:lnTo>
                <a:lnTo>
                  <a:pt x="250" y="46"/>
                </a:lnTo>
                <a:lnTo>
                  <a:pt x="254" y="46"/>
                </a:lnTo>
                <a:lnTo>
                  <a:pt x="254" y="42"/>
                </a:lnTo>
                <a:lnTo>
                  <a:pt x="254" y="38"/>
                </a:lnTo>
                <a:lnTo>
                  <a:pt x="254" y="42"/>
                </a:lnTo>
                <a:lnTo>
                  <a:pt x="258" y="46"/>
                </a:lnTo>
                <a:lnTo>
                  <a:pt x="258" y="42"/>
                </a:lnTo>
                <a:lnTo>
                  <a:pt x="254" y="42"/>
                </a:lnTo>
                <a:lnTo>
                  <a:pt x="258" y="38"/>
                </a:lnTo>
                <a:lnTo>
                  <a:pt x="258" y="34"/>
                </a:lnTo>
                <a:lnTo>
                  <a:pt x="260" y="34"/>
                </a:lnTo>
                <a:lnTo>
                  <a:pt x="260" y="38"/>
                </a:lnTo>
                <a:lnTo>
                  <a:pt x="264" y="38"/>
                </a:lnTo>
                <a:lnTo>
                  <a:pt x="268" y="38"/>
                </a:lnTo>
                <a:lnTo>
                  <a:pt x="272" y="38"/>
                </a:lnTo>
                <a:lnTo>
                  <a:pt x="276" y="38"/>
                </a:lnTo>
                <a:lnTo>
                  <a:pt x="280" y="38"/>
                </a:lnTo>
                <a:lnTo>
                  <a:pt x="276" y="38"/>
                </a:lnTo>
                <a:lnTo>
                  <a:pt x="280" y="38"/>
                </a:lnTo>
                <a:lnTo>
                  <a:pt x="280" y="34"/>
                </a:lnTo>
                <a:lnTo>
                  <a:pt x="284" y="34"/>
                </a:lnTo>
                <a:lnTo>
                  <a:pt x="280" y="34"/>
                </a:lnTo>
                <a:lnTo>
                  <a:pt x="280" y="30"/>
                </a:lnTo>
                <a:lnTo>
                  <a:pt x="280" y="28"/>
                </a:lnTo>
                <a:lnTo>
                  <a:pt x="284" y="28"/>
                </a:lnTo>
                <a:lnTo>
                  <a:pt x="280" y="28"/>
                </a:lnTo>
                <a:lnTo>
                  <a:pt x="280" y="24"/>
                </a:lnTo>
                <a:lnTo>
                  <a:pt x="276" y="24"/>
                </a:lnTo>
                <a:lnTo>
                  <a:pt x="272" y="24"/>
                </a:lnTo>
                <a:lnTo>
                  <a:pt x="268" y="20"/>
                </a:lnTo>
                <a:lnTo>
                  <a:pt x="268" y="24"/>
                </a:lnTo>
                <a:lnTo>
                  <a:pt x="268" y="20"/>
                </a:lnTo>
                <a:lnTo>
                  <a:pt x="272" y="20"/>
                </a:lnTo>
                <a:lnTo>
                  <a:pt x="276" y="24"/>
                </a:lnTo>
                <a:lnTo>
                  <a:pt x="276" y="20"/>
                </a:lnTo>
                <a:lnTo>
                  <a:pt x="272" y="20"/>
                </a:lnTo>
                <a:lnTo>
                  <a:pt x="276" y="20"/>
                </a:lnTo>
                <a:lnTo>
                  <a:pt x="280" y="20"/>
                </a:lnTo>
                <a:lnTo>
                  <a:pt x="280" y="24"/>
                </a:lnTo>
                <a:lnTo>
                  <a:pt x="284" y="24"/>
                </a:lnTo>
                <a:lnTo>
                  <a:pt x="286" y="24"/>
                </a:lnTo>
                <a:lnTo>
                  <a:pt x="286" y="28"/>
                </a:lnTo>
                <a:lnTo>
                  <a:pt x="290" y="28"/>
                </a:lnTo>
                <a:lnTo>
                  <a:pt x="290" y="30"/>
                </a:lnTo>
                <a:lnTo>
                  <a:pt x="294" y="30"/>
                </a:lnTo>
                <a:lnTo>
                  <a:pt x="298" y="30"/>
                </a:lnTo>
                <a:lnTo>
                  <a:pt x="298" y="28"/>
                </a:lnTo>
                <a:lnTo>
                  <a:pt x="298" y="30"/>
                </a:lnTo>
                <a:lnTo>
                  <a:pt x="302" y="30"/>
                </a:lnTo>
                <a:lnTo>
                  <a:pt x="302" y="34"/>
                </a:lnTo>
                <a:lnTo>
                  <a:pt x="306" y="34"/>
                </a:lnTo>
                <a:lnTo>
                  <a:pt x="310" y="34"/>
                </a:lnTo>
                <a:lnTo>
                  <a:pt x="314" y="34"/>
                </a:lnTo>
                <a:lnTo>
                  <a:pt x="314" y="38"/>
                </a:lnTo>
                <a:lnTo>
                  <a:pt x="316" y="38"/>
                </a:lnTo>
                <a:lnTo>
                  <a:pt x="316" y="34"/>
                </a:lnTo>
                <a:lnTo>
                  <a:pt x="320" y="34"/>
                </a:lnTo>
                <a:lnTo>
                  <a:pt x="324" y="34"/>
                </a:lnTo>
                <a:lnTo>
                  <a:pt x="320" y="34"/>
                </a:lnTo>
                <a:lnTo>
                  <a:pt x="324" y="30"/>
                </a:lnTo>
                <a:lnTo>
                  <a:pt x="328" y="30"/>
                </a:lnTo>
                <a:lnTo>
                  <a:pt x="324" y="34"/>
                </a:lnTo>
                <a:lnTo>
                  <a:pt x="324" y="38"/>
                </a:lnTo>
                <a:lnTo>
                  <a:pt x="328" y="34"/>
                </a:lnTo>
                <a:lnTo>
                  <a:pt x="328" y="38"/>
                </a:lnTo>
                <a:lnTo>
                  <a:pt x="328" y="42"/>
                </a:lnTo>
                <a:lnTo>
                  <a:pt x="332" y="42"/>
                </a:lnTo>
                <a:lnTo>
                  <a:pt x="332" y="38"/>
                </a:lnTo>
                <a:lnTo>
                  <a:pt x="332" y="34"/>
                </a:lnTo>
                <a:lnTo>
                  <a:pt x="336" y="30"/>
                </a:lnTo>
                <a:lnTo>
                  <a:pt x="336" y="34"/>
                </a:lnTo>
                <a:lnTo>
                  <a:pt x="336" y="38"/>
                </a:lnTo>
                <a:lnTo>
                  <a:pt x="340" y="38"/>
                </a:lnTo>
                <a:lnTo>
                  <a:pt x="340" y="34"/>
                </a:lnTo>
                <a:lnTo>
                  <a:pt x="340" y="38"/>
                </a:lnTo>
                <a:lnTo>
                  <a:pt x="342" y="38"/>
                </a:lnTo>
                <a:lnTo>
                  <a:pt x="340" y="42"/>
                </a:lnTo>
                <a:lnTo>
                  <a:pt x="340" y="46"/>
                </a:lnTo>
                <a:lnTo>
                  <a:pt x="336" y="46"/>
                </a:lnTo>
                <a:lnTo>
                  <a:pt x="336" y="50"/>
                </a:lnTo>
                <a:lnTo>
                  <a:pt x="336" y="54"/>
                </a:lnTo>
                <a:lnTo>
                  <a:pt x="332" y="54"/>
                </a:lnTo>
                <a:lnTo>
                  <a:pt x="328" y="54"/>
                </a:lnTo>
                <a:lnTo>
                  <a:pt x="328" y="58"/>
                </a:lnTo>
                <a:lnTo>
                  <a:pt x="328" y="60"/>
                </a:lnTo>
                <a:lnTo>
                  <a:pt x="328" y="64"/>
                </a:lnTo>
                <a:lnTo>
                  <a:pt x="328" y="68"/>
                </a:lnTo>
                <a:lnTo>
                  <a:pt x="328" y="72"/>
                </a:lnTo>
                <a:lnTo>
                  <a:pt x="324" y="72"/>
                </a:lnTo>
                <a:lnTo>
                  <a:pt x="324" y="76"/>
                </a:lnTo>
                <a:lnTo>
                  <a:pt x="320" y="76"/>
                </a:lnTo>
                <a:lnTo>
                  <a:pt x="320" y="80"/>
                </a:lnTo>
                <a:lnTo>
                  <a:pt x="320" y="84"/>
                </a:lnTo>
                <a:lnTo>
                  <a:pt x="320" y="86"/>
                </a:lnTo>
                <a:lnTo>
                  <a:pt x="324" y="86"/>
                </a:lnTo>
                <a:lnTo>
                  <a:pt x="328" y="86"/>
                </a:lnTo>
                <a:lnTo>
                  <a:pt x="328" y="90"/>
                </a:lnTo>
                <a:lnTo>
                  <a:pt x="332" y="90"/>
                </a:lnTo>
                <a:lnTo>
                  <a:pt x="332" y="94"/>
                </a:lnTo>
                <a:lnTo>
                  <a:pt x="336" y="98"/>
                </a:lnTo>
                <a:lnTo>
                  <a:pt x="340" y="98"/>
                </a:lnTo>
                <a:lnTo>
                  <a:pt x="340" y="102"/>
                </a:lnTo>
                <a:lnTo>
                  <a:pt x="342" y="102"/>
                </a:lnTo>
                <a:lnTo>
                  <a:pt x="346" y="106"/>
                </a:lnTo>
                <a:lnTo>
                  <a:pt x="350" y="106"/>
                </a:lnTo>
                <a:lnTo>
                  <a:pt x="354" y="106"/>
                </a:lnTo>
                <a:lnTo>
                  <a:pt x="354" y="110"/>
                </a:lnTo>
                <a:lnTo>
                  <a:pt x="354" y="114"/>
                </a:lnTo>
                <a:lnTo>
                  <a:pt x="358" y="114"/>
                </a:lnTo>
                <a:lnTo>
                  <a:pt x="358" y="116"/>
                </a:lnTo>
                <a:lnTo>
                  <a:pt x="362" y="116"/>
                </a:lnTo>
                <a:lnTo>
                  <a:pt x="366" y="116"/>
                </a:lnTo>
                <a:lnTo>
                  <a:pt x="370" y="116"/>
                </a:lnTo>
                <a:lnTo>
                  <a:pt x="372" y="116"/>
                </a:lnTo>
                <a:lnTo>
                  <a:pt x="372" y="120"/>
                </a:lnTo>
                <a:lnTo>
                  <a:pt x="372" y="124"/>
                </a:lnTo>
                <a:lnTo>
                  <a:pt x="372" y="128"/>
                </a:lnTo>
                <a:lnTo>
                  <a:pt x="376" y="128"/>
                </a:lnTo>
                <a:lnTo>
                  <a:pt x="380" y="128"/>
                </a:lnTo>
                <a:lnTo>
                  <a:pt x="380" y="132"/>
                </a:lnTo>
                <a:lnTo>
                  <a:pt x="384" y="132"/>
                </a:lnTo>
                <a:lnTo>
                  <a:pt x="388" y="132"/>
                </a:lnTo>
                <a:lnTo>
                  <a:pt x="392" y="132"/>
                </a:lnTo>
                <a:lnTo>
                  <a:pt x="396" y="132"/>
                </a:lnTo>
                <a:lnTo>
                  <a:pt x="396" y="128"/>
                </a:lnTo>
                <a:lnTo>
                  <a:pt x="400" y="128"/>
                </a:lnTo>
                <a:lnTo>
                  <a:pt x="400" y="124"/>
                </a:lnTo>
                <a:lnTo>
                  <a:pt x="400" y="120"/>
                </a:lnTo>
                <a:lnTo>
                  <a:pt x="400" y="116"/>
                </a:lnTo>
                <a:lnTo>
                  <a:pt x="402" y="116"/>
                </a:lnTo>
                <a:lnTo>
                  <a:pt x="402" y="114"/>
                </a:lnTo>
                <a:lnTo>
                  <a:pt x="402" y="110"/>
                </a:lnTo>
                <a:lnTo>
                  <a:pt x="402" y="106"/>
                </a:lnTo>
                <a:lnTo>
                  <a:pt x="406" y="106"/>
                </a:lnTo>
                <a:lnTo>
                  <a:pt x="406" y="102"/>
                </a:lnTo>
                <a:lnTo>
                  <a:pt x="406" y="98"/>
                </a:lnTo>
                <a:lnTo>
                  <a:pt x="406" y="94"/>
                </a:lnTo>
                <a:lnTo>
                  <a:pt x="406" y="90"/>
                </a:lnTo>
                <a:lnTo>
                  <a:pt x="406" y="86"/>
                </a:lnTo>
                <a:lnTo>
                  <a:pt x="410" y="86"/>
                </a:lnTo>
                <a:lnTo>
                  <a:pt x="406" y="84"/>
                </a:lnTo>
                <a:lnTo>
                  <a:pt x="406" y="76"/>
                </a:lnTo>
                <a:lnTo>
                  <a:pt x="406" y="72"/>
                </a:lnTo>
                <a:lnTo>
                  <a:pt x="406" y="68"/>
                </a:lnTo>
                <a:lnTo>
                  <a:pt x="406" y="64"/>
                </a:lnTo>
                <a:lnTo>
                  <a:pt x="406" y="60"/>
                </a:lnTo>
                <a:lnTo>
                  <a:pt x="406" y="58"/>
                </a:lnTo>
                <a:lnTo>
                  <a:pt x="410" y="58"/>
                </a:lnTo>
                <a:lnTo>
                  <a:pt x="410" y="54"/>
                </a:lnTo>
                <a:lnTo>
                  <a:pt x="406" y="54"/>
                </a:lnTo>
                <a:lnTo>
                  <a:pt x="406" y="50"/>
                </a:lnTo>
                <a:lnTo>
                  <a:pt x="410" y="50"/>
                </a:lnTo>
                <a:lnTo>
                  <a:pt x="410" y="46"/>
                </a:lnTo>
                <a:lnTo>
                  <a:pt x="410" y="50"/>
                </a:lnTo>
                <a:lnTo>
                  <a:pt x="414" y="50"/>
                </a:lnTo>
                <a:lnTo>
                  <a:pt x="410" y="46"/>
                </a:lnTo>
                <a:lnTo>
                  <a:pt x="410" y="42"/>
                </a:lnTo>
                <a:lnTo>
                  <a:pt x="406" y="42"/>
                </a:lnTo>
                <a:lnTo>
                  <a:pt x="410" y="42"/>
                </a:lnTo>
                <a:lnTo>
                  <a:pt x="410" y="38"/>
                </a:lnTo>
                <a:lnTo>
                  <a:pt x="410" y="34"/>
                </a:lnTo>
                <a:lnTo>
                  <a:pt x="414" y="34"/>
                </a:lnTo>
                <a:lnTo>
                  <a:pt x="414" y="30"/>
                </a:lnTo>
                <a:lnTo>
                  <a:pt x="414" y="28"/>
                </a:lnTo>
                <a:lnTo>
                  <a:pt x="414" y="24"/>
                </a:lnTo>
                <a:lnTo>
                  <a:pt x="414" y="20"/>
                </a:lnTo>
                <a:lnTo>
                  <a:pt x="414" y="16"/>
                </a:lnTo>
                <a:lnTo>
                  <a:pt x="418" y="16"/>
                </a:lnTo>
                <a:lnTo>
                  <a:pt x="418" y="12"/>
                </a:lnTo>
                <a:lnTo>
                  <a:pt x="422" y="12"/>
                </a:lnTo>
                <a:lnTo>
                  <a:pt x="422" y="16"/>
                </a:lnTo>
                <a:lnTo>
                  <a:pt x="422" y="12"/>
                </a:lnTo>
                <a:lnTo>
                  <a:pt x="426" y="16"/>
                </a:lnTo>
                <a:lnTo>
                  <a:pt x="426" y="20"/>
                </a:lnTo>
                <a:lnTo>
                  <a:pt x="426" y="24"/>
                </a:lnTo>
                <a:lnTo>
                  <a:pt x="426" y="28"/>
                </a:lnTo>
                <a:lnTo>
                  <a:pt x="426" y="30"/>
                </a:lnTo>
                <a:lnTo>
                  <a:pt x="428" y="30"/>
                </a:lnTo>
                <a:lnTo>
                  <a:pt x="428" y="34"/>
                </a:lnTo>
                <a:lnTo>
                  <a:pt x="428" y="38"/>
                </a:lnTo>
                <a:lnTo>
                  <a:pt x="432" y="38"/>
                </a:lnTo>
                <a:lnTo>
                  <a:pt x="432" y="42"/>
                </a:lnTo>
                <a:lnTo>
                  <a:pt x="432" y="46"/>
                </a:lnTo>
                <a:lnTo>
                  <a:pt x="432" y="50"/>
                </a:lnTo>
                <a:lnTo>
                  <a:pt x="436" y="50"/>
                </a:lnTo>
                <a:lnTo>
                  <a:pt x="436" y="54"/>
                </a:lnTo>
                <a:lnTo>
                  <a:pt x="436" y="58"/>
                </a:lnTo>
                <a:lnTo>
                  <a:pt x="436" y="60"/>
                </a:lnTo>
                <a:lnTo>
                  <a:pt x="436" y="64"/>
                </a:lnTo>
                <a:lnTo>
                  <a:pt x="436" y="68"/>
                </a:lnTo>
                <a:lnTo>
                  <a:pt x="436" y="72"/>
                </a:lnTo>
                <a:lnTo>
                  <a:pt x="440" y="76"/>
                </a:lnTo>
                <a:lnTo>
                  <a:pt x="444" y="76"/>
                </a:lnTo>
                <a:lnTo>
                  <a:pt x="448" y="72"/>
                </a:lnTo>
                <a:lnTo>
                  <a:pt x="452" y="72"/>
                </a:lnTo>
                <a:lnTo>
                  <a:pt x="452" y="76"/>
                </a:lnTo>
                <a:lnTo>
                  <a:pt x="452" y="80"/>
                </a:lnTo>
                <a:lnTo>
                  <a:pt x="454" y="80"/>
                </a:lnTo>
                <a:lnTo>
                  <a:pt x="454" y="84"/>
                </a:lnTo>
                <a:lnTo>
                  <a:pt x="458" y="84"/>
                </a:lnTo>
                <a:lnTo>
                  <a:pt x="458" y="86"/>
                </a:lnTo>
                <a:lnTo>
                  <a:pt x="458" y="90"/>
                </a:lnTo>
                <a:lnTo>
                  <a:pt x="458" y="94"/>
                </a:lnTo>
                <a:lnTo>
                  <a:pt x="462" y="98"/>
                </a:lnTo>
                <a:lnTo>
                  <a:pt x="462" y="102"/>
                </a:lnTo>
                <a:lnTo>
                  <a:pt x="462" y="106"/>
                </a:lnTo>
                <a:lnTo>
                  <a:pt x="462" y="110"/>
                </a:lnTo>
                <a:lnTo>
                  <a:pt x="462" y="114"/>
                </a:lnTo>
                <a:lnTo>
                  <a:pt x="466" y="116"/>
                </a:lnTo>
                <a:lnTo>
                  <a:pt x="466" y="120"/>
                </a:lnTo>
                <a:lnTo>
                  <a:pt x="466" y="116"/>
                </a:lnTo>
                <a:lnTo>
                  <a:pt x="470" y="116"/>
                </a:lnTo>
                <a:lnTo>
                  <a:pt x="470" y="120"/>
                </a:lnTo>
                <a:lnTo>
                  <a:pt x="470" y="124"/>
                </a:lnTo>
                <a:lnTo>
                  <a:pt x="470" y="128"/>
                </a:lnTo>
                <a:lnTo>
                  <a:pt x="470" y="132"/>
                </a:lnTo>
                <a:lnTo>
                  <a:pt x="470" y="136"/>
                </a:lnTo>
                <a:lnTo>
                  <a:pt x="470" y="140"/>
                </a:lnTo>
                <a:lnTo>
                  <a:pt x="470" y="142"/>
                </a:lnTo>
                <a:lnTo>
                  <a:pt x="472" y="146"/>
                </a:lnTo>
                <a:lnTo>
                  <a:pt x="472" y="150"/>
                </a:lnTo>
                <a:lnTo>
                  <a:pt x="472" y="154"/>
                </a:lnTo>
                <a:lnTo>
                  <a:pt x="476" y="154"/>
                </a:lnTo>
                <a:lnTo>
                  <a:pt x="476" y="158"/>
                </a:lnTo>
                <a:lnTo>
                  <a:pt x="480" y="158"/>
                </a:lnTo>
                <a:lnTo>
                  <a:pt x="480" y="162"/>
                </a:lnTo>
                <a:lnTo>
                  <a:pt x="484" y="162"/>
                </a:lnTo>
                <a:lnTo>
                  <a:pt x="488" y="162"/>
                </a:lnTo>
                <a:lnTo>
                  <a:pt x="492" y="162"/>
                </a:lnTo>
                <a:lnTo>
                  <a:pt x="488" y="162"/>
                </a:lnTo>
                <a:lnTo>
                  <a:pt x="492" y="162"/>
                </a:lnTo>
                <a:lnTo>
                  <a:pt x="492" y="166"/>
                </a:lnTo>
                <a:lnTo>
                  <a:pt x="492" y="170"/>
                </a:lnTo>
                <a:lnTo>
                  <a:pt x="496" y="170"/>
                </a:lnTo>
                <a:lnTo>
                  <a:pt x="496" y="172"/>
                </a:lnTo>
                <a:lnTo>
                  <a:pt x="498" y="172"/>
                </a:lnTo>
                <a:lnTo>
                  <a:pt x="502" y="172"/>
                </a:lnTo>
                <a:lnTo>
                  <a:pt x="502" y="176"/>
                </a:lnTo>
                <a:lnTo>
                  <a:pt x="502" y="172"/>
                </a:lnTo>
                <a:lnTo>
                  <a:pt x="506" y="172"/>
                </a:lnTo>
                <a:lnTo>
                  <a:pt x="506" y="176"/>
                </a:lnTo>
                <a:lnTo>
                  <a:pt x="510" y="176"/>
                </a:lnTo>
                <a:lnTo>
                  <a:pt x="510" y="180"/>
                </a:lnTo>
                <a:lnTo>
                  <a:pt x="510" y="184"/>
                </a:lnTo>
                <a:lnTo>
                  <a:pt x="510" y="180"/>
                </a:lnTo>
                <a:lnTo>
                  <a:pt x="506" y="180"/>
                </a:lnTo>
                <a:lnTo>
                  <a:pt x="506" y="184"/>
                </a:lnTo>
                <a:lnTo>
                  <a:pt x="510" y="188"/>
                </a:lnTo>
                <a:lnTo>
                  <a:pt x="514" y="188"/>
                </a:lnTo>
                <a:lnTo>
                  <a:pt x="514" y="192"/>
                </a:lnTo>
                <a:lnTo>
                  <a:pt x="514" y="196"/>
                </a:lnTo>
                <a:lnTo>
                  <a:pt x="518" y="196"/>
                </a:lnTo>
                <a:lnTo>
                  <a:pt x="518" y="200"/>
                </a:lnTo>
                <a:lnTo>
                  <a:pt x="518" y="202"/>
                </a:lnTo>
                <a:lnTo>
                  <a:pt x="518" y="206"/>
                </a:lnTo>
                <a:lnTo>
                  <a:pt x="518" y="210"/>
                </a:lnTo>
                <a:lnTo>
                  <a:pt x="522" y="214"/>
                </a:lnTo>
                <a:lnTo>
                  <a:pt x="522" y="218"/>
                </a:lnTo>
                <a:lnTo>
                  <a:pt x="526" y="214"/>
                </a:lnTo>
                <a:lnTo>
                  <a:pt x="526" y="218"/>
                </a:lnTo>
                <a:lnTo>
                  <a:pt x="526" y="222"/>
                </a:lnTo>
                <a:lnTo>
                  <a:pt x="526" y="218"/>
                </a:lnTo>
                <a:lnTo>
                  <a:pt x="526" y="214"/>
                </a:lnTo>
                <a:lnTo>
                  <a:pt x="526" y="210"/>
                </a:lnTo>
                <a:lnTo>
                  <a:pt x="528" y="210"/>
                </a:lnTo>
                <a:lnTo>
                  <a:pt x="528" y="214"/>
                </a:lnTo>
                <a:lnTo>
                  <a:pt x="528" y="218"/>
                </a:lnTo>
                <a:lnTo>
                  <a:pt x="532" y="218"/>
                </a:lnTo>
                <a:lnTo>
                  <a:pt x="532" y="214"/>
                </a:lnTo>
                <a:lnTo>
                  <a:pt x="536" y="214"/>
                </a:lnTo>
                <a:lnTo>
                  <a:pt x="536" y="218"/>
                </a:lnTo>
                <a:lnTo>
                  <a:pt x="536" y="222"/>
                </a:lnTo>
                <a:lnTo>
                  <a:pt x="536" y="226"/>
                </a:lnTo>
                <a:lnTo>
                  <a:pt x="536" y="228"/>
                </a:lnTo>
                <a:lnTo>
                  <a:pt x="536" y="232"/>
                </a:lnTo>
                <a:lnTo>
                  <a:pt x="540" y="236"/>
                </a:lnTo>
                <a:lnTo>
                  <a:pt x="544" y="240"/>
                </a:lnTo>
                <a:lnTo>
                  <a:pt x="548" y="244"/>
                </a:lnTo>
                <a:lnTo>
                  <a:pt x="548" y="244"/>
                </a:lnTo>
                <a:lnTo>
                  <a:pt x="548" y="244"/>
                </a:lnTo>
                <a:close/>
                <a:moveTo>
                  <a:pt x="168" y="94"/>
                </a:moveTo>
                <a:lnTo>
                  <a:pt x="164" y="90"/>
                </a:lnTo>
                <a:lnTo>
                  <a:pt x="168" y="90"/>
                </a:lnTo>
                <a:lnTo>
                  <a:pt x="168" y="94"/>
                </a:lnTo>
                <a:lnTo>
                  <a:pt x="168" y="94"/>
                </a:lnTo>
                <a:lnTo>
                  <a:pt x="168" y="94"/>
                </a:lnTo>
                <a:close/>
                <a:moveTo>
                  <a:pt x="570" y="278"/>
                </a:moveTo>
                <a:lnTo>
                  <a:pt x="570" y="274"/>
                </a:lnTo>
                <a:lnTo>
                  <a:pt x="566" y="274"/>
                </a:lnTo>
                <a:lnTo>
                  <a:pt x="570" y="270"/>
                </a:lnTo>
                <a:lnTo>
                  <a:pt x="570" y="266"/>
                </a:lnTo>
                <a:lnTo>
                  <a:pt x="570" y="262"/>
                </a:lnTo>
                <a:lnTo>
                  <a:pt x="574" y="262"/>
                </a:lnTo>
                <a:lnTo>
                  <a:pt x="574" y="258"/>
                </a:lnTo>
                <a:lnTo>
                  <a:pt x="570" y="258"/>
                </a:lnTo>
                <a:lnTo>
                  <a:pt x="574" y="258"/>
                </a:lnTo>
                <a:lnTo>
                  <a:pt x="574" y="256"/>
                </a:lnTo>
                <a:lnTo>
                  <a:pt x="574" y="258"/>
                </a:lnTo>
                <a:lnTo>
                  <a:pt x="574" y="262"/>
                </a:lnTo>
                <a:lnTo>
                  <a:pt x="574" y="266"/>
                </a:lnTo>
                <a:lnTo>
                  <a:pt x="570" y="270"/>
                </a:lnTo>
                <a:lnTo>
                  <a:pt x="570" y="274"/>
                </a:lnTo>
                <a:lnTo>
                  <a:pt x="570" y="278"/>
                </a:lnTo>
                <a:lnTo>
                  <a:pt x="570" y="278"/>
                </a:lnTo>
                <a:lnTo>
                  <a:pt x="570" y="278"/>
                </a:lnTo>
                <a:close/>
                <a:moveTo>
                  <a:pt x="498" y="546"/>
                </a:moveTo>
                <a:lnTo>
                  <a:pt x="498" y="542"/>
                </a:lnTo>
                <a:lnTo>
                  <a:pt x="496" y="538"/>
                </a:lnTo>
                <a:lnTo>
                  <a:pt x="496" y="534"/>
                </a:lnTo>
                <a:lnTo>
                  <a:pt x="498" y="534"/>
                </a:lnTo>
                <a:lnTo>
                  <a:pt x="498" y="538"/>
                </a:lnTo>
                <a:lnTo>
                  <a:pt x="502" y="538"/>
                </a:lnTo>
                <a:lnTo>
                  <a:pt x="502" y="542"/>
                </a:lnTo>
                <a:lnTo>
                  <a:pt x="502" y="546"/>
                </a:lnTo>
                <a:lnTo>
                  <a:pt x="498" y="546"/>
                </a:lnTo>
                <a:lnTo>
                  <a:pt x="498" y="546"/>
                </a:lnTo>
                <a:lnTo>
                  <a:pt x="498" y="546"/>
                </a:lnTo>
                <a:close/>
                <a:moveTo>
                  <a:pt x="498" y="594"/>
                </a:moveTo>
                <a:lnTo>
                  <a:pt x="498" y="590"/>
                </a:lnTo>
                <a:lnTo>
                  <a:pt x="498" y="594"/>
                </a:lnTo>
                <a:lnTo>
                  <a:pt x="498" y="594"/>
                </a:lnTo>
                <a:lnTo>
                  <a:pt x="498" y="594"/>
                </a:lnTo>
                <a:close/>
                <a:moveTo>
                  <a:pt x="376" y="124"/>
                </a:moveTo>
                <a:lnTo>
                  <a:pt x="376" y="120"/>
                </a:lnTo>
                <a:lnTo>
                  <a:pt x="380" y="120"/>
                </a:lnTo>
                <a:lnTo>
                  <a:pt x="376" y="120"/>
                </a:lnTo>
                <a:lnTo>
                  <a:pt x="376" y="124"/>
                </a:lnTo>
                <a:lnTo>
                  <a:pt x="376" y="124"/>
                </a:lnTo>
                <a:lnTo>
                  <a:pt x="376" y="124"/>
                </a:lnTo>
                <a:close/>
                <a:moveTo>
                  <a:pt x="472" y="146"/>
                </a:moveTo>
                <a:lnTo>
                  <a:pt x="472" y="142"/>
                </a:lnTo>
                <a:lnTo>
                  <a:pt x="470" y="142"/>
                </a:lnTo>
                <a:lnTo>
                  <a:pt x="472" y="142"/>
                </a:lnTo>
                <a:lnTo>
                  <a:pt x="472" y="146"/>
                </a:lnTo>
                <a:lnTo>
                  <a:pt x="472" y="146"/>
                </a:lnTo>
                <a:lnTo>
                  <a:pt x="472" y="146"/>
                </a:lnTo>
                <a:close/>
                <a:moveTo>
                  <a:pt x="38" y="188"/>
                </a:moveTo>
                <a:lnTo>
                  <a:pt x="38" y="184"/>
                </a:lnTo>
                <a:lnTo>
                  <a:pt x="38" y="188"/>
                </a:lnTo>
                <a:lnTo>
                  <a:pt x="38" y="188"/>
                </a:lnTo>
                <a:lnTo>
                  <a:pt x="38" y="188"/>
                </a:lnTo>
                <a:close/>
                <a:moveTo>
                  <a:pt x="652" y="840"/>
                </a:moveTo>
                <a:lnTo>
                  <a:pt x="652" y="836"/>
                </a:lnTo>
                <a:lnTo>
                  <a:pt x="652" y="840"/>
                </a:lnTo>
                <a:lnTo>
                  <a:pt x="652" y="840"/>
                </a:lnTo>
                <a:lnTo>
                  <a:pt x="652" y="840"/>
                </a:lnTo>
                <a:close/>
                <a:moveTo>
                  <a:pt x="418" y="4"/>
                </a:moveTo>
                <a:lnTo>
                  <a:pt x="418" y="0"/>
                </a:lnTo>
                <a:lnTo>
                  <a:pt x="418" y="4"/>
                </a:lnTo>
                <a:lnTo>
                  <a:pt x="418" y="4"/>
                </a:lnTo>
                <a:lnTo>
                  <a:pt x="418" y="4"/>
                </a:lnTo>
                <a:close/>
                <a:moveTo>
                  <a:pt x="418" y="12"/>
                </a:moveTo>
                <a:lnTo>
                  <a:pt x="414" y="12"/>
                </a:lnTo>
                <a:lnTo>
                  <a:pt x="414" y="8"/>
                </a:lnTo>
                <a:lnTo>
                  <a:pt x="418" y="8"/>
                </a:lnTo>
                <a:lnTo>
                  <a:pt x="418" y="12"/>
                </a:lnTo>
                <a:lnTo>
                  <a:pt x="418" y="12"/>
                </a:lnTo>
                <a:lnTo>
                  <a:pt x="418" y="12"/>
                </a:lnTo>
                <a:close/>
                <a:moveTo>
                  <a:pt x="336" y="24"/>
                </a:moveTo>
                <a:lnTo>
                  <a:pt x="340" y="20"/>
                </a:lnTo>
                <a:lnTo>
                  <a:pt x="340" y="16"/>
                </a:lnTo>
                <a:lnTo>
                  <a:pt x="340" y="20"/>
                </a:lnTo>
                <a:lnTo>
                  <a:pt x="336" y="24"/>
                </a:lnTo>
                <a:lnTo>
                  <a:pt x="336" y="24"/>
                </a:lnTo>
                <a:lnTo>
                  <a:pt x="336" y="24"/>
                </a:lnTo>
                <a:close/>
                <a:moveTo>
                  <a:pt x="280" y="24"/>
                </a:moveTo>
                <a:lnTo>
                  <a:pt x="280" y="20"/>
                </a:lnTo>
                <a:lnTo>
                  <a:pt x="280" y="16"/>
                </a:lnTo>
                <a:lnTo>
                  <a:pt x="280" y="20"/>
                </a:lnTo>
                <a:lnTo>
                  <a:pt x="280" y="24"/>
                </a:lnTo>
                <a:lnTo>
                  <a:pt x="280" y="24"/>
                </a:lnTo>
                <a:lnTo>
                  <a:pt x="280" y="24"/>
                </a:lnTo>
                <a:close/>
                <a:moveTo>
                  <a:pt x="258" y="30"/>
                </a:moveTo>
                <a:lnTo>
                  <a:pt x="254" y="30"/>
                </a:lnTo>
                <a:lnTo>
                  <a:pt x="250" y="28"/>
                </a:lnTo>
                <a:lnTo>
                  <a:pt x="250" y="24"/>
                </a:lnTo>
                <a:lnTo>
                  <a:pt x="250" y="20"/>
                </a:lnTo>
                <a:lnTo>
                  <a:pt x="254" y="24"/>
                </a:lnTo>
                <a:lnTo>
                  <a:pt x="258" y="24"/>
                </a:lnTo>
                <a:lnTo>
                  <a:pt x="258" y="20"/>
                </a:lnTo>
                <a:lnTo>
                  <a:pt x="258" y="24"/>
                </a:lnTo>
                <a:lnTo>
                  <a:pt x="258" y="20"/>
                </a:lnTo>
                <a:lnTo>
                  <a:pt x="260" y="20"/>
                </a:lnTo>
                <a:lnTo>
                  <a:pt x="260" y="24"/>
                </a:lnTo>
                <a:lnTo>
                  <a:pt x="260" y="20"/>
                </a:lnTo>
                <a:lnTo>
                  <a:pt x="264" y="20"/>
                </a:lnTo>
                <a:lnTo>
                  <a:pt x="264" y="24"/>
                </a:lnTo>
                <a:lnTo>
                  <a:pt x="264" y="28"/>
                </a:lnTo>
                <a:lnTo>
                  <a:pt x="260" y="28"/>
                </a:lnTo>
                <a:lnTo>
                  <a:pt x="260" y="30"/>
                </a:lnTo>
                <a:lnTo>
                  <a:pt x="258" y="30"/>
                </a:lnTo>
                <a:lnTo>
                  <a:pt x="258" y="30"/>
                </a:lnTo>
                <a:lnTo>
                  <a:pt x="258" y="30"/>
                </a:lnTo>
                <a:close/>
                <a:moveTo>
                  <a:pt x="250" y="30"/>
                </a:moveTo>
                <a:lnTo>
                  <a:pt x="246" y="30"/>
                </a:lnTo>
                <a:lnTo>
                  <a:pt x="242" y="30"/>
                </a:lnTo>
                <a:lnTo>
                  <a:pt x="246" y="28"/>
                </a:lnTo>
                <a:lnTo>
                  <a:pt x="246" y="24"/>
                </a:lnTo>
                <a:lnTo>
                  <a:pt x="250" y="24"/>
                </a:lnTo>
                <a:lnTo>
                  <a:pt x="250" y="28"/>
                </a:lnTo>
                <a:lnTo>
                  <a:pt x="254" y="28"/>
                </a:lnTo>
                <a:lnTo>
                  <a:pt x="254" y="30"/>
                </a:lnTo>
                <a:lnTo>
                  <a:pt x="250" y="30"/>
                </a:lnTo>
                <a:lnTo>
                  <a:pt x="250" y="30"/>
                </a:lnTo>
                <a:lnTo>
                  <a:pt x="250" y="30"/>
                </a:lnTo>
                <a:close/>
                <a:moveTo>
                  <a:pt x="332" y="28"/>
                </a:moveTo>
                <a:lnTo>
                  <a:pt x="336" y="24"/>
                </a:lnTo>
                <a:lnTo>
                  <a:pt x="336" y="28"/>
                </a:lnTo>
                <a:lnTo>
                  <a:pt x="332" y="28"/>
                </a:lnTo>
                <a:lnTo>
                  <a:pt x="332" y="28"/>
                </a:lnTo>
                <a:lnTo>
                  <a:pt x="332" y="28"/>
                </a:lnTo>
                <a:close/>
                <a:moveTo>
                  <a:pt x="342" y="72"/>
                </a:moveTo>
                <a:lnTo>
                  <a:pt x="340" y="72"/>
                </a:lnTo>
                <a:lnTo>
                  <a:pt x="336" y="72"/>
                </a:lnTo>
                <a:lnTo>
                  <a:pt x="336" y="68"/>
                </a:lnTo>
                <a:lnTo>
                  <a:pt x="336" y="64"/>
                </a:lnTo>
                <a:lnTo>
                  <a:pt x="340" y="60"/>
                </a:lnTo>
                <a:lnTo>
                  <a:pt x="340" y="64"/>
                </a:lnTo>
                <a:lnTo>
                  <a:pt x="342" y="64"/>
                </a:lnTo>
                <a:lnTo>
                  <a:pt x="340" y="64"/>
                </a:lnTo>
                <a:lnTo>
                  <a:pt x="340" y="68"/>
                </a:lnTo>
                <a:lnTo>
                  <a:pt x="340" y="72"/>
                </a:lnTo>
                <a:lnTo>
                  <a:pt x="342" y="72"/>
                </a:lnTo>
                <a:lnTo>
                  <a:pt x="342" y="72"/>
                </a:lnTo>
                <a:lnTo>
                  <a:pt x="342" y="72"/>
                </a:lnTo>
                <a:close/>
                <a:moveTo>
                  <a:pt x="332" y="64"/>
                </a:moveTo>
                <a:lnTo>
                  <a:pt x="332" y="60"/>
                </a:lnTo>
                <a:lnTo>
                  <a:pt x="332" y="64"/>
                </a:lnTo>
                <a:lnTo>
                  <a:pt x="332" y="64"/>
                </a:lnTo>
                <a:lnTo>
                  <a:pt x="332" y="64"/>
                </a:lnTo>
                <a:close/>
                <a:moveTo>
                  <a:pt x="174" y="80"/>
                </a:moveTo>
                <a:lnTo>
                  <a:pt x="174" y="76"/>
                </a:lnTo>
                <a:lnTo>
                  <a:pt x="174" y="80"/>
                </a:lnTo>
                <a:lnTo>
                  <a:pt x="174" y="80"/>
                </a:lnTo>
                <a:lnTo>
                  <a:pt x="174" y="80"/>
                </a:lnTo>
                <a:close/>
                <a:moveTo>
                  <a:pt x="336" y="98"/>
                </a:moveTo>
                <a:lnTo>
                  <a:pt x="336" y="94"/>
                </a:lnTo>
                <a:lnTo>
                  <a:pt x="336" y="98"/>
                </a:lnTo>
                <a:lnTo>
                  <a:pt x="336" y="98"/>
                </a:lnTo>
                <a:lnTo>
                  <a:pt x="336" y="98"/>
                </a:lnTo>
                <a:close/>
                <a:moveTo>
                  <a:pt x="342" y="98"/>
                </a:moveTo>
                <a:lnTo>
                  <a:pt x="342" y="94"/>
                </a:lnTo>
                <a:lnTo>
                  <a:pt x="342" y="98"/>
                </a:lnTo>
                <a:lnTo>
                  <a:pt x="342" y="98"/>
                </a:lnTo>
                <a:lnTo>
                  <a:pt x="342" y="98"/>
                </a:lnTo>
                <a:close/>
                <a:moveTo>
                  <a:pt x="372" y="116"/>
                </a:moveTo>
                <a:lnTo>
                  <a:pt x="372" y="114"/>
                </a:lnTo>
                <a:lnTo>
                  <a:pt x="376" y="114"/>
                </a:lnTo>
                <a:lnTo>
                  <a:pt x="376" y="110"/>
                </a:lnTo>
                <a:lnTo>
                  <a:pt x="380" y="110"/>
                </a:lnTo>
                <a:lnTo>
                  <a:pt x="380" y="114"/>
                </a:lnTo>
                <a:lnTo>
                  <a:pt x="376" y="114"/>
                </a:lnTo>
                <a:lnTo>
                  <a:pt x="376" y="116"/>
                </a:lnTo>
                <a:lnTo>
                  <a:pt x="372" y="116"/>
                </a:lnTo>
                <a:lnTo>
                  <a:pt x="372" y="116"/>
                </a:lnTo>
                <a:lnTo>
                  <a:pt x="372" y="116"/>
                </a:lnTo>
                <a:close/>
                <a:moveTo>
                  <a:pt x="544" y="240"/>
                </a:moveTo>
                <a:lnTo>
                  <a:pt x="544" y="236"/>
                </a:lnTo>
                <a:lnTo>
                  <a:pt x="540" y="236"/>
                </a:lnTo>
                <a:lnTo>
                  <a:pt x="540" y="232"/>
                </a:lnTo>
                <a:lnTo>
                  <a:pt x="544" y="236"/>
                </a:lnTo>
                <a:lnTo>
                  <a:pt x="544" y="240"/>
                </a:lnTo>
                <a:lnTo>
                  <a:pt x="544" y="240"/>
                </a:lnTo>
                <a:lnTo>
                  <a:pt x="544" y="240"/>
                </a:lnTo>
                <a:close/>
                <a:moveTo>
                  <a:pt x="8" y="282"/>
                </a:moveTo>
                <a:lnTo>
                  <a:pt x="4" y="282"/>
                </a:lnTo>
                <a:lnTo>
                  <a:pt x="4" y="278"/>
                </a:lnTo>
                <a:lnTo>
                  <a:pt x="0" y="274"/>
                </a:lnTo>
                <a:lnTo>
                  <a:pt x="0" y="270"/>
                </a:lnTo>
                <a:lnTo>
                  <a:pt x="4" y="270"/>
                </a:lnTo>
                <a:lnTo>
                  <a:pt x="4" y="274"/>
                </a:lnTo>
                <a:lnTo>
                  <a:pt x="4" y="278"/>
                </a:lnTo>
                <a:lnTo>
                  <a:pt x="4" y="282"/>
                </a:lnTo>
                <a:lnTo>
                  <a:pt x="8" y="282"/>
                </a:lnTo>
                <a:lnTo>
                  <a:pt x="8" y="282"/>
                </a:lnTo>
                <a:lnTo>
                  <a:pt x="8" y="282"/>
                </a:lnTo>
                <a:close/>
                <a:moveTo>
                  <a:pt x="574" y="302"/>
                </a:moveTo>
                <a:lnTo>
                  <a:pt x="574" y="300"/>
                </a:lnTo>
                <a:lnTo>
                  <a:pt x="574" y="302"/>
                </a:lnTo>
                <a:lnTo>
                  <a:pt x="574" y="302"/>
                </a:lnTo>
                <a:lnTo>
                  <a:pt x="574" y="302"/>
                </a:lnTo>
                <a:close/>
                <a:moveTo>
                  <a:pt x="574" y="310"/>
                </a:moveTo>
                <a:lnTo>
                  <a:pt x="574" y="306"/>
                </a:lnTo>
                <a:lnTo>
                  <a:pt x="574" y="302"/>
                </a:lnTo>
                <a:lnTo>
                  <a:pt x="578" y="306"/>
                </a:lnTo>
                <a:lnTo>
                  <a:pt x="574" y="306"/>
                </a:lnTo>
                <a:lnTo>
                  <a:pt x="574" y="310"/>
                </a:lnTo>
                <a:lnTo>
                  <a:pt x="574" y="310"/>
                </a:lnTo>
                <a:lnTo>
                  <a:pt x="574" y="310"/>
                </a:lnTo>
                <a:close/>
                <a:moveTo>
                  <a:pt x="354" y="460"/>
                </a:moveTo>
                <a:lnTo>
                  <a:pt x="358" y="460"/>
                </a:lnTo>
                <a:lnTo>
                  <a:pt x="358" y="464"/>
                </a:lnTo>
                <a:lnTo>
                  <a:pt x="354" y="460"/>
                </a:lnTo>
                <a:lnTo>
                  <a:pt x="350" y="464"/>
                </a:lnTo>
                <a:lnTo>
                  <a:pt x="346" y="464"/>
                </a:lnTo>
                <a:lnTo>
                  <a:pt x="342" y="464"/>
                </a:lnTo>
                <a:lnTo>
                  <a:pt x="340" y="464"/>
                </a:lnTo>
                <a:lnTo>
                  <a:pt x="336" y="464"/>
                </a:lnTo>
                <a:lnTo>
                  <a:pt x="336" y="460"/>
                </a:lnTo>
                <a:lnTo>
                  <a:pt x="342" y="456"/>
                </a:lnTo>
                <a:lnTo>
                  <a:pt x="346" y="456"/>
                </a:lnTo>
                <a:lnTo>
                  <a:pt x="350" y="456"/>
                </a:lnTo>
                <a:lnTo>
                  <a:pt x="350" y="460"/>
                </a:lnTo>
                <a:lnTo>
                  <a:pt x="354" y="460"/>
                </a:lnTo>
                <a:lnTo>
                  <a:pt x="354" y="460"/>
                </a:lnTo>
                <a:lnTo>
                  <a:pt x="354" y="460"/>
                </a:lnTo>
                <a:close/>
                <a:moveTo>
                  <a:pt x="462" y="508"/>
                </a:moveTo>
                <a:lnTo>
                  <a:pt x="458" y="508"/>
                </a:lnTo>
                <a:lnTo>
                  <a:pt x="462" y="508"/>
                </a:lnTo>
                <a:lnTo>
                  <a:pt x="462" y="508"/>
                </a:lnTo>
                <a:lnTo>
                  <a:pt x="462" y="508"/>
                </a:lnTo>
                <a:close/>
                <a:moveTo>
                  <a:pt x="462" y="512"/>
                </a:moveTo>
                <a:lnTo>
                  <a:pt x="458" y="512"/>
                </a:lnTo>
                <a:lnTo>
                  <a:pt x="462" y="512"/>
                </a:lnTo>
                <a:lnTo>
                  <a:pt x="462" y="512"/>
                </a:lnTo>
                <a:lnTo>
                  <a:pt x="462" y="512"/>
                </a:lnTo>
                <a:close/>
                <a:moveTo>
                  <a:pt x="440" y="542"/>
                </a:moveTo>
                <a:lnTo>
                  <a:pt x="440" y="538"/>
                </a:lnTo>
                <a:lnTo>
                  <a:pt x="440" y="534"/>
                </a:lnTo>
                <a:lnTo>
                  <a:pt x="440" y="530"/>
                </a:lnTo>
                <a:lnTo>
                  <a:pt x="444" y="534"/>
                </a:lnTo>
                <a:lnTo>
                  <a:pt x="444" y="538"/>
                </a:lnTo>
                <a:lnTo>
                  <a:pt x="444" y="542"/>
                </a:lnTo>
                <a:lnTo>
                  <a:pt x="440" y="542"/>
                </a:lnTo>
                <a:lnTo>
                  <a:pt x="440" y="542"/>
                </a:lnTo>
                <a:lnTo>
                  <a:pt x="440" y="542"/>
                </a:lnTo>
                <a:close/>
                <a:moveTo>
                  <a:pt x="502" y="550"/>
                </a:moveTo>
                <a:lnTo>
                  <a:pt x="498" y="550"/>
                </a:lnTo>
                <a:lnTo>
                  <a:pt x="498" y="546"/>
                </a:lnTo>
                <a:lnTo>
                  <a:pt x="502" y="546"/>
                </a:lnTo>
                <a:lnTo>
                  <a:pt x="502" y="550"/>
                </a:lnTo>
                <a:lnTo>
                  <a:pt x="502" y="550"/>
                </a:lnTo>
                <a:lnTo>
                  <a:pt x="502" y="550"/>
                </a:lnTo>
                <a:close/>
                <a:moveTo>
                  <a:pt x="484" y="612"/>
                </a:moveTo>
                <a:lnTo>
                  <a:pt x="480" y="612"/>
                </a:lnTo>
                <a:lnTo>
                  <a:pt x="480" y="610"/>
                </a:lnTo>
                <a:lnTo>
                  <a:pt x="476" y="610"/>
                </a:lnTo>
                <a:lnTo>
                  <a:pt x="472" y="610"/>
                </a:lnTo>
                <a:lnTo>
                  <a:pt x="470" y="610"/>
                </a:lnTo>
                <a:lnTo>
                  <a:pt x="470" y="606"/>
                </a:lnTo>
                <a:lnTo>
                  <a:pt x="472" y="606"/>
                </a:lnTo>
                <a:lnTo>
                  <a:pt x="470" y="606"/>
                </a:lnTo>
                <a:lnTo>
                  <a:pt x="466" y="606"/>
                </a:lnTo>
                <a:lnTo>
                  <a:pt x="466" y="602"/>
                </a:lnTo>
                <a:lnTo>
                  <a:pt x="466" y="598"/>
                </a:lnTo>
                <a:lnTo>
                  <a:pt x="462" y="598"/>
                </a:lnTo>
                <a:lnTo>
                  <a:pt x="462" y="594"/>
                </a:lnTo>
                <a:lnTo>
                  <a:pt x="462" y="590"/>
                </a:lnTo>
                <a:lnTo>
                  <a:pt x="458" y="590"/>
                </a:lnTo>
                <a:lnTo>
                  <a:pt x="458" y="586"/>
                </a:lnTo>
                <a:lnTo>
                  <a:pt x="458" y="584"/>
                </a:lnTo>
                <a:lnTo>
                  <a:pt x="458" y="586"/>
                </a:lnTo>
                <a:lnTo>
                  <a:pt x="462" y="586"/>
                </a:lnTo>
                <a:lnTo>
                  <a:pt x="462" y="590"/>
                </a:lnTo>
                <a:lnTo>
                  <a:pt x="462" y="586"/>
                </a:lnTo>
                <a:lnTo>
                  <a:pt x="458" y="584"/>
                </a:lnTo>
                <a:lnTo>
                  <a:pt x="458" y="580"/>
                </a:lnTo>
                <a:lnTo>
                  <a:pt x="454" y="576"/>
                </a:lnTo>
                <a:lnTo>
                  <a:pt x="454" y="572"/>
                </a:lnTo>
                <a:lnTo>
                  <a:pt x="452" y="568"/>
                </a:lnTo>
                <a:lnTo>
                  <a:pt x="452" y="564"/>
                </a:lnTo>
                <a:lnTo>
                  <a:pt x="452" y="560"/>
                </a:lnTo>
                <a:lnTo>
                  <a:pt x="452" y="556"/>
                </a:lnTo>
                <a:lnTo>
                  <a:pt x="452" y="554"/>
                </a:lnTo>
                <a:lnTo>
                  <a:pt x="454" y="554"/>
                </a:lnTo>
                <a:lnTo>
                  <a:pt x="454" y="556"/>
                </a:lnTo>
                <a:lnTo>
                  <a:pt x="458" y="556"/>
                </a:lnTo>
                <a:lnTo>
                  <a:pt x="462" y="556"/>
                </a:lnTo>
                <a:lnTo>
                  <a:pt x="466" y="560"/>
                </a:lnTo>
                <a:lnTo>
                  <a:pt x="470" y="560"/>
                </a:lnTo>
                <a:lnTo>
                  <a:pt x="472" y="564"/>
                </a:lnTo>
                <a:lnTo>
                  <a:pt x="476" y="564"/>
                </a:lnTo>
                <a:lnTo>
                  <a:pt x="480" y="560"/>
                </a:lnTo>
                <a:lnTo>
                  <a:pt x="480" y="564"/>
                </a:lnTo>
                <a:lnTo>
                  <a:pt x="484" y="564"/>
                </a:lnTo>
                <a:lnTo>
                  <a:pt x="484" y="560"/>
                </a:lnTo>
                <a:lnTo>
                  <a:pt x="480" y="560"/>
                </a:lnTo>
                <a:lnTo>
                  <a:pt x="484" y="560"/>
                </a:lnTo>
                <a:lnTo>
                  <a:pt x="488" y="560"/>
                </a:lnTo>
                <a:lnTo>
                  <a:pt x="492" y="560"/>
                </a:lnTo>
                <a:lnTo>
                  <a:pt x="492" y="556"/>
                </a:lnTo>
                <a:lnTo>
                  <a:pt x="496" y="556"/>
                </a:lnTo>
                <a:lnTo>
                  <a:pt x="498" y="554"/>
                </a:lnTo>
                <a:lnTo>
                  <a:pt x="498" y="556"/>
                </a:lnTo>
                <a:lnTo>
                  <a:pt x="502" y="556"/>
                </a:lnTo>
                <a:lnTo>
                  <a:pt x="502" y="560"/>
                </a:lnTo>
                <a:lnTo>
                  <a:pt x="502" y="564"/>
                </a:lnTo>
                <a:lnTo>
                  <a:pt x="502" y="568"/>
                </a:lnTo>
                <a:lnTo>
                  <a:pt x="502" y="572"/>
                </a:lnTo>
                <a:lnTo>
                  <a:pt x="502" y="576"/>
                </a:lnTo>
                <a:lnTo>
                  <a:pt x="502" y="580"/>
                </a:lnTo>
                <a:lnTo>
                  <a:pt x="502" y="584"/>
                </a:lnTo>
                <a:lnTo>
                  <a:pt x="502" y="580"/>
                </a:lnTo>
                <a:lnTo>
                  <a:pt x="498" y="580"/>
                </a:lnTo>
                <a:lnTo>
                  <a:pt x="498" y="584"/>
                </a:lnTo>
                <a:lnTo>
                  <a:pt x="498" y="590"/>
                </a:lnTo>
                <a:lnTo>
                  <a:pt x="496" y="590"/>
                </a:lnTo>
                <a:lnTo>
                  <a:pt x="496" y="594"/>
                </a:lnTo>
                <a:lnTo>
                  <a:pt x="496" y="598"/>
                </a:lnTo>
                <a:lnTo>
                  <a:pt x="496" y="594"/>
                </a:lnTo>
                <a:lnTo>
                  <a:pt x="498" y="598"/>
                </a:lnTo>
                <a:lnTo>
                  <a:pt x="496" y="602"/>
                </a:lnTo>
                <a:lnTo>
                  <a:pt x="498" y="602"/>
                </a:lnTo>
                <a:lnTo>
                  <a:pt x="496" y="602"/>
                </a:lnTo>
                <a:lnTo>
                  <a:pt x="496" y="606"/>
                </a:lnTo>
                <a:lnTo>
                  <a:pt x="492" y="602"/>
                </a:lnTo>
                <a:lnTo>
                  <a:pt x="492" y="598"/>
                </a:lnTo>
                <a:lnTo>
                  <a:pt x="496" y="598"/>
                </a:lnTo>
                <a:lnTo>
                  <a:pt x="496" y="602"/>
                </a:lnTo>
                <a:lnTo>
                  <a:pt x="496" y="598"/>
                </a:lnTo>
                <a:lnTo>
                  <a:pt x="492" y="594"/>
                </a:lnTo>
                <a:lnTo>
                  <a:pt x="492" y="598"/>
                </a:lnTo>
                <a:lnTo>
                  <a:pt x="488" y="598"/>
                </a:lnTo>
                <a:lnTo>
                  <a:pt x="488" y="594"/>
                </a:lnTo>
                <a:lnTo>
                  <a:pt x="488" y="598"/>
                </a:lnTo>
                <a:lnTo>
                  <a:pt x="488" y="602"/>
                </a:lnTo>
                <a:lnTo>
                  <a:pt x="488" y="606"/>
                </a:lnTo>
                <a:lnTo>
                  <a:pt x="484" y="606"/>
                </a:lnTo>
                <a:lnTo>
                  <a:pt x="484" y="602"/>
                </a:lnTo>
                <a:lnTo>
                  <a:pt x="484" y="606"/>
                </a:lnTo>
                <a:lnTo>
                  <a:pt x="484" y="610"/>
                </a:lnTo>
                <a:lnTo>
                  <a:pt x="484" y="612"/>
                </a:lnTo>
                <a:lnTo>
                  <a:pt x="484" y="612"/>
                </a:lnTo>
                <a:lnTo>
                  <a:pt x="484" y="612"/>
                </a:lnTo>
                <a:close/>
                <a:moveTo>
                  <a:pt x="488" y="606"/>
                </a:moveTo>
                <a:lnTo>
                  <a:pt x="488" y="602"/>
                </a:lnTo>
                <a:lnTo>
                  <a:pt x="488" y="606"/>
                </a:lnTo>
                <a:lnTo>
                  <a:pt x="488" y="606"/>
                </a:lnTo>
                <a:lnTo>
                  <a:pt x="488" y="606"/>
                </a:lnTo>
                <a:close/>
                <a:moveTo>
                  <a:pt x="488" y="610"/>
                </a:moveTo>
                <a:lnTo>
                  <a:pt x="484" y="610"/>
                </a:lnTo>
                <a:lnTo>
                  <a:pt x="488" y="606"/>
                </a:lnTo>
                <a:lnTo>
                  <a:pt x="488" y="610"/>
                </a:lnTo>
                <a:lnTo>
                  <a:pt x="488" y="610"/>
                </a:lnTo>
                <a:lnTo>
                  <a:pt x="488" y="610"/>
                </a:lnTo>
                <a:close/>
              </a:path>
            </a:pathLst>
          </a:custGeom>
          <a:solidFill>
            <a:srgbClr val="A0DCFF"/>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84" name="Freeform 191"/>
          <p:cNvSpPr>
            <a:spLocks noEditPoints="1"/>
          </p:cNvSpPr>
          <p:nvPr/>
        </p:nvSpPr>
        <p:spPr bwMode="auto">
          <a:xfrm>
            <a:off x="2416968" y="4055269"/>
            <a:ext cx="723900" cy="878681"/>
          </a:xfrm>
          <a:custGeom>
            <a:avLst/>
            <a:gdLst>
              <a:gd name="T0" fmla="*/ 514 w 608"/>
              <a:gd name="T1" fmla="*/ 444 h 738"/>
              <a:gd name="T2" fmla="*/ 504 w 608"/>
              <a:gd name="T3" fmla="*/ 366 h 738"/>
              <a:gd name="T4" fmla="*/ 532 w 608"/>
              <a:gd name="T5" fmla="*/ 280 h 738"/>
              <a:gd name="T6" fmla="*/ 544 w 608"/>
              <a:gd name="T7" fmla="*/ 180 h 738"/>
              <a:gd name="T8" fmla="*/ 552 w 608"/>
              <a:gd name="T9" fmla="*/ 94 h 738"/>
              <a:gd name="T10" fmla="*/ 570 w 608"/>
              <a:gd name="T11" fmla="*/ 16 h 738"/>
              <a:gd name="T12" fmla="*/ 600 w 608"/>
              <a:gd name="T13" fmla="*/ 98 h 738"/>
              <a:gd name="T14" fmla="*/ 566 w 608"/>
              <a:gd name="T15" fmla="*/ 190 h 738"/>
              <a:gd name="T16" fmla="*/ 556 w 608"/>
              <a:gd name="T17" fmla="*/ 284 h 738"/>
              <a:gd name="T18" fmla="*/ 540 w 608"/>
              <a:gd name="T19" fmla="*/ 374 h 738"/>
              <a:gd name="T20" fmla="*/ 526 w 608"/>
              <a:gd name="T21" fmla="*/ 460 h 738"/>
              <a:gd name="T22" fmla="*/ 536 w 608"/>
              <a:gd name="T23" fmla="*/ 516 h 738"/>
              <a:gd name="T24" fmla="*/ 514 w 608"/>
              <a:gd name="T25" fmla="*/ 596 h 738"/>
              <a:gd name="T26" fmla="*/ 560 w 608"/>
              <a:gd name="T27" fmla="*/ 656 h 738"/>
              <a:gd name="T28" fmla="*/ 526 w 608"/>
              <a:gd name="T29" fmla="*/ 686 h 738"/>
              <a:gd name="T30" fmla="*/ 518 w 608"/>
              <a:gd name="T31" fmla="*/ 682 h 738"/>
              <a:gd name="T32" fmla="*/ 510 w 608"/>
              <a:gd name="T33" fmla="*/ 668 h 738"/>
              <a:gd name="T34" fmla="*/ 518 w 608"/>
              <a:gd name="T35" fmla="*/ 656 h 738"/>
              <a:gd name="T36" fmla="*/ 506 w 608"/>
              <a:gd name="T37" fmla="*/ 652 h 738"/>
              <a:gd name="T38" fmla="*/ 492 w 608"/>
              <a:gd name="T39" fmla="*/ 620 h 738"/>
              <a:gd name="T40" fmla="*/ 500 w 608"/>
              <a:gd name="T41" fmla="*/ 600 h 738"/>
              <a:gd name="T42" fmla="*/ 506 w 608"/>
              <a:gd name="T43" fmla="*/ 570 h 738"/>
              <a:gd name="T44" fmla="*/ 488 w 608"/>
              <a:gd name="T45" fmla="*/ 542 h 738"/>
              <a:gd name="T46" fmla="*/ 496 w 608"/>
              <a:gd name="T47" fmla="*/ 538 h 738"/>
              <a:gd name="T48" fmla="*/ 510 w 608"/>
              <a:gd name="T49" fmla="*/ 516 h 738"/>
              <a:gd name="T50" fmla="*/ 476 w 608"/>
              <a:gd name="T51" fmla="*/ 590 h 738"/>
              <a:gd name="T52" fmla="*/ 484 w 608"/>
              <a:gd name="T53" fmla="*/ 534 h 738"/>
              <a:gd name="T54" fmla="*/ 500 w 608"/>
              <a:gd name="T55" fmla="*/ 642 h 738"/>
              <a:gd name="T56" fmla="*/ 506 w 608"/>
              <a:gd name="T57" fmla="*/ 470 h 738"/>
              <a:gd name="T58" fmla="*/ 506 w 608"/>
              <a:gd name="T59" fmla="*/ 470 h 738"/>
              <a:gd name="T60" fmla="*/ 504 w 608"/>
              <a:gd name="T61" fmla="*/ 494 h 738"/>
              <a:gd name="T62" fmla="*/ 514 w 608"/>
              <a:gd name="T63" fmla="*/ 508 h 738"/>
              <a:gd name="T64" fmla="*/ 500 w 608"/>
              <a:gd name="T65" fmla="*/ 504 h 738"/>
              <a:gd name="T66" fmla="*/ 496 w 608"/>
              <a:gd name="T67" fmla="*/ 512 h 738"/>
              <a:gd name="T68" fmla="*/ 504 w 608"/>
              <a:gd name="T69" fmla="*/ 520 h 738"/>
              <a:gd name="T70" fmla="*/ 500 w 608"/>
              <a:gd name="T71" fmla="*/ 526 h 738"/>
              <a:gd name="T72" fmla="*/ 492 w 608"/>
              <a:gd name="T73" fmla="*/ 556 h 738"/>
              <a:gd name="T74" fmla="*/ 488 w 608"/>
              <a:gd name="T75" fmla="*/ 574 h 738"/>
              <a:gd name="T76" fmla="*/ 496 w 608"/>
              <a:gd name="T77" fmla="*/ 574 h 738"/>
              <a:gd name="T78" fmla="*/ 500 w 608"/>
              <a:gd name="T79" fmla="*/ 578 h 738"/>
              <a:gd name="T80" fmla="*/ 488 w 608"/>
              <a:gd name="T81" fmla="*/ 604 h 738"/>
              <a:gd name="T82" fmla="*/ 484 w 608"/>
              <a:gd name="T83" fmla="*/ 590 h 738"/>
              <a:gd name="T84" fmla="*/ 480 w 608"/>
              <a:gd name="T85" fmla="*/ 608 h 738"/>
              <a:gd name="T86" fmla="*/ 488 w 608"/>
              <a:gd name="T87" fmla="*/ 624 h 738"/>
              <a:gd name="T88" fmla="*/ 492 w 608"/>
              <a:gd name="T89" fmla="*/ 630 h 738"/>
              <a:gd name="T90" fmla="*/ 492 w 608"/>
              <a:gd name="T91" fmla="*/ 642 h 738"/>
              <a:gd name="T92" fmla="*/ 484 w 608"/>
              <a:gd name="T93" fmla="*/ 656 h 738"/>
              <a:gd name="T94" fmla="*/ 500 w 608"/>
              <a:gd name="T95" fmla="*/ 650 h 738"/>
              <a:gd name="T96" fmla="*/ 496 w 608"/>
              <a:gd name="T97" fmla="*/ 664 h 738"/>
              <a:gd name="T98" fmla="*/ 552 w 608"/>
              <a:gd name="T99" fmla="*/ 712 h 738"/>
              <a:gd name="T100" fmla="*/ 540 w 608"/>
              <a:gd name="T101" fmla="*/ 706 h 738"/>
              <a:gd name="T102" fmla="*/ 562 w 608"/>
              <a:gd name="T103" fmla="*/ 702 h 738"/>
              <a:gd name="T104" fmla="*/ 578 w 608"/>
              <a:gd name="T105" fmla="*/ 686 h 738"/>
              <a:gd name="T106" fmla="*/ 504 w 608"/>
              <a:gd name="T107" fmla="*/ 676 h 738"/>
              <a:gd name="T108" fmla="*/ 522 w 608"/>
              <a:gd name="T109" fmla="*/ 690 h 738"/>
              <a:gd name="T110" fmla="*/ 548 w 608"/>
              <a:gd name="T111" fmla="*/ 690 h 738"/>
              <a:gd name="T112" fmla="*/ 544 w 608"/>
              <a:gd name="T113" fmla="*/ 706 h 738"/>
              <a:gd name="T114" fmla="*/ 522 w 608"/>
              <a:gd name="T115" fmla="*/ 706 h 738"/>
              <a:gd name="T116" fmla="*/ 548 w 608"/>
              <a:gd name="T117" fmla="*/ 724 h 738"/>
              <a:gd name="T118" fmla="*/ 556 w 608"/>
              <a:gd name="T119" fmla="*/ 720 h 738"/>
              <a:gd name="T120" fmla="*/ 578 w 608"/>
              <a:gd name="T121" fmla="*/ 716 h 738"/>
              <a:gd name="T122" fmla="*/ 596 w 608"/>
              <a:gd name="T123" fmla="*/ 724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08" h="738">
                <a:moveTo>
                  <a:pt x="514" y="486"/>
                </a:moveTo>
                <a:lnTo>
                  <a:pt x="514" y="482"/>
                </a:lnTo>
                <a:lnTo>
                  <a:pt x="514" y="478"/>
                </a:lnTo>
                <a:lnTo>
                  <a:pt x="514" y="474"/>
                </a:lnTo>
                <a:lnTo>
                  <a:pt x="514" y="470"/>
                </a:lnTo>
                <a:lnTo>
                  <a:pt x="518" y="470"/>
                </a:lnTo>
                <a:lnTo>
                  <a:pt x="518" y="474"/>
                </a:lnTo>
                <a:lnTo>
                  <a:pt x="518" y="470"/>
                </a:lnTo>
                <a:lnTo>
                  <a:pt x="518" y="466"/>
                </a:lnTo>
                <a:lnTo>
                  <a:pt x="518" y="464"/>
                </a:lnTo>
                <a:lnTo>
                  <a:pt x="522" y="464"/>
                </a:lnTo>
                <a:lnTo>
                  <a:pt x="518" y="464"/>
                </a:lnTo>
                <a:lnTo>
                  <a:pt x="518" y="460"/>
                </a:lnTo>
                <a:lnTo>
                  <a:pt x="518" y="456"/>
                </a:lnTo>
                <a:lnTo>
                  <a:pt x="522" y="456"/>
                </a:lnTo>
                <a:lnTo>
                  <a:pt x="522" y="460"/>
                </a:lnTo>
                <a:lnTo>
                  <a:pt x="522" y="456"/>
                </a:lnTo>
                <a:lnTo>
                  <a:pt x="522" y="452"/>
                </a:lnTo>
                <a:lnTo>
                  <a:pt x="518" y="452"/>
                </a:lnTo>
                <a:lnTo>
                  <a:pt x="514" y="452"/>
                </a:lnTo>
                <a:lnTo>
                  <a:pt x="518" y="452"/>
                </a:lnTo>
                <a:lnTo>
                  <a:pt x="518" y="448"/>
                </a:lnTo>
                <a:lnTo>
                  <a:pt x="522" y="448"/>
                </a:lnTo>
                <a:lnTo>
                  <a:pt x="522" y="444"/>
                </a:lnTo>
                <a:lnTo>
                  <a:pt x="526" y="444"/>
                </a:lnTo>
                <a:lnTo>
                  <a:pt x="526" y="440"/>
                </a:lnTo>
                <a:lnTo>
                  <a:pt x="522" y="440"/>
                </a:lnTo>
                <a:lnTo>
                  <a:pt x="522" y="444"/>
                </a:lnTo>
                <a:lnTo>
                  <a:pt x="518" y="444"/>
                </a:lnTo>
                <a:lnTo>
                  <a:pt x="518" y="440"/>
                </a:lnTo>
                <a:lnTo>
                  <a:pt x="514" y="440"/>
                </a:lnTo>
                <a:lnTo>
                  <a:pt x="514" y="444"/>
                </a:lnTo>
                <a:lnTo>
                  <a:pt x="510" y="448"/>
                </a:lnTo>
                <a:lnTo>
                  <a:pt x="506" y="448"/>
                </a:lnTo>
                <a:lnTo>
                  <a:pt x="504" y="448"/>
                </a:lnTo>
                <a:lnTo>
                  <a:pt x="504" y="444"/>
                </a:lnTo>
                <a:lnTo>
                  <a:pt x="506" y="444"/>
                </a:lnTo>
                <a:lnTo>
                  <a:pt x="506" y="440"/>
                </a:lnTo>
                <a:lnTo>
                  <a:pt x="506" y="444"/>
                </a:lnTo>
                <a:lnTo>
                  <a:pt x="504" y="444"/>
                </a:lnTo>
                <a:lnTo>
                  <a:pt x="504" y="440"/>
                </a:lnTo>
                <a:lnTo>
                  <a:pt x="504" y="438"/>
                </a:lnTo>
                <a:lnTo>
                  <a:pt x="500" y="438"/>
                </a:lnTo>
                <a:lnTo>
                  <a:pt x="500" y="434"/>
                </a:lnTo>
                <a:lnTo>
                  <a:pt x="500" y="430"/>
                </a:lnTo>
                <a:lnTo>
                  <a:pt x="504" y="426"/>
                </a:lnTo>
                <a:lnTo>
                  <a:pt x="504" y="422"/>
                </a:lnTo>
                <a:lnTo>
                  <a:pt x="504" y="414"/>
                </a:lnTo>
                <a:lnTo>
                  <a:pt x="504" y="410"/>
                </a:lnTo>
                <a:lnTo>
                  <a:pt x="506" y="410"/>
                </a:lnTo>
                <a:lnTo>
                  <a:pt x="510" y="410"/>
                </a:lnTo>
                <a:lnTo>
                  <a:pt x="510" y="408"/>
                </a:lnTo>
                <a:lnTo>
                  <a:pt x="510" y="404"/>
                </a:lnTo>
                <a:lnTo>
                  <a:pt x="510" y="400"/>
                </a:lnTo>
                <a:lnTo>
                  <a:pt x="510" y="396"/>
                </a:lnTo>
                <a:lnTo>
                  <a:pt x="510" y="392"/>
                </a:lnTo>
                <a:lnTo>
                  <a:pt x="506" y="388"/>
                </a:lnTo>
                <a:lnTo>
                  <a:pt x="506" y="384"/>
                </a:lnTo>
                <a:lnTo>
                  <a:pt x="506" y="380"/>
                </a:lnTo>
                <a:lnTo>
                  <a:pt x="506" y="378"/>
                </a:lnTo>
                <a:lnTo>
                  <a:pt x="506" y="374"/>
                </a:lnTo>
                <a:lnTo>
                  <a:pt x="506" y="370"/>
                </a:lnTo>
                <a:lnTo>
                  <a:pt x="504" y="370"/>
                </a:lnTo>
                <a:lnTo>
                  <a:pt x="504" y="366"/>
                </a:lnTo>
                <a:lnTo>
                  <a:pt x="506" y="366"/>
                </a:lnTo>
                <a:lnTo>
                  <a:pt x="506" y="362"/>
                </a:lnTo>
                <a:lnTo>
                  <a:pt x="504" y="362"/>
                </a:lnTo>
                <a:lnTo>
                  <a:pt x="506" y="358"/>
                </a:lnTo>
                <a:lnTo>
                  <a:pt x="510" y="358"/>
                </a:lnTo>
                <a:lnTo>
                  <a:pt x="510" y="354"/>
                </a:lnTo>
                <a:lnTo>
                  <a:pt x="510" y="352"/>
                </a:lnTo>
                <a:lnTo>
                  <a:pt x="514" y="352"/>
                </a:lnTo>
                <a:lnTo>
                  <a:pt x="514" y="348"/>
                </a:lnTo>
                <a:lnTo>
                  <a:pt x="514" y="344"/>
                </a:lnTo>
                <a:lnTo>
                  <a:pt x="518" y="344"/>
                </a:lnTo>
                <a:lnTo>
                  <a:pt x="518" y="340"/>
                </a:lnTo>
                <a:lnTo>
                  <a:pt x="518" y="336"/>
                </a:lnTo>
                <a:lnTo>
                  <a:pt x="518" y="332"/>
                </a:lnTo>
                <a:lnTo>
                  <a:pt x="522" y="332"/>
                </a:lnTo>
                <a:lnTo>
                  <a:pt x="518" y="328"/>
                </a:lnTo>
                <a:lnTo>
                  <a:pt x="522" y="328"/>
                </a:lnTo>
                <a:lnTo>
                  <a:pt x="522" y="324"/>
                </a:lnTo>
                <a:lnTo>
                  <a:pt x="522" y="322"/>
                </a:lnTo>
                <a:lnTo>
                  <a:pt x="526" y="322"/>
                </a:lnTo>
                <a:lnTo>
                  <a:pt x="526" y="318"/>
                </a:lnTo>
                <a:lnTo>
                  <a:pt x="526" y="314"/>
                </a:lnTo>
                <a:lnTo>
                  <a:pt x="530" y="310"/>
                </a:lnTo>
                <a:lnTo>
                  <a:pt x="530" y="306"/>
                </a:lnTo>
                <a:lnTo>
                  <a:pt x="530" y="302"/>
                </a:lnTo>
                <a:lnTo>
                  <a:pt x="530" y="298"/>
                </a:lnTo>
                <a:lnTo>
                  <a:pt x="530" y="296"/>
                </a:lnTo>
                <a:lnTo>
                  <a:pt x="532" y="296"/>
                </a:lnTo>
                <a:lnTo>
                  <a:pt x="532" y="292"/>
                </a:lnTo>
                <a:lnTo>
                  <a:pt x="532" y="288"/>
                </a:lnTo>
                <a:lnTo>
                  <a:pt x="532" y="284"/>
                </a:lnTo>
                <a:lnTo>
                  <a:pt x="532" y="280"/>
                </a:lnTo>
                <a:lnTo>
                  <a:pt x="536" y="276"/>
                </a:lnTo>
                <a:lnTo>
                  <a:pt x="536" y="272"/>
                </a:lnTo>
                <a:lnTo>
                  <a:pt x="536" y="268"/>
                </a:lnTo>
                <a:lnTo>
                  <a:pt x="536" y="266"/>
                </a:lnTo>
                <a:lnTo>
                  <a:pt x="536" y="262"/>
                </a:lnTo>
                <a:lnTo>
                  <a:pt x="536" y="258"/>
                </a:lnTo>
                <a:lnTo>
                  <a:pt x="532" y="254"/>
                </a:lnTo>
                <a:lnTo>
                  <a:pt x="532" y="250"/>
                </a:lnTo>
                <a:lnTo>
                  <a:pt x="532" y="246"/>
                </a:lnTo>
                <a:lnTo>
                  <a:pt x="532" y="242"/>
                </a:lnTo>
                <a:lnTo>
                  <a:pt x="532" y="238"/>
                </a:lnTo>
                <a:lnTo>
                  <a:pt x="532" y="236"/>
                </a:lnTo>
                <a:lnTo>
                  <a:pt x="532" y="232"/>
                </a:lnTo>
                <a:lnTo>
                  <a:pt x="532" y="228"/>
                </a:lnTo>
                <a:lnTo>
                  <a:pt x="532" y="232"/>
                </a:lnTo>
                <a:lnTo>
                  <a:pt x="536" y="232"/>
                </a:lnTo>
                <a:lnTo>
                  <a:pt x="536" y="228"/>
                </a:lnTo>
                <a:lnTo>
                  <a:pt x="536" y="224"/>
                </a:lnTo>
                <a:lnTo>
                  <a:pt x="536" y="220"/>
                </a:lnTo>
                <a:lnTo>
                  <a:pt x="536" y="216"/>
                </a:lnTo>
                <a:lnTo>
                  <a:pt x="536" y="212"/>
                </a:lnTo>
                <a:lnTo>
                  <a:pt x="536" y="210"/>
                </a:lnTo>
                <a:lnTo>
                  <a:pt x="536" y="206"/>
                </a:lnTo>
                <a:lnTo>
                  <a:pt x="536" y="202"/>
                </a:lnTo>
                <a:lnTo>
                  <a:pt x="536" y="198"/>
                </a:lnTo>
                <a:lnTo>
                  <a:pt x="540" y="198"/>
                </a:lnTo>
                <a:lnTo>
                  <a:pt x="540" y="194"/>
                </a:lnTo>
                <a:lnTo>
                  <a:pt x="540" y="190"/>
                </a:lnTo>
                <a:lnTo>
                  <a:pt x="540" y="186"/>
                </a:lnTo>
                <a:lnTo>
                  <a:pt x="540" y="182"/>
                </a:lnTo>
                <a:lnTo>
                  <a:pt x="544" y="182"/>
                </a:lnTo>
                <a:lnTo>
                  <a:pt x="544" y="180"/>
                </a:lnTo>
                <a:lnTo>
                  <a:pt x="544" y="176"/>
                </a:lnTo>
                <a:lnTo>
                  <a:pt x="544" y="172"/>
                </a:lnTo>
                <a:lnTo>
                  <a:pt x="544" y="168"/>
                </a:lnTo>
                <a:lnTo>
                  <a:pt x="544" y="164"/>
                </a:lnTo>
                <a:lnTo>
                  <a:pt x="548" y="164"/>
                </a:lnTo>
                <a:lnTo>
                  <a:pt x="548" y="160"/>
                </a:lnTo>
                <a:lnTo>
                  <a:pt x="548" y="158"/>
                </a:lnTo>
                <a:lnTo>
                  <a:pt x="548" y="154"/>
                </a:lnTo>
                <a:lnTo>
                  <a:pt x="548" y="150"/>
                </a:lnTo>
                <a:lnTo>
                  <a:pt x="548" y="146"/>
                </a:lnTo>
                <a:lnTo>
                  <a:pt x="548" y="142"/>
                </a:lnTo>
                <a:lnTo>
                  <a:pt x="552" y="142"/>
                </a:lnTo>
                <a:lnTo>
                  <a:pt x="552" y="138"/>
                </a:lnTo>
                <a:lnTo>
                  <a:pt x="548" y="136"/>
                </a:lnTo>
                <a:lnTo>
                  <a:pt x="548" y="132"/>
                </a:lnTo>
                <a:lnTo>
                  <a:pt x="548" y="128"/>
                </a:lnTo>
                <a:lnTo>
                  <a:pt x="548" y="124"/>
                </a:lnTo>
                <a:lnTo>
                  <a:pt x="548" y="120"/>
                </a:lnTo>
                <a:lnTo>
                  <a:pt x="548" y="116"/>
                </a:lnTo>
                <a:lnTo>
                  <a:pt x="548" y="112"/>
                </a:lnTo>
                <a:lnTo>
                  <a:pt x="552" y="112"/>
                </a:lnTo>
                <a:lnTo>
                  <a:pt x="552" y="110"/>
                </a:lnTo>
                <a:lnTo>
                  <a:pt x="552" y="106"/>
                </a:lnTo>
                <a:lnTo>
                  <a:pt x="548" y="106"/>
                </a:lnTo>
                <a:lnTo>
                  <a:pt x="548" y="110"/>
                </a:lnTo>
                <a:lnTo>
                  <a:pt x="548" y="106"/>
                </a:lnTo>
                <a:lnTo>
                  <a:pt x="548" y="102"/>
                </a:lnTo>
                <a:lnTo>
                  <a:pt x="548" y="98"/>
                </a:lnTo>
                <a:lnTo>
                  <a:pt x="548" y="102"/>
                </a:lnTo>
                <a:lnTo>
                  <a:pt x="552" y="102"/>
                </a:lnTo>
                <a:lnTo>
                  <a:pt x="552" y="98"/>
                </a:lnTo>
                <a:lnTo>
                  <a:pt x="552" y="94"/>
                </a:lnTo>
                <a:lnTo>
                  <a:pt x="552" y="90"/>
                </a:lnTo>
                <a:lnTo>
                  <a:pt x="552" y="86"/>
                </a:lnTo>
                <a:lnTo>
                  <a:pt x="556" y="82"/>
                </a:lnTo>
                <a:lnTo>
                  <a:pt x="556" y="76"/>
                </a:lnTo>
                <a:lnTo>
                  <a:pt x="556" y="72"/>
                </a:lnTo>
                <a:lnTo>
                  <a:pt x="556" y="68"/>
                </a:lnTo>
                <a:lnTo>
                  <a:pt x="556" y="64"/>
                </a:lnTo>
                <a:lnTo>
                  <a:pt x="556" y="60"/>
                </a:lnTo>
                <a:lnTo>
                  <a:pt x="556" y="52"/>
                </a:lnTo>
                <a:lnTo>
                  <a:pt x="556" y="50"/>
                </a:lnTo>
                <a:lnTo>
                  <a:pt x="556" y="46"/>
                </a:lnTo>
                <a:lnTo>
                  <a:pt x="556" y="42"/>
                </a:lnTo>
                <a:lnTo>
                  <a:pt x="556" y="38"/>
                </a:lnTo>
                <a:lnTo>
                  <a:pt x="552" y="34"/>
                </a:lnTo>
                <a:lnTo>
                  <a:pt x="552" y="30"/>
                </a:lnTo>
                <a:lnTo>
                  <a:pt x="552" y="26"/>
                </a:lnTo>
                <a:lnTo>
                  <a:pt x="552" y="24"/>
                </a:lnTo>
                <a:lnTo>
                  <a:pt x="552" y="20"/>
                </a:lnTo>
                <a:lnTo>
                  <a:pt x="552" y="16"/>
                </a:lnTo>
                <a:lnTo>
                  <a:pt x="556" y="16"/>
                </a:lnTo>
                <a:lnTo>
                  <a:pt x="560" y="16"/>
                </a:lnTo>
                <a:lnTo>
                  <a:pt x="560" y="12"/>
                </a:lnTo>
                <a:lnTo>
                  <a:pt x="560" y="8"/>
                </a:lnTo>
                <a:lnTo>
                  <a:pt x="560" y="4"/>
                </a:lnTo>
                <a:lnTo>
                  <a:pt x="562" y="4"/>
                </a:lnTo>
                <a:lnTo>
                  <a:pt x="562" y="0"/>
                </a:lnTo>
                <a:lnTo>
                  <a:pt x="562" y="4"/>
                </a:lnTo>
                <a:lnTo>
                  <a:pt x="566" y="4"/>
                </a:lnTo>
                <a:lnTo>
                  <a:pt x="566" y="8"/>
                </a:lnTo>
                <a:lnTo>
                  <a:pt x="566" y="12"/>
                </a:lnTo>
                <a:lnTo>
                  <a:pt x="570" y="12"/>
                </a:lnTo>
                <a:lnTo>
                  <a:pt x="570" y="16"/>
                </a:lnTo>
                <a:lnTo>
                  <a:pt x="570" y="20"/>
                </a:lnTo>
                <a:lnTo>
                  <a:pt x="570" y="24"/>
                </a:lnTo>
                <a:lnTo>
                  <a:pt x="570" y="26"/>
                </a:lnTo>
                <a:lnTo>
                  <a:pt x="574" y="30"/>
                </a:lnTo>
                <a:lnTo>
                  <a:pt x="574" y="34"/>
                </a:lnTo>
                <a:lnTo>
                  <a:pt x="578" y="34"/>
                </a:lnTo>
                <a:lnTo>
                  <a:pt x="578" y="38"/>
                </a:lnTo>
                <a:lnTo>
                  <a:pt x="574" y="42"/>
                </a:lnTo>
                <a:lnTo>
                  <a:pt x="578" y="42"/>
                </a:lnTo>
                <a:lnTo>
                  <a:pt x="578" y="46"/>
                </a:lnTo>
                <a:lnTo>
                  <a:pt x="574" y="46"/>
                </a:lnTo>
                <a:lnTo>
                  <a:pt x="574" y="50"/>
                </a:lnTo>
                <a:lnTo>
                  <a:pt x="574" y="52"/>
                </a:lnTo>
                <a:lnTo>
                  <a:pt x="574" y="56"/>
                </a:lnTo>
                <a:lnTo>
                  <a:pt x="578" y="56"/>
                </a:lnTo>
                <a:lnTo>
                  <a:pt x="578" y="60"/>
                </a:lnTo>
                <a:lnTo>
                  <a:pt x="578" y="64"/>
                </a:lnTo>
                <a:lnTo>
                  <a:pt x="578" y="60"/>
                </a:lnTo>
                <a:lnTo>
                  <a:pt x="582" y="68"/>
                </a:lnTo>
                <a:lnTo>
                  <a:pt x="582" y="76"/>
                </a:lnTo>
                <a:lnTo>
                  <a:pt x="586" y="76"/>
                </a:lnTo>
                <a:lnTo>
                  <a:pt x="586" y="80"/>
                </a:lnTo>
                <a:lnTo>
                  <a:pt x="586" y="82"/>
                </a:lnTo>
                <a:lnTo>
                  <a:pt x="586" y="86"/>
                </a:lnTo>
                <a:lnTo>
                  <a:pt x="586" y="90"/>
                </a:lnTo>
                <a:lnTo>
                  <a:pt x="590" y="90"/>
                </a:lnTo>
                <a:lnTo>
                  <a:pt x="586" y="94"/>
                </a:lnTo>
                <a:lnTo>
                  <a:pt x="590" y="98"/>
                </a:lnTo>
                <a:lnTo>
                  <a:pt x="592" y="98"/>
                </a:lnTo>
                <a:lnTo>
                  <a:pt x="596" y="94"/>
                </a:lnTo>
                <a:lnTo>
                  <a:pt x="596" y="98"/>
                </a:lnTo>
                <a:lnTo>
                  <a:pt x="600" y="98"/>
                </a:lnTo>
                <a:lnTo>
                  <a:pt x="600" y="102"/>
                </a:lnTo>
                <a:lnTo>
                  <a:pt x="596" y="102"/>
                </a:lnTo>
                <a:lnTo>
                  <a:pt x="596" y="106"/>
                </a:lnTo>
                <a:lnTo>
                  <a:pt x="596" y="110"/>
                </a:lnTo>
                <a:lnTo>
                  <a:pt x="596" y="112"/>
                </a:lnTo>
                <a:lnTo>
                  <a:pt x="592" y="116"/>
                </a:lnTo>
                <a:lnTo>
                  <a:pt x="592" y="120"/>
                </a:lnTo>
                <a:lnTo>
                  <a:pt x="590" y="120"/>
                </a:lnTo>
                <a:lnTo>
                  <a:pt x="586" y="120"/>
                </a:lnTo>
                <a:lnTo>
                  <a:pt x="582" y="124"/>
                </a:lnTo>
                <a:lnTo>
                  <a:pt x="578" y="124"/>
                </a:lnTo>
                <a:lnTo>
                  <a:pt x="578" y="128"/>
                </a:lnTo>
                <a:lnTo>
                  <a:pt x="578" y="132"/>
                </a:lnTo>
                <a:lnTo>
                  <a:pt x="582" y="136"/>
                </a:lnTo>
                <a:lnTo>
                  <a:pt x="578" y="138"/>
                </a:lnTo>
                <a:lnTo>
                  <a:pt x="578" y="142"/>
                </a:lnTo>
                <a:lnTo>
                  <a:pt x="578" y="146"/>
                </a:lnTo>
                <a:lnTo>
                  <a:pt x="578" y="150"/>
                </a:lnTo>
                <a:lnTo>
                  <a:pt x="578" y="154"/>
                </a:lnTo>
                <a:lnTo>
                  <a:pt x="578" y="158"/>
                </a:lnTo>
                <a:lnTo>
                  <a:pt x="578" y="160"/>
                </a:lnTo>
                <a:lnTo>
                  <a:pt x="578" y="164"/>
                </a:lnTo>
                <a:lnTo>
                  <a:pt x="582" y="168"/>
                </a:lnTo>
                <a:lnTo>
                  <a:pt x="582" y="172"/>
                </a:lnTo>
                <a:lnTo>
                  <a:pt x="578" y="172"/>
                </a:lnTo>
                <a:lnTo>
                  <a:pt x="574" y="172"/>
                </a:lnTo>
                <a:lnTo>
                  <a:pt x="574" y="176"/>
                </a:lnTo>
                <a:lnTo>
                  <a:pt x="570" y="180"/>
                </a:lnTo>
                <a:lnTo>
                  <a:pt x="570" y="182"/>
                </a:lnTo>
                <a:lnTo>
                  <a:pt x="570" y="186"/>
                </a:lnTo>
                <a:lnTo>
                  <a:pt x="566" y="186"/>
                </a:lnTo>
                <a:lnTo>
                  <a:pt x="566" y="190"/>
                </a:lnTo>
                <a:lnTo>
                  <a:pt x="562" y="194"/>
                </a:lnTo>
                <a:lnTo>
                  <a:pt x="562" y="198"/>
                </a:lnTo>
                <a:lnTo>
                  <a:pt x="560" y="198"/>
                </a:lnTo>
                <a:lnTo>
                  <a:pt x="560" y="202"/>
                </a:lnTo>
                <a:lnTo>
                  <a:pt x="560" y="206"/>
                </a:lnTo>
                <a:lnTo>
                  <a:pt x="560" y="210"/>
                </a:lnTo>
                <a:lnTo>
                  <a:pt x="556" y="212"/>
                </a:lnTo>
                <a:lnTo>
                  <a:pt x="556" y="216"/>
                </a:lnTo>
                <a:lnTo>
                  <a:pt x="560" y="216"/>
                </a:lnTo>
                <a:lnTo>
                  <a:pt x="556" y="216"/>
                </a:lnTo>
                <a:lnTo>
                  <a:pt x="560" y="220"/>
                </a:lnTo>
                <a:lnTo>
                  <a:pt x="560" y="224"/>
                </a:lnTo>
                <a:lnTo>
                  <a:pt x="560" y="228"/>
                </a:lnTo>
                <a:lnTo>
                  <a:pt x="560" y="232"/>
                </a:lnTo>
                <a:lnTo>
                  <a:pt x="556" y="232"/>
                </a:lnTo>
                <a:lnTo>
                  <a:pt x="556" y="236"/>
                </a:lnTo>
                <a:lnTo>
                  <a:pt x="552" y="236"/>
                </a:lnTo>
                <a:lnTo>
                  <a:pt x="552" y="238"/>
                </a:lnTo>
                <a:lnTo>
                  <a:pt x="552" y="242"/>
                </a:lnTo>
                <a:lnTo>
                  <a:pt x="552" y="246"/>
                </a:lnTo>
                <a:lnTo>
                  <a:pt x="548" y="246"/>
                </a:lnTo>
                <a:lnTo>
                  <a:pt x="548" y="250"/>
                </a:lnTo>
                <a:lnTo>
                  <a:pt x="548" y="254"/>
                </a:lnTo>
                <a:lnTo>
                  <a:pt x="552" y="258"/>
                </a:lnTo>
                <a:lnTo>
                  <a:pt x="552" y="262"/>
                </a:lnTo>
                <a:lnTo>
                  <a:pt x="552" y="266"/>
                </a:lnTo>
                <a:lnTo>
                  <a:pt x="552" y="268"/>
                </a:lnTo>
                <a:lnTo>
                  <a:pt x="556" y="268"/>
                </a:lnTo>
                <a:lnTo>
                  <a:pt x="556" y="272"/>
                </a:lnTo>
                <a:lnTo>
                  <a:pt x="556" y="276"/>
                </a:lnTo>
                <a:lnTo>
                  <a:pt x="556" y="280"/>
                </a:lnTo>
                <a:lnTo>
                  <a:pt x="556" y="284"/>
                </a:lnTo>
                <a:lnTo>
                  <a:pt x="560" y="284"/>
                </a:lnTo>
                <a:lnTo>
                  <a:pt x="560" y="288"/>
                </a:lnTo>
                <a:lnTo>
                  <a:pt x="560" y="292"/>
                </a:lnTo>
                <a:lnTo>
                  <a:pt x="560" y="296"/>
                </a:lnTo>
                <a:lnTo>
                  <a:pt x="560" y="298"/>
                </a:lnTo>
                <a:lnTo>
                  <a:pt x="560" y="302"/>
                </a:lnTo>
                <a:lnTo>
                  <a:pt x="556" y="302"/>
                </a:lnTo>
                <a:lnTo>
                  <a:pt x="556" y="306"/>
                </a:lnTo>
                <a:lnTo>
                  <a:pt x="556" y="310"/>
                </a:lnTo>
                <a:lnTo>
                  <a:pt x="552" y="310"/>
                </a:lnTo>
                <a:lnTo>
                  <a:pt x="552" y="314"/>
                </a:lnTo>
                <a:lnTo>
                  <a:pt x="552" y="318"/>
                </a:lnTo>
                <a:lnTo>
                  <a:pt x="552" y="322"/>
                </a:lnTo>
                <a:lnTo>
                  <a:pt x="548" y="322"/>
                </a:lnTo>
                <a:lnTo>
                  <a:pt x="548" y="324"/>
                </a:lnTo>
                <a:lnTo>
                  <a:pt x="552" y="324"/>
                </a:lnTo>
                <a:lnTo>
                  <a:pt x="552" y="328"/>
                </a:lnTo>
                <a:lnTo>
                  <a:pt x="552" y="332"/>
                </a:lnTo>
                <a:lnTo>
                  <a:pt x="552" y="336"/>
                </a:lnTo>
                <a:lnTo>
                  <a:pt x="552" y="340"/>
                </a:lnTo>
                <a:lnTo>
                  <a:pt x="548" y="340"/>
                </a:lnTo>
                <a:lnTo>
                  <a:pt x="548" y="344"/>
                </a:lnTo>
                <a:lnTo>
                  <a:pt x="544" y="348"/>
                </a:lnTo>
                <a:lnTo>
                  <a:pt x="544" y="344"/>
                </a:lnTo>
                <a:lnTo>
                  <a:pt x="540" y="348"/>
                </a:lnTo>
                <a:lnTo>
                  <a:pt x="540" y="352"/>
                </a:lnTo>
                <a:lnTo>
                  <a:pt x="540" y="354"/>
                </a:lnTo>
                <a:lnTo>
                  <a:pt x="540" y="358"/>
                </a:lnTo>
                <a:lnTo>
                  <a:pt x="540" y="362"/>
                </a:lnTo>
                <a:lnTo>
                  <a:pt x="540" y="366"/>
                </a:lnTo>
                <a:lnTo>
                  <a:pt x="540" y="370"/>
                </a:lnTo>
                <a:lnTo>
                  <a:pt x="540" y="374"/>
                </a:lnTo>
                <a:lnTo>
                  <a:pt x="544" y="378"/>
                </a:lnTo>
                <a:lnTo>
                  <a:pt x="544" y="380"/>
                </a:lnTo>
                <a:lnTo>
                  <a:pt x="544" y="384"/>
                </a:lnTo>
                <a:lnTo>
                  <a:pt x="544" y="388"/>
                </a:lnTo>
                <a:lnTo>
                  <a:pt x="540" y="388"/>
                </a:lnTo>
                <a:lnTo>
                  <a:pt x="540" y="392"/>
                </a:lnTo>
                <a:lnTo>
                  <a:pt x="536" y="392"/>
                </a:lnTo>
                <a:lnTo>
                  <a:pt x="536" y="396"/>
                </a:lnTo>
                <a:lnTo>
                  <a:pt x="536" y="400"/>
                </a:lnTo>
                <a:lnTo>
                  <a:pt x="536" y="404"/>
                </a:lnTo>
                <a:lnTo>
                  <a:pt x="536" y="408"/>
                </a:lnTo>
                <a:lnTo>
                  <a:pt x="532" y="408"/>
                </a:lnTo>
                <a:lnTo>
                  <a:pt x="532" y="404"/>
                </a:lnTo>
                <a:lnTo>
                  <a:pt x="532" y="408"/>
                </a:lnTo>
                <a:lnTo>
                  <a:pt x="532" y="410"/>
                </a:lnTo>
                <a:lnTo>
                  <a:pt x="532" y="414"/>
                </a:lnTo>
                <a:lnTo>
                  <a:pt x="530" y="418"/>
                </a:lnTo>
                <a:lnTo>
                  <a:pt x="532" y="418"/>
                </a:lnTo>
                <a:lnTo>
                  <a:pt x="532" y="422"/>
                </a:lnTo>
                <a:lnTo>
                  <a:pt x="530" y="422"/>
                </a:lnTo>
                <a:lnTo>
                  <a:pt x="530" y="426"/>
                </a:lnTo>
                <a:lnTo>
                  <a:pt x="530" y="430"/>
                </a:lnTo>
                <a:lnTo>
                  <a:pt x="530" y="434"/>
                </a:lnTo>
                <a:lnTo>
                  <a:pt x="530" y="438"/>
                </a:lnTo>
                <a:lnTo>
                  <a:pt x="530" y="440"/>
                </a:lnTo>
                <a:lnTo>
                  <a:pt x="530" y="444"/>
                </a:lnTo>
                <a:lnTo>
                  <a:pt x="530" y="448"/>
                </a:lnTo>
                <a:lnTo>
                  <a:pt x="532" y="448"/>
                </a:lnTo>
                <a:lnTo>
                  <a:pt x="532" y="452"/>
                </a:lnTo>
                <a:lnTo>
                  <a:pt x="532" y="456"/>
                </a:lnTo>
                <a:lnTo>
                  <a:pt x="530" y="456"/>
                </a:lnTo>
                <a:lnTo>
                  <a:pt x="526" y="460"/>
                </a:lnTo>
                <a:lnTo>
                  <a:pt x="530" y="460"/>
                </a:lnTo>
                <a:lnTo>
                  <a:pt x="526" y="464"/>
                </a:lnTo>
                <a:lnTo>
                  <a:pt x="526" y="466"/>
                </a:lnTo>
                <a:lnTo>
                  <a:pt x="526" y="470"/>
                </a:lnTo>
                <a:lnTo>
                  <a:pt x="526" y="474"/>
                </a:lnTo>
                <a:lnTo>
                  <a:pt x="530" y="474"/>
                </a:lnTo>
                <a:lnTo>
                  <a:pt x="532" y="474"/>
                </a:lnTo>
                <a:lnTo>
                  <a:pt x="532" y="478"/>
                </a:lnTo>
                <a:lnTo>
                  <a:pt x="530" y="478"/>
                </a:lnTo>
                <a:lnTo>
                  <a:pt x="530" y="482"/>
                </a:lnTo>
                <a:lnTo>
                  <a:pt x="532" y="482"/>
                </a:lnTo>
                <a:lnTo>
                  <a:pt x="532" y="486"/>
                </a:lnTo>
                <a:lnTo>
                  <a:pt x="532" y="490"/>
                </a:lnTo>
                <a:lnTo>
                  <a:pt x="532" y="494"/>
                </a:lnTo>
                <a:lnTo>
                  <a:pt x="530" y="494"/>
                </a:lnTo>
                <a:lnTo>
                  <a:pt x="532" y="496"/>
                </a:lnTo>
                <a:lnTo>
                  <a:pt x="530" y="496"/>
                </a:lnTo>
                <a:lnTo>
                  <a:pt x="530" y="500"/>
                </a:lnTo>
                <a:lnTo>
                  <a:pt x="532" y="500"/>
                </a:lnTo>
                <a:lnTo>
                  <a:pt x="536" y="500"/>
                </a:lnTo>
                <a:lnTo>
                  <a:pt x="540" y="500"/>
                </a:lnTo>
                <a:lnTo>
                  <a:pt x="540" y="504"/>
                </a:lnTo>
                <a:lnTo>
                  <a:pt x="540" y="508"/>
                </a:lnTo>
                <a:lnTo>
                  <a:pt x="536" y="508"/>
                </a:lnTo>
                <a:lnTo>
                  <a:pt x="532" y="508"/>
                </a:lnTo>
                <a:lnTo>
                  <a:pt x="530" y="508"/>
                </a:lnTo>
                <a:lnTo>
                  <a:pt x="526" y="508"/>
                </a:lnTo>
                <a:lnTo>
                  <a:pt x="530" y="508"/>
                </a:lnTo>
                <a:lnTo>
                  <a:pt x="530" y="512"/>
                </a:lnTo>
                <a:lnTo>
                  <a:pt x="532" y="512"/>
                </a:lnTo>
                <a:lnTo>
                  <a:pt x="536" y="512"/>
                </a:lnTo>
                <a:lnTo>
                  <a:pt x="536" y="516"/>
                </a:lnTo>
                <a:lnTo>
                  <a:pt x="536" y="520"/>
                </a:lnTo>
                <a:lnTo>
                  <a:pt x="532" y="524"/>
                </a:lnTo>
                <a:lnTo>
                  <a:pt x="532" y="526"/>
                </a:lnTo>
                <a:lnTo>
                  <a:pt x="532" y="530"/>
                </a:lnTo>
                <a:lnTo>
                  <a:pt x="532" y="534"/>
                </a:lnTo>
                <a:lnTo>
                  <a:pt x="530" y="534"/>
                </a:lnTo>
                <a:lnTo>
                  <a:pt x="532" y="534"/>
                </a:lnTo>
                <a:lnTo>
                  <a:pt x="532" y="538"/>
                </a:lnTo>
                <a:lnTo>
                  <a:pt x="532" y="542"/>
                </a:lnTo>
                <a:lnTo>
                  <a:pt x="532" y="546"/>
                </a:lnTo>
                <a:lnTo>
                  <a:pt x="530" y="550"/>
                </a:lnTo>
                <a:lnTo>
                  <a:pt x="530" y="552"/>
                </a:lnTo>
                <a:lnTo>
                  <a:pt x="530" y="556"/>
                </a:lnTo>
                <a:lnTo>
                  <a:pt x="526" y="560"/>
                </a:lnTo>
                <a:lnTo>
                  <a:pt x="522" y="560"/>
                </a:lnTo>
                <a:lnTo>
                  <a:pt x="526" y="564"/>
                </a:lnTo>
                <a:lnTo>
                  <a:pt x="522" y="564"/>
                </a:lnTo>
                <a:lnTo>
                  <a:pt x="522" y="566"/>
                </a:lnTo>
                <a:lnTo>
                  <a:pt x="522" y="570"/>
                </a:lnTo>
                <a:lnTo>
                  <a:pt x="526" y="574"/>
                </a:lnTo>
                <a:lnTo>
                  <a:pt x="526" y="578"/>
                </a:lnTo>
                <a:lnTo>
                  <a:pt x="522" y="578"/>
                </a:lnTo>
                <a:lnTo>
                  <a:pt x="522" y="582"/>
                </a:lnTo>
                <a:lnTo>
                  <a:pt x="518" y="582"/>
                </a:lnTo>
                <a:lnTo>
                  <a:pt x="522" y="582"/>
                </a:lnTo>
                <a:lnTo>
                  <a:pt x="522" y="586"/>
                </a:lnTo>
                <a:lnTo>
                  <a:pt x="522" y="590"/>
                </a:lnTo>
                <a:lnTo>
                  <a:pt x="518" y="590"/>
                </a:lnTo>
                <a:lnTo>
                  <a:pt x="514" y="590"/>
                </a:lnTo>
                <a:lnTo>
                  <a:pt x="514" y="594"/>
                </a:lnTo>
                <a:lnTo>
                  <a:pt x="510" y="596"/>
                </a:lnTo>
                <a:lnTo>
                  <a:pt x="514" y="596"/>
                </a:lnTo>
                <a:lnTo>
                  <a:pt x="510" y="596"/>
                </a:lnTo>
                <a:lnTo>
                  <a:pt x="506" y="596"/>
                </a:lnTo>
                <a:lnTo>
                  <a:pt x="506" y="600"/>
                </a:lnTo>
                <a:lnTo>
                  <a:pt x="506" y="604"/>
                </a:lnTo>
                <a:lnTo>
                  <a:pt x="506" y="608"/>
                </a:lnTo>
                <a:lnTo>
                  <a:pt x="506" y="612"/>
                </a:lnTo>
                <a:lnTo>
                  <a:pt x="506" y="616"/>
                </a:lnTo>
                <a:lnTo>
                  <a:pt x="510" y="620"/>
                </a:lnTo>
                <a:lnTo>
                  <a:pt x="510" y="624"/>
                </a:lnTo>
                <a:lnTo>
                  <a:pt x="510" y="626"/>
                </a:lnTo>
                <a:lnTo>
                  <a:pt x="510" y="630"/>
                </a:lnTo>
                <a:lnTo>
                  <a:pt x="514" y="630"/>
                </a:lnTo>
                <a:lnTo>
                  <a:pt x="514" y="626"/>
                </a:lnTo>
                <a:lnTo>
                  <a:pt x="518" y="626"/>
                </a:lnTo>
                <a:lnTo>
                  <a:pt x="522" y="626"/>
                </a:lnTo>
                <a:lnTo>
                  <a:pt x="526" y="626"/>
                </a:lnTo>
                <a:lnTo>
                  <a:pt x="522" y="626"/>
                </a:lnTo>
                <a:lnTo>
                  <a:pt x="526" y="630"/>
                </a:lnTo>
                <a:lnTo>
                  <a:pt x="526" y="634"/>
                </a:lnTo>
                <a:lnTo>
                  <a:pt x="522" y="634"/>
                </a:lnTo>
                <a:lnTo>
                  <a:pt x="522" y="638"/>
                </a:lnTo>
                <a:lnTo>
                  <a:pt x="526" y="638"/>
                </a:lnTo>
                <a:lnTo>
                  <a:pt x="526" y="642"/>
                </a:lnTo>
                <a:lnTo>
                  <a:pt x="522" y="646"/>
                </a:lnTo>
                <a:lnTo>
                  <a:pt x="526" y="650"/>
                </a:lnTo>
                <a:lnTo>
                  <a:pt x="530" y="652"/>
                </a:lnTo>
                <a:lnTo>
                  <a:pt x="532" y="656"/>
                </a:lnTo>
                <a:lnTo>
                  <a:pt x="540" y="656"/>
                </a:lnTo>
                <a:lnTo>
                  <a:pt x="548" y="656"/>
                </a:lnTo>
                <a:lnTo>
                  <a:pt x="552" y="656"/>
                </a:lnTo>
                <a:lnTo>
                  <a:pt x="556" y="656"/>
                </a:lnTo>
                <a:lnTo>
                  <a:pt x="560" y="656"/>
                </a:lnTo>
                <a:lnTo>
                  <a:pt x="562" y="656"/>
                </a:lnTo>
                <a:lnTo>
                  <a:pt x="566" y="656"/>
                </a:lnTo>
                <a:lnTo>
                  <a:pt x="570" y="660"/>
                </a:lnTo>
                <a:lnTo>
                  <a:pt x="574" y="660"/>
                </a:lnTo>
                <a:lnTo>
                  <a:pt x="578" y="660"/>
                </a:lnTo>
                <a:lnTo>
                  <a:pt x="578" y="664"/>
                </a:lnTo>
                <a:lnTo>
                  <a:pt x="578" y="660"/>
                </a:lnTo>
                <a:lnTo>
                  <a:pt x="574" y="660"/>
                </a:lnTo>
                <a:lnTo>
                  <a:pt x="570" y="660"/>
                </a:lnTo>
                <a:lnTo>
                  <a:pt x="566" y="660"/>
                </a:lnTo>
                <a:lnTo>
                  <a:pt x="562" y="660"/>
                </a:lnTo>
                <a:lnTo>
                  <a:pt x="562" y="664"/>
                </a:lnTo>
                <a:lnTo>
                  <a:pt x="562" y="668"/>
                </a:lnTo>
                <a:lnTo>
                  <a:pt x="560" y="664"/>
                </a:lnTo>
                <a:lnTo>
                  <a:pt x="556" y="668"/>
                </a:lnTo>
                <a:lnTo>
                  <a:pt x="548" y="672"/>
                </a:lnTo>
                <a:lnTo>
                  <a:pt x="544" y="672"/>
                </a:lnTo>
                <a:lnTo>
                  <a:pt x="544" y="676"/>
                </a:lnTo>
                <a:lnTo>
                  <a:pt x="544" y="680"/>
                </a:lnTo>
                <a:lnTo>
                  <a:pt x="544" y="682"/>
                </a:lnTo>
                <a:lnTo>
                  <a:pt x="544" y="686"/>
                </a:lnTo>
                <a:lnTo>
                  <a:pt x="544" y="690"/>
                </a:lnTo>
                <a:lnTo>
                  <a:pt x="544" y="694"/>
                </a:lnTo>
                <a:lnTo>
                  <a:pt x="540" y="694"/>
                </a:lnTo>
                <a:lnTo>
                  <a:pt x="536" y="694"/>
                </a:lnTo>
                <a:lnTo>
                  <a:pt x="532" y="694"/>
                </a:lnTo>
                <a:lnTo>
                  <a:pt x="530" y="690"/>
                </a:lnTo>
                <a:lnTo>
                  <a:pt x="526" y="690"/>
                </a:lnTo>
                <a:lnTo>
                  <a:pt x="522" y="686"/>
                </a:lnTo>
                <a:lnTo>
                  <a:pt x="522" y="682"/>
                </a:lnTo>
                <a:lnTo>
                  <a:pt x="526" y="682"/>
                </a:lnTo>
                <a:lnTo>
                  <a:pt x="526" y="686"/>
                </a:lnTo>
                <a:lnTo>
                  <a:pt x="530" y="686"/>
                </a:lnTo>
                <a:lnTo>
                  <a:pt x="530" y="682"/>
                </a:lnTo>
                <a:lnTo>
                  <a:pt x="530" y="680"/>
                </a:lnTo>
                <a:lnTo>
                  <a:pt x="530" y="682"/>
                </a:lnTo>
                <a:lnTo>
                  <a:pt x="532" y="686"/>
                </a:lnTo>
                <a:lnTo>
                  <a:pt x="530" y="686"/>
                </a:lnTo>
                <a:lnTo>
                  <a:pt x="532" y="686"/>
                </a:lnTo>
                <a:lnTo>
                  <a:pt x="532" y="682"/>
                </a:lnTo>
                <a:lnTo>
                  <a:pt x="532" y="680"/>
                </a:lnTo>
                <a:lnTo>
                  <a:pt x="536" y="680"/>
                </a:lnTo>
                <a:lnTo>
                  <a:pt x="540" y="676"/>
                </a:lnTo>
                <a:lnTo>
                  <a:pt x="540" y="672"/>
                </a:lnTo>
                <a:lnTo>
                  <a:pt x="536" y="672"/>
                </a:lnTo>
                <a:lnTo>
                  <a:pt x="532" y="676"/>
                </a:lnTo>
                <a:lnTo>
                  <a:pt x="530" y="676"/>
                </a:lnTo>
                <a:lnTo>
                  <a:pt x="530" y="680"/>
                </a:lnTo>
                <a:lnTo>
                  <a:pt x="526" y="680"/>
                </a:lnTo>
                <a:lnTo>
                  <a:pt x="526" y="676"/>
                </a:lnTo>
                <a:lnTo>
                  <a:pt x="522" y="680"/>
                </a:lnTo>
                <a:lnTo>
                  <a:pt x="526" y="680"/>
                </a:lnTo>
                <a:lnTo>
                  <a:pt x="522" y="682"/>
                </a:lnTo>
                <a:lnTo>
                  <a:pt x="522" y="680"/>
                </a:lnTo>
                <a:lnTo>
                  <a:pt x="522" y="682"/>
                </a:lnTo>
                <a:lnTo>
                  <a:pt x="518" y="682"/>
                </a:lnTo>
                <a:lnTo>
                  <a:pt x="522" y="686"/>
                </a:lnTo>
                <a:lnTo>
                  <a:pt x="518" y="686"/>
                </a:lnTo>
                <a:lnTo>
                  <a:pt x="514" y="682"/>
                </a:lnTo>
                <a:lnTo>
                  <a:pt x="510" y="682"/>
                </a:lnTo>
                <a:lnTo>
                  <a:pt x="510" y="680"/>
                </a:lnTo>
                <a:lnTo>
                  <a:pt x="514" y="680"/>
                </a:lnTo>
                <a:lnTo>
                  <a:pt x="518" y="680"/>
                </a:lnTo>
                <a:lnTo>
                  <a:pt x="518" y="682"/>
                </a:lnTo>
                <a:lnTo>
                  <a:pt x="518" y="680"/>
                </a:lnTo>
                <a:lnTo>
                  <a:pt x="514" y="680"/>
                </a:lnTo>
                <a:lnTo>
                  <a:pt x="514" y="676"/>
                </a:lnTo>
                <a:lnTo>
                  <a:pt x="514" y="672"/>
                </a:lnTo>
                <a:lnTo>
                  <a:pt x="518" y="672"/>
                </a:lnTo>
                <a:lnTo>
                  <a:pt x="522" y="672"/>
                </a:lnTo>
                <a:lnTo>
                  <a:pt x="526" y="672"/>
                </a:lnTo>
                <a:lnTo>
                  <a:pt x="526" y="668"/>
                </a:lnTo>
                <a:lnTo>
                  <a:pt x="530" y="668"/>
                </a:lnTo>
                <a:lnTo>
                  <a:pt x="532" y="668"/>
                </a:lnTo>
                <a:lnTo>
                  <a:pt x="536" y="668"/>
                </a:lnTo>
                <a:lnTo>
                  <a:pt x="532" y="668"/>
                </a:lnTo>
                <a:lnTo>
                  <a:pt x="530" y="668"/>
                </a:lnTo>
                <a:lnTo>
                  <a:pt x="526" y="664"/>
                </a:lnTo>
                <a:lnTo>
                  <a:pt x="522" y="668"/>
                </a:lnTo>
                <a:lnTo>
                  <a:pt x="522" y="664"/>
                </a:lnTo>
                <a:lnTo>
                  <a:pt x="522" y="668"/>
                </a:lnTo>
                <a:lnTo>
                  <a:pt x="518" y="668"/>
                </a:lnTo>
                <a:lnTo>
                  <a:pt x="514" y="668"/>
                </a:lnTo>
                <a:lnTo>
                  <a:pt x="518" y="668"/>
                </a:lnTo>
                <a:lnTo>
                  <a:pt x="518" y="672"/>
                </a:lnTo>
                <a:lnTo>
                  <a:pt x="514" y="672"/>
                </a:lnTo>
                <a:lnTo>
                  <a:pt x="514" y="676"/>
                </a:lnTo>
                <a:lnTo>
                  <a:pt x="514" y="680"/>
                </a:lnTo>
                <a:lnTo>
                  <a:pt x="510" y="680"/>
                </a:lnTo>
                <a:lnTo>
                  <a:pt x="506" y="676"/>
                </a:lnTo>
                <a:lnTo>
                  <a:pt x="510" y="676"/>
                </a:lnTo>
                <a:lnTo>
                  <a:pt x="506" y="672"/>
                </a:lnTo>
                <a:lnTo>
                  <a:pt x="510" y="672"/>
                </a:lnTo>
                <a:lnTo>
                  <a:pt x="514" y="664"/>
                </a:lnTo>
                <a:lnTo>
                  <a:pt x="510" y="664"/>
                </a:lnTo>
                <a:lnTo>
                  <a:pt x="510" y="668"/>
                </a:lnTo>
                <a:lnTo>
                  <a:pt x="506" y="668"/>
                </a:lnTo>
                <a:lnTo>
                  <a:pt x="506" y="672"/>
                </a:lnTo>
                <a:lnTo>
                  <a:pt x="504" y="672"/>
                </a:lnTo>
                <a:lnTo>
                  <a:pt x="504" y="668"/>
                </a:lnTo>
                <a:lnTo>
                  <a:pt x="506" y="668"/>
                </a:lnTo>
                <a:lnTo>
                  <a:pt x="506" y="664"/>
                </a:lnTo>
                <a:lnTo>
                  <a:pt x="504" y="664"/>
                </a:lnTo>
                <a:lnTo>
                  <a:pt x="506" y="664"/>
                </a:lnTo>
                <a:lnTo>
                  <a:pt x="506" y="660"/>
                </a:lnTo>
                <a:lnTo>
                  <a:pt x="506" y="656"/>
                </a:lnTo>
                <a:lnTo>
                  <a:pt x="504" y="656"/>
                </a:lnTo>
                <a:lnTo>
                  <a:pt x="506" y="660"/>
                </a:lnTo>
                <a:lnTo>
                  <a:pt x="510" y="660"/>
                </a:lnTo>
                <a:lnTo>
                  <a:pt x="510" y="656"/>
                </a:lnTo>
                <a:lnTo>
                  <a:pt x="514" y="656"/>
                </a:lnTo>
                <a:lnTo>
                  <a:pt x="514" y="660"/>
                </a:lnTo>
                <a:lnTo>
                  <a:pt x="518" y="660"/>
                </a:lnTo>
                <a:lnTo>
                  <a:pt x="518" y="656"/>
                </a:lnTo>
                <a:lnTo>
                  <a:pt x="514" y="660"/>
                </a:lnTo>
                <a:lnTo>
                  <a:pt x="514" y="656"/>
                </a:lnTo>
                <a:lnTo>
                  <a:pt x="518" y="652"/>
                </a:lnTo>
                <a:lnTo>
                  <a:pt x="518" y="656"/>
                </a:lnTo>
                <a:lnTo>
                  <a:pt x="522" y="656"/>
                </a:lnTo>
                <a:lnTo>
                  <a:pt x="522" y="660"/>
                </a:lnTo>
                <a:lnTo>
                  <a:pt x="518" y="660"/>
                </a:lnTo>
                <a:lnTo>
                  <a:pt x="518" y="664"/>
                </a:lnTo>
                <a:lnTo>
                  <a:pt x="514" y="664"/>
                </a:lnTo>
                <a:lnTo>
                  <a:pt x="518" y="664"/>
                </a:lnTo>
                <a:lnTo>
                  <a:pt x="522" y="664"/>
                </a:lnTo>
                <a:lnTo>
                  <a:pt x="522" y="660"/>
                </a:lnTo>
                <a:lnTo>
                  <a:pt x="522" y="656"/>
                </a:lnTo>
                <a:lnTo>
                  <a:pt x="518" y="656"/>
                </a:lnTo>
                <a:lnTo>
                  <a:pt x="518" y="652"/>
                </a:lnTo>
                <a:lnTo>
                  <a:pt x="522" y="652"/>
                </a:lnTo>
                <a:lnTo>
                  <a:pt x="522" y="650"/>
                </a:lnTo>
                <a:lnTo>
                  <a:pt x="518" y="646"/>
                </a:lnTo>
                <a:lnTo>
                  <a:pt x="514" y="646"/>
                </a:lnTo>
                <a:lnTo>
                  <a:pt x="514" y="642"/>
                </a:lnTo>
                <a:lnTo>
                  <a:pt x="510" y="642"/>
                </a:lnTo>
                <a:lnTo>
                  <a:pt x="510" y="646"/>
                </a:lnTo>
                <a:lnTo>
                  <a:pt x="514" y="646"/>
                </a:lnTo>
                <a:lnTo>
                  <a:pt x="518" y="646"/>
                </a:lnTo>
                <a:lnTo>
                  <a:pt x="518" y="650"/>
                </a:lnTo>
                <a:lnTo>
                  <a:pt x="522" y="650"/>
                </a:lnTo>
                <a:lnTo>
                  <a:pt x="518" y="652"/>
                </a:lnTo>
                <a:lnTo>
                  <a:pt x="518" y="650"/>
                </a:lnTo>
                <a:lnTo>
                  <a:pt x="514" y="650"/>
                </a:lnTo>
                <a:lnTo>
                  <a:pt x="510" y="646"/>
                </a:lnTo>
                <a:lnTo>
                  <a:pt x="510" y="650"/>
                </a:lnTo>
                <a:lnTo>
                  <a:pt x="514" y="650"/>
                </a:lnTo>
                <a:lnTo>
                  <a:pt x="514" y="652"/>
                </a:lnTo>
                <a:lnTo>
                  <a:pt x="510" y="652"/>
                </a:lnTo>
                <a:lnTo>
                  <a:pt x="514" y="652"/>
                </a:lnTo>
                <a:lnTo>
                  <a:pt x="510" y="652"/>
                </a:lnTo>
                <a:lnTo>
                  <a:pt x="510" y="656"/>
                </a:lnTo>
                <a:lnTo>
                  <a:pt x="510" y="652"/>
                </a:lnTo>
                <a:lnTo>
                  <a:pt x="510" y="650"/>
                </a:lnTo>
                <a:lnTo>
                  <a:pt x="510" y="656"/>
                </a:lnTo>
                <a:lnTo>
                  <a:pt x="506" y="656"/>
                </a:lnTo>
                <a:lnTo>
                  <a:pt x="506" y="652"/>
                </a:lnTo>
                <a:lnTo>
                  <a:pt x="506" y="650"/>
                </a:lnTo>
                <a:lnTo>
                  <a:pt x="506" y="652"/>
                </a:lnTo>
                <a:lnTo>
                  <a:pt x="506" y="656"/>
                </a:lnTo>
                <a:lnTo>
                  <a:pt x="506" y="652"/>
                </a:lnTo>
                <a:lnTo>
                  <a:pt x="506" y="650"/>
                </a:lnTo>
                <a:lnTo>
                  <a:pt x="504" y="650"/>
                </a:lnTo>
                <a:lnTo>
                  <a:pt x="504" y="646"/>
                </a:lnTo>
                <a:lnTo>
                  <a:pt x="500" y="642"/>
                </a:lnTo>
                <a:lnTo>
                  <a:pt x="504" y="642"/>
                </a:lnTo>
                <a:lnTo>
                  <a:pt x="504" y="646"/>
                </a:lnTo>
                <a:lnTo>
                  <a:pt x="506" y="646"/>
                </a:lnTo>
                <a:lnTo>
                  <a:pt x="504" y="642"/>
                </a:lnTo>
                <a:lnTo>
                  <a:pt x="504" y="638"/>
                </a:lnTo>
                <a:lnTo>
                  <a:pt x="500" y="638"/>
                </a:lnTo>
                <a:lnTo>
                  <a:pt x="500" y="634"/>
                </a:lnTo>
                <a:lnTo>
                  <a:pt x="496" y="634"/>
                </a:lnTo>
                <a:lnTo>
                  <a:pt x="496" y="630"/>
                </a:lnTo>
                <a:lnTo>
                  <a:pt x="500" y="630"/>
                </a:lnTo>
                <a:lnTo>
                  <a:pt x="504" y="630"/>
                </a:lnTo>
                <a:lnTo>
                  <a:pt x="504" y="626"/>
                </a:lnTo>
                <a:lnTo>
                  <a:pt x="506" y="626"/>
                </a:lnTo>
                <a:lnTo>
                  <a:pt x="504" y="626"/>
                </a:lnTo>
                <a:lnTo>
                  <a:pt x="504" y="624"/>
                </a:lnTo>
                <a:lnTo>
                  <a:pt x="506" y="624"/>
                </a:lnTo>
                <a:lnTo>
                  <a:pt x="504" y="624"/>
                </a:lnTo>
                <a:lnTo>
                  <a:pt x="504" y="626"/>
                </a:lnTo>
                <a:lnTo>
                  <a:pt x="504" y="630"/>
                </a:lnTo>
                <a:lnTo>
                  <a:pt x="500" y="630"/>
                </a:lnTo>
                <a:lnTo>
                  <a:pt x="500" y="626"/>
                </a:lnTo>
                <a:lnTo>
                  <a:pt x="496" y="626"/>
                </a:lnTo>
                <a:lnTo>
                  <a:pt x="496" y="624"/>
                </a:lnTo>
                <a:lnTo>
                  <a:pt x="500" y="624"/>
                </a:lnTo>
                <a:lnTo>
                  <a:pt x="504" y="624"/>
                </a:lnTo>
                <a:lnTo>
                  <a:pt x="500" y="624"/>
                </a:lnTo>
                <a:lnTo>
                  <a:pt x="496" y="624"/>
                </a:lnTo>
                <a:lnTo>
                  <a:pt x="492" y="620"/>
                </a:lnTo>
                <a:lnTo>
                  <a:pt x="492" y="616"/>
                </a:lnTo>
                <a:lnTo>
                  <a:pt x="496" y="616"/>
                </a:lnTo>
                <a:lnTo>
                  <a:pt x="500" y="620"/>
                </a:lnTo>
                <a:lnTo>
                  <a:pt x="504" y="620"/>
                </a:lnTo>
                <a:lnTo>
                  <a:pt x="500" y="616"/>
                </a:lnTo>
                <a:lnTo>
                  <a:pt x="496" y="616"/>
                </a:lnTo>
                <a:lnTo>
                  <a:pt x="496" y="612"/>
                </a:lnTo>
                <a:lnTo>
                  <a:pt x="500" y="612"/>
                </a:lnTo>
                <a:lnTo>
                  <a:pt x="504" y="616"/>
                </a:lnTo>
                <a:lnTo>
                  <a:pt x="504" y="612"/>
                </a:lnTo>
                <a:lnTo>
                  <a:pt x="500" y="612"/>
                </a:lnTo>
                <a:lnTo>
                  <a:pt x="496" y="612"/>
                </a:lnTo>
                <a:lnTo>
                  <a:pt x="496" y="608"/>
                </a:lnTo>
                <a:lnTo>
                  <a:pt x="500" y="608"/>
                </a:lnTo>
                <a:lnTo>
                  <a:pt x="496" y="608"/>
                </a:lnTo>
                <a:lnTo>
                  <a:pt x="496" y="604"/>
                </a:lnTo>
                <a:lnTo>
                  <a:pt x="500" y="604"/>
                </a:lnTo>
                <a:lnTo>
                  <a:pt x="504" y="604"/>
                </a:lnTo>
                <a:lnTo>
                  <a:pt x="504" y="608"/>
                </a:lnTo>
                <a:lnTo>
                  <a:pt x="504" y="604"/>
                </a:lnTo>
                <a:lnTo>
                  <a:pt x="500" y="604"/>
                </a:lnTo>
                <a:lnTo>
                  <a:pt x="500" y="600"/>
                </a:lnTo>
                <a:lnTo>
                  <a:pt x="500" y="596"/>
                </a:lnTo>
                <a:lnTo>
                  <a:pt x="500" y="600"/>
                </a:lnTo>
                <a:lnTo>
                  <a:pt x="504" y="600"/>
                </a:lnTo>
                <a:lnTo>
                  <a:pt x="500" y="600"/>
                </a:lnTo>
                <a:lnTo>
                  <a:pt x="500" y="596"/>
                </a:lnTo>
                <a:lnTo>
                  <a:pt x="500" y="594"/>
                </a:lnTo>
                <a:lnTo>
                  <a:pt x="504" y="594"/>
                </a:lnTo>
                <a:lnTo>
                  <a:pt x="500" y="594"/>
                </a:lnTo>
                <a:lnTo>
                  <a:pt x="500" y="596"/>
                </a:lnTo>
                <a:lnTo>
                  <a:pt x="500" y="600"/>
                </a:lnTo>
                <a:lnTo>
                  <a:pt x="496" y="604"/>
                </a:lnTo>
                <a:lnTo>
                  <a:pt x="496" y="600"/>
                </a:lnTo>
                <a:lnTo>
                  <a:pt x="496" y="596"/>
                </a:lnTo>
                <a:lnTo>
                  <a:pt x="496" y="594"/>
                </a:lnTo>
                <a:lnTo>
                  <a:pt x="496" y="590"/>
                </a:lnTo>
                <a:lnTo>
                  <a:pt x="492" y="590"/>
                </a:lnTo>
                <a:lnTo>
                  <a:pt x="496" y="590"/>
                </a:lnTo>
                <a:lnTo>
                  <a:pt x="496" y="586"/>
                </a:lnTo>
                <a:lnTo>
                  <a:pt x="500" y="586"/>
                </a:lnTo>
                <a:lnTo>
                  <a:pt x="496" y="586"/>
                </a:lnTo>
                <a:lnTo>
                  <a:pt x="496" y="582"/>
                </a:lnTo>
                <a:lnTo>
                  <a:pt x="500" y="582"/>
                </a:lnTo>
                <a:lnTo>
                  <a:pt x="500" y="578"/>
                </a:lnTo>
                <a:lnTo>
                  <a:pt x="496" y="578"/>
                </a:lnTo>
                <a:lnTo>
                  <a:pt x="500" y="578"/>
                </a:lnTo>
                <a:lnTo>
                  <a:pt x="496" y="578"/>
                </a:lnTo>
                <a:lnTo>
                  <a:pt x="496" y="574"/>
                </a:lnTo>
                <a:lnTo>
                  <a:pt x="492" y="574"/>
                </a:lnTo>
                <a:lnTo>
                  <a:pt x="492" y="570"/>
                </a:lnTo>
                <a:lnTo>
                  <a:pt x="496" y="570"/>
                </a:lnTo>
                <a:lnTo>
                  <a:pt x="496" y="574"/>
                </a:lnTo>
                <a:lnTo>
                  <a:pt x="496" y="570"/>
                </a:lnTo>
                <a:lnTo>
                  <a:pt x="500" y="570"/>
                </a:lnTo>
                <a:lnTo>
                  <a:pt x="504" y="570"/>
                </a:lnTo>
                <a:lnTo>
                  <a:pt x="506" y="574"/>
                </a:lnTo>
                <a:lnTo>
                  <a:pt x="506" y="578"/>
                </a:lnTo>
                <a:lnTo>
                  <a:pt x="506" y="574"/>
                </a:lnTo>
                <a:lnTo>
                  <a:pt x="510" y="574"/>
                </a:lnTo>
                <a:lnTo>
                  <a:pt x="506" y="574"/>
                </a:lnTo>
                <a:lnTo>
                  <a:pt x="506" y="570"/>
                </a:lnTo>
                <a:lnTo>
                  <a:pt x="504" y="570"/>
                </a:lnTo>
                <a:lnTo>
                  <a:pt x="506" y="570"/>
                </a:lnTo>
                <a:lnTo>
                  <a:pt x="510" y="570"/>
                </a:lnTo>
                <a:lnTo>
                  <a:pt x="506" y="570"/>
                </a:lnTo>
                <a:lnTo>
                  <a:pt x="504" y="566"/>
                </a:lnTo>
                <a:lnTo>
                  <a:pt x="504" y="564"/>
                </a:lnTo>
                <a:lnTo>
                  <a:pt x="504" y="566"/>
                </a:lnTo>
                <a:lnTo>
                  <a:pt x="500" y="566"/>
                </a:lnTo>
                <a:lnTo>
                  <a:pt x="496" y="566"/>
                </a:lnTo>
                <a:lnTo>
                  <a:pt x="492" y="566"/>
                </a:lnTo>
                <a:lnTo>
                  <a:pt x="488" y="566"/>
                </a:lnTo>
                <a:lnTo>
                  <a:pt x="492" y="564"/>
                </a:lnTo>
                <a:lnTo>
                  <a:pt x="496" y="564"/>
                </a:lnTo>
                <a:lnTo>
                  <a:pt x="496" y="566"/>
                </a:lnTo>
                <a:lnTo>
                  <a:pt x="500" y="566"/>
                </a:lnTo>
                <a:lnTo>
                  <a:pt x="496" y="566"/>
                </a:lnTo>
                <a:lnTo>
                  <a:pt x="496" y="564"/>
                </a:lnTo>
                <a:lnTo>
                  <a:pt x="500" y="564"/>
                </a:lnTo>
                <a:lnTo>
                  <a:pt x="496" y="564"/>
                </a:lnTo>
                <a:lnTo>
                  <a:pt x="492" y="560"/>
                </a:lnTo>
                <a:lnTo>
                  <a:pt x="496" y="556"/>
                </a:lnTo>
                <a:lnTo>
                  <a:pt x="500" y="556"/>
                </a:lnTo>
                <a:lnTo>
                  <a:pt x="500" y="560"/>
                </a:lnTo>
                <a:lnTo>
                  <a:pt x="500" y="556"/>
                </a:lnTo>
                <a:lnTo>
                  <a:pt x="500" y="552"/>
                </a:lnTo>
                <a:lnTo>
                  <a:pt x="496" y="550"/>
                </a:lnTo>
                <a:lnTo>
                  <a:pt x="496" y="546"/>
                </a:lnTo>
                <a:lnTo>
                  <a:pt x="492" y="550"/>
                </a:lnTo>
                <a:lnTo>
                  <a:pt x="496" y="550"/>
                </a:lnTo>
                <a:lnTo>
                  <a:pt x="492" y="550"/>
                </a:lnTo>
                <a:lnTo>
                  <a:pt x="488" y="550"/>
                </a:lnTo>
                <a:lnTo>
                  <a:pt x="484" y="546"/>
                </a:lnTo>
                <a:lnTo>
                  <a:pt x="484" y="542"/>
                </a:lnTo>
                <a:lnTo>
                  <a:pt x="488" y="542"/>
                </a:lnTo>
                <a:lnTo>
                  <a:pt x="484" y="542"/>
                </a:lnTo>
                <a:lnTo>
                  <a:pt x="484" y="546"/>
                </a:lnTo>
                <a:lnTo>
                  <a:pt x="480" y="546"/>
                </a:lnTo>
                <a:lnTo>
                  <a:pt x="476" y="546"/>
                </a:lnTo>
                <a:lnTo>
                  <a:pt x="476" y="550"/>
                </a:lnTo>
                <a:lnTo>
                  <a:pt x="476" y="546"/>
                </a:lnTo>
                <a:lnTo>
                  <a:pt x="480" y="546"/>
                </a:lnTo>
                <a:lnTo>
                  <a:pt x="480" y="550"/>
                </a:lnTo>
                <a:lnTo>
                  <a:pt x="480" y="552"/>
                </a:lnTo>
                <a:lnTo>
                  <a:pt x="476" y="552"/>
                </a:lnTo>
                <a:lnTo>
                  <a:pt x="476" y="550"/>
                </a:lnTo>
                <a:lnTo>
                  <a:pt x="476" y="546"/>
                </a:lnTo>
                <a:lnTo>
                  <a:pt x="476" y="542"/>
                </a:lnTo>
                <a:lnTo>
                  <a:pt x="480" y="542"/>
                </a:lnTo>
                <a:lnTo>
                  <a:pt x="480" y="538"/>
                </a:lnTo>
                <a:lnTo>
                  <a:pt x="484" y="538"/>
                </a:lnTo>
                <a:lnTo>
                  <a:pt x="484" y="542"/>
                </a:lnTo>
                <a:lnTo>
                  <a:pt x="484" y="538"/>
                </a:lnTo>
                <a:lnTo>
                  <a:pt x="484" y="534"/>
                </a:lnTo>
                <a:lnTo>
                  <a:pt x="488" y="534"/>
                </a:lnTo>
                <a:lnTo>
                  <a:pt x="488" y="530"/>
                </a:lnTo>
                <a:lnTo>
                  <a:pt x="492" y="526"/>
                </a:lnTo>
                <a:lnTo>
                  <a:pt x="496" y="526"/>
                </a:lnTo>
                <a:lnTo>
                  <a:pt x="500" y="526"/>
                </a:lnTo>
                <a:lnTo>
                  <a:pt x="500" y="530"/>
                </a:lnTo>
                <a:lnTo>
                  <a:pt x="500" y="534"/>
                </a:lnTo>
                <a:lnTo>
                  <a:pt x="500" y="530"/>
                </a:lnTo>
                <a:lnTo>
                  <a:pt x="500" y="534"/>
                </a:lnTo>
                <a:lnTo>
                  <a:pt x="496" y="538"/>
                </a:lnTo>
                <a:lnTo>
                  <a:pt x="496" y="534"/>
                </a:lnTo>
                <a:lnTo>
                  <a:pt x="492" y="534"/>
                </a:lnTo>
                <a:lnTo>
                  <a:pt x="496" y="538"/>
                </a:lnTo>
                <a:lnTo>
                  <a:pt x="500" y="538"/>
                </a:lnTo>
                <a:lnTo>
                  <a:pt x="500" y="534"/>
                </a:lnTo>
                <a:lnTo>
                  <a:pt x="500" y="538"/>
                </a:lnTo>
                <a:lnTo>
                  <a:pt x="504" y="538"/>
                </a:lnTo>
                <a:lnTo>
                  <a:pt x="500" y="538"/>
                </a:lnTo>
                <a:lnTo>
                  <a:pt x="500" y="534"/>
                </a:lnTo>
                <a:lnTo>
                  <a:pt x="504" y="534"/>
                </a:lnTo>
                <a:lnTo>
                  <a:pt x="504" y="538"/>
                </a:lnTo>
                <a:lnTo>
                  <a:pt x="504" y="542"/>
                </a:lnTo>
                <a:lnTo>
                  <a:pt x="500" y="542"/>
                </a:lnTo>
                <a:lnTo>
                  <a:pt x="504" y="546"/>
                </a:lnTo>
                <a:lnTo>
                  <a:pt x="504" y="542"/>
                </a:lnTo>
                <a:lnTo>
                  <a:pt x="504" y="538"/>
                </a:lnTo>
                <a:lnTo>
                  <a:pt x="506" y="538"/>
                </a:lnTo>
                <a:lnTo>
                  <a:pt x="506" y="534"/>
                </a:lnTo>
                <a:lnTo>
                  <a:pt x="506" y="538"/>
                </a:lnTo>
                <a:lnTo>
                  <a:pt x="504" y="538"/>
                </a:lnTo>
                <a:lnTo>
                  <a:pt x="506" y="534"/>
                </a:lnTo>
                <a:lnTo>
                  <a:pt x="506" y="530"/>
                </a:lnTo>
                <a:lnTo>
                  <a:pt x="504" y="530"/>
                </a:lnTo>
                <a:lnTo>
                  <a:pt x="506" y="526"/>
                </a:lnTo>
                <a:lnTo>
                  <a:pt x="510" y="526"/>
                </a:lnTo>
                <a:lnTo>
                  <a:pt x="510" y="524"/>
                </a:lnTo>
                <a:lnTo>
                  <a:pt x="506" y="524"/>
                </a:lnTo>
                <a:lnTo>
                  <a:pt x="506" y="526"/>
                </a:lnTo>
                <a:lnTo>
                  <a:pt x="506" y="520"/>
                </a:lnTo>
                <a:lnTo>
                  <a:pt x="510" y="520"/>
                </a:lnTo>
                <a:lnTo>
                  <a:pt x="514" y="520"/>
                </a:lnTo>
                <a:lnTo>
                  <a:pt x="518" y="520"/>
                </a:lnTo>
                <a:lnTo>
                  <a:pt x="514" y="520"/>
                </a:lnTo>
                <a:lnTo>
                  <a:pt x="510" y="520"/>
                </a:lnTo>
                <a:lnTo>
                  <a:pt x="510" y="516"/>
                </a:lnTo>
                <a:lnTo>
                  <a:pt x="510" y="520"/>
                </a:lnTo>
                <a:lnTo>
                  <a:pt x="506" y="516"/>
                </a:lnTo>
                <a:lnTo>
                  <a:pt x="510" y="516"/>
                </a:lnTo>
                <a:lnTo>
                  <a:pt x="510" y="512"/>
                </a:lnTo>
                <a:lnTo>
                  <a:pt x="506" y="512"/>
                </a:lnTo>
                <a:lnTo>
                  <a:pt x="510" y="512"/>
                </a:lnTo>
                <a:lnTo>
                  <a:pt x="514" y="508"/>
                </a:lnTo>
                <a:lnTo>
                  <a:pt x="518" y="508"/>
                </a:lnTo>
                <a:lnTo>
                  <a:pt x="518" y="504"/>
                </a:lnTo>
                <a:lnTo>
                  <a:pt x="518" y="500"/>
                </a:lnTo>
                <a:lnTo>
                  <a:pt x="514" y="496"/>
                </a:lnTo>
                <a:lnTo>
                  <a:pt x="510" y="496"/>
                </a:lnTo>
                <a:lnTo>
                  <a:pt x="510" y="494"/>
                </a:lnTo>
                <a:lnTo>
                  <a:pt x="514" y="490"/>
                </a:lnTo>
                <a:lnTo>
                  <a:pt x="518" y="486"/>
                </a:lnTo>
                <a:lnTo>
                  <a:pt x="514" y="486"/>
                </a:lnTo>
                <a:lnTo>
                  <a:pt x="514" y="486"/>
                </a:lnTo>
                <a:lnTo>
                  <a:pt x="514" y="486"/>
                </a:lnTo>
                <a:close/>
                <a:moveTo>
                  <a:pt x="504" y="512"/>
                </a:moveTo>
                <a:lnTo>
                  <a:pt x="504" y="508"/>
                </a:lnTo>
                <a:lnTo>
                  <a:pt x="500" y="508"/>
                </a:lnTo>
                <a:lnTo>
                  <a:pt x="504" y="508"/>
                </a:lnTo>
                <a:lnTo>
                  <a:pt x="504" y="512"/>
                </a:lnTo>
                <a:lnTo>
                  <a:pt x="504" y="512"/>
                </a:lnTo>
                <a:lnTo>
                  <a:pt x="504" y="512"/>
                </a:lnTo>
                <a:close/>
                <a:moveTo>
                  <a:pt x="476" y="590"/>
                </a:moveTo>
                <a:lnTo>
                  <a:pt x="476" y="586"/>
                </a:lnTo>
                <a:lnTo>
                  <a:pt x="480" y="586"/>
                </a:lnTo>
                <a:lnTo>
                  <a:pt x="480" y="590"/>
                </a:lnTo>
                <a:lnTo>
                  <a:pt x="476" y="590"/>
                </a:lnTo>
                <a:lnTo>
                  <a:pt x="476" y="590"/>
                </a:lnTo>
                <a:lnTo>
                  <a:pt x="476" y="590"/>
                </a:lnTo>
                <a:close/>
                <a:moveTo>
                  <a:pt x="484" y="590"/>
                </a:moveTo>
                <a:lnTo>
                  <a:pt x="480" y="590"/>
                </a:lnTo>
                <a:lnTo>
                  <a:pt x="480" y="586"/>
                </a:lnTo>
                <a:lnTo>
                  <a:pt x="484" y="586"/>
                </a:lnTo>
                <a:lnTo>
                  <a:pt x="484" y="590"/>
                </a:lnTo>
                <a:lnTo>
                  <a:pt x="484" y="590"/>
                </a:lnTo>
                <a:lnTo>
                  <a:pt x="484" y="590"/>
                </a:lnTo>
                <a:close/>
                <a:moveTo>
                  <a:pt x="500" y="672"/>
                </a:moveTo>
                <a:lnTo>
                  <a:pt x="500" y="668"/>
                </a:lnTo>
                <a:lnTo>
                  <a:pt x="500" y="664"/>
                </a:lnTo>
                <a:lnTo>
                  <a:pt x="504" y="664"/>
                </a:lnTo>
                <a:lnTo>
                  <a:pt x="504" y="668"/>
                </a:lnTo>
                <a:lnTo>
                  <a:pt x="504" y="672"/>
                </a:lnTo>
                <a:lnTo>
                  <a:pt x="500" y="672"/>
                </a:lnTo>
                <a:lnTo>
                  <a:pt x="500" y="672"/>
                </a:lnTo>
                <a:lnTo>
                  <a:pt x="500" y="672"/>
                </a:lnTo>
                <a:close/>
                <a:moveTo>
                  <a:pt x="504" y="496"/>
                </a:moveTo>
                <a:lnTo>
                  <a:pt x="500" y="496"/>
                </a:lnTo>
                <a:lnTo>
                  <a:pt x="504" y="496"/>
                </a:lnTo>
                <a:lnTo>
                  <a:pt x="504" y="496"/>
                </a:lnTo>
                <a:lnTo>
                  <a:pt x="504" y="496"/>
                </a:lnTo>
                <a:close/>
                <a:moveTo>
                  <a:pt x="484" y="534"/>
                </a:moveTo>
                <a:lnTo>
                  <a:pt x="484" y="530"/>
                </a:lnTo>
                <a:lnTo>
                  <a:pt x="488" y="530"/>
                </a:lnTo>
                <a:lnTo>
                  <a:pt x="484" y="530"/>
                </a:lnTo>
                <a:lnTo>
                  <a:pt x="488" y="530"/>
                </a:lnTo>
                <a:lnTo>
                  <a:pt x="488" y="526"/>
                </a:lnTo>
                <a:lnTo>
                  <a:pt x="488" y="530"/>
                </a:lnTo>
                <a:lnTo>
                  <a:pt x="488" y="534"/>
                </a:lnTo>
                <a:lnTo>
                  <a:pt x="484" y="534"/>
                </a:lnTo>
                <a:lnTo>
                  <a:pt x="484" y="534"/>
                </a:lnTo>
                <a:lnTo>
                  <a:pt x="484" y="534"/>
                </a:lnTo>
                <a:close/>
                <a:moveTo>
                  <a:pt x="500" y="556"/>
                </a:moveTo>
                <a:lnTo>
                  <a:pt x="496" y="556"/>
                </a:lnTo>
                <a:lnTo>
                  <a:pt x="496" y="552"/>
                </a:lnTo>
                <a:lnTo>
                  <a:pt x="500" y="552"/>
                </a:lnTo>
                <a:lnTo>
                  <a:pt x="500" y="556"/>
                </a:lnTo>
                <a:lnTo>
                  <a:pt x="500" y="556"/>
                </a:lnTo>
                <a:lnTo>
                  <a:pt x="500" y="556"/>
                </a:lnTo>
                <a:close/>
                <a:moveTo>
                  <a:pt x="496" y="582"/>
                </a:moveTo>
                <a:lnTo>
                  <a:pt x="492" y="582"/>
                </a:lnTo>
                <a:lnTo>
                  <a:pt x="492" y="578"/>
                </a:lnTo>
                <a:lnTo>
                  <a:pt x="496" y="582"/>
                </a:lnTo>
                <a:lnTo>
                  <a:pt x="496" y="582"/>
                </a:lnTo>
                <a:lnTo>
                  <a:pt x="496" y="582"/>
                </a:lnTo>
                <a:close/>
                <a:moveTo>
                  <a:pt x="484" y="586"/>
                </a:moveTo>
                <a:lnTo>
                  <a:pt x="488" y="586"/>
                </a:lnTo>
                <a:lnTo>
                  <a:pt x="484" y="586"/>
                </a:lnTo>
                <a:lnTo>
                  <a:pt x="484" y="586"/>
                </a:lnTo>
                <a:lnTo>
                  <a:pt x="484" y="586"/>
                </a:lnTo>
                <a:close/>
                <a:moveTo>
                  <a:pt x="476" y="596"/>
                </a:moveTo>
                <a:lnTo>
                  <a:pt x="476" y="594"/>
                </a:lnTo>
                <a:lnTo>
                  <a:pt x="480" y="594"/>
                </a:lnTo>
                <a:lnTo>
                  <a:pt x="480" y="596"/>
                </a:lnTo>
                <a:lnTo>
                  <a:pt x="476" y="596"/>
                </a:lnTo>
                <a:lnTo>
                  <a:pt x="476" y="596"/>
                </a:lnTo>
                <a:lnTo>
                  <a:pt x="476" y="596"/>
                </a:lnTo>
                <a:close/>
                <a:moveTo>
                  <a:pt x="500" y="642"/>
                </a:moveTo>
                <a:lnTo>
                  <a:pt x="496" y="642"/>
                </a:lnTo>
                <a:lnTo>
                  <a:pt x="496" y="638"/>
                </a:lnTo>
                <a:lnTo>
                  <a:pt x="500" y="638"/>
                </a:lnTo>
                <a:lnTo>
                  <a:pt x="500" y="642"/>
                </a:lnTo>
                <a:lnTo>
                  <a:pt x="500" y="642"/>
                </a:lnTo>
                <a:lnTo>
                  <a:pt x="500" y="642"/>
                </a:lnTo>
                <a:close/>
                <a:moveTo>
                  <a:pt x="488" y="660"/>
                </a:moveTo>
                <a:lnTo>
                  <a:pt x="488" y="656"/>
                </a:lnTo>
                <a:lnTo>
                  <a:pt x="492" y="656"/>
                </a:lnTo>
                <a:lnTo>
                  <a:pt x="488" y="660"/>
                </a:lnTo>
                <a:lnTo>
                  <a:pt x="488" y="660"/>
                </a:lnTo>
                <a:lnTo>
                  <a:pt x="488" y="660"/>
                </a:lnTo>
                <a:close/>
                <a:moveTo>
                  <a:pt x="506" y="682"/>
                </a:moveTo>
                <a:lnTo>
                  <a:pt x="506" y="686"/>
                </a:lnTo>
                <a:lnTo>
                  <a:pt x="506" y="690"/>
                </a:lnTo>
                <a:lnTo>
                  <a:pt x="506" y="686"/>
                </a:lnTo>
                <a:lnTo>
                  <a:pt x="504" y="686"/>
                </a:lnTo>
                <a:lnTo>
                  <a:pt x="506" y="686"/>
                </a:lnTo>
                <a:lnTo>
                  <a:pt x="506" y="682"/>
                </a:lnTo>
                <a:lnTo>
                  <a:pt x="506" y="682"/>
                </a:lnTo>
                <a:lnTo>
                  <a:pt x="506" y="682"/>
                </a:lnTo>
                <a:close/>
                <a:moveTo>
                  <a:pt x="552" y="706"/>
                </a:moveTo>
                <a:lnTo>
                  <a:pt x="552" y="702"/>
                </a:lnTo>
                <a:lnTo>
                  <a:pt x="548" y="702"/>
                </a:lnTo>
                <a:lnTo>
                  <a:pt x="552" y="702"/>
                </a:lnTo>
                <a:lnTo>
                  <a:pt x="556" y="702"/>
                </a:lnTo>
                <a:lnTo>
                  <a:pt x="552" y="702"/>
                </a:lnTo>
                <a:lnTo>
                  <a:pt x="552" y="706"/>
                </a:lnTo>
                <a:lnTo>
                  <a:pt x="552" y="706"/>
                </a:lnTo>
                <a:lnTo>
                  <a:pt x="552" y="706"/>
                </a:lnTo>
                <a:close/>
                <a:moveTo>
                  <a:pt x="0" y="176"/>
                </a:moveTo>
                <a:lnTo>
                  <a:pt x="0" y="172"/>
                </a:lnTo>
                <a:lnTo>
                  <a:pt x="2" y="172"/>
                </a:lnTo>
                <a:lnTo>
                  <a:pt x="0" y="172"/>
                </a:lnTo>
                <a:lnTo>
                  <a:pt x="0" y="176"/>
                </a:lnTo>
                <a:lnTo>
                  <a:pt x="0" y="176"/>
                </a:lnTo>
                <a:lnTo>
                  <a:pt x="0" y="176"/>
                </a:lnTo>
                <a:close/>
                <a:moveTo>
                  <a:pt x="506" y="470"/>
                </a:moveTo>
                <a:lnTo>
                  <a:pt x="506" y="474"/>
                </a:lnTo>
                <a:lnTo>
                  <a:pt x="504" y="474"/>
                </a:lnTo>
                <a:lnTo>
                  <a:pt x="504" y="478"/>
                </a:lnTo>
                <a:lnTo>
                  <a:pt x="500" y="478"/>
                </a:lnTo>
                <a:lnTo>
                  <a:pt x="496" y="478"/>
                </a:lnTo>
                <a:lnTo>
                  <a:pt x="496" y="474"/>
                </a:lnTo>
                <a:lnTo>
                  <a:pt x="496" y="470"/>
                </a:lnTo>
                <a:lnTo>
                  <a:pt x="500" y="470"/>
                </a:lnTo>
                <a:lnTo>
                  <a:pt x="500" y="464"/>
                </a:lnTo>
                <a:lnTo>
                  <a:pt x="496" y="464"/>
                </a:lnTo>
                <a:lnTo>
                  <a:pt x="496" y="460"/>
                </a:lnTo>
                <a:lnTo>
                  <a:pt x="500" y="456"/>
                </a:lnTo>
                <a:lnTo>
                  <a:pt x="500" y="452"/>
                </a:lnTo>
                <a:lnTo>
                  <a:pt x="500" y="448"/>
                </a:lnTo>
                <a:lnTo>
                  <a:pt x="504" y="448"/>
                </a:lnTo>
                <a:lnTo>
                  <a:pt x="500" y="448"/>
                </a:lnTo>
                <a:lnTo>
                  <a:pt x="504" y="448"/>
                </a:lnTo>
                <a:lnTo>
                  <a:pt x="506" y="448"/>
                </a:lnTo>
                <a:lnTo>
                  <a:pt x="506" y="452"/>
                </a:lnTo>
                <a:lnTo>
                  <a:pt x="506" y="456"/>
                </a:lnTo>
                <a:lnTo>
                  <a:pt x="510" y="456"/>
                </a:lnTo>
                <a:lnTo>
                  <a:pt x="506" y="460"/>
                </a:lnTo>
                <a:lnTo>
                  <a:pt x="504" y="460"/>
                </a:lnTo>
                <a:lnTo>
                  <a:pt x="504" y="464"/>
                </a:lnTo>
                <a:lnTo>
                  <a:pt x="506" y="464"/>
                </a:lnTo>
                <a:lnTo>
                  <a:pt x="504" y="464"/>
                </a:lnTo>
                <a:lnTo>
                  <a:pt x="504" y="460"/>
                </a:lnTo>
                <a:lnTo>
                  <a:pt x="504" y="464"/>
                </a:lnTo>
                <a:lnTo>
                  <a:pt x="506" y="466"/>
                </a:lnTo>
                <a:lnTo>
                  <a:pt x="506" y="470"/>
                </a:lnTo>
                <a:lnTo>
                  <a:pt x="506" y="470"/>
                </a:lnTo>
                <a:lnTo>
                  <a:pt x="506" y="470"/>
                </a:lnTo>
                <a:close/>
                <a:moveTo>
                  <a:pt x="506" y="464"/>
                </a:moveTo>
                <a:lnTo>
                  <a:pt x="506" y="460"/>
                </a:lnTo>
                <a:lnTo>
                  <a:pt x="504" y="460"/>
                </a:lnTo>
                <a:lnTo>
                  <a:pt x="506" y="460"/>
                </a:lnTo>
                <a:lnTo>
                  <a:pt x="506" y="464"/>
                </a:lnTo>
                <a:lnTo>
                  <a:pt x="506" y="464"/>
                </a:lnTo>
                <a:lnTo>
                  <a:pt x="506" y="464"/>
                </a:lnTo>
                <a:close/>
                <a:moveTo>
                  <a:pt x="488" y="486"/>
                </a:moveTo>
                <a:lnTo>
                  <a:pt x="488" y="482"/>
                </a:lnTo>
                <a:lnTo>
                  <a:pt x="492" y="482"/>
                </a:lnTo>
                <a:lnTo>
                  <a:pt x="492" y="486"/>
                </a:lnTo>
                <a:lnTo>
                  <a:pt x="488" y="486"/>
                </a:lnTo>
                <a:lnTo>
                  <a:pt x="488" y="486"/>
                </a:lnTo>
                <a:lnTo>
                  <a:pt x="488" y="486"/>
                </a:lnTo>
                <a:close/>
                <a:moveTo>
                  <a:pt x="500" y="490"/>
                </a:moveTo>
                <a:lnTo>
                  <a:pt x="504" y="490"/>
                </a:lnTo>
                <a:lnTo>
                  <a:pt x="504" y="486"/>
                </a:lnTo>
                <a:lnTo>
                  <a:pt x="504" y="490"/>
                </a:lnTo>
                <a:lnTo>
                  <a:pt x="500" y="490"/>
                </a:lnTo>
                <a:lnTo>
                  <a:pt x="500" y="490"/>
                </a:lnTo>
                <a:lnTo>
                  <a:pt x="500" y="490"/>
                </a:lnTo>
                <a:close/>
                <a:moveTo>
                  <a:pt x="510" y="494"/>
                </a:moveTo>
                <a:lnTo>
                  <a:pt x="510" y="490"/>
                </a:lnTo>
                <a:lnTo>
                  <a:pt x="510" y="494"/>
                </a:lnTo>
                <a:lnTo>
                  <a:pt x="510" y="494"/>
                </a:lnTo>
                <a:lnTo>
                  <a:pt x="510" y="494"/>
                </a:lnTo>
                <a:close/>
                <a:moveTo>
                  <a:pt x="504" y="494"/>
                </a:moveTo>
                <a:lnTo>
                  <a:pt x="504" y="490"/>
                </a:lnTo>
                <a:lnTo>
                  <a:pt x="506" y="494"/>
                </a:lnTo>
                <a:lnTo>
                  <a:pt x="504" y="494"/>
                </a:lnTo>
                <a:lnTo>
                  <a:pt x="504" y="494"/>
                </a:lnTo>
                <a:lnTo>
                  <a:pt x="504" y="494"/>
                </a:lnTo>
                <a:close/>
                <a:moveTo>
                  <a:pt x="504" y="496"/>
                </a:moveTo>
                <a:lnTo>
                  <a:pt x="500" y="496"/>
                </a:lnTo>
                <a:lnTo>
                  <a:pt x="500" y="494"/>
                </a:lnTo>
                <a:lnTo>
                  <a:pt x="504" y="494"/>
                </a:lnTo>
                <a:lnTo>
                  <a:pt x="504" y="496"/>
                </a:lnTo>
                <a:lnTo>
                  <a:pt x="504" y="496"/>
                </a:lnTo>
                <a:lnTo>
                  <a:pt x="504" y="496"/>
                </a:lnTo>
                <a:close/>
                <a:moveTo>
                  <a:pt x="500" y="496"/>
                </a:moveTo>
                <a:lnTo>
                  <a:pt x="500" y="494"/>
                </a:lnTo>
                <a:lnTo>
                  <a:pt x="500" y="496"/>
                </a:lnTo>
                <a:lnTo>
                  <a:pt x="500" y="496"/>
                </a:lnTo>
                <a:lnTo>
                  <a:pt x="500" y="496"/>
                </a:lnTo>
                <a:close/>
                <a:moveTo>
                  <a:pt x="500" y="500"/>
                </a:moveTo>
                <a:lnTo>
                  <a:pt x="500" y="496"/>
                </a:lnTo>
                <a:lnTo>
                  <a:pt x="500" y="500"/>
                </a:lnTo>
                <a:lnTo>
                  <a:pt x="500" y="500"/>
                </a:lnTo>
                <a:lnTo>
                  <a:pt x="500" y="500"/>
                </a:lnTo>
                <a:close/>
                <a:moveTo>
                  <a:pt x="514" y="508"/>
                </a:moveTo>
                <a:lnTo>
                  <a:pt x="510" y="508"/>
                </a:lnTo>
                <a:lnTo>
                  <a:pt x="510" y="512"/>
                </a:lnTo>
                <a:lnTo>
                  <a:pt x="506" y="508"/>
                </a:lnTo>
                <a:lnTo>
                  <a:pt x="510" y="508"/>
                </a:lnTo>
                <a:lnTo>
                  <a:pt x="506" y="508"/>
                </a:lnTo>
                <a:lnTo>
                  <a:pt x="506" y="504"/>
                </a:lnTo>
                <a:lnTo>
                  <a:pt x="510" y="504"/>
                </a:lnTo>
                <a:lnTo>
                  <a:pt x="510" y="500"/>
                </a:lnTo>
                <a:lnTo>
                  <a:pt x="514" y="500"/>
                </a:lnTo>
                <a:lnTo>
                  <a:pt x="518" y="500"/>
                </a:lnTo>
                <a:lnTo>
                  <a:pt x="518" y="504"/>
                </a:lnTo>
                <a:lnTo>
                  <a:pt x="514" y="504"/>
                </a:lnTo>
                <a:lnTo>
                  <a:pt x="518" y="504"/>
                </a:lnTo>
                <a:lnTo>
                  <a:pt x="514" y="508"/>
                </a:lnTo>
                <a:lnTo>
                  <a:pt x="514" y="508"/>
                </a:lnTo>
                <a:lnTo>
                  <a:pt x="514" y="508"/>
                </a:lnTo>
                <a:close/>
                <a:moveTo>
                  <a:pt x="496" y="504"/>
                </a:moveTo>
                <a:lnTo>
                  <a:pt x="492" y="500"/>
                </a:lnTo>
                <a:lnTo>
                  <a:pt x="496" y="500"/>
                </a:lnTo>
                <a:lnTo>
                  <a:pt x="496" y="504"/>
                </a:lnTo>
                <a:lnTo>
                  <a:pt x="496" y="504"/>
                </a:lnTo>
                <a:lnTo>
                  <a:pt x="496" y="504"/>
                </a:lnTo>
                <a:close/>
                <a:moveTo>
                  <a:pt x="500" y="504"/>
                </a:moveTo>
                <a:lnTo>
                  <a:pt x="500" y="500"/>
                </a:lnTo>
                <a:lnTo>
                  <a:pt x="500" y="504"/>
                </a:lnTo>
                <a:lnTo>
                  <a:pt x="500" y="504"/>
                </a:lnTo>
                <a:lnTo>
                  <a:pt x="500" y="504"/>
                </a:lnTo>
                <a:close/>
                <a:moveTo>
                  <a:pt x="496" y="504"/>
                </a:moveTo>
                <a:lnTo>
                  <a:pt x="496" y="500"/>
                </a:lnTo>
                <a:lnTo>
                  <a:pt x="500" y="504"/>
                </a:lnTo>
                <a:lnTo>
                  <a:pt x="496" y="504"/>
                </a:lnTo>
                <a:lnTo>
                  <a:pt x="496" y="504"/>
                </a:lnTo>
                <a:lnTo>
                  <a:pt x="496" y="504"/>
                </a:lnTo>
                <a:close/>
                <a:moveTo>
                  <a:pt x="504" y="508"/>
                </a:moveTo>
                <a:lnTo>
                  <a:pt x="504" y="504"/>
                </a:lnTo>
                <a:lnTo>
                  <a:pt x="504" y="500"/>
                </a:lnTo>
                <a:lnTo>
                  <a:pt x="504" y="504"/>
                </a:lnTo>
                <a:lnTo>
                  <a:pt x="506" y="504"/>
                </a:lnTo>
                <a:lnTo>
                  <a:pt x="504" y="508"/>
                </a:lnTo>
                <a:lnTo>
                  <a:pt x="504" y="508"/>
                </a:lnTo>
                <a:lnTo>
                  <a:pt x="504" y="508"/>
                </a:lnTo>
                <a:close/>
                <a:moveTo>
                  <a:pt x="496" y="508"/>
                </a:moveTo>
                <a:lnTo>
                  <a:pt x="496" y="504"/>
                </a:lnTo>
                <a:lnTo>
                  <a:pt x="500" y="504"/>
                </a:lnTo>
                <a:lnTo>
                  <a:pt x="504" y="504"/>
                </a:lnTo>
                <a:lnTo>
                  <a:pt x="500" y="504"/>
                </a:lnTo>
                <a:lnTo>
                  <a:pt x="496" y="508"/>
                </a:lnTo>
                <a:lnTo>
                  <a:pt x="496" y="508"/>
                </a:lnTo>
                <a:lnTo>
                  <a:pt x="496" y="508"/>
                </a:lnTo>
                <a:close/>
                <a:moveTo>
                  <a:pt x="496" y="508"/>
                </a:moveTo>
                <a:lnTo>
                  <a:pt x="492" y="508"/>
                </a:lnTo>
                <a:lnTo>
                  <a:pt x="492" y="504"/>
                </a:lnTo>
                <a:lnTo>
                  <a:pt x="496" y="504"/>
                </a:lnTo>
                <a:lnTo>
                  <a:pt x="496" y="508"/>
                </a:lnTo>
                <a:lnTo>
                  <a:pt x="496" y="508"/>
                </a:lnTo>
                <a:lnTo>
                  <a:pt x="496" y="508"/>
                </a:lnTo>
                <a:close/>
                <a:moveTo>
                  <a:pt x="504" y="508"/>
                </a:moveTo>
                <a:lnTo>
                  <a:pt x="506" y="508"/>
                </a:lnTo>
                <a:lnTo>
                  <a:pt x="504" y="508"/>
                </a:lnTo>
                <a:lnTo>
                  <a:pt x="504" y="508"/>
                </a:lnTo>
                <a:lnTo>
                  <a:pt x="504" y="508"/>
                </a:lnTo>
                <a:close/>
                <a:moveTo>
                  <a:pt x="500" y="508"/>
                </a:moveTo>
                <a:lnTo>
                  <a:pt x="496" y="508"/>
                </a:lnTo>
                <a:lnTo>
                  <a:pt x="500" y="508"/>
                </a:lnTo>
                <a:lnTo>
                  <a:pt x="500" y="508"/>
                </a:lnTo>
                <a:lnTo>
                  <a:pt x="500" y="508"/>
                </a:lnTo>
                <a:close/>
                <a:moveTo>
                  <a:pt x="484" y="512"/>
                </a:moveTo>
                <a:lnTo>
                  <a:pt x="484" y="508"/>
                </a:lnTo>
                <a:lnTo>
                  <a:pt x="484" y="512"/>
                </a:lnTo>
                <a:lnTo>
                  <a:pt x="484" y="512"/>
                </a:lnTo>
                <a:lnTo>
                  <a:pt x="484" y="512"/>
                </a:lnTo>
                <a:close/>
                <a:moveTo>
                  <a:pt x="496" y="512"/>
                </a:moveTo>
                <a:lnTo>
                  <a:pt x="496" y="508"/>
                </a:lnTo>
                <a:lnTo>
                  <a:pt x="500" y="508"/>
                </a:lnTo>
                <a:lnTo>
                  <a:pt x="500" y="512"/>
                </a:lnTo>
                <a:lnTo>
                  <a:pt x="504" y="512"/>
                </a:lnTo>
                <a:lnTo>
                  <a:pt x="500" y="512"/>
                </a:lnTo>
                <a:lnTo>
                  <a:pt x="496" y="512"/>
                </a:lnTo>
                <a:lnTo>
                  <a:pt x="496" y="512"/>
                </a:lnTo>
                <a:lnTo>
                  <a:pt x="496" y="512"/>
                </a:lnTo>
                <a:close/>
                <a:moveTo>
                  <a:pt x="504" y="516"/>
                </a:moveTo>
                <a:lnTo>
                  <a:pt x="500" y="516"/>
                </a:lnTo>
                <a:lnTo>
                  <a:pt x="496" y="516"/>
                </a:lnTo>
                <a:lnTo>
                  <a:pt x="496" y="512"/>
                </a:lnTo>
                <a:lnTo>
                  <a:pt x="500" y="512"/>
                </a:lnTo>
                <a:lnTo>
                  <a:pt x="504" y="512"/>
                </a:lnTo>
                <a:lnTo>
                  <a:pt x="504" y="516"/>
                </a:lnTo>
                <a:lnTo>
                  <a:pt x="504" y="516"/>
                </a:lnTo>
                <a:lnTo>
                  <a:pt x="504" y="516"/>
                </a:lnTo>
                <a:close/>
                <a:moveTo>
                  <a:pt x="496" y="520"/>
                </a:moveTo>
                <a:lnTo>
                  <a:pt x="496" y="516"/>
                </a:lnTo>
                <a:lnTo>
                  <a:pt x="496" y="520"/>
                </a:lnTo>
                <a:lnTo>
                  <a:pt x="496" y="520"/>
                </a:lnTo>
                <a:lnTo>
                  <a:pt x="496" y="520"/>
                </a:lnTo>
                <a:close/>
                <a:moveTo>
                  <a:pt x="500" y="520"/>
                </a:moveTo>
                <a:lnTo>
                  <a:pt x="500" y="516"/>
                </a:lnTo>
                <a:lnTo>
                  <a:pt x="504" y="516"/>
                </a:lnTo>
                <a:lnTo>
                  <a:pt x="504" y="520"/>
                </a:lnTo>
                <a:lnTo>
                  <a:pt x="500" y="520"/>
                </a:lnTo>
                <a:lnTo>
                  <a:pt x="500" y="520"/>
                </a:lnTo>
                <a:lnTo>
                  <a:pt x="500" y="520"/>
                </a:lnTo>
                <a:close/>
                <a:moveTo>
                  <a:pt x="496" y="520"/>
                </a:moveTo>
                <a:lnTo>
                  <a:pt x="492" y="520"/>
                </a:lnTo>
                <a:lnTo>
                  <a:pt x="492" y="516"/>
                </a:lnTo>
                <a:lnTo>
                  <a:pt x="496" y="516"/>
                </a:lnTo>
                <a:lnTo>
                  <a:pt x="496" y="520"/>
                </a:lnTo>
                <a:lnTo>
                  <a:pt x="496" y="520"/>
                </a:lnTo>
                <a:lnTo>
                  <a:pt x="496" y="520"/>
                </a:lnTo>
                <a:close/>
                <a:moveTo>
                  <a:pt x="500" y="520"/>
                </a:moveTo>
                <a:lnTo>
                  <a:pt x="504" y="520"/>
                </a:lnTo>
                <a:lnTo>
                  <a:pt x="500" y="520"/>
                </a:lnTo>
                <a:lnTo>
                  <a:pt x="500" y="520"/>
                </a:lnTo>
                <a:lnTo>
                  <a:pt x="500" y="520"/>
                </a:lnTo>
                <a:close/>
                <a:moveTo>
                  <a:pt x="500" y="524"/>
                </a:moveTo>
                <a:lnTo>
                  <a:pt x="500" y="520"/>
                </a:lnTo>
                <a:lnTo>
                  <a:pt x="504" y="520"/>
                </a:lnTo>
                <a:lnTo>
                  <a:pt x="504" y="524"/>
                </a:lnTo>
                <a:lnTo>
                  <a:pt x="500" y="524"/>
                </a:lnTo>
                <a:lnTo>
                  <a:pt x="500" y="524"/>
                </a:lnTo>
                <a:lnTo>
                  <a:pt x="500" y="524"/>
                </a:lnTo>
                <a:close/>
                <a:moveTo>
                  <a:pt x="506" y="526"/>
                </a:moveTo>
                <a:lnTo>
                  <a:pt x="504" y="526"/>
                </a:lnTo>
                <a:lnTo>
                  <a:pt x="504" y="524"/>
                </a:lnTo>
                <a:lnTo>
                  <a:pt x="504" y="520"/>
                </a:lnTo>
                <a:lnTo>
                  <a:pt x="506" y="520"/>
                </a:lnTo>
                <a:lnTo>
                  <a:pt x="506" y="524"/>
                </a:lnTo>
                <a:lnTo>
                  <a:pt x="506" y="526"/>
                </a:lnTo>
                <a:lnTo>
                  <a:pt x="506" y="526"/>
                </a:lnTo>
                <a:lnTo>
                  <a:pt x="506" y="526"/>
                </a:lnTo>
                <a:close/>
                <a:moveTo>
                  <a:pt x="492" y="526"/>
                </a:moveTo>
                <a:lnTo>
                  <a:pt x="492" y="524"/>
                </a:lnTo>
                <a:lnTo>
                  <a:pt x="496" y="520"/>
                </a:lnTo>
                <a:lnTo>
                  <a:pt x="496" y="524"/>
                </a:lnTo>
                <a:lnTo>
                  <a:pt x="496" y="526"/>
                </a:lnTo>
                <a:lnTo>
                  <a:pt x="492" y="526"/>
                </a:lnTo>
                <a:lnTo>
                  <a:pt x="492" y="526"/>
                </a:lnTo>
                <a:lnTo>
                  <a:pt x="492" y="526"/>
                </a:lnTo>
                <a:close/>
                <a:moveTo>
                  <a:pt x="500" y="526"/>
                </a:moveTo>
                <a:lnTo>
                  <a:pt x="500" y="524"/>
                </a:lnTo>
                <a:lnTo>
                  <a:pt x="504" y="524"/>
                </a:lnTo>
                <a:lnTo>
                  <a:pt x="504" y="526"/>
                </a:lnTo>
                <a:lnTo>
                  <a:pt x="500" y="526"/>
                </a:lnTo>
                <a:lnTo>
                  <a:pt x="500" y="526"/>
                </a:lnTo>
                <a:lnTo>
                  <a:pt x="500" y="526"/>
                </a:lnTo>
                <a:close/>
                <a:moveTo>
                  <a:pt x="492" y="526"/>
                </a:moveTo>
                <a:lnTo>
                  <a:pt x="492" y="524"/>
                </a:lnTo>
                <a:lnTo>
                  <a:pt x="492" y="526"/>
                </a:lnTo>
                <a:lnTo>
                  <a:pt x="492" y="526"/>
                </a:lnTo>
                <a:lnTo>
                  <a:pt x="492" y="526"/>
                </a:lnTo>
                <a:close/>
                <a:moveTo>
                  <a:pt x="500" y="530"/>
                </a:moveTo>
                <a:lnTo>
                  <a:pt x="500" y="526"/>
                </a:lnTo>
                <a:lnTo>
                  <a:pt x="500" y="530"/>
                </a:lnTo>
                <a:lnTo>
                  <a:pt x="500" y="530"/>
                </a:lnTo>
                <a:lnTo>
                  <a:pt x="500" y="530"/>
                </a:lnTo>
                <a:close/>
                <a:moveTo>
                  <a:pt x="504" y="530"/>
                </a:moveTo>
                <a:lnTo>
                  <a:pt x="500" y="530"/>
                </a:lnTo>
                <a:lnTo>
                  <a:pt x="504" y="530"/>
                </a:lnTo>
                <a:lnTo>
                  <a:pt x="504" y="526"/>
                </a:lnTo>
                <a:lnTo>
                  <a:pt x="504" y="530"/>
                </a:lnTo>
                <a:lnTo>
                  <a:pt x="504" y="530"/>
                </a:lnTo>
                <a:lnTo>
                  <a:pt x="504" y="530"/>
                </a:lnTo>
                <a:close/>
                <a:moveTo>
                  <a:pt x="504" y="534"/>
                </a:moveTo>
                <a:lnTo>
                  <a:pt x="500" y="534"/>
                </a:lnTo>
                <a:lnTo>
                  <a:pt x="500" y="530"/>
                </a:lnTo>
                <a:lnTo>
                  <a:pt x="504" y="530"/>
                </a:lnTo>
                <a:lnTo>
                  <a:pt x="504" y="534"/>
                </a:lnTo>
                <a:lnTo>
                  <a:pt x="504" y="534"/>
                </a:lnTo>
                <a:lnTo>
                  <a:pt x="504" y="534"/>
                </a:lnTo>
                <a:close/>
                <a:moveTo>
                  <a:pt x="492" y="556"/>
                </a:moveTo>
                <a:lnTo>
                  <a:pt x="492" y="552"/>
                </a:lnTo>
                <a:lnTo>
                  <a:pt x="496" y="552"/>
                </a:lnTo>
                <a:lnTo>
                  <a:pt x="496" y="556"/>
                </a:lnTo>
                <a:lnTo>
                  <a:pt x="492" y="556"/>
                </a:lnTo>
                <a:lnTo>
                  <a:pt x="492" y="556"/>
                </a:lnTo>
                <a:lnTo>
                  <a:pt x="492" y="556"/>
                </a:lnTo>
                <a:close/>
                <a:moveTo>
                  <a:pt x="484" y="566"/>
                </a:moveTo>
                <a:lnTo>
                  <a:pt x="488" y="566"/>
                </a:lnTo>
                <a:lnTo>
                  <a:pt x="484" y="566"/>
                </a:lnTo>
                <a:lnTo>
                  <a:pt x="484" y="566"/>
                </a:lnTo>
                <a:lnTo>
                  <a:pt x="484" y="566"/>
                </a:lnTo>
                <a:close/>
                <a:moveTo>
                  <a:pt x="484" y="566"/>
                </a:moveTo>
                <a:lnTo>
                  <a:pt x="480" y="566"/>
                </a:lnTo>
                <a:lnTo>
                  <a:pt x="484" y="566"/>
                </a:lnTo>
                <a:lnTo>
                  <a:pt x="484" y="566"/>
                </a:lnTo>
                <a:lnTo>
                  <a:pt x="484" y="566"/>
                </a:lnTo>
                <a:close/>
                <a:moveTo>
                  <a:pt x="496" y="570"/>
                </a:moveTo>
                <a:lnTo>
                  <a:pt x="492" y="570"/>
                </a:lnTo>
                <a:lnTo>
                  <a:pt x="496" y="566"/>
                </a:lnTo>
                <a:lnTo>
                  <a:pt x="500" y="566"/>
                </a:lnTo>
                <a:lnTo>
                  <a:pt x="500" y="570"/>
                </a:lnTo>
                <a:lnTo>
                  <a:pt x="504" y="570"/>
                </a:lnTo>
                <a:lnTo>
                  <a:pt x="504" y="566"/>
                </a:lnTo>
                <a:lnTo>
                  <a:pt x="504" y="570"/>
                </a:lnTo>
                <a:lnTo>
                  <a:pt x="500" y="570"/>
                </a:lnTo>
                <a:lnTo>
                  <a:pt x="496" y="570"/>
                </a:lnTo>
                <a:lnTo>
                  <a:pt x="496" y="570"/>
                </a:lnTo>
                <a:lnTo>
                  <a:pt x="496" y="570"/>
                </a:lnTo>
                <a:close/>
                <a:moveTo>
                  <a:pt x="488" y="574"/>
                </a:moveTo>
                <a:lnTo>
                  <a:pt x="484" y="570"/>
                </a:lnTo>
                <a:lnTo>
                  <a:pt x="480" y="570"/>
                </a:lnTo>
                <a:lnTo>
                  <a:pt x="484" y="570"/>
                </a:lnTo>
                <a:lnTo>
                  <a:pt x="488" y="570"/>
                </a:lnTo>
                <a:lnTo>
                  <a:pt x="488" y="566"/>
                </a:lnTo>
                <a:lnTo>
                  <a:pt x="488" y="570"/>
                </a:lnTo>
                <a:lnTo>
                  <a:pt x="488" y="574"/>
                </a:lnTo>
                <a:lnTo>
                  <a:pt x="488" y="574"/>
                </a:lnTo>
                <a:lnTo>
                  <a:pt x="488" y="574"/>
                </a:lnTo>
                <a:close/>
                <a:moveTo>
                  <a:pt x="484" y="586"/>
                </a:moveTo>
                <a:lnTo>
                  <a:pt x="480" y="586"/>
                </a:lnTo>
                <a:lnTo>
                  <a:pt x="480" y="582"/>
                </a:lnTo>
                <a:lnTo>
                  <a:pt x="480" y="578"/>
                </a:lnTo>
                <a:lnTo>
                  <a:pt x="480" y="582"/>
                </a:lnTo>
                <a:lnTo>
                  <a:pt x="476" y="582"/>
                </a:lnTo>
                <a:lnTo>
                  <a:pt x="476" y="578"/>
                </a:lnTo>
                <a:lnTo>
                  <a:pt x="480" y="578"/>
                </a:lnTo>
                <a:lnTo>
                  <a:pt x="476" y="578"/>
                </a:lnTo>
                <a:lnTo>
                  <a:pt x="476" y="574"/>
                </a:lnTo>
                <a:lnTo>
                  <a:pt x="476" y="570"/>
                </a:lnTo>
                <a:lnTo>
                  <a:pt x="480" y="570"/>
                </a:lnTo>
                <a:lnTo>
                  <a:pt x="480" y="574"/>
                </a:lnTo>
                <a:lnTo>
                  <a:pt x="480" y="578"/>
                </a:lnTo>
                <a:lnTo>
                  <a:pt x="484" y="578"/>
                </a:lnTo>
                <a:lnTo>
                  <a:pt x="484" y="582"/>
                </a:lnTo>
                <a:lnTo>
                  <a:pt x="484" y="586"/>
                </a:lnTo>
                <a:lnTo>
                  <a:pt x="484" y="586"/>
                </a:lnTo>
                <a:lnTo>
                  <a:pt x="484" y="586"/>
                </a:lnTo>
                <a:close/>
                <a:moveTo>
                  <a:pt x="484" y="582"/>
                </a:moveTo>
                <a:lnTo>
                  <a:pt x="484" y="574"/>
                </a:lnTo>
                <a:lnTo>
                  <a:pt x="480" y="574"/>
                </a:lnTo>
                <a:lnTo>
                  <a:pt x="484" y="574"/>
                </a:lnTo>
                <a:lnTo>
                  <a:pt x="488" y="574"/>
                </a:lnTo>
                <a:lnTo>
                  <a:pt x="488" y="578"/>
                </a:lnTo>
                <a:lnTo>
                  <a:pt x="484" y="582"/>
                </a:lnTo>
                <a:lnTo>
                  <a:pt x="484" y="582"/>
                </a:lnTo>
                <a:lnTo>
                  <a:pt x="484" y="582"/>
                </a:lnTo>
                <a:close/>
                <a:moveTo>
                  <a:pt x="492" y="578"/>
                </a:moveTo>
                <a:lnTo>
                  <a:pt x="492" y="574"/>
                </a:lnTo>
                <a:lnTo>
                  <a:pt x="496" y="574"/>
                </a:lnTo>
                <a:lnTo>
                  <a:pt x="496" y="578"/>
                </a:lnTo>
                <a:lnTo>
                  <a:pt x="492" y="578"/>
                </a:lnTo>
                <a:lnTo>
                  <a:pt x="492" y="578"/>
                </a:lnTo>
                <a:lnTo>
                  <a:pt x="492" y="578"/>
                </a:lnTo>
                <a:close/>
                <a:moveTo>
                  <a:pt x="492" y="586"/>
                </a:moveTo>
                <a:lnTo>
                  <a:pt x="488" y="586"/>
                </a:lnTo>
                <a:lnTo>
                  <a:pt x="484" y="586"/>
                </a:lnTo>
                <a:lnTo>
                  <a:pt x="484" y="582"/>
                </a:lnTo>
                <a:lnTo>
                  <a:pt x="488" y="582"/>
                </a:lnTo>
                <a:lnTo>
                  <a:pt x="488" y="578"/>
                </a:lnTo>
                <a:lnTo>
                  <a:pt x="488" y="582"/>
                </a:lnTo>
                <a:lnTo>
                  <a:pt x="488" y="578"/>
                </a:lnTo>
                <a:lnTo>
                  <a:pt x="488" y="574"/>
                </a:lnTo>
                <a:lnTo>
                  <a:pt x="492" y="574"/>
                </a:lnTo>
                <a:lnTo>
                  <a:pt x="492" y="578"/>
                </a:lnTo>
                <a:lnTo>
                  <a:pt x="492" y="582"/>
                </a:lnTo>
                <a:lnTo>
                  <a:pt x="492" y="586"/>
                </a:lnTo>
                <a:lnTo>
                  <a:pt x="492" y="582"/>
                </a:lnTo>
                <a:lnTo>
                  <a:pt x="492" y="586"/>
                </a:lnTo>
                <a:lnTo>
                  <a:pt x="492" y="586"/>
                </a:lnTo>
                <a:lnTo>
                  <a:pt x="492" y="586"/>
                </a:lnTo>
                <a:close/>
                <a:moveTo>
                  <a:pt x="496" y="582"/>
                </a:moveTo>
                <a:lnTo>
                  <a:pt x="496" y="578"/>
                </a:lnTo>
                <a:lnTo>
                  <a:pt x="492" y="578"/>
                </a:lnTo>
                <a:lnTo>
                  <a:pt x="496" y="578"/>
                </a:lnTo>
                <a:lnTo>
                  <a:pt x="496" y="582"/>
                </a:lnTo>
                <a:lnTo>
                  <a:pt x="496" y="582"/>
                </a:lnTo>
                <a:lnTo>
                  <a:pt x="496" y="582"/>
                </a:lnTo>
                <a:close/>
                <a:moveTo>
                  <a:pt x="500" y="582"/>
                </a:moveTo>
                <a:lnTo>
                  <a:pt x="496" y="582"/>
                </a:lnTo>
                <a:lnTo>
                  <a:pt x="496" y="578"/>
                </a:lnTo>
                <a:lnTo>
                  <a:pt x="500" y="578"/>
                </a:lnTo>
                <a:lnTo>
                  <a:pt x="500" y="582"/>
                </a:lnTo>
                <a:lnTo>
                  <a:pt x="500" y="582"/>
                </a:lnTo>
                <a:lnTo>
                  <a:pt x="500" y="582"/>
                </a:lnTo>
                <a:close/>
                <a:moveTo>
                  <a:pt x="476" y="586"/>
                </a:moveTo>
                <a:lnTo>
                  <a:pt x="480" y="586"/>
                </a:lnTo>
                <a:lnTo>
                  <a:pt x="476" y="586"/>
                </a:lnTo>
                <a:lnTo>
                  <a:pt x="476" y="582"/>
                </a:lnTo>
                <a:lnTo>
                  <a:pt x="480" y="582"/>
                </a:lnTo>
                <a:lnTo>
                  <a:pt x="480" y="586"/>
                </a:lnTo>
                <a:lnTo>
                  <a:pt x="476" y="586"/>
                </a:lnTo>
                <a:lnTo>
                  <a:pt x="476" y="586"/>
                </a:lnTo>
                <a:lnTo>
                  <a:pt x="476" y="586"/>
                </a:lnTo>
                <a:close/>
                <a:moveTo>
                  <a:pt x="492" y="604"/>
                </a:moveTo>
                <a:lnTo>
                  <a:pt x="492" y="608"/>
                </a:lnTo>
                <a:lnTo>
                  <a:pt x="492" y="604"/>
                </a:lnTo>
                <a:lnTo>
                  <a:pt x="496" y="604"/>
                </a:lnTo>
                <a:lnTo>
                  <a:pt x="496" y="608"/>
                </a:lnTo>
                <a:lnTo>
                  <a:pt x="492" y="612"/>
                </a:lnTo>
                <a:lnTo>
                  <a:pt x="492" y="616"/>
                </a:lnTo>
                <a:lnTo>
                  <a:pt x="488" y="616"/>
                </a:lnTo>
                <a:lnTo>
                  <a:pt x="488" y="612"/>
                </a:lnTo>
                <a:lnTo>
                  <a:pt x="492" y="612"/>
                </a:lnTo>
                <a:lnTo>
                  <a:pt x="488" y="612"/>
                </a:lnTo>
                <a:lnTo>
                  <a:pt x="488" y="608"/>
                </a:lnTo>
                <a:lnTo>
                  <a:pt x="488" y="604"/>
                </a:lnTo>
                <a:lnTo>
                  <a:pt x="488" y="600"/>
                </a:lnTo>
                <a:lnTo>
                  <a:pt x="492" y="600"/>
                </a:lnTo>
                <a:lnTo>
                  <a:pt x="488" y="600"/>
                </a:lnTo>
                <a:lnTo>
                  <a:pt x="488" y="604"/>
                </a:lnTo>
                <a:lnTo>
                  <a:pt x="488" y="600"/>
                </a:lnTo>
                <a:lnTo>
                  <a:pt x="484" y="604"/>
                </a:lnTo>
                <a:lnTo>
                  <a:pt x="488" y="604"/>
                </a:lnTo>
                <a:lnTo>
                  <a:pt x="484" y="608"/>
                </a:lnTo>
                <a:lnTo>
                  <a:pt x="484" y="612"/>
                </a:lnTo>
                <a:lnTo>
                  <a:pt x="484" y="608"/>
                </a:lnTo>
                <a:lnTo>
                  <a:pt x="480" y="604"/>
                </a:lnTo>
                <a:lnTo>
                  <a:pt x="480" y="600"/>
                </a:lnTo>
                <a:lnTo>
                  <a:pt x="480" y="596"/>
                </a:lnTo>
                <a:lnTo>
                  <a:pt x="480" y="600"/>
                </a:lnTo>
                <a:lnTo>
                  <a:pt x="484" y="600"/>
                </a:lnTo>
                <a:lnTo>
                  <a:pt x="484" y="604"/>
                </a:lnTo>
                <a:lnTo>
                  <a:pt x="484" y="600"/>
                </a:lnTo>
                <a:lnTo>
                  <a:pt x="480" y="600"/>
                </a:lnTo>
                <a:lnTo>
                  <a:pt x="480" y="596"/>
                </a:lnTo>
                <a:lnTo>
                  <a:pt x="484" y="600"/>
                </a:lnTo>
                <a:lnTo>
                  <a:pt x="484" y="596"/>
                </a:lnTo>
                <a:lnTo>
                  <a:pt x="488" y="600"/>
                </a:lnTo>
                <a:lnTo>
                  <a:pt x="488" y="596"/>
                </a:lnTo>
                <a:lnTo>
                  <a:pt x="488" y="594"/>
                </a:lnTo>
                <a:lnTo>
                  <a:pt x="484" y="590"/>
                </a:lnTo>
                <a:lnTo>
                  <a:pt x="484" y="586"/>
                </a:lnTo>
                <a:lnTo>
                  <a:pt x="488" y="586"/>
                </a:lnTo>
                <a:lnTo>
                  <a:pt x="492" y="586"/>
                </a:lnTo>
                <a:lnTo>
                  <a:pt x="492" y="590"/>
                </a:lnTo>
                <a:lnTo>
                  <a:pt x="492" y="594"/>
                </a:lnTo>
                <a:lnTo>
                  <a:pt x="492" y="596"/>
                </a:lnTo>
                <a:lnTo>
                  <a:pt x="496" y="596"/>
                </a:lnTo>
                <a:lnTo>
                  <a:pt x="492" y="600"/>
                </a:lnTo>
                <a:lnTo>
                  <a:pt x="492" y="604"/>
                </a:lnTo>
                <a:lnTo>
                  <a:pt x="492" y="604"/>
                </a:lnTo>
                <a:lnTo>
                  <a:pt x="492" y="604"/>
                </a:lnTo>
                <a:close/>
                <a:moveTo>
                  <a:pt x="484" y="594"/>
                </a:moveTo>
                <a:lnTo>
                  <a:pt x="480" y="590"/>
                </a:lnTo>
                <a:lnTo>
                  <a:pt x="484" y="590"/>
                </a:lnTo>
                <a:lnTo>
                  <a:pt x="484" y="594"/>
                </a:lnTo>
                <a:lnTo>
                  <a:pt x="484" y="594"/>
                </a:lnTo>
                <a:lnTo>
                  <a:pt x="484" y="594"/>
                </a:lnTo>
                <a:close/>
                <a:moveTo>
                  <a:pt x="480" y="594"/>
                </a:moveTo>
                <a:lnTo>
                  <a:pt x="480" y="590"/>
                </a:lnTo>
                <a:lnTo>
                  <a:pt x="480" y="594"/>
                </a:lnTo>
                <a:lnTo>
                  <a:pt x="476" y="594"/>
                </a:lnTo>
                <a:lnTo>
                  <a:pt x="476" y="590"/>
                </a:lnTo>
                <a:lnTo>
                  <a:pt x="480" y="590"/>
                </a:lnTo>
                <a:lnTo>
                  <a:pt x="484" y="594"/>
                </a:lnTo>
                <a:lnTo>
                  <a:pt x="480" y="594"/>
                </a:lnTo>
                <a:lnTo>
                  <a:pt x="480" y="594"/>
                </a:lnTo>
                <a:lnTo>
                  <a:pt x="480" y="594"/>
                </a:lnTo>
                <a:close/>
                <a:moveTo>
                  <a:pt x="488" y="596"/>
                </a:moveTo>
                <a:lnTo>
                  <a:pt x="484" y="596"/>
                </a:lnTo>
                <a:lnTo>
                  <a:pt x="480" y="596"/>
                </a:lnTo>
                <a:lnTo>
                  <a:pt x="480" y="594"/>
                </a:lnTo>
                <a:lnTo>
                  <a:pt x="484" y="594"/>
                </a:lnTo>
                <a:lnTo>
                  <a:pt x="488" y="594"/>
                </a:lnTo>
                <a:lnTo>
                  <a:pt x="488" y="596"/>
                </a:lnTo>
                <a:lnTo>
                  <a:pt x="488" y="596"/>
                </a:lnTo>
                <a:lnTo>
                  <a:pt x="488" y="596"/>
                </a:lnTo>
                <a:close/>
                <a:moveTo>
                  <a:pt x="496" y="604"/>
                </a:moveTo>
                <a:lnTo>
                  <a:pt x="492" y="600"/>
                </a:lnTo>
                <a:lnTo>
                  <a:pt x="496" y="600"/>
                </a:lnTo>
                <a:lnTo>
                  <a:pt x="496" y="604"/>
                </a:lnTo>
                <a:lnTo>
                  <a:pt x="496" y="604"/>
                </a:lnTo>
                <a:lnTo>
                  <a:pt x="496" y="604"/>
                </a:lnTo>
                <a:close/>
                <a:moveTo>
                  <a:pt x="484" y="612"/>
                </a:moveTo>
                <a:lnTo>
                  <a:pt x="480" y="608"/>
                </a:lnTo>
                <a:lnTo>
                  <a:pt x="480" y="612"/>
                </a:lnTo>
                <a:lnTo>
                  <a:pt x="480" y="608"/>
                </a:lnTo>
                <a:lnTo>
                  <a:pt x="476" y="608"/>
                </a:lnTo>
                <a:lnTo>
                  <a:pt x="476" y="604"/>
                </a:lnTo>
                <a:lnTo>
                  <a:pt x="480" y="604"/>
                </a:lnTo>
                <a:lnTo>
                  <a:pt x="484" y="608"/>
                </a:lnTo>
                <a:lnTo>
                  <a:pt x="484" y="612"/>
                </a:lnTo>
                <a:lnTo>
                  <a:pt x="484" y="612"/>
                </a:lnTo>
                <a:lnTo>
                  <a:pt x="484" y="612"/>
                </a:lnTo>
                <a:close/>
                <a:moveTo>
                  <a:pt x="484" y="620"/>
                </a:moveTo>
                <a:lnTo>
                  <a:pt x="484" y="624"/>
                </a:lnTo>
                <a:lnTo>
                  <a:pt x="480" y="624"/>
                </a:lnTo>
                <a:lnTo>
                  <a:pt x="480" y="620"/>
                </a:lnTo>
                <a:lnTo>
                  <a:pt x="484" y="620"/>
                </a:lnTo>
                <a:lnTo>
                  <a:pt x="480" y="620"/>
                </a:lnTo>
                <a:lnTo>
                  <a:pt x="480" y="616"/>
                </a:lnTo>
                <a:lnTo>
                  <a:pt x="480" y="620"/>
                </a:lnTo>
                <a:lnTo>
                  <a:pt x="484" y="620"/>
                </a:lnTo>
                <a:lnTo>
                  <a:pt x="484" y="616"/>
                </a:lnTo>
                <a:lnTo>
                  <a:pt x="480" y="616"/>
                </a:lnTo>
                <a:lnTo>
                  <a:pt x="480" y="612"/>
                </a:lnTo>
                <a:lnTo>
                  <a:pt x="484" y="612"/>
                </a:lnTo>
                <a:lnTo>
                  <a:pt x="484" y="616"/>
                </a:lnTo>
                <a:lnTo>
                  <a:pt x="488" y="616"/>
                </a:lnTo>
                <a:lnTo>
                  <a:pt x="484" y="620"/>
                </a:lnTo>
                <a:lnTo>
                  <a:pt x="484" y="620"/>
                </a:lnTo>
                <a:lnTo>
                  <a:pt x="484" y="620"/>
                </a:lnTo>
                <a:close/>
                <a:moveTo>
                  <a:pt x="488" y="624"/>
                </a:moveTo>
                <a:lnTo>
                  <a:pt x="488" y="620"/>
                </a:lnTo>
                <a:lnTo>
                  <a:pt x="492" y="620"/>
                </a:lnTo>
                <a:lnTo>
                  <a:pt x="492" y="624"/>
                </a:lnTo>
                <a:lnTo>
                  <a:pt x="488" y="624"/>
                </a:lnTo>
                <a:lnTo>
                  <a:pt x="488" y="624"/>
                </a:lnTo>
                <a:lnTo>
                  <a:pt x="488" y="624"/>
                </a:lnTo>
                <a:close/>
                <a:moveTo>
                  <a:pt x="496" y="630"/>
                </a:moveTo>
                <a:lnTo>
                  <a:pt x="492" y="626"/>
                </a:lnTo>
                <a:lnTo>
                  <a:pt x="492" y="624"/>
                </a:lnTo>
                <a:lnTo>
                  <a:pt x="496" y="624"/>
                </a:lnTo>
                <a:lnTo>
                  <a:pt x="492" y="624"/>
                </a:lnTo>
                <a:lnTo>
                  <a:pt x="496" y="624"/>
                </a:lnTo>
                <a:lnTo>
                  <a:pt x="496" y="626"/>
                </a:lnTo>
                <a:lnTo>
                  <a:pt x="496" y="630"/>
                </a:lnTo>
                <a:lnTo>
                  <a:pt x="500" y="630"/>
                </a:lnTo>
                <a:lnTo>
                  <a:pt x="496" y="630"/>
                </a:lnTo>
                <a:lnTo>
                  <a:pt x="496" y="630"/>
                </a:lnTo>
                <a:lnTo>
                  <a:pt x="496" y="630"/>
                </a:lnTo>
                <a:close/>
                <a:moveTo>
                  <a:pt x="480" y="630"/>
                </a:moveTo>
                <a:lnTo>
                  <a:pt x="476" y="626"/>
                </a:lnTo>
                <a:lnTo>
                  <a:pt x="480" y="626"/>
                </a:lnTo>
                <a:lnTo>
                  <a:pt x="480" y="624"/>
                </a:lnTo>
                <a:lnTo>
                  <a:pt x="484" y="624"/>
                </a:lnTo>
                <a:lnTo>
                  <a:pt x="484" y="626"/>
                </a:lnTo>
                <a:lnTo>
                  <a:pt x="480" y="626"/>
                </a:lnTo>
                <a:lnTo>
                  <a:pt x="480" y="630"/>
                </a:lnTo>
                <a:lnTo>
                  <a:pt x="480" y="630"/>
                </a:lnTo>
                <a:lnTo>
                  <a:pt x="480" y="630"/>
                </a:lnTo>
                <a:close/>
                <a:moveTo>
                  <a:pt x="484" y="630"/>
                </a:moveTo>
                <a:lnTo>
                  <a:pt x="484" y="626"/>
                </a:lnTo>
                <a:lnTo>
                  <a:pt x="484" y="630"/>
                </a:lnTo>
                <a:lnTo>
                  <a:pt x="484" y="630"/>
                </a:lnTo>
                <a:lnTo>
                  <a:pt x="484" y="630"/>
                </a:lnTo>
                <a:close/>
                <a:moveTo>
                  <a:pt x="492" y="630"/>
                </a:moveTo>
                <a:lnTo>
                  <a:pt x="488" y="630"/>
                </a:lnTo>
                <a:lnTo>
                  <a:pt x="488" y="626"/>
                </a:lnTo>
                <a:lnTo>
                  <a:pt x="492" y="630"/>
                </a:lnTo>
                <a:lnTo>
                  <a:pt x="492" y="630"/>
                </a:lnTo>
                <a:lnTo>
                  <a:pt x="492" y="630"/>
                </a:lnTo>
                <a:close/>
                <a:moveTo>
                  <a:pt x="488" y="638"/>
                </a:moveTo>
                <a:lnTo>
                  <a:pt x="488" y="634"/>
                </a:lnTo>
                <a:lnTo>
                  <a:pt x="488" y="630"/>
                </a:lnTo>
                <a:lnTo>
                  <a:pt x="492" y="630"/>
                </a:lnTo>
                <a:lnTo>
                  <a:pt x="492" y="626"/>
                </a:lnTo>
                <a:lnTo>
                  <a:pt x="492" y="630"/>
                </a:lnTo>
                <a:lnTo>
                  <a:pt x="496" y="630"/>
                </a:lnTo>
                <a:lnTo>
                  <a:pt x="496" y="634"/>
                </a:lnTo>
                <a:lnTo>
                  <a:pt x="492" y="634"/>
                </a:lnTo>
                <a:lnTo>
                  <a:pt x="488" y="638"/>
                </a:lnTo>
                <a:lnTo>
                  <a:pt x="488" y="638"/>
                </a:lnTo>
                <a:lnTo>
                  <a:pt x="488" y="638"/>
                </a:lnTo>
                <a:close/>
                <a:moveTo>
                  <a:pt x="496" y="638"/>
                </a:moveTo>
                <a:lnTo>
                  <a:pt x="496" y="634"/>
                </a:lnTo>
                <a:lnTo>
                  <a:pt x="496" y="630"/>
                </a:lnTo>
                <a:lnTo>
                  <a:pt x="496" y="634"/>
                </a:lnTo>
                <a:lnTo>
                  <a:pt x="496" y="638"/>
                </a:lnTo>
                <a:lnTo>
                  <a:pt x="496" y="638"/>
                </a:lnTo>
                <a:lnTo>
                  <a:pt x="496" y="638"/>
                </a:lnTo>
                <a:close/>
                <a:moveTo>
                  <a:pt x="496" y="638"/>
                </a:moveTo>
                <a:lnTo>
                  <a:pt x="492" y="638"/>
                </a:lnTo>
                <a:lnTo>
                  <a:pt x="492" y="634"/>
                </a:lnTo>
                <a:lnTo>
                  <a:pt x="496" y="638"/>
                </a:lnTo>
                <a:lnTo>
                  <a:pt x="496" y="638"/>
                </a:lnTo>
                <a:lnTo>
                  <a:pt x="496" y="638"/>
                </a:lnTo>
                <a:close/>
                <a:moveTo>
                  <a:pt x="484" y="646"/>
                </a:moveTo>
                <a:lnTo>
                  <a:pt x="484" y="642"/>
                </a:lnTo>
                <a:lnTo>
                  <a:pt x="488" y="642"/>
                </a:lnTo>
                <a:lnTo>
                  <a:pt x="488" y="638"/>
                </a:lnTo>
                <a:lnTo>
                  <a:pt x="492" y="638"/>
                </a:lnTo>
                <a:lnTo>
                  <a:pt x="492" y="642"/>
                </a:lnTo>
                <a:lnTo>
                  <a:pt x="488" y="642"/>
                </a:lnTo>
                <a:lnTo>
                  <a:pt x="484" y="646"/>
                </a:lnTo>
                <a:lnTo>
                  <a:pt x="484" y="646"/>
                </a:lnTo>
                <a:lnTo>
                  <a:pt x="484" y="646"/>
                </a:lnTo>
                <a:close/>
                <a:moveTo>
                  <a:pt x="500" y="642"/>
                </a:moveTo>
                <a:lnTo>
                  <a:pt x="500" y="638"/>
                </a:lnTo>
                <a:lnTo>
                  <a:pt x="500" y="642"/>
                </a:lnTo>
                <a:lnTo>
                  <a:pt x="500" y="642"/>
                </a:lnTo>
                <a:lnTo>
                  <a:pt x="500" y="642"/>
                </a:lnTo>
                <a:close/>
                <a:moveTo>
                  <a:pt x="504" y="642"/>
                </a:moveTo>
                <a:lnTo>
                  <a:pt x="504" y="638"/>
                </a:lnTo>
                <a:lnTo>
                  <a:pt x="504" y="642"/>
                </a:lnTo>
                <a:lnTo>
                  <a:pt x="504" y="642"/>
                </a:lnTo>
                <a:lnTo>
                  <a:pt x="504" y="642"/>
                </a:lnTo>
                <a:close/>
                <a:moveTo>
                  <a:pt x="480" y="646"/>
                </a:moveTo>
                <a:lnTo>
                  <a:pt x="484" y="646"/>
                </a:lnTo>
                <a:lnTo>
                  <a:pt x="484" y="642"/>
                </a:lnTo>
                <a:lnTo>
                  <a:pt x="484" y="638"/>
                </a:lnTo>
                <a:lnTo>
                  <a:pt x="484" y="642"/>
                </a:lnTo>
                <a:lnTo>
                  <a:pt x="484" y="646"/>
                </a:lnTo>
                <a:lnTo>
                  <a:pt x="480" y="646"/>
                </a:lnTo>
                <a:lnTo>
                  <a:pt x="480" y="646"/>
                </a:lnTo>
                <a:lnTo>
                  <a:pt x="480" y="646"/>
                </a:lnTo>
                <a:close/>
                <a:moveTo>
                  <a:pt x="500" y="650"/>
                </a:moveTo>
                <a:lnTo>
                  <a:pt x="496" y="650"/>
                </a:lnTo>
                <a:lnTo>
                  <a:pt x="500" y="650"/>
                </a:lnTo>
                <a:lnTo>
                  <a:pt x="500" y="646"/>
                </a:lnTo>
                <a:lnTo>
                  <a:pt x="500" y="650"/>
                </a:lnTo>
                <a:lnTo>
                  <a:pt x="500" y="650"/>
                </a:lnTo>
                <a:lnTo>
                  <a:pt x="500" y="650"/>
                </a:lnTo>
                <a:close/>
                <a:moveTo>
                  <a:pt x="488" y="656"/>
                </a:moveTo>
                <a:lnTo>
                  <a:pt x="484" y="656"/>
                </a:lnTo>
                <a:lnTo>
                  <a:pt x="484" y="652"/>
                </a:lnTo>
                <a:lnTo>
                  <a:pt x="488" y="650"/>
                </a:lnTo>
                <a:lnTo>
                  <a:pt x="488" y="652"/>
                </a:lnTo>
                <a:lnTo>
                  <a:pt x="488" y="650"/>
                </a:lnTo>
                <a:lnTo>
                  <a:pt x="488" y="646"/>
                </a:lnTo>
                <a:lnTo>
                  <a:pt x="488" y="650"/>
                </a:lnTo>
                <a:lnTo>
                  <a:pt x="488" y="652"/>
                </a:lnTo>
                <a:lnTo>
                  <a:pt x="488" y="656"/>
                </a:lnTo>
                <a:lnTo>
                  <a:pt x="488" y="656"/>
                </a:lnTo>
                <a:lnTo>
                  <a:pt x="488" y="656"/>
                </a:lnTo>
                <a:close/>
                <a:moveTo>
                  <a:pt x="504" y="650"/>
                </a:moveTo>
                <a:lnTo>
                  <a:pt x="500" y="650"/>
                </a:lnTo>
                <a:lnTo>
                  <a:pt x="504" y="650"/>
                </a:lnTo>
                <a:lnTo>
                  <a:pt x="504" y="650"/>
                </a:lnTo>
                <a:lnTo>
                  <a:pt x="504" y="650"/>
                </a:lnTo>
                <a:close/>
                <a:moveTo>
                  <a:pt x="500" y="652"/>
                </a:moveTo>
                <a:lnTo>
                  <a:pt x="496" y="652"/>
                </a:lnTo>
                <a:lnTo>
                  <a:pt x="492" y="650"/>
                </a:lnTo>
                <a:lnTo>
                  <a:pt x="496" y="650"/>
                </a:lnTo>
                <a:lnTo>
                  <a:pt x="500" y="652"/>
                </a:lnTo>
                <a:lnTo>
                  <a:pt x="500" y="652"/>
                </a:lnTo>
                <a:lnTo>
                  <a:pt x="500" y="652"/>
                </a:lnTo>
                <a:close/>
                <a:moveTo>
                  <a:pt x="484" y="652"/>
                </a:moveTo>
                <a:lnTo>
                  <a:pt x="484" y="650"/>
                </a:lnTo>
                <a:lnTo>
                  <a:pt x="488" y="650"/>
                </a:lnTo>
                <a:lnTo>
                  <a:pt x="484" y="650"/>
                </a:lnTo>
                <a:lnTo>
                  <a:pt x="484" y="652"/>
                </a:lnTo>
                <a:lnTo>
                  <a:pt x="484" y="652"/>
                </a:lnTo>
                <a:lnTo>
                  <a:pt x="484" y="652"/>
                </a:lnTo>
                <a:close/>
                <a:moveTo>
                  <a:pt x="504" y="652"/>
                </a:moveTo>
                <a:lnTo>
                  <a:pt x="500" y="652"/>
                </a:lnTo>
                <a:lnTo>
                  <a:pt x="500" y="650"/>
                </a:lnTo>
                <a:lnTo>
                  <a:pt x="504" y="650"/>
                </a:lnTo>
                <a:lnTo>
                  <a:pt x="504" y="652"/>
                </a:lnTo>
                <a:lnTo>
                  <a:pt x="504" y="652"/>
                </a:lnTo>
                <a:lnTo>
                  <a:pt x="504" y="652"/>
                </a:lnTo>
                <a:close/>
                <a:moveTo>
                  <a:pt x="488" y="656"/>
                </a:moveTo>
                <a:lnTo>
                  <a:pt x="488" y="652"/>
                </a:lnTo>
                <a:lnTo>
                  <a:pt x="492" y="652"/>
                </a:lnTo>
                <a:lnTo>
                  <a:pt x="488" y="656"/>
                </a:lnTo>
                <a:lnTo>
                  <a:pt x="488" y="656"/>
                </a:lnTo>
                <a:lnTo>
                  <a:pt x="488" y="656"/>
                </a:lnTo>
                <a:close/>
                <a:moveTo>
                  <a:pt x="514" y="656"/>
                </a:moveTo>
                <a:lnTo>
                  <a:pt x="514" y="652"/>
                </a:lnTo>
                <a:lnTo>
                  <a:pt x="514" y="656"/>
                </a:lnTo>
                <a:lnTo>
                  <a:pt x="514" y="656"/>
                </a:lnTo>
                <a:lnTo>
                  <a:pt x="514" y="656"/>
                </a:lnTo>
                <a:close/>
                <a:moveTo>
                  <a:pt x="504" y="660"/>
                </a:moveTo>
                <a:lnTo>
                  <a:pt x="504" y="656"/>
                </a:lnTo>
                <a:lnTo>
                  <a:pt x="500" y="656"/>
                </a:lnTo>
                <a:lnTo>
                  <a:pt x="500" y="652"/>
                </a:lnTo>
                <a:lnTo>
                  <a:pt x="504" y="656"/>
                </a:lnTo>
                <a:lnTo>
                  <a:pt x="504" y="660"/>
                </a:lnTo>
                <a:lnTo>
                  <a:pt x="504" y="660"/>
                </a:lnTo>
                <a:lnTo>
                  <a:pt x="504" y="660"/>
                </a:lnTo>
                <a:close/>
                <a:moveTo>
                  <a:pt x="488" y="656"/>
                </a:moveTo>
                <a:lnTo>
                  <a:pt x="492" y="656"/>
                </a:lnTo>
                <a:lnTo>
                  <a:pt x="492" y="652"/>
                </a:lnTo>
                <a:lnTo>
                  <a:pt x="492" y="656"/>
                </a:lnTo>
                <a:lnTo>
                  <a:pt x="488" y="656"/>
                </a:lnTo>
                <a:lnTo>
                  <a:pt x="488" y="656"/>
                </a:lnTo>
                <a:lnTo>
                  <a:pt x="488" y="656"/>
                </a:lnTo>
                <a:close/>
                <a:moveTo>
                  <a:pt x="500" y="664"/>
                </a:moveTo>
                <a:lnTo>
                  <a:pt x="496" y="664"/>
                </a:lnTo>
                <a:lnTo>
                  <a:pt x="496" y="660"/>
                </a:lnTo>
                <a:lnTo>
                  <a:pt x="500" y="660"/>
                </a:lnTo>
                <a:lnTo>
                  <a:pt x="496" y="660"/>
                </a:lnTo>
                <a:lnTo>
                  <a:pt x="496" y="656"/>
                </a:lnTo>
                <a:lnTo>
                  <a:pt x="500" y="660"/>
                </a:lnTo>
                <a:lnTo>
                  <a:pt x="500" y="664"/>
                </a:lnTo>
                <a:lnTo>
                  <a:pt x="500" y="664"/>
                </a:lnTo>
                <a:lnTo>
                  <a:pt x="500" y="664"/>
                </a:lnTo>
                <a:close/>
                <a:moveTo>
                  <a:pt x="504" y="664"/>
                </a:moveTo>
                <a:lnTo>
                  <a:pt x="504" y="660"/>
                </a:lnTo>
                <a:lnTo>
                  <a:pt x="500" y="660"/>
                </a:lnTo>
                <a:lnTo>
                  <a:pt x="500" y="656"/>
                </a:lnTo>
                <a:lnTo>
                  <a:pt x="500" y="660"/>
                </a:lnTo>
                <a:lnTo>
                  <a:pt x="504" y="660"/>
                </a:lnTo>
                <a:lnTo>
                  <a:pt x="504" y="664"/>
                </a:lnTo>
                <a:lnTo>
                  <a:pt x="504" y="664"/>
                </a:lnTo>
                <a:lnTo>
                  <a:pt x="504" y="664"/>
                </a:lnTo>
                <a:close/>
                <a:moveTo>
                  <a:pt x="488" y="660"/>
                </a:moveTo>
                <a:lnTo>
                  <a:pt x="492" y="660"/>
                </a:lnTo>
                <a:lnTo>
                  <a:pt x="488" y="660"/>
                </a:lnTo>
                <a:lnTo>
                  <a:pt x="488" y="660"/>
                </a:lnTo>
                <a:lnTo>
                  <a:pt x="488" y="660"/>
                </a:lnTo>
                <a:close/>
                <a:moveTo>
                  <a:pt x="578" y="716"/>
                </a:moveTo>
                <a:lnTo>
                  <a:pt x="574" y="716"/>
                </a:lnTo>
                <a:lnTo>
                  <a:pt x="570" y="716"/>
                </a:lnTo>
                <a:lnTo>
                  <a:pt x="562" y="716"/>
                </a:lnTo>
                <a:lnTo>
                  <a:pt x="562" y="712"/>
                </a:lnTo>
                <a:lnTo>
                  <a:pt x="560" y="712"/>
                </a:lnTo>
                <a:lnTo>
                  <a:pt x="560" y="716"/>
                </a:lnTo>
                <a:lnTo>
                  <a:pt x="556" y="716"/>
                </a:lnTo>
                <a:lnTo>
                  <a:pt x="552" y="716"/>
                </a:lnTo>
                <a:lnTo>
                  <a:pt x="552" y="712"/>
                </a:lnTo>
                <a:lnTo>
                  <a:pt x="552" y="716"/>
                </a:lnTo>
                <a:lnTo>
                  <a:pt x="548" y="716"/>
                </a:lnTo>
                <a:lnTo>
                  <a:pt x="544" y="716"/>
                </a:lnTo>
                <a:lnTo>
                  <a:pt x="544" y="712"/>
                </a:lnTo>
                <a:lnTo>
                  <a:pt x="548" y="712"/>
                </a:lnTo>
                <a:lnTo>
                  <a:pt x="552" y="712"/>
                </a:lnTo>
                <a:lnTo>
                  <a:pt x="548" y="712"/>
                </a:lnTo>
                <a:lnTo>
                  <a:pt x="544" y="712"/>
                </a:lnTo>
                <a:lnTo>
                  <a:pt x="540" y="712"/>
                </a:lnTo>
                <a:lnTo>
                  <a:pt x="544" y="712"/>
                </a:lnTo>
                <a:lnTo>
                  <a:pt x="540" y="712"/>
                </a:lnTo>
                <a:lnTo>
                  <a:pt x="536" y="712"/>
                </a:lnTo>
                <a:lnTo>
                  <a:pt x="540" y="712"/>
                </a:lnTo>
                <a:lnTo>
                  <a:pt x="540" y="708"/>
                </a:lnTo>
                <a:lnTo>
                  <a:pt x="536" y="708"/>
                </a:lnTo>
                <a:lnTo>
                  <a:pt x="536" y="712"/>
                </a:lnTo>
                <a:lnTo>
                  <a:pt x="532" y="712"/>
                </a:lnTo>
                <a:lnTo>
                  <a:pt x="532" y="708"/>
                </a:lnTo>
                <a:lnTo>
                  <a:pt x="532" y="712"/>
                </a:lnTo>
                <a:lnTo>
                  <a:pt x="530" y="712"/>
                </a:lnTo>
                <a:lnTo>
                  <a:pt x="530" y="708"/>
                </a:lnTo>
                <a:lnTo>
                  <a:pt x="532" y="708"/>
                </a:lnTo>
                <a:lnTo>
                  <a:pt x="530" y="708"/>
                </a:lnTo>
                <a:lnTo>
                  <a:pt x="530" y="706"/>
                </a:lnTo>
                <a:lnTo>
                  <a:pt x="532" y="706"/>
                </a:lnTo>
                <a:lnTo>
                  <a:pt x="532" y="708"/>
                </a:lnTo>
                <a:lnTo>
                  <a:pt x="536" y="708"/>
                </a:lnTo>
                <a:lnTo>
                  <a:pt x="532" y="708"/>
                </a:lnTo>
                <a:lnTo>
                  <a:pt x="532" y="706"/>
                </a:lnTo>
                <a:lnTo>
                  <a:pt x="536" y="708"/>
                </a:lnTo>
                <a:lnTo>
                  <a:pt x="536" y="706"/>
                </a:lnTo>
                <a:lnTo>
                  <a:pt x="540" y="706"/>
                </a:lnTo>
                <a:lnTo>
                  <a:pt x="544" y="708"/>
                </a:lnTo>
                <a:lnTo>
                  <a:pt x="544" y="706"/>
                </a:lnTo>
                <a:lnTo>
                  <a:pt x="548" y="706"/>
                </a:lnTo>
                <a:lnTo>
                  <a:pt x="548" y="708"/>
                </a:lnTo>
                <a:lnTo>
                  <a:pt x="548" y="706"/>
                </a:lnTo>
                <a:lnTo>
                  <a:pt x="552" y="708"/>
                </a:lnTo>
                <a:lnTo>
                  <a:pt x="556" y="708"/>
                </a:lnTo>
                <a:lnTo>
                  <a:pt x="552" y="708"/>
                </a:lnTo>
                <a:lnTo>
                  <a:pt x="552" y="706"/>
                </a:lnTo>
                <a:lnTo>
                  <a:pt x="548" y="706"/>
                </a:lnTo>
                <a:lnTo>
                  <a:pt x="544" y="706"/>
                </a:lnTo>
                <a:lnTo>
                  <a:pt x="544" y="702"/>
                </a:lnTo>
                <a:lnTo>
                  <a:pt x="548" y="702"/>
                </a:lnTo>
                <a:lnTo>
                  <a:pt x="552" y="706"/>
                </a:lnTo>
                <a:lnTo>
                  <a:pt x="556" y="706"/>
                </a:lnTo>
                <a:lnTo>
                  <a:pt x="556" y="702"/>
                </a:lnTo>
                <a:lnTo>
                  <a:pt x="556" y="706"/>
                </a:lnTo>
                <a:lnTo>
                  <a:pt x="560" y="706"/>
                </a:lnTo>
                <a:lnTo>
                  <a:pt x="560" y="708"/>
                </a:lnTo>
                <a:lnTo>
                  <a:pt x="560" y="706"/>
                </a:lnTo>
                <a:lnTo>
                  <a:pt x="562" y="706"/>
                </a:lnTo>
                <a:lnTo>
                  <a:pt x="566" y="706"/>
                </a:lnTo>
                <a:lnTo>
                  <a:pt x="566" y="708"/>
                </a:lnTo>
                <a:lnTo>
                  <a:pt x="566" y="712"/>
                </a:lnTo>
                <a:lnTo>
                  <a:pt x="566" y="708"/>
                </a:lnTo>
                <a:lnTo>
                  <a:pt x="570" y="708"/>
                </a:lnTo>
                <a:lnTo>
                  <a:pt x="566" y="708"/>
                </a:lnTo>
                <a:lnTo>
                  <a:pt x="570" y="708"/>
                </a:lnTo>
                <a:lnTo>
                  <a:pt x="570" y="706"/>
                </a:lnTo>
                <a:lnTo>
                  <a:pt x="566" y="706"/>
                </a:lnTo>
                <a:lnTo>
                  <a:pt x="562" y="706"/>
                </a:lnTo>
                <a:lnTo>
                  <a:pt x="562" y="702"/>
                </a:lnTo>
                <a:lnTo>
                  <a:pt x="560" y="702"/>
                </a:lnTo>
                <a:lnTo>
                  <a:pt x="556" y="702"/>
                </a:lnTo>
                <a:lnTo>
                  <a:pt x="556" y="698"/>
                </a:lnTo>
                <a:lnTo>
                  <a:pt x="556" y="694"/>
                </a:lnTo>
                <a:lnTo>
                  <a:pt x="556" y="690"/>
                </a:lnTo>
                <a:lnTo>
                  <a:pt x="560" y="690"/>
                </a:lnTo>
                <a:lnTo>
                  <a:pt x="566" y="686"/>
                </a:lnTo>
                <a:lnTo>
                  <a:pt x="566" y="682"/>
                </a:lnTo>
                <a:lnTo>
                  <a:pt x="562" y="682"/>
                </a:lnTo>
                <a:lnTo>
                  <a:pt x="560" y="682"/>
                </a:lnTo>
                <a:lnTo>
                  <a:pt x="556" y="682"/>
                </a:lnTo>
                <a:lnTo>
                  <a:pt x="556" y="686"/>
                </a:lnTo>
                <a:lnTo>
                  <a:pt x="552" y="686"/>
                </a:lnTo>
                <a:lnTo>
                  <a:pt x="552" y="682"/>
                </a:lnTo>
                <a:lnTo>
                  <a:pt x="552" y="680"/>
                </a:lnTo>
                <a:lnTo>
                  <a:pt x="552" y="676"/>
                </a:lnTo>
                <a:lnTo>
                  <a:pt x="556" y="676"/>
                </a:lnTo>
                <a:lnTo>
                  <a:pt x="556" y="672"/>
                </a:lnTo>
                <a:lnTo>
                  <a:pt x="552" y="672"/>
                </a:lnTo>
                <a:lnTo>
                  <a:pt x="556" y="672"/>
                </a:lnTo>
                <a:lnTo>
                  <a:pt x="560" y="672"/>
                </a:lnTo>
                <a:lnTo>
                  <a:pt x="562" y="668"/>
                </a:lnTo>
                <a:lnTo>
                  <a:pt x="562" y="664"/>
                </a:lnTo>
                <a:lnTo>
                  <a:pt x="566" y="664"/>
                </a:lnTo>
                <a:lnTo>
                  <a:pt x="566" y="668"/>
                </a:lnTo>
                <a:lnTo>
                  <a:pt x="570" y="668"/>
                </a:lnTo>
                <a:lnTo>
                  <a:pt x="574" y="668"/>
                </a:lnTo>
                <a:lnTo>
                  <a:pt x="578" y="668"/>
                </a:lnTo>
                <a:lnTo>
                  <a:pt x="578" y="672"/>
                </a:lnTo>
                <a:lnTo>
                  <a:pt x="578" y="680"/>
                </a:lnTo>
                <a:lnTo>
                  <a:pt x="578" y="682"/>
                </a:lnTo>
                <a:lnTo>
                  <a:pt x="578" y="686"/>
                </a:lnTo>
                <a:lnTo>
                  <a:pt x="578" y="694"/>
                </a:lnTo>
                <a:lnTo>
                  <a:pt x="578" y="698"/>
                </a:lnTo>
                <a:lnTo>
                  <a:pt x="578" y="706"/>
                </a:lnTo>
                <a:lnTo>
                  <a:pt x="578" y="708"/>
                </a:lnTo>
                <a:lnTo>
                  <a:pt x="578" y="716"/>
                </a:lnTo>
                <a:lnTo>
                  <a:pt x="578" y="716"/>
                </a:lnTo>
                <a:lnTo>
                  <a:pt x="578" y="716"/>
                </a:lnTo>
                <a:close/>
                <a:moveTo>
                  <a:pt x="510" y="682"/>
                </a:moveTo>
                <a:lnTo>
                  <a:pt x="514" y="682"/>
                </a:lnTo>
                <a:lnTo>
                  <a:pt x="510" y="682"/>
                </a:lnTo>
                <a:lnTo>
                  <a:pt x="506" y="682"/>
                </a:lnTo>
                <a:lnTo>
                  <a:pt x="504" y="680"/>
                </a:lnTo>
                <a:lnTo>
                  <a:pt x="500" y="680"/>
                </a:lnTo>
                <a:lnTo>
                  <a:pt x="496" y="680"/>
                </a:lnTo>
                <a:lnTo>
                  <a:pt x="496" y="676"/>
                </a:lnTo>
                <a:lnTo>
                  <a:pt x="492" y="676"/>
                </a:lnTo>
                <a:lnTo>
                  <a:pt x="492" y="672"/>
                </a:lnTo>
                <a:lnTo>
                  <a:pt x="488" y="672"/>
                </a:lnTo>
                <a:lnTo>
                  <a:pt x="492" y="672"/>
                </a:lnTo>
                <a:lnTo>
                  <a:pt x="496" y="672"/>
                </a:lnTo>
                <a:lnTo>
                  <a:pt x="496" y="676"/>
                </a:lnTo>
                <a:lnTo>
                  <a:pt x="500" y="676"/>
                </a:lnTo>
                <a:lnTo>
                  <a:pt x="504" y="676"/>
                </a:lnTo>
                <a:lnTo>
                  <a:pt x="504" y="680"/>
                </a:lnTo>
                <a:lnTo>
                  <a:pt x="506" y="680"/>
                </a:lnTo>
                <a:lnTo>
                  <a:pt x="506" y="682"/>
                </a:lnTo>
                <a:lnTo>
                  <a:pt x="506" y="680"/>
                </a:lnTo>
                <a:lnTo>
                  <a:pt x="510" y="682"/>
                </a:lnTo>
                <a:lnTo>
                  <a:pt x="510" y="682"/>
                </a:lnTo>
                <a:lnTo>
                  <a:pt x="510" y="682"/>
                </a:lnTo>
                <a:close/>
                <a:moveTo>
                  <a:pt x="506" y="676"/>
                </a:moveTo>
                <a:lnTo>
                  <a:pt x="504" y="676"/>
                </a:lnTo>
                <a:lnTo>
                  <a:pt x="504" y="672"/>
                </a:lnTo>
                <a:lnTo>
                  <a:pt x="506" y="672"/>
                </a:lnTo>
                <a:lnTo>
                  <a:pt x="506" y="676"/>
                </a:lnTo>
                <a:lnTo>
                  <a:pt x="510" y="676"/>
                </a:lnTo>
                <a:lnTo>
                  <a:pt x="506" y="676"/>
                </a:lnTo>
                <a:lnTo>
                  <a:pt x="506" y="676"/>
                </a:lnTo>
                <a:lnTo>
                  <a:pt x="506" y="676"/>
                </a:lnTo>
                <a:close/>
                <a:moveTo>
                  <a:pt x="500" y="682"/>
                </a:moveTo>
                <a:lnTo>
                  <a:pt x="496" y="682"/>
                </a:lnTo>
                <a:lnTo>
                  <a:pt x="500" y="682"/>
                </a:lnTo>
                <a:lnTo>
                  <a:pt x="500" y="682"/>
                </a:lnTo>
                <a:lnTo>
                  <a:pt x="500" y="682"/>
                </a:lnTo>
                <a:close/>
                <a:moveTo>
                  <a:pt x="510" y="694"/>
                </a:moveTo>
                <a:lnTo>
                  <a:pt x="510" y="690"/>
                </a:lnTo>
                <a:lnTo>
                  <a:pt x="506" y="690"/>
                </a:lnTo>
                <a:lnTo>
                  <a:pt x="506" y="694"/>
                </a:lnTo>
                <a:lnTo>
                  <a:pt x="506" y="690"/>
                </a:lnTo>
                <a:lnTo>
                  <a:pt x="506" y="686"/>
                </a:lnTo>
                <a:lnTo>
                  <a:pt x="510" y="690"/>
                </a:lnTo>
                <a:lnTo>
                  <a:pt x="514" y="690"/>
                </a:lnTo>
                <a:lnTo>
                  <a:pt x="510" y="690"/>
                </a:lnTo>
                <a:lnTo>
                  <a:pt x="506" y="686"/>
                </a:lnTo>
                <a:lnTo>
                  <a:pt x="510" y="686"/>
                </a:lnTo>
                <a:lnTo>
                  <a:pt x="514" y="686"/>
                </a:lnTo>
                <a:lnTo>
                  <a:pt x="510" y="686"/>
                </a:lnTo>
                <a:lnTo>
                  <a:pt x="514" y="686"/>
                </a:lnTo>
                <a:lnTo>
                  <a:pt x="514" y="690"/>
                </a:lnTo>
                <a:lnTo>
                  <a:pt x="518" y="690"/>
                </a:lnTo>
                <a:lnTo>
                  <a:pt x="518" y="686"/>
                </a:lnTo>
                <a:lnTo>
                  <a:pt x="518" y="690"/>
                </a:lnTo>
                <a:lnTo>
                  <a:pt x="522" y="686"/>
                </a:lnTo>
                <a:lnTo>
                  <a:pt x="522" y="690"/>
                </a:lnTo>
                <a:lnTo>
                  <a:pt x="522" y="694"/>
                </a:lnTo>
                <a:lnTo>
                  <a:pt x="522" y="690"/>
                </a:lnTo>
                <a:lnTo>
                  <a:pt x="526" y="690"/>
                </a:lnTo>
                <a:lnTo>
                  <a:pt x="526" y="694"/>
                </a:lnTo>
                <a:lnTo>
                  <a:pt x="522" y="694"/>
                </a:lnTo>
                <a:lnTo>
                  <a:pt x="522" y="698"/>
                </a:lnTo>
                <a:lnTo>
                  <a:pt x="526" y="698"/>
                </a:lnTo>
                <a:lnTo>
                  <a:pt x="522" y="698"/>
                </a:lnTo>
                <a:lnTo>
                  <a:pt x="522" y="702"/>
                </a:lnTo>
                <a:lnTo>
                  <a:pt x="518" y="698"/>
                </a:lnTo>
                <a:lnTo>
                  <a:pt x="518" y="702"/>
                </a:lnTo>
                <a:lnTo>
                  <a:pt x="514" y="702"/>
                </a:lnTo>
                <a:lnTo>
                  <a:pt x="514" y="698"/>
                </a:lnTo>
                <a:lnTo>
                  <a:pt x="518" y="698"/>
                </a:lnTo>
                <a:lnTo>
                  <a:pt x="518" y="694"/>
                </a:lnTo>
                <a:lnTo>
                  <a:pt x="514" y="694"/>
                </a:lnTo>
                <a:lnTo>
                  <a:pt x="514" y="698"/>
                </a:lnTo>
                <a:lnTo>
                  <a:pt x="510" y="698"/>
                </a:lnTo>
                <a:lnTo>
                  <a:pt x="510" y="694"/>
                </a:lnTo>
                <a:lnTo>
                  <a:pt x="510" y="694"/>
                </a:lnTo>
                <a:lnTo>
                  <a:pt x="510" y="694"/>
                </a:lnTo>
                <a:close/>
                <a:moveTo>
                  <a:pt x="504" y="690"/>
                </a:moveTo>
                <a:lnTo>
                  <a:pt x="504" y="686"/>
                </a:lnTo>
                <a:lnTo>
                  <a:pt x="504" y="690"/>
                </a:lnTo>
                <a:lnTo>
                  <a:pt x="504" y="690"/>
                </a:lnTo>
                <a:lnTo>
                  <a:pt x="504" y="690"/>
                </a:lnTo>
                <a:close/>
                <a:moveTo>
                  <a:pt x="548" y="702"/>
                </a:moveTo>
                <a:lnTo>
                  <a:pt x="544" y="702"/>
                </a:lnTo>
                <a:lnTo>
                  <a:pt x="544" y="698"/>
                </a:lnTo>
                <a:lnTo>
                  <a:pt x="544" y="694"/>
                </a:lnTo>
                <a:lnTo>
                  <a:pt x="548" y="694"/>
                </a:lnTo>
                <a:lnTo>
                  <a:pt x="548" y="690"/>
                </a:lnTo>
                <a:lnTo>
                  <a:pt x="548" y="686"/>
                </a:lnTo>
                <a:lnTo>
                  <a:pt x="552" y="686"/>
                </a:lnTo>
                <a:lnTo>
                  <a:pt x="552" y="690"/>
                </a:lnTo>
                <a:lnTo>
                  <a:pt x="548" y="690"/>
                </a:lnTo>
                <a:lnTo>
                  <a:pt x="552" y="694"/>
                </a:lnTo>
                <a:lnTo>
                  <a:pt x="552" y="698"/>
                </a:lnTo>
                <a:lnTo>
                  <a:pt x="548" y="698"/>
                </a:lnTo>
                <a:lnTo>
                  <a:pt x="548" y="694"/>
                </a:lnTo>
                <a:lnTo>
                  <a:pt x="548" y="698"/>
                </a:lnTo>
                <a:lnTo>
                  <a:pt x="548" y="702"/>
                </a:lnTo>
                <a:lnTo>
                  <a:pt x="548" y="702"/>
                </a:lnTo>
                <a:lnTo>
                  <a:pt x="548" y="702"/>
                </a:lnTo>
                <a:close/>
                <a:moveTo>
                  <a:pt x="532" y="698"/>
                </a:moveTo>
                <a:lnTo>
                  <a:pt x="532" y="702"/>
                </a:lnTo>
                <a:lnTo>
                  <a:pt x="530" y="702"/>
                </a:lnTo>
                <a:lnTo>
                  <a:pt x="530" y="698"/>
                </a:lnTo>
                <a:lnTo>
                  <a:pt x="530" y="702"/>
                </a:lnTo>
                <a:lnTo>
                  <a:pt x="532" y="702"/>
                </a:lnTo>
                <a:lnTo>
                  <a:pt x="530" y="706"/>
                </a:lnTo>
                <a:lnTo>
                  <a:pt x="530" y="702"/>
                </a:lnTo>
                <a:lnTo>
                  <a:pt x="526" y="702"/>
                </a:lnTo>
                <a:lnTo>
                  <a:pt x="526" y="698"/>
                </a:lnTo>
                <a:lnTo>
                  <a:pt x="530" y="698"/>
                </a:lnTo>
                <a:lnTo>
                  <a:pt x="530" y="694"/>
                </a:lnTo>
                <a:lnTo>
                  <a:pt x="532" y="694"/>
                </a:lnTo>
                <a:lnTo>
                  <a:pt x="532" y="698"/>
                </a:lnTo>
                <a:lnTo>
                  <a:pt x="532" y="698"/>
                </a:lnTo>
                <a:lnTo>
                  <a:pt x="532" y="698"/>
                </a:lnTo>
                <a:close/>
                <a:moveTo>
                  <a:pt x="536" y="698"/>
                </a:moveTo>
                <a:lnTo>
                  <a:pt x="540" y="698"/>
                </a:lnTo>
                <a:lnTo>
                  <a:pt x="544" y="702"/>
                </a:lnTo>
                <a:lnTo>
                  <a:pt x="544" y="706"/>
                </a:lnTo>
                <a:lnTo>
                  <a:pt x="540" y="706"/>
                </a:lnTo>
                <a:lnTo>
                  <a:pt x="536" y="706"/>
                </a:lnTo>
                <a:lnTo>
                  <a:pt x="536" y="702"/>
                </a:lnTo>
                <a:lnTo>
                  <a:pt x="532" y="702"/>
                </a:lnTo>
                <a:lnTo>
                  <a:pt x="532" y="698"/>
                </a:lnTo>
                <a:lnTo>
                  <a:pt x="536" y="698"/>
                </a:lnTo>
                <a:lnTo>
                  <a:pt x="536" y="698"/>
                </a:lnTo>
                <a:lnTo>
                  <a:pt x="536" y="698"/>
                </a:lnTo>
                <a:close/>
                <a:moveTo>
                  <a:pt x="510" y="702"/>
                </a:moveTo>
                <a:lnTo>
                  <a:pt x="506" y="698"/>
                </a:lnTo>
                <a:lnTo>
                  <a:pt x="510" y="698"/>
                </a:lnTo>
                <a:lnTo>
                  <a:pt x="510" y="702"/>
                </a:lnTo>
                <a:lnTo>
                  <a:pt x="510" y="702"/>
                </a:lnTo>
                <a:lnTo>
                  <a:pt x="510" y="702"/>
                </a:lnTo>
                <a:close/>
                <a:moveTo>
                  <a:pt x="552" y="702"/>
                </a:moveTo>
                <a:lnTo>
                  <a:pt x="548" y="698"/>
                </a:lnTo>
                <a:lnTo>
                  <a:pt x="552" y="698"/>
                </a:lnTo>
                <a:lnTo>
                  <a:pt x="552" y="702"/>
                </a:lnTo>
                <a:lnTo>
                  <a:pt x="552" y="702"/>
                </a:lnTo>
                <a:lnTo>
                  <a:pt x="552" y="702"/>
                </a:lnTo>
                <a:close/>
                <a:moveTo>
                  <a:pt x="526" y="698"/>
                </a:moveTo>
                <a:lnTo>
                  <a:pt x="526" y="702"/>
                </a:lnTo>
                <a:lnTo>
                  <a:pt x="522" y="702"/>
                </a:lnTo>
                <a:lnTo>
                  <a:pt x="522" y="698"/>
                </a:lnTo>
                <a:lnTo>
                  <a:pt x="526" y="698"/>
                </a:lnTo>
                <a:lnTo>
                  <a:pt x="526" y="698"/>
                </a:lnTo>
                <a:lnTo>
                  <a:pt x="526" y="698"/>
                </a:lnTo>
                <a:close/>
                <a:moveTo>
                  <a:pt x="522" y="706"/>
                </a:moveTo>
                <a:lnTo>
                  <a:pt x="526" y="706"/>
                </a:lnTo>
                <a:lnTo>
                  <a:pt x="522" y="706"/>
                </a:lnTo>
                <a:lnTo>
                  <a:pt x="522" y="706"/>
                </a:lnTo>
                <a:lnTo>
                  <a:pt x="522" y="706"/>
                </a:lnTo>
                <a:close/>
                <a:moveTo>
                  <a:pt x="540" y="716"/>
                </a:moveTo>
                <a:lnTo>
                  <a:pt x="536" y="716"/>
                </a:lnTo>
                <a:lnTo>
                  <a:pt x="540" y="716"/>
                </a:lnTo>
                <a:lnTo>
                  <a:pt x="544" y="716"/>
                </a:lnTo>
                <a:lnTo>
                  <a:pt x="540" y="716"/>
                </a:lnTo>
                <a:lnTo>
                  <a:pt x="540" y="716"/>
                </a:lnTo>
                <a:lnTo>
                  <a:pt x="540" y="716"/>
                </a:lnTo>
                <a:close/>
                <a:moveTo>
                  <a:pt x="552" y="716"/>
                </a:moveTo>
                <a:lnTo>
                  <a:pt x="548" y="716"/>
                </a:lnTo>
                <a:lnTo>
                  <a:pt x="552" y="716"/>
                </a:lnTo>
                <a:lnTo>
                  <a:pt x="552" y="716"/>
                </a:lnTo>
                <a:lnTo>
                  <a:pt x="552" y="716"/>
                </a:lnTo>
                <a:close/>
                <a:moveTo>
                  <a:pt x="560" y="720"/>
                </a:moveTo>
                <a:lnTo>
                  <a:pt x="560" y="716"/>
                </a:lnTo>
                <a:lnTo>
                  <a:pt x="562" y="716"/>
                </a:lnTo>
                <a:lnTo>
                  <a:pt x="566" y="716"/>
                </a:lnTo>
                <a:lnTo>
                  <a:pt x="570" y="720"/>
                </a:lnTo>
                <a:lnTo>
                  <a:pt x="566" y="720"/>
                </a:lnTo>
                <a:lnTo>
                  <a:pt x="562" y="720"/>
                </a:lnTo>
                <a:lnTo>
                  <a:pt x="560" y="720"/>
                </a:lnTo>
                <a:lnTo>
                  <a:pt x="560" y="720"/>
                </a:lnTo>
                <a:lnTo>
                  <a:pt x="560" y="720"/>
                </a:lnTo>
                <a:close/>
                <a:moveTo>
                  <a:pt x="552" y="716"/>
                </a:moveTo>
                <a:lnTo>
                  <a:pt x="548" y="716"/>
                </a:lnTo>
                <a:lnTo>
                  <a:pt x="548" y="720"/>
                </a:lnTo>
                <a:lnTo>
                  <a:pt x="552" y="720"/>
                </a:lnTo>
                <a:lnTo>
                  <a:pt x="552" y="724"/>
                </a:lnTo>
                <a:lnTo>
                  <a:pt x="552" y="720"/>
                </a:lnTo>
                <a:lnTo>
                  <a:pt x="552" y="724"/>
                </a:lnTo>
                <a:lnTo>
                  <a:pt x="548" y="724"/>
                </a:lnTo>
                <a:lnTo>
                  <a:pt x="548" y="720"/>
                </a:lnTo>
                <a:lnTo>
                  <a:pt x="548" y="724"/>
                </a:lnTo>
                <a:lnTo>
                  <a:pt x="548" y="720"/>
                </a:lnTo>
                <a:lnTo>
                  <a:pt x="544" y="720"/>
                </a:lnTo>
                <a:lnTo>
                  <a:pt x="544" y="716"/>
                </a:lnTo>
                <a:lnTo>
                  <a:pt x="548" y="720"/>
                </a:lnTo>
                <a:lnTo>
                  <a:pt x="548" y="716"/>
                </a:lnTo>
                <a:lnTo>
                  <a:pt x="552" y="716"/>
                </a:lnTo>
                <a:lnTo>
                  <a:pt x="552" y="716"/>
                </a:lnTo>
                <a:lnTo>
                  <a:pt x="552" y="716"/>
                </a:lnTo>
                <a:close/>
                <a:moveTo>
                  <a:pt x="586" y="716"/>
                </a:moveTo>
                <a:lnTo>
                  <a:pt x="590" y="716"/>
                </a:lnTo>
                <a:lnTo>
                  <a:pt x="592" y="716"/>
                </a:lnTo>
                <a:lnTo>
                  <a:pt x="596" y="716"/>
                </a:lnTo>
                <a:lnTo>
                  <a:pt x="596" y="720"/>
                </a:lnTo>
                <a:lnTo>
                  <a:pt x="600" y="720"/>
                </a:lnTo>
                <a:lnTo>
                  <a:pt x="600" y="724"/>
                </a:lnTo>
                <a:lnTo>
                  <a:pt x="596" y="724"/>
                </a:lnTo>
                <a:lnTo>
                  <a:pt x="596" y="728"/>
                </a:lnTo>
                <a:lnTo>
                  <a:pt x="592" y="724"/>
                </a:lnTo>
                <a:lnTo>
                  <a:pt x="590" y="724"/>
                </a:lnTo>
                <a:lnTo>
                  <a:pt x="586" y="724"/>
                </a:lnTo>
                <a:lnTo>
                  <a:pt x="590" y="724"/>
                </a:lnTo>
                <a:lnTo>
                  <a:pt x="586" y="724"/>
                </a:lnTo>
                <a:lnTo>
                  <a:pt x="582" y="724"/>
                </a:lnTo>
                <a:lnTo>
                  <a:pt x="582" y="720"/>
                </a:lnTo>
                <a:lnTo>
                  <a:pt x="582" y="716"/>
                </a:lnTo>
                <a:lnTo>
                  <a:pt x="586" y="716"/>
                </a:lnTo>
                <a:lnTo>
                  <a:pt x="586" y="716"/>
                </a:lnTo>
                <a:lnTo>
                  <a:pt x="586" y="716"/>
                </a:lnTo>
                <a:close/>
                <a:moveTo>
                  <a:pt x="556" y="720"/>
                </a:moveTo>
                <a:lnTo>
                  <a:pt x="556" y="716"/>
                </a:lnTo>
                <a:lnTo>
                  <a:pt x="556" y="720"/>
                </a:lnTo>
                <a:lnTo>
                  <a:pt x="556" y="720"/>
                </a:lnTo>
                <a:lnTo>
                  <a:pt x="556" y="720"/>
                </a:lnTo>
                <a:close/>
                <a:moveTo>
                  <a:pt x="586" y="736"/>
                </a:moveTo>
                <a:lnTo>
                  <a:pt x="582" y="736"/>
                </a:lnTo>
                <a:lnTo>
                  <a:pt x="582" y="732"/>
                </a:lnTo>
                <a:lnTo>
                  <a:pt x="578" y="732"/>
                </a:lnTo>
                <a:lnTo>
                  <a:pt x="578" y="728"/>
                </a:lnTo>
                <a:lnTo>
                  <a:pt x="574" y="728"/>
                </a:lnTo>
                <a:lnTo>
                  <a:pt x="574" y="732"/>
                </a:lnTo>
                <a:lnTo>
                  <a:pt x="570" y="728"/>
                </a:lnTo>
                <a:lnTo>
                  <a:pt x="574" y="728"/>
                </a:lnTo>
                <a:lnTo>
                  <a:pt x="570" y="728"/>
                </a:lnTo>
                <a:lnTo>
                  <a:pt x="574" y="724"/>
                </a:lnTo>
                <a:lnTo>
                  <a:pt x="570" y="724"/>
                </a:lnTo>
                <a:lnTo>
                  <a:pt x="566" y="724"/>
                </a:lnTo>
                <a:lnTo>
                  <a:pt x="566" y="728"/>
                </a:lnTo>
                <a:lnTo>
                  <a:pt x="570" y="728"/>
                </a:lnTo>
                <a:lnTo>
                  <a:pt x="570" y="732"/>
                </a:lnTo>
                <a:lnTo>
                  <a:pt x="566" y="732"/>
                </a:lnTo>
                <a:lnTo>
                  <a:pt x="562" y="728"/>
                </a:lnTo>
                <a:lnTo>
                  <a:pt x="566" y="728"/>
                </a:lnTo>
                <a:lnTo>
                  <a:pt x="562" y="728"/>
                </a:lnTo>
                <a:lnTo>
                  <a:pt x="560" y="728"/>
                </a:lnTo>
                <a:lnTo>
                  <a:pt x="562" y="724"/>
                </a:lnTo>
                <a:lnTo>
                  <a:pt x="560" y="724"/>
                </a:lnTo>
                <a:lnTo>
                  <a:pt x="556" y="724"/>
                </a:lnTo>
                <a:lnTo>
                  <a:pt x="560" y="720"/>
                </a:lnTo>
                <a:lnTo>
                  <a:pt x="562" y="720"/>
                </a:lnTo>
                <a:lnTo>
                  <a:pt x="566" y="720"/>
                </a:lnTo>
                <a:lnTo>
                  <a:pt x="570" y="720"/>
                </a:lnTo>
                <a:lnTo>
                  <a:pt x="574" y="720"/>
                </a:lnTo>
                <a:lnTo>
                  <a:pt x="574" y="716"/>
                </a:lnTo>
                <a:lnTo>
                  <a:pt x="578" y="716"/>
                </a:lnTo>
                <a:lnTo>
                  <a:pt x="582" y="720"/>
                </a:lnTo>
                <a:lnTo>
                  <a:pt x="578" y="724"/>
                </a:lnTo>
                <a:lnTo>
                  <a:pt x="574" y="724"/>
                </a:lnTo>
                <a:lnTo>
                  <a:pt x="574" y="720"/>
                </a:lnTo>
                <a:lnTo>
                  <a:pt x="570" y="720"/>
                </a:lnTo>
                <a:lnTo>
                  <a:pt x="574" y="724"/>
                </a:lnTo>
                <a:lnTo>
                  <a:pt x="578" y="724"/>
                </a:lnTo>
                <a:lnTo>
                  <a:pt x="582" y="724"/>
                </a:lnTo>
                <a:lnTo>
                  <a:pt x="578" y="728"/>
                </a:lnTo>
                <a:lnTo>
                  <a:pt x="578" y="724"/>
                </a:lnTo>
                <a:lnTo>
                  <a:pt x="574" y="724"/>
                </a:lnTo>
                <a:lnTo>
                  <a:pt x="578" y="728"/>
                </a:lnTo>
                <a:lnTo>
                  <a:pt x="582" y="728"/>
                </a:lnTo>
                <a:lnTo>
                  <a:pt x="582" y="732"/>
                </a:lnTo>
                <a:lnTo>
                  <a:pt x="586" y="728"/>
                </a:lnTo>
                <a:lnTo>
                  <a:pt x="586" y="732"/>
                </a:lnTo>
                <a:lnTo>
                  <a:pt x="586" y="736"/>
                </a:lnTo>
                <a:lnTo>
                  <a:pt x="586" y="736"/>
                </a:lnTo>
                <a:lnTo>
                  <a:pt x="586" y="736"/>
                </a:lnTo>
                <a:close/>
                <a:moveTo>
                  <a:pt x="600" y="720"/>
                </a:moveTo>
                <a:lnTo>
                  <a:pt x="596" y="720"/>
                </a:lnTo>
                <a:lnTo>
                  <a:pt x="600" y="720"/>
                </a:lnTo>
                <a:lnTo>
                  <a:pt x="600" y="720"/>
                </a:lnTo>
                <a:lnTo>
                  <a:pt x="600" y="720"/>
                </a:lnTo>
                <a:close/>
                <a:moveTo>
                  <a:pt x="604" y="724"/>
                </a:moveTo>
                <a:lnTo>
                  <a:pt x="608" y="724"/>
                </a:lnTo>
                <a:lnTo>
                  <a:pt x="604" y="724"/>
                </a:lnTo>
                <a:lnTo>
                  <a:pt x="604" y="724"/>
                </a:lnTo>
                <a:lnTo>
                  <a:pt x="604" y="724"/>
                </a:lnTo>
                <a:close/>
                <a:moveTo>
                  <a:pt x="600" y="724"/>
                </a:moveTo>
                <a:lnTo>
                  <a:pt x="600" y="728"/>
                </a:lnTo>
                <a:lnTo>
                  <a:pt x="596" y="724"/>
                </a:lnTo>
                <a:lnTo>
                  <a:pt x="600" y="724"/>
                </a:lnTo>
                <a:lnTo>
                  <a:pt x="600" y="724"/>
                </a:lnTo>
                <a:lnTo>
                  <a:pt x="600" y="724"/>
                </a:lnTo>
                <a:close/>
                <a:moveTo>
                  <a:pt x="590" y="732"/>
                </a:moveTo>
                <a:lnTo>
                  <a:pt x="592" y="732"/>
                </a:lnTo>
                <a:lnTo>
                  <a:pt x="590" y="732"/>
                </a:lnTo>
                <a:lnTo>
                  <a:pt x="590" y="732"/>
                </a:lnTo>
                <a:lnTo>
                  <a:pt x="590" y="732"/>
                </a:lnTo>
                <a:close/>
                <a:moveTo>
                  <a:pt x="592" y="736"/>
                </a:moveTo>
                <a:lnTo>
                  <a:pt x="592" y="732"/>
                </a:lnTo>
                <a:lnTo>
                  <a:pt x="596" y="736"/>
                </a:lnTo>
                <a:lnTo>
                  <a:pt x="592" y="736"/>
                </a:lnTo>
                <a:lnTo>
                  <a:pt x="592" y="736"/>
                </a:lnTo>
                <a:lnTo>
                  <a:pt x="592" y="736"/>
                </a:lnTo>
                <a:close/>
                <a:moveTo>
                  <a:pt x="590" y="738"/>
                </a:moveTo>
                <a:lnTo>
                  <a:pt x="592" y="738"/>
                </a:lnTo>
                <a:lnTo>
                  <a:pt x="592" y="736"/>
                </a:lnTo>
                <a:lnTo>
                  <a:pt x="592" y="738"/>
                </a:lnTo>
                <a:lnTo>
                  <a:pt x="590" y="738"/>
                </a:lnTo>
                <a:lnTo>
                  <a:pt x="590" y="738"/>
                </a:lnTo>
                <a:lnTo>
                  <a:pt x="590" y="738"/>
                </a:lnTo>
                <a:close/>
                <a:moveTo>
                  <a:pt x="596" y="738"/>
                </a:moveTo>
                <a:lnTo>
                  <a:pt x="592" y="738"/>
                </a:lnTo>
                <a:lnTo>
                  <a:pt x="596" y="738"/>
                </a:lnTo>
                <a:lnTo>
                  <a:pt x="596" y="738"/>
                </a:lnTo>
                <a:lnTo>
                  <a:pt x="596" y="738"/>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85" name="Freeform 192"/>
          <p:cNvSpPr>
            <a:spLocks noEditPoints="1"/>
          </p:cNvSpPr>
          <p:nvPr/>
        </p:nvSpPr>
        <p:spPr bwMode="auto">
          <a:xfrm>
            <a:off x="6631781" y="3729037"/>
            <a:ext cx="252413" cy="207169"/>
          </a:xfrm>
          <a:custGeom>
            <a:avLst/>
            <a:gdLst>
              <a:gd name="T0" fmla="*/ 88 w 212"/>
              <a:gd name="T1" fmla="*/ 6 h 174"/>
              <a:gd name="T2" fmla="*/ 78 w 212"/>
              <a:gd name="T3" fmla="*/ 14 h 174"/>
              <a:gd name="T4" fmla="*/ 134 w 212"/>
              <a:gd name="T5" fmla="*/ 22 h 174"/>
              <a:gd name="T6" fmla="*/ 134 w 212"/>
              <a:gd name="T7" fmla="*/ 22 h 174"/>
              <a:gd name="T8" fmla="*/ 166 w 212"/>
              <a:gd name="T9" fmla="*/ 58 h 174"/>
              <a:gd name="T10" fmla="*/ 156 w 212"/>
              <a:gd name="T11" fmla="*/ 32 h 174"/>
              <a:gd name="T12" fmla="*/ 138 w 212"/>
              <a:gd name="T13" fmla="*/ 22 h 174"/>
              <a:gd name="T14" fmla="*/ 152 w 212"/>
              <a:gd name="T15" fmla="*/ 28 h 174"/>
              <a:gd name="T16" fmla="*/ 164 w 212"/>
              <a:gd name="T17" fmla="*/ 40 h 174"/>
              <a:gd name="T18" fmla="*/ 58 w 212"/>
              <a:gd name="T19" fmla="*/ 110 h 174"/>
              <a:gd name="T20" fmla="*/ 48 w 212"/>
              <a:gd name="T21" fmla="*/ 106 h 174"/>
              <a:gd name="T22" fmla="*/ 40 w 212"/>
              <a:gd name="T23" fmla="*/ 110 h 174"/>
              <a:gd name="T24" fmla="*/ 26 w 212"/>
              <a:gd name="T25" fmla="*/ 114 h 174"/>
              <a:gd name="T26" fmla="*/ 22 w 212"/>
              <a:gd name="T27" fmla="*/ 118 h 174"/>
              <a:gd name="T28" fmla="*/ 26 w 212"/>
              <a:gd name="T29" fmla="*/ 132 h 174"/>
              <a:gd name="T30" fmla="*/ 0 w 212"/>
              <a:gd name="T31" fmla="*/ 132 h 174"/>
              <a:gd name="T32" fmla="*/ 4 w 212"/>
              <a:gd name="T33" fmla="*/ 18 h 174"/>
              <a:gd name="T34" fmla="*/ 26 w 212"/>
              <a:gd name="T35" fmla="*/ 32 h 174"/>
              <a:gd name="T36" fmla="*/ 48 w 212"/>
              <a:gd name="T37" fmla="*/ 40 h 174"/>
              <a:gd name="T38" fmla="*/ 66 w 212"/>
              <a:gd name="T39" fmla="*/ 54 h 174"/>
              <a:gd name="T40" fmla="*/ 78 w 212"/>
              <a:gd name="T41" fmla="*/ 72 h 174"/>
              <a:gd name="T42" fmla="*/ 96 w 212"/>
              <a:gd name="T43" fmla="*/ 84 h 174"/>
              <a:gd name="T44" fmla="*/ 88 w 212"/>
              <a:gd name="T45" fmla="*/ 102 h 174"/>
              <a:gd name="T46" fmla="*/ 100 w 212"/>
              <a:gd name="T47" fmla="*/ 118 h 174"/>
              <a:gd name="T48" fmla="*/ 118 w 212"/>
              <a:gd name="T49" fmla="*/ 128 h 174"/>
              <a:gd name="T50" fmla="*/ 122 w 212"/>
              <a:gd name="T51" fmla="*/ 140 h 174"/>
              <a:gd name="T52" fmla="*/ 140 w 212"/>
              <a:gd name="T53" fmla="*/ 148 h 174"/>
              <a:gd name="T54" fmla="*/ 130 w 212"/>
              <a:gd name="T55" fmla="*/ 158 h 174"/>
              <a:gd name="T56" fmla="*/ 114 w 212"/>
              <a:gd name="T57" fmla="*/ 152 h 174"/>
              <a:gd name="T58" fmla="*/ 88 w 212"/>
              <a:gd name="T59" fmla="*/ 140 h 174"/>
              <a:gd name="T60" fmla="*/ 78 w 212"/>
              <a:gd name="T61" fmla="*/ 128 h 174"/>
              <a:gd name="T62" fmla="*/ 138 w 212"/>
              <a:gd name="T63" fmla="*/ 26 h 174"/>
              <a:gd name="T64" fmla="*/ 114 w 212"/>
              <a:gd name="T65" fmla="*/ 70 h 174"/>
              <a:gd name="T66" fmla="*/ 126 w 212"/>
              <a:gd name="T67" fmla="*/ 62 h 174"/>
              <a:gd name="T68" fmla="*/ 140 w 212"/>
              <a:gd name="T69" fmla="*/ 66 h 174"/>
              <a:gd name="T70" fmla="*/ 152 w 212"/>
              <a:gd name="T71" fmla="*/ 46 h 174"/>
              <a:gd name="T72" fmla="*/ 156 w 212"/>
              <a:gd name="T73" fmla="*/ 58 h 174"/>
              <a:gd name="T74" fmla="*/ 144 w 212"/>
              <a:gd name="T75" fmla="*/ 76 h 174"/>
              <a:gd name="T76" fmla="*/ 118 w 212"/>
              <a:gd name="T77" fmla="*/ 80 h 174"/>
              <a:gd name="T78" fmla="*/ 104 w 212"/>
              <a:gd name="T79" fmla="*/ 70 h 174"/>
              <a:gd name="T80" fmla="*/ 70 w 212"/>
              <a:gd name="T81" fmla="*/ 54 h 174"/>
              <a:gd name="T82" fmla="*/ 194 w 212"/>
              <a:gd name="T83" fmla="*/ 62 h 174"/>
              <a:gd name="T84" fmla="*/ 84 w 212"/>
              <a:gd name="T85" fmla="*/ 62 h 174"/>
              <a:gd name="T86" fmla="*/ 208 w 212"/>
              <a:gd name="T87" fmla="*/ 84 h 174"/>
              <a:gd name="T88" fmla="*/ 200 w 212"/>
              <a:gd name="T89" fmla="*/ 80 h 174"/>
              <a:gd name="T90" fmla="*/ 204 w 212"/>
              <a:gd name="T91" fmla="*/ 76 h 174"/>
              <a:gd name="T92" fmla="*/ 100 w 212"/>
              <a:gd name="T93" fmla="*/ 72 h 174"/>
              <a:gd name="T94" fmla="*/ 36 w 212"/>
              <a:gd name="T95" fmla="*/ 122 h 174"/>
              <a:gd name="T96" fmla="*/ 36 w 212"/>
              <a:gd name="T97" fmla="*/ 126 h 174"/>
              <a:gd name="T98" fmla="*/ 144 w 212"/>
              <a:gd name="T99" fmla="*/ 126 h 174"/>
              <a:gd name="T100" fmla="*/ 166 w 212"/>
              <a:gd name="T101" fmla="*/ 132 h 174"/>
              <a:gd name="T102" fmla="*/ 34 w 212"/>
              <a:gd name="T103" fmla="*/ 128 h 174"/>
              <a:gd name="T104" fmla="*/ 134 w 212"/>
              <a:gd name="T105" fmla="*/ 140 h 174"/>
              <a:gd name="T106" fmla="*/ 138 w 212"/>
              <a:gd name="T107" fmla="*/ 140 h 174"/>
              <a:gd name="T108" fmla="*/ 140 w 212"/>
              <a:gd name="T109" fmla="*/ 148 h 174"/>
              <a:gd name="T110" fmla="*/ 140 w 212"/>
              <a:gd name="T111" fmla="*/ 156 h 174"/>
              <a:gd name="T112" fmla="*/ 166 w 212"/>
              <a:gd name="T113" fmla="*/ 158 h 174"/>
              <a:gd name="T114" fmla="*/ 186 w 212"/>
              <a:gd name="T115" fmla="*/ 170 h 174"/>
              <a:gd name="T116" fmla="*/ 178 w 212"/>
              <a:gd name="T117" fmla="*/ 17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2" h="174">
                <a:moveTo>
                  <a:pt x="122" y="2"/>
                </a:moveTo>
                <a:lnTo>
                  <a:pt x="122" y="0"/>
                </a:lnTo>
                <a:lnTo>
                  <a:pt x="118" y="0"/>
                </a:lnTo>
                <a:lnTo>
                  <a:pt x="122" y="0"/>
                </a:lnTo>
                <a:lnTo>
                  <a:pt x="122" y="2"/>
                </a:lnTo>
                <a:lnTo>
                  <a:pt x="122" y="2"/>
                </a:lnTo>
                <a:lnTo>
                  <a:pt x="122" y="2"/>
                </a:lnTo>
                <a:close/>
                <a:moveTo>
                  <a:pt x="88" y="6"/>
                </a:moveTo>
                <a:lnTo>
                  <a:pt x="88" y="10"/>
                </a:lnTo>
                <a:lnTo>
                  <a:pt x="92" y="10"/>
                </a:lnTo>
                <a:lnTo>
                  <a:pt x="88" y="10"/>
                </a:lnTo>
                <a:lnTo>
                  <a:pt x="88" y="14"/>
                </a:lnTo>
                <a:lnTo>
                  <a:pt x="84" y="14"/>
                </a:lnTo>
                <a:lnTo>
                  <a:pt x="80" y="14"/>
                </a:lnTo>
                <a:lnTo>
                  <a:pt x="80" y="10"/>
                </a:lnTo>
                <a:lnTo>
                  <a:pt x="78" y="14"/>
                </a:lnTo>
                <a:lnTo>
                  <a:pt x="78" y="10"/>
                </a:lnTo>
                <a:lnTo>
                  <a:pt x="80" y="6"/>
                </a:lnTo>
                <a:lnTo>
                  <a:pt x="84" y="10"/>
                </a:lnTo>
                <a:lnTo>
                  <a:pt x="88" y="10"/>
                </a:lnTo>
                <a:lnTo>
                  <a:pt x="88" y="6"/>
                </a:lnTo>
                <a:lnTo>
                  <a:pt x="88" y="6"/>
                </a:lnTo>
                <a:lnTo>
                  <a:pt x="88" y="6"/>
                </a:lnTo>
                <a:close/>
                <a:moveTo>
                  <a:pt x="134" y="22"/>
                </a:moveTo>
                <a:lnTo>
                  <a:pt x="130" y="22"/>
                </a:lnTo>
                <a:lnTo>
                  <a:pt x="126" y="18"/>
                </a:lnTo>
                <a:lnTo>
                  <a:pt x="130" y="18"/>
                </a:lnTo>
                <a:lnTo>
                  <a:pt x="130" y="14"/>
                </a:lnTo>
                <a:lnTo>
                  <a:pt x="134" y="18"/>
                </a:lnTo>
                <a:lnTo>
                  <a:pt x="134" y="22"/>
                </a:lnTo>
                <a:lnTo>
                  <a:pt x="134" y="22"/>
                </a:lnTo>
                <a:lnTo>
                  <a:pt x="134" y="22"/>
                </a:lnTo>
                <a:close/>
                <a:moveTo>
                  <a:pt x="164" y="40"/>
                </a:moveTo>
                <a:lnTo>
                  <a:pt x="166" y="40"/>
                </a:lnTo>
                <a:lnTo>
                  <a:pt x="166" y="44"/>
                </a:lnTo>
                <a:lnTo>
                  <a:pt x="170" y="44"/>
                </a:lnTo>
                <a:lnTo>
                  <a:pt x="170" y="46"/>
                </a:lnTo>
                <a:lnTo>
                  <a:pt x="170" y="50"/>
                </a:lnTo>
                <a:lnTo>
                  <a:pt x="170" y="54"/>
                </a:lnTo>
                <a:lnTo>
                  <a:pt x="166" y="58"/>
                </a:lnTo>
                <a:lnTo>
                  <a:pt x="166" y="54"/>
                </a:lnTo>
                <a:lnTo>
                  <a:pt x="164" y="50"/>
                </a:lnTo>
                <a:lnTo>
                  <a:pt x="164" y="46"/>
                </a:lnTo>
                <a:lnTo>
                  <a:pt x="164" y="44"/>
                </a:lnTo>
                <a:lnTo>
                  <a:pt x="164" y="40"/>
                </a:lnTo>
                <a:lnTo>
                  <a:pt x="160" y="40"/>
                </a:lnTo>
                <a:lnTo>
                  <a:pt x="160" y="36"/>
                </a:lnTo>
                <a:lnTo>
                  <a:pt x="156" y="32"/>
                </a:lnTo>
                <a:lnTo>
                  <a:pt x="152" y="32"/>
                </a:lnTo>
                <a:lnTo>
                  <a:pt x="152" y="28"/>
                </a:lnTo>
                <a:lnTo>
                  <a:pt x="148" y="28"/>
                </a:lnTo>
                <a:lnTo>
                  <a:pt x="148" y="26"/>
                </a:lnTo>
                <a:lnTo>
                  <a:pt x="144" y="26"/>
                </a:lnTo>
                <a:lnTo>
                  <a:pt x="140" y="26"/>
                </a:lnTo>
                <a:lnTo>
                  <a:pt x="140" y="22"/>
                </a:lnTo>
                <a:lnTo>
                  <a:pt x="138" y="22"/>
                </a:lnTo>
                <a:lnTo>
                  <a:pt x="140" y="22"/>
                </a:lnTo>
                <a:lnTo>
                  <a:pt x="138" y="22"/>
                </a:lnTo>
                <a:lnTo>
                  <a:pt x="138" y="18"/>
                </a:lnTo>
                <a:lnTo>
                  <a:pt x="140" y="22"/>
                </a:lnTo>
                <a:lnTo>
                  <a:pt x="144" y="22"/>
                </a:lnTo>
                <a:lnTo>
                  <a:pt x="144" y="26"/>
                </a:lnTo>
                <a:lnTo>
                  <a:pt x="148" y="26"/>
                </a:lnTo>
                <a:lnTo>
                  <a:pt x="152" y="28"/>
                </a:lnTo>
                <a:lnTo>
                  <a:pt x="156" y="28"/>
                </a:lnTo>
                <a:lnTo>
                  <a:pt x="156" y="32"/>
                </a:lnTo>
                <a:lnTo>
                  <a:pt x="160" y="32"/>
                </a:lnTo>
                <a:lnTo>
                  <a:pt x="160" y="36"/>
                </a:lnTo>
                <a:lnTo>
                  <a:pt x="164" y="36"/>
                </a:lnTo>
                <a:lnTo>
                  <a:pt x="164" y="40"/>
                </a:lnTo>
                <a:lnTo>
                  <a:pt x="164" y="40"/>
                </a:lnTo>
                <a:lnTo>
                  <a:pt x="164" y="40"/>
                </a:lnTo>
                <a:close/>
                <a:moveTo>
                  <a:pt x="74" y="122"/>
                </a:moveTo>
                <a:lnTo>
                  <a:pt x="74" y="118"/>
                </a:lnTo>
                <a:lnTo>
                  <a:pt x="74" y="114"/>
                </a:lnTo>
                <a:lnTo>
                  <a:pt x="70" y="114"/>
                </a:lnTo>
                <a:lnTo>
                  <a:pt x="70" y="110"/>
                </a:lnTo>
                <a:lnTo>
                  <a:pt x="66" y="110"/>
                </a:lnTo>
                <a:lnTo>
                  <a:pt x="62" y="110"/>
                </a:lnTo>
                <a:lnTo>
                  <a:pt x="58" y="110"/>
                </a:lnTo>
                <a:lnTo>
                  <a:pt x="58" y="106"/>
                </a:lnTo>
                <a:lnTo>
                  <a:pt x="54" y="106"/>
                </a:lnTo>
                <a:lnTo>
                  <a:pt x="54" y="102"/>
                </a:lnTo>
                <a:lnTo>
                  <a:pt x="54" y="106"/>
                </a:lnTo>
                <a:lnTo>
                  <a:pt x="52" y="106"/>
                </a:lnTo>
                <a:lnTo>
                  <a:pt x="52" y="102"/>
                </a:lnTo>
                <a:lnTo>
                  <a:pt x="48" y="102"/>
                </a:lnTo>
                <a:lnTo>
                  <a:pt x="48" y="106"/>
                </a:lnTo>
                <a:lnTo>
                  <a:pt x="48" y="102"/>
                </a:lnTo>
                <a:lnTo>
                  <a:pt x="44" y="106"/>
                </a:lnTo>
                <a:lnTo>
                  <a:pt x="40" y="106"/>
                </a:lnTo>
                <a:lnTo>
                  <a:pt x="40" y="102"/>
                </a:lnTo>
                <a:lnTo>
                  <a:pt x="36" y="102"/>
                </a:lnTo>
                <a:lnTo>
                  <a:pt x="40" y="102"/>
                </a:lnTo>
                <a:lnTo>
                  <a:pt x="40" y="106"/>
                </a:lnTo>
                <a:lnTo>
                  <a:pt x="40" y="110"/>
                </a:lnTo>
                <a:lnTo>
                  <a:pt x="36" y="110"/>
                </a:lnTo>
                <a:lnTo>
                  <a:pt x="34" y="110"/>
                </a:lnTo>
                <a:lnTo>
                  <a:pt x="36" y="110"/>
                </a:lnTo>
                <a:lnTo>
                  <a:pt x="36" y="114"/>
                </a:lnTo>
                <a:lnTo>
                  <a:pt x="34" y="114"/>
                </a:lnTo>
                <a:lnTo>
                  <a:pt x="30" y="118"/>
                </a:lnTo>
                <a:lnTo>
                  <a:pt x="26" y="118"/>
                </a:lnTo>
                <a:lnTo>
                  <a:pt x="26" y="114"/>
                </a:lnTo>
                <a:lnTo>
                  <a:pt x="22" y="114"/>
                </a:lnTo>
                <a:lnTo>
                  <a:pt x="22" y="118"/>
                </a:lnTo>
                <a:lnTo>
                  <a:pt x="18" y="118"/>
                </a:lnTo>
                <a:lnTo>
                  <a:pt x="18" y="114"/>
                </a:lnTo>
                <a:lnTo>
                  <a:pt x="14" y="114"/>
                </a:lnTo>
                <a:lnTo>
                  <a:pt x="18" y="114"/>
                </a:lnTo>
                <a:lnTo>
                  <a:pt x="18" y="118"/>
                </a:lnTo>
                <a:lnTo>
                  <a:pt x="22" y="118"/>
                </a:lnTo>
                <a:lnTo>
                  <a:pt x="26" y="118"/>
                </a:lnTo>
                <a:lnTo>
                  <a:pt x="30" y="118"/>
                </a:lnTo>
                <a:lnTo>
                  <a:pt x="30" y="122"/>
                </a:lnTo>
                <a:lnTo>
                  <a:pt x="34" y="122"/>
                </a:lnTo>
                <a:lnTo>
                  <a:pt x="34" y="126"/>
                </a:lnTo>
                <a:lnTo>
                  <a:pt x="34" y="128"/>
                </a:lnTo>
                <a:lnTo>
                  <a:pt x="30" y="128"/>
                </a:lnTo>
                <a:lnTo>
                  <a:pt x="26" y="132"/>
                </a:lnTo>
                <a:lnTo>
                  <a:pt x="22" y="132"/>
                </a:lnTo>
                <a:lnTo>
                  <a:pt x="18" y="132"/>
                </a:lnTo>
                <a:lnTo>
                  <a:pt x="14" y="132"/>
                </a:lnTo>
                <a:lnTo>
                  <a:pt x="10" y="132"/>
                </a:lnTo>
                <a:lnTo>
                  <a:pt x="8" y="132"/>
                </a:lnTo>
                <a:lnTo>
                  <a:pt x="8" y="128"/>
                </a:lnTo>
                <a:lnTo>
                  <a:pt x="4" y="132"/>
                </a:lnTo>
                <a:lnTo>
                  <a:pt x="0" y="132"/>
                </a:lnTo>
                <a:lnTo>
                  <a:pt x="0" y="128"/>
                </a:lnTo>
                <a:lnTo>
                  <a:pt x="0" y="92"/>
                </a:lnTo>
                <a:lnTo>
                  <a:pt x="0" y="88"/>
                </a:lnTo>
                <a:lnTo>
                  <a:pt x="0" y="84"/>
                </a:lnTo>
                <a:lnTo>
                  <a:pt x="0" y="76"/>
                </a:lnTo>
                <a:lnTo>
                  <a:pt x="0" y="58"/>
                </a:lnTo>
                <a:lnTo>
                  <a:pt x="0" y="18"/>
                </a:lnTo>
                <a:lnTo>
                  <a:pt x="4" y="18"/>
                </a:lnTo>
                <a:lnTo>
                  <a:pt x="4" y="22"/>
                </a:lnTo>
                <a:lnTo>
                  <a:pt x="8" y="22"/>
                </a:lnTo>
                <a:lnTo>
                  <a:pt x="10" y="26"/>
                </a:lnTo>
                <a:lnTo>
                  <a:pt x="14" y="26"/>
                </a:lnTo>
                <a:lnTo>
                  <a:pt x="14" y="28"/>
                </a:lnTo>
                <a:lnTo>
                  <a:pt x="18" y="28"/>
                </a:lnTo>
                <a:lnTo>
                  <a:pt x="22" y="28"/>
                </a:lnTo>
                <a:lnTo>
                  <a:pt x="26" y="32"/>
                </a:lnTo>
                <a:lnTo>
                  <a:pt x="30" y="32"/>
                </a:lnTo>
                <a:lnTo>
                  <a:pt x="34" y="32"/>
                </a:lnTo>
                <a:lnTo>
                  <a:pt x="36" y="32"/>
                </a:lnTo>
                <a:lnTo>
                  <a:pt x="36" y="36"/>
                </a:lnTo>
                <a:lnTo>
                  <a:pt x="40" y="36"/>
                </a:lnTo>
                <a:lnTo>
                  <a:pt x="40" y="40"/>
                </a:lnTo>
                <a:lnTo>
                  <a:pt x="44" y="40"/>
                </a:lnTo>
                <a:lnTo>
                  <a:pt x="48" y="40"/>
                </a:lnTo>
                <a:lnTo>
                  <a:pt x="52" y="40"/>
                </a:lnTo>
                <a:lnTo>
                  <a:pt x="52" y="44"/>
                </a:lnTo>
                <a:lnTo>
                  <a:pt x="54" y="44"/>
                </a:lnTo>
                <a:lnTo>
                  <a:pt x="54" y="46"/>
                </a:lnTo>
                <a:lnTo>
                  <a:pt x="58" y="50"/>
                </a:lnTo>
                <a:lnTo>
                  <a:pt x="62" y="50"/>
                </a:lnTo>
                <a:lnTo>
                  <a:pt x="62" y="54"/>
                </a:lnTo>
                <a:lnTo>
                  <a:pt x="66" y="54"/>
                </a:lnTo>
                <a:lnTo>
                  <a:pt x="66" y="58"/>
                </a:lnTo>
                <a:lnTo>
                  <a:pt x="66" y="62"/>
                </a:lnTo>
                <a:lnTo>
                  <a:pt x="66" y="66"/>
                </a:lnTo>
                <a:lnTo>
                  <a:pt x="66" y="70"/>
                </a:lnTo>
                <a:lnTo>
                  <a:pt x="70" y="70"/>
                </a:lnTo>
                <a:lnTo>
                  <a:pt x="74" y="70"/>
                </a:lnTo>
                <a:lnTo>
                  <a:pt x="78" y="70"/>
                </a:lnTo>
                <a:lnTo>
                  <a:pt x="78" y="72"/>
                </a:lnTo>
                <a:lnTo>
                  <a:pt x="80" y="72"/>
                </a:lnTo>
                <a:lnTo>
                  <a:pt x="84" y="72"/>
                </a:lnTo>
                <a:lnTo>
                  <a:pt x="84" y="76"/>
                </a:lnTo>
                <a:lnTo>
                  <a:pt x="88" y="76"/>
                </a:lnTo>
                <a:lnTo>
                  <a:pt x="92" y="76"/>
                </a:lnTo>
                <a:lnTo>
                  <a:pt x="92" y="80"/>
                </a:lnTo>
                <a:lnTo>
                  <a:pt x="96" y="80"/>
                </a:lnTo>
                <a:lnTo>
                  <a:pt x="96" y="84"/>
                </a:lnTo>
                <a:lnTo>
                  <a:pt x="96" y="88"/>
                </a:lnTo>
                <a:lnTo>
                  <a:pt x="92" y="88"/>
                </a:lnTo>
                <a:lnTo>
                  <a:pt x="88" y="88"/>
                </a:lnTo>
                <a:lnTo>
                  <a:pt x="84" y="88"/>
                </a:lnTo>
                <a:lnTo>
                  <a:pt x="84" y="92"/>
                </a:lnTo>
                <a:lnTo>
                  <a:pt x="84" y="96"/>
                </a:lnTo>
                <a:lnTo>
                  <a:pt x="84" y="100"/>
                </a:lnTo>
                <a:lnTo>
                  <a:pt x="88" y="102"/>
                </a:lnTo>
                <a:lnTo>
                  <a:pt x="92" y="102"/>
                </a:lnTo>
                <a:lnTo>
                  <a:pt x="92" y="106"/>
                </a:lnTo>
                <a:lnTo>
                  <a:pt x="96" y="110"/>
                </a:lnTo>
                <a:lnTo>
                  <a:pt x="100" y="110"/>
                </a:lnTo>
                <a:lnTo>
                  <a:pt x="100" y="114"/>
                </a:lnTo>
                <a:lnTo>
                  <a:pt x="100" y="110"/>
                </a:lnTo>
                <a:lnTo>
                  <a:pt x="100" y="114"/>
                </a:lnTo>
                <a:lnTo>
                  <a:pt x="100" y="118"/>
                </a:lnTo>
                <a:lnTo>
                  <a:pt x="100" y="122"/>
                </a:lnTo>
                <a:lnTo>
                  <a:pt x="104" y="122"/>
                </a:lnTo>
                <a:lnTo>
                  <a:pt x="104" y="126"/>
                </a:lnTo>
                <a:lnTo>
                  <a:pt x="108" y="126"/>
                </a:lnTo>
                <a:lnTo>
                  <a:pt x="108" y="128"/>
                </a:lnTo>
                <a:lnTo>
                  <a:pt x="110" y="128"/>
                </a:lnTo>
                <a:lnTo>
                  <a:pt x="114" y="128"/>
                </a:lnTo>
                <a:lnTo>
                  <a:pt x="118" y="128"/>
                </a:lnTo>
                <a:lnTo>
                  <a:pt x="118" y="132"/>
                </a:lnTo>
                <a:lnTo>
                  <a:pt x="114" y="132"/>
                </a:lnTo>
                <a:lnTo>
                  <a:pt x="114" y="136"/>
                </a:lnTo>
                <a:lnTo>
                  <a:pt x="118" y="136"/>
                </a:lnTo>
                <a:lnTo>
                  <a:pt x="118" y="140"/>
                </a:lnTo>
                <a:lnTo>
                  <a:pt x="122" y="140"/>
                </a:lnTo>
                <a:lnTo>
                  <a:pt x="126" y="140"/>
                </a:lnTo>
                <a:lnTo>
                  <a:pt x="122" y="140"/>
                </a:lnTo>
                <a:lnTo>
                  <a:pt x="122" y="144"/>
                </a:lnTo>
                <a:lnTo>
                  <a:pt x="126" y="148"/>
                </a:lnTo>
                <a:lnTo>
                  <a:pt x="130" y="148"/>
                </a:lnTo>
                <a:lnTo>
                  <a:pt x="134" y="148"/>
                </a:lnTo>
                <a:lnTo>
                  <a:pt x="134" y="152"/>
                </a:lnTo>
                <a:lnTo>
                  <a:pt x="138" y="152"/>
                </a:lnTo>
                <a:lnTo>
                  <a:pt x="138" y="148"/>
                </a:lnTo>
                <a:lnTo>
                  <a:pt x="140" y="148"/>
                </a:lnTo>
                <a:lnTo>
                  <a:pt x="140" y="152"/>
                </a:lnTo>
                <a:lnTo>
                  <a:pt x="138" y="152"/>
                </a:lnTo>
                <a:lnTo>
                  <a:pt x="134" y="152"/>
                </a:lnTo>
                <a:lnTo>
                  <a:pt x="134" y="156"/>
                </a:lnTo>
                <a:lnTo>
                  <a:pt x="138" y="156"/>
                </a:lnTo>
                <a:lnTo>
                  <a:pt x="134" y="156"/>
                </a:lnTo>
                <a:lnTo>
                  <a:pt x="134" y="158"/>
                </a:lnTo>
                <a:lnTo>
                  <a:pt x="130" y="158"/>
                </a:lnTo>
                <a:lnTo>
                  <a:pt x="130" y="156"/>
                </a:lnTo>
                <a:lnTo>
                  <a:pt x="126" y="156"/>
                </a:lnTo>
                <a:lnTo>
                  <a:pt x="130" y="156"/>
                </a:lnTo>
                <a:lnTo>
                  <a:pt x="126" y="156"/>
                </a:lnTo>
                <a:lnTo>
                  <a:pt x="126" y="152"/>
                </a:lnTo>
                <a:lnTo>
                  <a:pt x="122" y="152"/>
                </a:lnTo>
                <a:lnTo>
                  <a:pt x="118" y="152"/>
                </a:lnTo>
                <a:lnTo>
                  <a:pt x="114" y="152"/>
                </a:lnTo>
                <a:lnTo>
                  <a:pt x="110" y="152"/>
                </a:lnTo>
                <a:lnTo>
                  <a:pt x="108" y="148"/>
                </a:lnTo>
                <a:lnTo>
                  <a:pt x="104" y="148"/>
                </a:lnTo>
                <a:lnTo>
                  <a:pt x="100" y="148"/>
                </a:lnTo>
                <a:lnTo>
                  <a:pt x="96" y="148"/>
                </a:lnTo>
                <a:lnTo>
                  <a:pt x="92" y="144"/>
                </a:lnTo>
                <a:lnTo>
                  <a:pt x="92" y="140"/>
                </a:lnTo>
                <a:lnTo>
                  <a:pt x="88" y="140"/>
                </a:lnTo>
                <a:lnTo>
                  <a:pt x="88" y="136"/>
                </a:lnTo>
                <a:lnTo>
                  <a:pt x="84" y="136"/>
                </a:lnTo>
                <a:lnTo>
                  <a:pt x="84" y="132"/>
                </a:lnTo>
                <a:lnTo>
                  <a:pt x="80" y="132"/>
                </a:lnTo>
                <a:lnTo>
                  <a:pt x="80" y="128"/>
                </a:lnTo>
                <a:lnTo>
                  <a:pt x="84" y="128"/>
                </a:lnTo>
                <a:lnTo>
                  <a:pt x="80" y="128"/>
                </a:lnTo>
                <a:lnTo>
                  <a:pt x="78" y="128"/>
                </a:lnTo>
                <a:lnTo>
                  <a:pt x="78" y="126"/>
                </a:lnTo>
                <a:lnTo>
                  <a:pt x="78" y="122"/>
                </a:lnTo>
                <a:lnTo>
                  <a:pt x="74" y="122"/>
                </a:lnTo>
                <a:lnTo>
                  <a:pt x="74" y="122"/>
                </a:lnTo>
                <a:lnTo>
                  <a:pt x="74" y="122"/>
                </a:lnTo>
                <a:close/>
                <a:moveTo>
                  <a:pt x="138" y="26"/>
                </a:moveTo>
                <a:lnTo>
                  <a:pt x="140" y="26"/>
                </a:lnTo>
                <a:lnTo>
                  <a:pt x="138" y="26"/>
                </a:lnTo>
                <a:lnTo>
                  <a:pt x="138" y="26"/>
                </a:lnTo>
                <a:lnTo>
                  <a:pt x="138" y="26"/>
                </a:lnTo>
                <a:close/>
                <a:moveTo>
                  <a:pt x="164" y="28"/>
                </a:moveTo>
                <a:lnTo>
                  <a:pt x="164" y="26"/>
                </a:lnTo>
                <a:lnTo>
                  <a:pt x="164" y="28"/>
                </a:lnTo>
                <a:lnTo>
                  <a:pt x="164" y="28"/>
                </a:lnTo>
                <a:lnTo>
                  <a:pt x="164" y="28"/>
                </a:lnTo>
                <a:close/>
                <a:moveTo>
                  <a:pt x="114" y="70"/>
                </a:moveTo>
                <a:lnTo>
                  <a:pt x="118" y="70"/>
                </a:lnTo>
                <a:lnTo>
                  <a:pt x="122" y="70"/>
                </a:lnTo>
                <a:lnTo>
                  <a:pt x="126" y="70"/>
                </a:lnTo>
                <a:lnTo>
                  <a:pt x="126" y="66"/>
                </a:lnTo>
                <a:lnTo>
                  <a:pt x="126" y="62"/>
                </a:lnTo>
                <a:lnTo>
                  <a:pt x="130" y="58"/>
                </a:lnTo>
                <a:lnTo>
                  <a:pt x="130" y="62"/>
                </a:lnTo>
                <a:lnTo>
                  <a:pt x="126" y="62"/>
                </a:lnTo>
                <a:lnTo>
                  <a:pt x="126" y="66"/>
                </a:lnTo>
                <a:lnTo>
                  <a:pt x="130" y="70"/>
                </a:lnTo>
                <a:lnTo>
                  <a:pt x="134" y="70"/>
                </a:lnTo>
                <a:lnTo>
                  <a:pt x="134" y="66"/>
                </a:lnTo>
                <a:lnTo>
                  <a:pt x="134" y="70"/>
                </a:lnTo>
                <a:lnTo>
                  <a:pt x="138" y="70"/>
                </a:lnTo>
                <a:lnTo>
                  <a:pt x="140" y="70"/>
                </a:lnTo>
                <a:lnTo>
                  <a:pt x="140" y="66"/>
                </a:lnTo>
                <a:lnTo>
                  <a:pt x="140" y="62"/>
                </a:lnTo>
                <a:lnTo>
                  <a:pt x="144" y="58"/>
                </a:lnTo>
                <a:lnTo>
                  <a:pt x="148" y="58"/>
                </a:lnTo>
                <a:lnTo>
                  <a:pt x="152" y="58"/>
                </a:lnTo>
                <a:lnTo>
                  <a:pt x="152" y="54"/>
                </a:lnTo>
                <a:lnTo>
                  <a:pt x="148" y="50"/>
                </a:lnTo>
                <a:lnTo>
                  <a:pt x="148" y="46"/>
                </a:lnTo>
                <a:lnTo>
                  <a:pt x="152" y="46"/>
                </a:lnTo>
                <a:lnTo>
                  <a:pt x="156" y="46"/>
                </a:lnTo>
                <a:lnTo>
                  <a:pt x="156" y="44"/>
                </a:lnTo>
                <a:lnTo>
                  <a:pt x="160" y="46"/>
                </a:lnTo>
                <a:lnTo>
                  <a:pt x="156" y="46"/>
                </a:lnTo>
                <a:lnTo>
                  <a:pt x="160" y="46"/>
                </a:lnTo>
                <a:lnTo>
                  <a:pt x="160" y="54"/>
                </a:lnTo>
                <a:lnTo>
                  <a:pt x="160" y="58"/>
                </a:lnTo>
                <a:lnTo>
                  <a:pt x="156" y="58"/>
                </a:lnTo>
                <a:lnTo>
                  <a:pt x="156" y="62"/>
                </a:lnTo>
                <a:lnTo>
                  <a:pt x="156" y="66"/>
                </a:lnTo>
                <a:lnTo>
                  <a:pt x="156" y="70"/>
                </a:lnTo>
                <a:lnTo>
                  <a:pt x="152" y="70"/>
                </a:lnTo>
                <a:lnTo>
                  <a:pt x="148" y="70"/>
                </a:lnTo>
                <a:lnTo>
                  <a:pt x="148" y="72"/>
                </a:lnTo>
                <a:lnTo>
                  <a:pt x="144" y="72"/>
                </a:lnTo>
                <a:lnTo>
                  <a:pt x="144" y="76"/>
                </a:lnTo>
                <a:lnTo>
                  <a:pt x="140" y="76"/>
                </a:lnTo>
                <a:lnTo>
                  <a:pt x="138" y="76"/>
                </a:lnTo>
                <a:lnTo>
                  <a:pt x="138" y="80"/>
                </a:lnTo>
                <a:lnTo>
                  <a:pt x="134" y="80"/>
                </a:lnTo>
                <a:lnTo>
                  <a:pt x="130" y="80"/>
                </a:lnTo>
                <a:lnTo>
                  <a:pt x="126" y="80"/>
                </a:lnTo>
                <a:lnTo>
                  <a:pt x="122" y="80"/>
                </a:lnTo>
                <a:lnTo>
                  <a:pt x="118" y="80"/>
                </a:lnTo>
                <a:lnTo>
                  <a:pt x="118" y="76"/>
                </a:lnTo>
                <a:lnTo>
                  <a:pt x="114" y="80"/>
                </a:lnTo>
                <a:lnTo>
                  <a:pt x="114" y="76"/>
                </a:lnTo>
                <a:lnTo>
                  <a:pt x="110" y="76"/>
                </a:lnTo>
                <a:lnTo>
                  <a:pt x="110" y="72"/>
                </a:lnTo>
                <a:lnTo>
                  <a:pt x="108" y="72"/>
                </a:lnTo>
                <a:lnTo>
                  <a:pt x="104" y="72"/>
                </a:lnTo>
                <a:lnTo>
                  <a:pt x="104" y="70"/>
                </a:lnTo>
                <a:lnTo>
                  <a:pt x="104" y="66"/>
                </a:lnTo>
                <a:lnTo>
                  <a:pt x="104" y="70"/>
                </a:lnTo>
                <a:lnTo>
                  <a:pt x="108" y="70"/>
                </a:lnTo>
                <a:lnTo>
                  <a:pt x="110" y="70"/>
                </a:lnTo>
                <a:lnTo>
                  <a:pt x="114" y="70"/>
                </a:lnTo>
                <a:lnTo>
                  <a:pt x="114" y="70"/>
                </a:lnTo>
                <a:lnTo>
                  <a:pt x="114" y="70"/>
                </a:lnTo>
                <a:close/>
                <a:moveTo>
                  <a:pt x="70" y="54"/>
                </a:moveTo>
                <a:lnTo>
                  <a:pt x="70" y="50"/>
                </a:lnTo>
                <a:lnTo>
                  <a:pt x="70" y="54"/>
                </a:lnTo>
                <a:lnTo>
                  <a:pt x="70" y="54"/>
                </a:lnTo>
                <a:lnTo>
                  <a:pt x="70" y="54"/>
                </a:lnTo>
                <a:close/>
                <a:moveTo>
                  <a:pt x="194" y="70"/>
                </a:moveTo>
                <a:lnTo>
                  <a:pt x="194" y="66"/>
                </a:lnTo>
                <a:lnTo>
                  <a:pt x="190" y="62"/>
                </a:lnTo>
                <a:lnTo>
                  <a:pt x="194" y="62"/>
                </a:lnTo>
                <a:lnTo>
                  <a:pt x="194" y="58"/>
                </a:lnTo>
                <a:lnTo>
                  <a:pt x="194" y="62"/>
                </a:lnTo>
                <a:lnTo>
                  <a:pt x="194" y="66"/>
                </a:lnTo>
                <a:lnTo>
                  <a:pt x="194" y="70"/>
                </a:lnTo>
                <a:lnTo>
                  <a:pt x="194" y="70"/>
                </a:lnTo>
                <a:lnTo>
                  <a:pt x="194" y="70"/>
                </a:lnTo>
                <a:close/>
                <a:moveTo>
                  <a:pt x="84" y="66"/>
                </a:moveTo>
                <a:lnTo>
                  <a:pt x="84" y="62"/>
                </a:lnTo>
                <a:lnTo>
                  <a:pt x="88" y="66"/>
                </a:lnTo>
                <a:lnTo>
                  <a:pt x="84" y="66"/>
                </a:lnTo>
                <a:lnTo>
                  <a:pt x="84" y="66"/>
                </a:lnTo>
                <a:lnTo>
                  <a:pt x="84" y="66"/>
                </a:lnTo>
                <a:close/>
                <a:moveTo>
                  <a:pt x="204" y="76"/>
                </a:moveTo>
                <a:lnTo>
                  <a:pt x="204" y="80"/>
                </a:lnTo>
                <a:lnTo>
                  <a:pt x="208" y="80"/>
                </a:lnTo>
                <a:lnTo>
                  <a:pt x="208" y="84"/>
                </a:lnTo>
                <a:lnTo>
                  <a:pt x="212" y="84"/>
                </a:lnTo>
                <a:lnTo>
                  <a:pt x="212" y="88"/>
                </a:lnTo>
                <a:lnTo>
                  <a:pt x="212" y="92"/>
                </a:lnTo>
                <a:lnTo>
                  <a:pt x="208" y="92"/>
                </a:lnTo>
                <a:lnTo>
                  <a:pt x="204" y="92"/>
                </a:lnTo>
                <a:lnTo>
                  <a:pt x="200" y="88"/>
                </a:lnTo>
                <a:lnTo>
                  <a:pt x="200" y="84"/>
                </a:lnTo>
                <a:lnTo>
                  <a:pt x="200" y="80"/>
                </a:lnTo>
                <a:lnTo>
                  <a:pt x="196" y="80"/>
                </a:lnTo>
                <a:lnTo>
                  <a:pt x="196" y="76"/>
                </a:lnTo>
                <a:lnTo>
                  <a:pt x="194" y="76"/>
                </a:lnTo>
                <a:lnTo>
                  <a:pt x="194" y="72"/>
                </a:lnTo>
                <a:lnTo>
                  <a:pt x="194" y="70"/>
                </a:lnTo>
                <a:lnTo>
                  <a:pt x="196" y="70"/>
                </a:lnTo>
                <a:lnTo>
                  <a:pt x="200" y="72"/>
                </a:lnTo>
                <a:lnTo>
                  <a:pt x="204" y="76"/>
                </a:lnTo>
                <a:lnTo>
                  <a:pt x="204" y="76"/>
                </a:lnTo>
                <a:lnTo>
                  <a:pt x="204" y="76"/>
                </a:lnTo>
                <a:close/>
                <a:moveTo>
                  <a:pt x="100" y="72"/>
                </a:moveTo>
                <a:lnTo>
                  <a:pt x="96" y="72"/>
                </a:lnTo>
                <a:lnTo>
                  <a:pt x="96" y="70"/>
                </a:lnTo>
                <a:lnTo>
                  <a:pt x="100" y="70"/>
                </a:lnTo>
                <a:lnTo>
                  <a:pt x="100" y="72"/>
                </a:lnTo>
                <a:lnTo>
                  <a:pt x="100" y="72"/>
                </a:lnTo>
                <a:lnTo>
                  <a:pt x="100" y="72"/>
                </a:lnTo>
                <a:close/>
                <a:moveTo>
                  <a:pt x="36" y="118"/>
                </a:moveTo>
                <a:lnTo>
                  <a:pt x="34" y="118"/>
                </a:lnTo>
                <a:lnTo>
                  <a:pt x="36" y="118"/>
                </a:lnTo>
                <a:lnTo>
                  <a:pt x="36" y="118"/>
                </a:lnTo>
                <a:lnTo>
                  <a:pt x="36" y="118"/>
                </a:lnTo>
                <a:close/>
                <a:moveTo>
                  <a:pt x="36" y="126"/>
                </a:moveTo>
                <a:lnTo>
                  <a:pt x="36" y="122"/>
                </a:lnTo>
                <a:lnTo>
                  <a:pt x="34" y="122"/>
                </a:lnTo>
                <a:lnTo>
                  <a:pt x="34" y="118"/>
                </a:lnTo>
                <a:lnTo>
                  <a:pt x="30" y="118"/>
                </a:lnTo>
                <a:lnTo>
                  <a:pt x="34" y="118"/>
                </a:lnTo>
                <a:lnTo>
                  <a:pt x="34" y="122"/>
                </a:lnTo>
                <a:lnTo>
                  <a:pt x="36" y="122"/>
                </a:lnTo>
                <a:lnTo>
                  <a:pt x="36" y="126"/>
                </a:lnTo>
                <a:lnTo>
                  <a:pt x="36" y="126"/>
                </a:lnTo>
                <a:lnTo>
                  <a:pt x="36" y="126"/>
                </a:lnTo>
                <a:close/>
                <a:moveTo>
                  <a:pt x="144" y="126"/>
                </a:moveTo>
                <a:lnTo>
                  <a:pt x="140" y="126"/>
                </a:lnTo>
                <a:lnTo>
                  <a:pt x="140" y="122"/>
                </a:lnTo>
                <a:lnTo>
                  <a:pt x="140" y="118"/>
                </a:lnTo>
                <a:lnTo>
                  <a:pt x="140" y="122"/>
                </a:lnTo>
                <a:lnTo>
                  <a:pt x="140" y="126"/>
                </a:lnTo>
                <a:lnTo>
                  <a:pt x="144" y="126"/>
                </a:lnTo>
                <a:lnTo>
                  <a:pt x="144" y="126"/>
                </a:lnTo>
                <a:lnTo>
                  <a:pt x="144" y="126"/>
                </a:lnTo>
                <a:close/>
                <a:moveTo>
                  <a:pt x="166" y="132"/>
                </a:moveTo>
                <a:lnTo>
                  <a:pt x="164" y="128"/>
                </a:lnTo>
                <a:lnTo>
                  <a:pt x="166" y="128"/>
                </a:lnTo>
                <a:lnTo>
                  <a:pt x="170" y="128"/>
                </a:lnTo>
                <a:lnTo>
                  <a:pt x="170" y="132"/>
                </a:lnTo>
                <a:lnTo>
                  <a:pt x="166" y="132"/>
                </a:lnTo>
                <a:lnTo>
                  <a:pt x="166" y="132"/>
                </a:lnTo>
                <a:lnTo>
                  <a:pt x="166" y="132"/>
                </a:lnTo>
                <a:close/>
                <a:moveTo>
                  <a:pt x="34" y="128"/>
                </a:moveTo>
                <a:lnTo>
                  <a:pt x="34" y="132"/>
                </a:lnTo>
                <a:lnTo>
                  <a:pt x="30" y="128"/>
                </a:lnTo>
                <a:lnTo>
                  <a:pt x="34" y="128"/>
                </a:lnTo>
                <a:lnTo>
                  <a:pt x="34" y="128"/>
                </a:lnTo>
                <a:lnTo>
                  <a:pt x="34" y="128"/>
                </a:lnTo>
                <a:close/>
                <a:moveTo>
                  <a:pt x="134" y="136"/>
                </a:moveTo>
                <a:lnTo>
                  <a:pt x="130" y="136"/>
                </a:lnTo>
                <a:lnTo>
                  <a:pt x="130" y="132"/>
                </a:lnTo>
                <a:lnTo>
                  <a:pt x="134" y="136"/>
                </a:lnTo>
                <a:lnTo>
                  <a:pt x="134" y="136"/>
                </a:lnTo>
                <a:lnTo>
                  <a:pt x="134" y="136"/>
                </a:lnTo>
                <a:close/>
                <a:moveTo>
                  <a:pt x="138" y="140"/>
                </a:moveTo>
                <a:lnTo>
                  <a:pt x="134" y="140"/>
                </a:lnTo>
                <a:lnTo>
                  <a:pt x="134" y="136"/>
                </a:lnTo>
                <a:lnTo>
                  <a:pt x="134" y="132"/>
                </a:lnTo>
                <a:lnTo>
                  <a:pt x="134" y="136"/>
                </a:lnTo>
                <a:lnTo>
                  <a:pt x="138" y="136"/>
                </a:lnTo>
                <a:lnTo>
                  <a:pt x="140" y="136"/>
                </a:lnTo>
                <a:lnTo>
                  <a:pt x="140" y="140"/>
                </a:lnTo>
                <a:lnTo>
                  <a:pt x="138" y="140"/>
                </a:lnTo>
                <a:lnTo>
                  <a:pt x="138" y="140"/>
                </a:lnTo>
                <a:lnTo>
                  <a:pt x="138" y="140"/>
                </a:lnTo>
                <a:close/>
                <a:moveTo>
                  <a:pt x="144" y="148"/>
                </a:moveTo>
                <a:lnTo>
                  <a:pt x="140" y="148"/>
                </a:lnTo>
                <a:lnTo>
                  <a:pt x="140" y="144"/>
                </a:lnTo>
                <a:lnTo>
                  <a:pt x="138" y="144"/>
                </a:lnTo>
                <a:lnTo>
                  <a:pt x="138" y="140"/>
                </a:lnTo>
                <a:lnTo>
                  <a:pt x="140" y="144"/>
                </a:lnTo>
                <a:lnTo>
                  <a:pt x="140" y="148"/>
                </a:lnTo>
                <a:lnTo>
                  <a:pt x="144" y="148"/>
                </a:lnTo>
                <a:lnTo>
                  <a:pt x="144" y="144"/>
                </a:lnTo>
                <a:lnTo>
                  <a:pt x="144" y="148"/>
                </a:lnTo>
                <a:lnTo>
                  <a:pt x="144" y="148"/>
                </a:lnTo>
                <a:lnTo>
                  <a:pt x="144" y="148"/>
                </a:lnTo>
                <a:close/>
                <a:moveTo>
                  <a:pt x="140" y="156"/>
                </a:moveTo>
                <a:lnTo>
                  <a:pt x="138" y="156"/>
                </a:lnTo>
                <a:lnTo>
                  <a:pt x="140" y="156"/>
                </a:lnTo>
                <a:lnTo>
                  <a:pt x="140" y="156"/>
                </a:lnTo>
                <a:lnTo>
                  <a:pt x="140" y="156"/>
                </a:lnTo>
                <a:close/>
                <a:moveTo>
                  <a:pt x="166" y="158"/>
                </a:moveTo>
                <a:lnTo>
                  <a:pt x="164" y="158"/>
                </a:lnTo>
                <a:lnTo>
                  <a:pt x="164" y="156"/>
                </a:lnTo>
                <a:lnTo>
                  <a:pt x="166" y="156"/>
                </a:lnTo>
                <a:lnTo>
                  <a:pt x="166" y="158"/>
                </a:lnTo>
                <a:lnTo>
                  <a:pt x="166" y="158"/>
                </a:lnTo>
                <a:lnTo>
                  <a:pt x="166" y="158"/>
                </a:lnTo>
                <a:close/>
                <a:moveTo>
                  <a:pt x="186" y="170"/>
                </a:moveTo>
                <a:lnTo>
                  <a:pt x="182" y="170"/>
                </a:lnTo>
                <a:lnTo>
                  <a:pt x="186" y="170"/>
                </a:lnTo>
                <a:lnTo>
                  <a:pt x="186" y="166"/>
                </a:lnTo>
                <a:lnTo>
                  <a:pt x="186" y="170"/>
                </a:lnTo>
                <a:lnTo>
                  <a:pt x="190" y="170"/>
                </a:lnTo>
                <a:lnTo>
                  <a:pt x="186" y="170"/>
                </a:lnTo>
                <a:lnTo>
                  <a:pt x="186" y="170"/>
                </a:lnTo>
                <a:lnTo>
                  <a:pt x="186" y="170"/>
                </a:lnTo>
                <a:close/>
                <a:moveTo>
                  <a:pt x="178" y="174"/>
                </a:moveTo>
                <a:lnTo>
                  <a:pt x="174" y="174"/>
                </a:lnTo>
                <a:lnTo>
                  <a:pt x="174" y="170"/>
                </a:lnTo>
                <a:lnTo>
                  <a:pt x="170" y="170"/>
                </a:lnTo>
                <a:lnTo>
                  <a:pt x="174" y="170"/>
                </a:lnTo>
                <a:lnTo>
                  <a:pt x="178" y="170"/>
                </a:lnTo>
                <a:lnTo>
                  <a:pt x="178" y="174"/>
                </a:lnTo>
                <a:lnTo>
                  <a:pt x="182" y="174"/>
                </a:lnTo>
                <a:lnTo>
                  <a:pt x="178" y="174"/>
                </a:lnTo>
                <a:lnTo>
                  <a:pt x="178" y="174"/>
                </a:lnTo>
                <a:lnTo>
                  <a:pt x="178" y="174"/>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86" name="Freeform 193"/>
          <p:cNvSpPr>
            <a:spLocks noEditPoints="1"/>
          </p:cNvSpPr>
          <p:nvPr/>
        </p:nvSpPr>
        <p:spPr bwMode="auto">
          <a:xfrm>
            <a:off x="3729037" y="2797968"/>
            <a:ext cx="426244" cy="219075"/>
          </a:xfrm>
          <a:custGeom>
            <a:avLst/>
            <a:gdLst>
              <a:gd name="T0" fmla="*/ 320 w 358"/>
              <a:gd name="T1" fmla="*/ 16 h 184"/>
              <a:gd name="T2" fmla="*/ 320 w 358"/>
              <a:gd name="T3" fmla="*/ 8 h 184"/>
              <a:gd name="T4" fmla="*/ 324 w 358"/>
              <a:gd name="T5" fmla="*/ 0 h 184"/>
              <a:gd name="T6" fmla="*/ 328 w 358"/>
              <a:gd name="T7" fmla="*/ 8 h 184"/>
              <a:gd name="T8" fmla="*/ 340 w 358"/>
              <a:gd name="T9" fmla="*/ 8 h 184"/>
              <a:gd name="T10" fmla="*/ 348 w 358"/>
              <a:gd name="T11" fmla="*/ 4 h 184"/>
              <a:gd name="T12" fmla="*/ 350 w 358"/>
              <a:gd name="T13" fmla="*/ 12 h 184"/>
              <a:gd name="T14" fmla="*/ 354 w 358"/>
              <a:gd name="T15" fmla="*/ 12 h 184"/>
              <a:gd name="T16" fmla="*/ 350 w 358"/>
              <a:gd name="T17" fmla="*/ 20 h 184"/>
              <a:gd name="T18" fmla="*/ 348 w 358"/>
              <a:gd name="T19" fmla="*/ 30 h 184"/>
              <a:gd name="T20" fmla="*/ 344 w 358"/>
              <a:gd name="T21" fmla="*/ 38 h 184"/>
              <a:gd name="T22" fmla="*/ 344 w 358"/>
              <a:gd name="T23" fmla="*/ 50 h 184"/>
              <a:gd name="T24" fmla="*/ 340 w 358"/>
              <a:gd name="T25" fmla="*/ 54 h 184"/>
              <a:gd name="T26" fmla="*/ 348 w 358"/>
              <a:gd name="T27" fmla="*/ 60 h 184"/>
              <a:gd name="T28" fmla="*/ 340 w 358"/>
              <a:gd name="T29" fmla="*/ 68 h 184"/>
              <a:gd name="T30" fmla="*/ 344 w 358"/>
              <a:gd name="T31" fmla="*/ 76 h 184"/>
              <a:gd name="T32" fmla="*/ 344 w 358"/>
              <a:gd name="T33" fmla="*/ 82 h 184"/>
              <a:gd name="T34" fmla="*/ 336 w 358"/>
              <a:gd name="T35" fmla="*/ 90 h 184"/>
              <a:gd name="T36" fmla="*/ 340 w 358"/>
              <a:gd name="T37" fmla="*/ 98 h 184"/>
              <a:gd name="T38" fmla="*/ 332 w 358"/>
              <a:gd name="T39" fmla="*/ 102 h 184"/>
              <a:gd name="T40" fmla="*/ 324 w 358"/>
              <a:gd name="T41" fmla="*/ 98 h 184"/>
              <a:gd name="T42" fmla="*/ 318 w 358"/>
              <a:gd name="T43" fmla="*/ 102 h 184"/>
              <a:gd name="T44" fmla="*/ 320 w 358"/>
              <a:gd name="T45" fmla="*/ 94 h 184"/>
              <a:gd name="T46" fmla="*/ 320 w 358"/>
              <a:gd name="T47" fmla="*/ 82 h 184"/>
              <a:gd name="T48" fmla="*/ 320 w 358"/>
              <a:gd name="T49" fmla="*/ 76 h 184"/>
              <a:gd name="T50" fmla="*/ 318 w 358"/>
              <a:gd name="T51" fmla="*/ 76 h 184"/>
              <a:gd name="T52" fmla="*/ 314 w 358"/>
              <a:gd name="T53" fmla="*/ 68 h 184"/>
              <a:gd name="T54" fmla="*/ 318 w 358"/>
              <a:gd name="T55" fmla="*/ 64 h 184"/>
              <a:gd name="T56" fmla="*/ 310 w 358"/>
              <a:gd name="T57" fmla="*/ 68 h 184"/>
              <a:gd name="T58" fmla="*/ 314 w 358"/>
              <a:gd name="T59" fmla="*/ 56 h 184"/>
              <a:gd name="T60" fmla="*/ 314 w 358"/>
              <a:gd name="T61" fmla="*/ 54 h 184"/>
              <a:gd name="T62" fmla="*/ 318 w 358"/>
              <a:gd name="T63" fmla="*/ 42 h 184"/>
              <a:gd name="T64" fmla="*/ 320 w 358"/>
              <a:gd name="T65" fmla="*/ 30 h 184"/>
              <a:gd name="T66" fmla="*/ 320 w 358"/>
              <a:gd name="T67" fmla="*/ 26 h 184"/>
              <a:gd name="T68" fmla="*/ 320 w 358"/>
              <a:gd name="T69" fmla="*/ 24 h 184"/>
              <a:gd name="T70" fmla="*/ 0 w 358"/>
              <a:gd name="T71" fmla="*/ 54 h 184"/>
              <a:gd name="T72" fmla="*/ 4 w 358"/>
              <a:gd name="T73" fmla="*/ 56 h 184"/>
              <a:gd name="T74" fmla="*/ 60 w 358"/>
              <a:gd name="T75" fmla="*/ 68 h 184"/>
              <a:gd name="T76" fmla="*/ 60 w 358"/>
              <a:gd name="T77" fmla="*/ 72 h 184"/>
              <a:gd name="T78" fmla="*/ 48 w 358"/>
              <a:gd name="T79" fmla="*/ 72 h 184"/>
              <a:gd name="T80" fmla="*/ 52 w 358"/>
              <a:gd name="T81" fmla="*/ 72 h 184"/>
              <a:gd name="T82" fmla="*/ 48 w 358"/>
              <a:gd name="T83" fmla="*/ 72 h 184"/>
              <a:gd name="T84" fmla="*/ 38 w 358"/>
              <a:gd name="T85" fmla="*/ 72 h 184"/>
              <a:gd name="T86" fmla="*/ 46 w 358"/>
              <a:gd name="T87" fmla="*/ 76 h 184"/>
              <a:gd name="T88" fmla="*/ 46 w 358"/>
              <a:gd name="T89" fmla="*/ 72 h 184"/>
              <a:gd name="T90" fmla="*/ 46 w 358"/>
              <a:gd name="T91" fmla="*/ 76 h 184"/>
              <a:gd name="T92" fmla="*/ 78 w 358"/>
              <a:gd name="T93" fmla="*/ 86 h 184"/>
              <a:gd name="T94" fmla="*/ 86 w 358"/>
              <a:gd name="T95" fmla="*/ 86 h 184"/>
              <a:gd name="T96" fmla="*/ 90 w 358"/>
              <a:gd name="T97" fmla="*/ 86 h 184"/>
              <a:gd name="T98" fmla="*/ 82 w 358"/>
              <a:gd name="T99" fmla="*/ 86 h 184"/>
              <a:gd name="T100" fmla="*/ 86 w 358"/>
              <a:gd name="T101" fmla="*/ 102 h 184"/>
              <a:gd name="T102" fmla="*/ 90 w 358"/>
              <a:gd name="T103" fmla="*/ 102 h 184"/>
              <a:gd name="T104" fmla="*/ 202 w 358"/>
              <a:gd name="T105" fmla="*/ 180 h 184"/>
              <a:gd name="T106" fmla="*/ 204 w 358"/>
              <a:gd name="T107"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58" h="184">
                <a:moveTo>
                  <a:pt x="320" y="24"/>
                </a:moveTo>
                <a:lnTo>
                  <a:pt x="320" y="20"/>
                </a:lnTo>
                <a:lnTo>
                  <a:pt x="320" y="16"/>
                </a:lnTo>
                <a:lnTo>
                  <a:pt x="320" y="12"/>
                </a:lnTo>
                <a:lnTo>
                  <a:pt x="318" y="8"/>
                </a:lnTo>
                <a:lnTo>
                  <a:pt x="320" y="8"/>
                </a:lnTo>
                <a:lnTo>
                  <a:pt x="320" y="4"/>
                </a:lnTo>
                <a:lnTo>
                  <a:pt x="324" y="4"/>
                </a:lnTo>
                <a:lnTo>
                  <a:pt x="324" y="0"/>
                </a:lnTo>
                <a:lnTo>
                  <a:pt x="328" y="0"/>
                </a:lnTo>
                <a:lnTo>
                  <a:pt x="328" y="4"/>
                </a:lnTo>
                <a:lnTo>
                  <a:pt x="328" y="8"/>
                </a:lnTo>
                <a:lnTo>
                  <a:pt x="332" y="8"/>
                </a:lnTo>
                <a:lnTo>
                  <a:pt x="336" y="8"/>
                </a:lnTo>
                <a:lnTo>
                  <a:pt x="340" y="8"/>
                </a:lnTo>
                <a:lnTo>
                  <a:pt x="344" y="8"/>
                </a:lnTo>
                <a:lnTo>
                  <a:pt x="344" y="4"/>
                </a:lnTo>
                <a:lnTo>
                  <a:pt x="348" y="4"/>
                </a:lnTo>
                <a:lnTo>
                  <a:pt x="350" y="4"/>
                </a:lnTo>
                <a:lnTo>
                  <a:pt x="350" y="8"/>
                </a:lnTo>
                <a:lnTo>
                  <a:pt x="350" y="12"/>
                </a:lnTo>
                <a:lnTo>
                  <a:pt x="354" y="12"/>
                </a:lnTo>
                <a:lnTo>
                  <a:pt x="358" y="12"/>
                </a:lnTo>
                <a:lnTo>
                  <a:pt x="354" y="12"/>
                </a:lnTo>
                <a:lnTo>
                  <a:pt x="354" y="16"/>
                </a:lnTo>
                <a:lnTo>
                  <a:pt x="354" y="20"/>
                </a:lnTo>
                <a:lnTo>
                  <a:pt x="350" y="20"/>
                </a:lnTo>
                <a:lnTo>
                  <a:pt x="348" y="24"/>
                </a:lnTo>
                <a:lnTo>
                  <a:pt x="348" y="26"/>
                </a:lnTo>
                <a:lnTo>
                  <a:pt x="348" y="30"/>
                </a:lnTo>
                <a:lnTo>
                  <a:pt x="348" y="34"/>
                </a:lnTo>
                <a:lnTo>
                  <a:pt x="348" y="38"/>
                </a:lnTo>
                <a:lnTo>
                  <a:pt x="344" y="38"/>
                </a:lnTo>
                <a:lnTo>
                  <a:pt x="344" y="42"/>
                </a:lnTo>
                <a:lnTo>
                  <a:pt x="348" y="42"/>
                </a:lnTo>
                <a:lnTo>
                  <a:pt x="344" y="50"/>
                </a:lnTo>
                <a:lnTo>
                  <a:pt x="340" y="50"/>
                </a:lnTo>
                <a:lnTo>
                  <a:pt x="336" y="50"/>
                </a:lnTo>
                <a:lnTo>
                  <a:pt x="340" y="54"/>
                </a:lnTo>
                <a:lnTo>
                  <a:pt x="340" y="56"/>
                </a:lnTo>
                <a:lnTo>
                  <a:pt x="344" y="60"/>
                </a:lnTo>
                <a:lnTo>
                  <a:pt x="348" y="60"/>
                </a:lnTo>
                <a:lnTo>
                  <a:pt x="344" y="64"/>
                </a:lnTo>
                <a:lnTo>
                  <a:pt x="344" y="68"/>
                </a:lnTo>
                <a:lnTo>
                  <a:pt x="340" y="68"/>
                </a:lnTo>
                <a:lnTo>
                  <a:pt x="340" y="72"/>
                </a:lnTo>
                <a:lnTo>
                  <a:pt x="340" y="76"/>
                </a:lnTo>
                <a:lnTo>
                  <a:pt x="344" y="76"/>
                </a:lnTo>
                <a:lnTo>
                  <a:pt x="344" y="80"/>
                </a:lnTo>
                <a:lnTo>
                  <a:pt x="348" y="80"/>
                </a:lnTo>
                <a:lnTo>
                  <a:pt x="344" y="82"/>
                </a:lnTo>
                <a:lnTo>
                  <a:pt x="340" y="82"/>
                </a:lnTo>
                <a:lnTo>
                  <a:pt x="340" y="86"/>
                </a:lnTo>
                <a:lnTo>
                  <a:pt x="336" y="90"/>
                </a:lnTo>
                <a:lnTo>
                  <a:pt x="340" y="90"/>
                </a:lnTo>
                <a:lnTo>
                  <a:pt x="340" y="94"/>
                </a:lnTo>
                <a:lnTo>
                  <a:pt x="340" y="98"/>
                </a:lnTo>
                <a:lnTo>
                  <a:pt x="336" y="98"/>
                </a:lnTo>
                <a:lnTo>
                  <a:pt x="336" y="102"/>
                </a:lnTo>
                <a:lnTo>
                  <a:pt x="332" y="102"/>
                </a:lnTo>
                <a:lnTo>
                  <a:pt x="328" y="102"/>
                </a:lnTo>
                <a:lnTo>
                  <a:pt x="328" y="98"/>
                </a:lnTo>
                <a:lnTo>
                  <a:pt x="324" y="98"/>
                </a:lnTo>
                <a:lnTo>
                  <a:pt x="320" y="98"/>
                </a:lnTo>
                <a:lnTo>
                  <a:pt x="320" y="102"/>
                </a:lnTo>
                <a:lnTo>
                  <a:pt x="318" y="102"/>
                </a:lnTo>
                <a:lnTo>
                  <a:pt x="318" y="98"/>
                </a:lnTo>
                <a:lnTo>
                  <a:pt x="318" y="94"/>
                </a:lnTo>
                <a:lnTo>
                  <a:pt x="320" y="94"/>
                </a:lnTo>
                <a:lnTo>
                  <a:pt x="320" y="90"/>
                </a:lnTo>
                <a:lnTo>
                  <a:pt x="320" y="86"/>
                </a:lnTo>
                <a:lnTo>
                  <a:pt x="320" y="82"/>
                </a:lnTo>
                <a:lnTo>
                  <a:pt x="318" y="82"/>
                </a:lnTo>
                <a:lnTo>
                  <a:pt x="320" y="80"/>
                </a:lnTo>
                <a:lnTo>
                  <a:pt x="320" y="76"/>
                </a:lnTo>
                <a:lnTo>
                  <a:pt x="320" y="72"/>
                </a:lnTo>
                <a:lnTo>
                  <a:pt x="318" y="72"/>
                </a:lnTo>
                <a:lnTo>
                  <a:pt x="318" y="76"/>
                </a:lnTo>
                <a:lnTo>
                  <a:pt x="314" y="76"/>
                </a:lnTo>
                <a:lnTo>
                  <a:pt x="314" y="72"/>
                </a:lnTo>
                <a:lnTo>
                  <a:pt x="314" y="68"/>
                </a:lnTo>
                <a:lnTo>
                  <a:pt x="318" y="72"/>
                </a:lnTo>
                <a:lnTo>
                  <a:pt x="318" y="68"/>
                </a:lnTo>
                <a:lnTo>
                  <a:pt x="318" y="64"/>
                </a:lnTo>
                <a:lnTo>
                  <a:pt x="318" y="68"/>
                </a:lnTo>
                <a:lnTo>
                  <a:pt x="314" y="68"/>
                </a:lnTo>
                <a:lnTo>
                  <a:pt x="310" y="68"/>
                </a:lnTo>
                <a:lnTo>
                  <a:pt x="310" y="64"/>
                </a:lnTo>
                <a:lnTo>
                  <a:pt x="310" y="60"/>
                </a:lnTo>
                <a:lnTo>
                  <a:pt x="314" y="56"/>
                </a:lnTo>
                <a:lnTo>
                  <a:pt x="310" y="56"/>
                </a:lnTo>
                <a:lnTo>
                  <a:pt x="314" y="56"/>
                </a:lnTo>
                <a:lnTo>
                  <a:pt x="314" y="54"/>
                </a:lnTo>
                <a:lnTo>
                  <a:pt x="318" y="50"/>
                </a:lnTo>
                <a:lnTo>
                  <a:pt x="318" y="46"/>
                </a:lnTo>
                <a:lnTo>
                  <a:pt x="318" y="42"/>
                </a:lnTo>
                <a:lnTo>
                  <a:pt x="318" y="38"/>
                </a:lnTo>
                <a:lnTo>
                  <a:pt x="320" y="34"/>
                </a:lnTo>
                <a:lnTo>
                  <a:pt x="320" y="30"/>
                </a:lnTo>
                <a:lnTo>
                  <a:pt x="320" y="26"/>
                </a:lnTo>
                <a:lnTo>
                  <a:pt x="320" y="30"/>
                </a:lnTo>
                <a:lnTo>
                  <a:pt x="320" y="26"/>
                </a:lnTo>
                <a:lnTo>
                  <a:pt x="320" y="24"/>
                </a:lnTo>
                <a:lnTo>
                  <a:pt x="320" y="24"/>
                </a:lnTo>
                <a:lnTo>
                  <a:pt x="320" y="24"/>
                </a:lnTo>
                <a:close/>
                <a:moveTo>
                  <a:pt x="4" y="56"/>
                </a:moveTo>
                <a:lnTo>
                  <a:pt x="0" y="56"/>
                </a:lnTo>
                <a:lnTo>
                  <a:pt x="0" y="54"/>
                </a:lnTo>
                <a:lnTo>
                  <a:pt x="4" y="54"/>
                </a:lnTo>
                <a:lnTo>
                  <a:pt x="4" y="56"/>
                </a:lnTo>
                <a:lnTo>
                  <a:pt x="4" y="56"/>
                </a:lnTo>
                <a:lnTo>
                  <a:pt x="4" y="56"/>
                </a:lnTo>
                <a:close/>
                <a:moveTo>
                  <a:pt x="60" y="72"/>
                </a:moveTo>
                <a:lnTo>
                  <a:pt x="60" y="68"/>
                </a:lnTo>
                <a:lnTo>
                  <a:pt x="56" y="68"/>
                </a:lnTo>
                <a:lnTo>
                  <a:pt x="60" y="68"/>
                </a:lnTo>
                <a:lnTo>
                  <a:pt x="60" y="72"/>
                </a:lnTo>
                <a:lnTo>
                  <a:pt x="60" y="72"/>
                </a:lnTo>
                <a:lnTo>
                  <a:pt x="60" y="72"/>
                </a:lnTo>
                <a:close/>
                <a:moveTo>
                  <a:pt x="48" y="72"/>
                </a:moveTo>
                <a:lnTo>
                  <a:pt x="46" y="68"/>
                </a:lnTo>
                <a:lnTo>
                  <a:pt x="48" y="68"/>
                </a:lnTo>
                <a:lnTo>
                  <a:pt x="52" y="72"/>
                </a:lnTo>
                <a:lnTo>
                  <a:pt x="48" y="72"/>
                </a:lnTo>
                <a:lnTo>
                  <a:pt x="48" y="72"/>
                </a:lnTo>
                <a:lnTo>
                  <a:pt x="48" y="72"/>
                </a:lnTo>
                <a:close/>
                <a:moveTo>
                  <a:pt x="38" y="72"/>
                </a:moveTo>
                <a:lnTo>
                  <a:pt x="38" y="68"/>
                </a:lnTo>
                <a:lnTo>
                  <a:pt x="38" y="72"/>
                </a:lnTo>
                <a:lnTo>
                  <a:pt x="38" y="72"/>
                </a:lnTo>
                <a:lnTo>
                  <a:pt x="38" y="72"/>
                </a:lnTo>
                <a:close/>
                <a:moveTo>
                  <a:pt x="46" y="76"/>
                </a:moveTo>
                <a:lnTo>
                  <a:pt x="42" y="76"/>
                </a:lnTo>
                <a:lnTo>
                  <a:pt x="42" y="72"/>
                </a:lnTo>
                <a:lnTo>
                  <a:pt x="46" y="72"/>
                </a:lnTo>
                <a:lnTo>
                  <a:pt x="48" y="76"/>
                </a:lnTo>
                <a:lnTo>
                  <a:pt x="46" y="76"/>
                </a:lnTo>
                <a:lnTo>
                  <a:pt x="46" y="76"/>
                </a:lnTo>
                <a:lnTo>
                  <a:pt x="46" y="76"/>
                </a:lnTo>
                <a:close/>
                <a:moveTo>
                  <a:pt x="82" y="86"/>
                </a:moveTo>
                <a:lnTo>
                  <a:pt x="78" y="86"/>
                </a:lnTo>
                <a:lnTo>
                  <a:pt x="78" y="82"/>
                </a:lnTo>
                <a:lnTo>
                  <a:pt x="82" y="86"/>
                </a:lnTo>
                <a:lnTo>
                  <a:pt x="86" y="86"/>
                </a:lnTo>
                <a:lnTo>
                  <a:pt x="86" y="82"/>
                </a:lnTo>
                <a:lnTo>
                  <a:pt x="90" y="82"/>
                </a:lnTo>
                <a:lnTo>
                  <a:pt x="90" y="86"/>
                </a:lnTo>
                <a:lnTo>
                  <a:pt x="86" y="86"/>
                </a:lnTo>
                <a:lnTo>
                  <a:pt x="82" y="86"/>
                </a:lnTo>
                <a:lnTo>
                  <a:pt x="82" y="86"/>
                </a:lnTo>
                <a:lnTo>
                  <a:pt x="82" y="86"/>
                </a:lnTo>
                <a:close/>
                <a:moveTo>
                  <a:pt x="90" y="102"/>
                </a:moveTo>
                <a:lnTo>
                  <a:pt x="86" y="102"/>
                </a:lnTo>
                <a:lnTo>
                  <a:pt x="90" y="102"/>
                </a:lnTo>
                <a:lnTo>
                  <a:pt x="90" y="102"/>
                </a:lnTo>
                <a:lnTo>
                  <a:pt x="90" y="102"/>
                </a:lnTo>
                <a:close/>
                <a:moveTo>
                  <a:pt x="204" y="184"/>
                </a:moveTo>
                <a:lnTo>
                  <a:pt x="202" y="184"/>
                </a:lnTo>
                <a:lnTo>
                  <a:pt x="202" y="180"/>
                </a:lnTo>
                <a:lnTo>
                  <a:pt x="204" y="180"/>
                </a:lnTo>
                <a:lnTo>
                  <a:pt x="208" y="180"/>
                </a:lnTo>
                <a:lnTo>
                  <a:pt x="204" y="184"/>
                </a:lnTo>
                <a:lnTo>
                  <a:pt x="204" y="184"/>
                </a:lnTo>
                <a:lnTo>
                  <a:pt x="204" y="184"/>
                </a:lnTo>
                <a:close/>
              </a:path>
            </a:pathLst>
          </a:custGeom>
          <a:solidFill>
            <a:srgbClr val="A0DCFF"/>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87" name="Freeform 194"/>
          <p:cNvSpPr>
            <a:spLocks noEditPoints="1"/>
          </p:cNvSpPr>
          <p:nvPr/>
        </p:nvSpPr>
        <p:spPr bwMode="auto">
          <a:xfrm>
            <a:off x="4536281" y="4152900"/>
            <a:ext cx="359569" cy="559594"/>
          </a:xfrm>
          <a:custGeom>
            <a:avLst/>
            <a:gdLst>
              <a:gd name="T0" fmla="*/ 12 w 302"/>
              <a:gd name="T1" fmla="*/ 116 h 470"/>
              <a:gd name="T2" fmla="*/ 28 w 302"/>
              <a:gd name="T3" fmla="*/ 122 h 470"/>
              <a:gd name="T4" fmla="*/ 42 w 302"/>
              <a:gd name="T5" fmla="*/ 116 h 470"/>
              <a:gd name="T6" fmla="*/ 50 w 302"/>
              <a:gd name="T7" fmla="*/ 92 h 470"/>
              <a:gd name="T8" fmla="*/ 50 w 302"/>
              <a:gd name="T9" fmla="*/ 56 h 470"/>
              <a:gd name="T10" fmla="*/ 56 w 302"/>
              <a:gd name="T11" fmla="*/ 60 h 470"/>
              <a:gd name="T12" fmla="*/ 60 w 302"/>
              <a:gd name="T13" fmla="*/ 78 h 470"/>
              <a:gd name="T14" fmla="*/ 68 w 302"/>
              <a:gd name="T15" fmla="*/ 86 h 470"/>
              <a:gd name="T16" fmla="*/ 80 w 302"/>
              <a:gd name="T17" fmla="*/ 76 h 470"/>
              <a:gd name="T18" fmla="*/ 90 w 302"/>
              <a:gd name="T19" fmla="*/ 60 h 470"/>
              <a:gd name="T20" fmla="*/ 110 w 302"/>
              <a:gd name="T21" fmla="*/ 64 h 470"/>
              <a:gd name="T22" fmla="*/ 120 w 302"/>
              <a:gd name="T23" fmla="*/ 68 h 470"/>
              <a:gd name="T24" fmla="*/ 128 w 302"/>
              <a:gd name="T25" fmla="*/ 60 h 470"/>
              <a:gd name="T26" fmla="*/ 142 w 302"/>
              <a:gd name="T27" fmla="*/ 46 h 470"/>
              <a:gd name="T28" fmla="*/ 146 w 302"/>
              <a:gd name="T29" fmla="*/ 26 h 470"/>
              <a:gd name="T30" fmla="*/ 164 w 302"/>
              <a:gd name="T31" fmla="*/ 12 h 470"/>
              <a:gd name="T32" fmla="*/ 180 w 302"/>
              <a:gd name="T33" fmla="*/ 0 h 470"/>
              <a:gd name="T34" fmla="*/ 198 w 302"/>
              <a:gd name="T35" fmla="*/ 4 h 470"/>
              <a:gd name="T36" fmla="*/ 212 w 302"/>
              <a:gd name="T37" fmla="*/ 22 h 470"/>
              <a:gd name="T38" fmla="*/ 216 w 302"/>
              <a:gd name="T39" fmla="*/ 42 h 470"/>
              <a:gd name="T40" fmla="*/ 216 w 302"/>
              <a:gd name="T41" fmla="*/ 60 h 470"/>
              <a:gd name="T42" fmla="*/ 210 w 302"/>
              <a:gd name="T43" fmla="*/ 64 h 470"/>
              <a:gd name="T44" fmla="*/ 202 w 302"/>
              <a:gd name="T45" fmla="*/ 82 h 470"/>
              <a:gd name="T46" fmla="*/ 206 w 302"/>
              <a:gd name="T47" fmla="*/ 92 h 470"/>
              <a:gd name="T48" fmla="*/ 220 w 302"/>
              <a:gd name="T49" fmla="*/ 86 h 470"/>
              <a:gd name="T50" fmla="*/ 228 w 302"/>
              <a:gd name="T51" fmla="*/ 96 h 470"/>
              <a:gd name="T52" fmla="*/ 224 w 302"/>
              <a:gd name="T53" fmla="*/ 116 h 470"/>
              <a:gd name="T54" fmla="*/ 210 w 302"/>
              <a:gd name="T55" fmla="*/ 130 h 470"/>
              <a:gd name="T56" fmla="*/ 202 w 302"/>
              <a:gd name="T57" fmla="*/ 148 h 470"/>
              <a:gd name="T58" fmla="*/ 190 w 302"/>
              <a:gd name="T59" fmla="*/ 168 h 470"/>
              <a:gd name="T60" fmla="*/ 180 w 302"/>
              <a:gd name="T61" fmla="*/ 178 h 470"/>
              <a:gd name="T62" fmla="*/ 164 w 302"/>
              <a:gd name="T63" fmla="*/ 194 h 470"/>
              <a:gd name="T64" fmla="*/ 150 w 302"/>
              <a:gd name="T65" fmla="*/ 206 h 470"/>
              <a:gd name="T66" fmla="*/ 136 w 302"/>
              <a:gd name="T67" fmla="*/ 212 h 470"/>
              <a:gd name="T68" fmla="*/ 124 w 302"/>
              <a:gd name="T69" fmla="*/ 216 h 470"/>
              <a:gd name="T70" fmla="*/ 98 w 302"/>
              <a:gd name="T71" fmla="*/ 216 h 470"/>
              <a:gd name="T72" fmla="*/ 80 w 302"/>
              <a:gd name="T73" fmla="*/ 220 h 470"/>
              <a:gd name="T74" fmla="*/ 60 w 302"/>
              <a:gd name="T75" fmla="*/ 224 h 470"/>
              <a:gd name="T76" fmla="*/ 42 w 302"/>
              <a:gd name="T77" fmla="*/ 232 h 470"/>
              <a:gd name="T78" fmla="*/ 30 w 302"/>
              <a:gd name="T79" fmla="*/ 220 h 470"/>
              <a:gd name="T80" fmla="*/ 28 w 302"/>
              <a:gd name="T81" fmla="*/ 224 h 470"/>
              <a:gd name="T82" fmla="*/ 28 w 302"/>
              <a:gd name="T83" fmla="*/ 212 h 470"/>
              <a:gd name="T84" fmla="*/ 24 w 302"/>
              <a:gd name="T85" fmla="*/ 194 h 470"/>
              <a:gd name="T86" fmla="*/ 24 w 302"/>
              <a:gd name="T87" fmla="*/ 178 h 470"/>
              <a:gd name="T88" fmla="*/ 16 w 302"/>
              <a:gd name="T89" fmla="*/ 164 h 470"/>
              <a:gd name="T90" fmla="*/ 8 w 302"/>
              <a:gd name="T91" fmla="*/ 142 h 470"/>
              <a:gd name="T92" fmla="*/ 0 w 302"/>
              <a:gd name="T93" fmla="*/ 120 h 470"/>
              <a:gd name="T94" fmla="*/ 8 w 302"/>
              <a:gd name="T95" fmla="*/ 108 h 470"/>
              <a:gd name="T96" fmla="*/ 180 w 302"/>
              <a:gd name="T97" fmla="*/ 122 h 470"/>
              <a:gd name="T98" fmla="*/ 168 w 302"/>
              <a:gd name="T99" fmla="*/ 120 h 470"/>
              <a:gd name="T100" fmla="*/ 154 w 302"/>
              <a:gd name="T101" fmla="*/ 134 h 470"/>
              <a:gd name="T102" fmla="*/ 154 w 302"/>
              <a:gd name="T103" fmla="*/ 148 h 470"/>
              <a:gd name="T104" fmla="*/ 164 w 302"/>
              <a:gd name="T105" fmla="*/ 146 h 470"/>
              <a:gd name="T106" fmla="*/ 180 w 302"/>
              <a:gd name="T107" fmla="*/ 134 h 470"/>
              <a:gd name="T108" fmla="*/ 302 w 302"/>
              <a:gd name="T109" fmla="*/ 466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2" h="470">
                <a:moveTo>
                  <a:pt x="8" y="108"/>
                </a:moveTo>
                <a:lnTo>
                  <a:pt x="8" y="112"/>
                </a:lnTo>
                <a:lnTo>
                  <a:pt x="12" y="112"/>
                </a:lnTo>
                <a:lnTo>
                  <a:pt x="12" y="108"/>
                </a:lnTo>
                <a:lnTo>
                  <a:pt x="12" y="112"/>
                </a:lnTo>
                <a:lnTo>
                  <a:pt x="12" y="116"/>
                </a:lnTo>
                <a:lnTo>
                  <a:pt x="12" y="120"/>
                </a:lnTo>
                <a:lnTo>
                  <a:pt x="16" y="120"/>
                </a:lnTo>
                <a:lnTo>
                  <a:pt x="20" y="120"/>
                </a:lnTo>
                <a:lnTo>
                  <a:pt x="20" y="122"/>
                </a:lnTo>
                <a:lnTo>
                  <a:pt x="24" y="122"/>
                </a:lnTo>
                <a:lnTo>
                  <a:pt x="28" y="122"/>
                </a:lnTo>
                <a:lnTo>
                  <a:pt x="30" y="120"/>
                </a:lnTo>
                <a:lnTo>
                  <a:pt x="34" y="122"/>
                </a:lnTo>
                <a:lnTo>
                  <a:pt x="38" y="122"/>
                </a:lnTo>
                <a:lnTo>
                  <a:pt x="38" y="120"/>
                </a:lnTo>
                <a:lnTo>
                  <a:pt x="42" y="120"/>
                </a:lnTo>
                <a:lnTo>
                  <a:pt x="42" y="116"/>
                </a:lnTo>
                <a:lnTo>
                  <a:pt x="46" y="116"/>
                </a:lnTo>
                <a:lnTo>
                  <a:pt x="50" y="112"/>
                </a:lnTo>
                <a:lnTo>
                  <a:pt x="50" y="108"/>
                </a:lnTo>
                <a:lnTo>
                  <a:pt x="50" y="104"/>
                </a:lnTo>
                <a:lnTo>
                  <a:pt x="50" y="96"/>
                </a:lnTo>
                <a:lnTo>
                  <a:pt x="50" y="92"/>
                </a:lnTo>
                <a:lnTo>
                  <a:pt x="50" y="90"/>
                </a:lnTo>
                <a:lnTo>
                  <a:pt x="50" y="78"/>
                </a:lnTo>
                <a:lnTo>
                  <a:pt x="50" y="68"/>
                </a:lnTo>
                <a:lnTo>
                  <a:pt x="50" y="64"/>
                </a:lnTo>
                <a:lnTo>
                  <a:pt x="50" y="60"/>
                </a:lnTo>
                <a:lnTo>
                  <a:pt x="50" y="56"/>
                </a:lnTo>
                <a:lnTo>
                  <a:pt x="50" y="52"/>
                </a:lnTo>
                <a:lnTo>
                  <a:pt x="50" y="48"/>
                </a:lnTo>
                <a:lnTo>
                  <a:pt x="54" y="48"/>
                </a:lnTo>
                <a:lnTo>
                  <a:pt x="54" y="52"/>
                </a:lnTo>
                <a:lnTo>
                  <a:pt x="56" y="56"/>
                </a:lnTo>
                <a:lnTo>
                  <a:pt x="56" y="60"/>
                </a:lnTo>
                <a:lnTo>
                  <a:pt x="60" y="64"/>
                </a:lnTo>
                <a:lnTo>
                  <a:pt x="56" y="64"/>
                </a:lnTo>
                <a:lnTo>
                  <a:pt x="60" y="68"/>
                </a:lnTo>
                <a:lnTo>
                  <a:pt x="60" y="72"/>
                </a:lnTo>
                <a:lnTo>
                  <a:pt x="60" y="76"/>
                </a:lnTo>
                <a:lnTo>
                  <a:pt x="60" y="78"/>
                </a:lnTo>
                <a:lnTo>
                  <a:pt x="56" y="78"/>
                </a:lnTo>
                <a:lnTo>
                  <a:pt x="56" y="82"/>
                </a:lnTo>
                <a:lnTo>
                  <a:pt x="56" y="86"/>
                </a:lnTo>
                <a:lnTo>
                  <a:pt x="60" y="86"/>
                </a:lnTo>
                <a:lnTo>
                  <a:pt x="64" y="86"/>
                </a:lnTo>
                <a:lnTo>
                  <a:pt x="68" y="86"/>
                </a:lnTo>
                <a:lnTo>
                  <a:pt x="72" y="86"/>
                </a:lnTo>
                <a:lnTo>
                  <a:pt x="76" y="86"/>
                </a:lnTo>
                <a:lnTo>
                  <a:pt x="76" y="82"/>
                </a:lnTo>
                <a:lnTo>
                  <a:pt x="80" y="82"/>
                </a:lnTo>
                <a:lnTo>
                  <a:pt x="80" y="78"/>
                </a:lnTo>
                <a:lnTo>
                  <a:pt x="80" y="76"/>
                </a:lnTo>
                <a:lnTo>
                  <a:pt x="84" y="76"/>
                </a:lnTo>
                <a:lnTo>
                  <a:pt x="86" y="72"/>
                </a:lnTo>
                <a:lnTo>
                  <a:pt x="86" y="68"/>
                </a:lnTo>
                <a:lnTo>
                  <a:pt x="86" y="64"/>
                </a:lnTo>
                <a:lnTo>
                  <a:pt x="90" y="64"/>
                </a:lnTo>
                <a:lnTo>
                  <a:pt x="90" y="60"/>
                </a:lnTo>
                <a:lnTo>
                  <a:pt x="90" y="56"/>
                </a:lnTo>
                <a:lnTo>
                  <a:pt x="94" y="56"/>
                </a:lnTo>
                <a:lnTo>
                  <a:pt x="98" y="56"/>
                </a:lnTo>
                <a:lnTo>
                  <a:pt x="102" y="60"/>
                </a:lnTo>
                <a:lnTo>
                  <a:pt x="106" y="64"/>
                </a:lnTo>
                <a:lnTo>
                  <a:pt x="110" y="64"/>
                </a:lnTo>
                <a:lnTo>
                  <a:pt x="110" y="68"/>
                </a:lnTo>
                <a:lnTo>
                  <a:pt x="112" y="68"/>
                </a:lnTo>
                <a:lnTo>
                  <a:pt x="112" y="64"/>
                </a:lnTo>
                <a:lnTo>
                  <a:pt x="112" y="68"/>
                </a:lnTo>
                <a:lnTo>
                  <a:pt x="116" y="68"/>
                </a:lnTo>
                <a:lnTo>
                  <a:pt x="120" y="68"/>
                </a:lnTo>
                <a:lnTo>
                  <a:pt x="120" y="64"/>
                </a:lnTo>
                <a:lnTo>
                  <a:pt x="120" y="68"/>
                </a:lnTo>
                <a:lnTo>
                  <a:pt x="124" y="68"/>
                </a:lnTo>
                <a:lnTo>
                  <a:pt x="124" y="64"/>
                </a:lnTo>
                <a:lnTo>
                  <a:pt x="128" y="64"/>
                </a:lnTo>
                <a:lnTo>
                  <a:pt x="128" y="60"/>
                </a:lnTo>
                <a:lnTo>
                  <a:pt x="132" y="56"/>
                </a:lnTo>
                <a:lnTo>
                  <a:pt x="132" y="52"/>
                </a:lnTo>
                <a:lnTo>
                  <a:pt x="132" y="48"/>
                </a:lnTo>
                <a:lnTo>
                  <a:pt x="136" y="46"/>
                </a:lnTo>
                <a:lnTo>
                  <a:pt x="140" y="46"/>
                </a:lnTo>
                <a:lnTo>
                  <a:pt x="142" y="46"/>
                </a:lnTo>
                <a:lnTo>
                  <a:pt x="142" y="42"/>
                </a:lnTo>
                <a:lnTo>
                  <a:pt x="146" y="42"/>
                </a:lnTo>
                <a:lnTo>
                  <a:pt x="146" y="38"/>
                </a:lnTo>
                <a:lnTo>
                  <a:pt x="146" y="34"/>
                </a:lnTo>
                <a:lnTo>
                  <a:pt x="146" y="30"/>
                </a:lnTo>
                <a:lnTo>
                  <a:pt x="146" y="26"/>
                </a:lnTo>
                <a:lnTo>
                  <a:pt x="150" y="26"/>
                </a:lnTo>
                <a:lnTo>
                  <a:pt x="154" y="22"/>
                </a:lnTo>
                <a:lnTo>
                  <a:pt x="158" y="22"/>
                </a:lnTo>
                <a:lnTo>
                  <a:pt x="158" y="18"/>
                </a:lnTo>
                <a:lnTo>
                  <a:pt x="162" y="16"/>
                </a:lnTo>
                <a:lnTo>
                  <a:pt x="164" y="12"/>
                </a:lnTo>
                <a:lnTo>
                  <a:pt x="164" y="8"/>
                </a:lnTo>
                <a:lnTo>
                  <a:pt x="168" y="8"/>
                </a:lnTo>
                <a:lnTo>
                  <a:pt x="172" y="8"/>
                </a:lnTo>
                <a:lnTo>
                  <a:pt x="176" y="8"/>
                </a:lnTo>
                <a:lnTo>
                  <a:pt x="176" y="4"/>
                </a:lnTo>
                <a:lnTo>
                  <a:pt x="180" y="0"/>
                </a:lnTo>
                <a:lnTo>
                  <a:pt x="182" y="0"/>
                </a:lnTo>
                <a:lnTo>
                  <a:pt x="186" y="0"/>
                </a:lnTo>
                <a:lnTo>
                  <a:pt x="190" y="0"/>
                </a:lnTo>
                <a:lnTo>
                  <a:pt x="190" y="4"/>
                </a:lnTo>
                <a:lnTo>
                  <a:pt x="194" y="4"/>
                </a:lnTo>
                <a:lnTo>
                  <a:pt x="198" y="4"/>
                </a:lnTo>
                <a:lnTo>
                  <a:pt x="202" y="4"/>
                </a:lnTo>
                <a:lnTo>
                  <a:pt x="206" y="4"/>
                </a:lnTo>
                <a:lnTo>
                  <a:pt x="210" y="4"/>
                </a:lnTo>
                <a:lnTo>
                  <a:pt x="210" y="8"/>
                </a:lnTo>
                <a:lnTo>
                  <a:pt x="212" y="18"/>
                </a:lnTo>
                <a:lnTo>
                  <a:pt x="212" y="22"/>
                </a:lnTo>
                <a:lnTo>
                  <a:pt x="212" y="26"/>
                </a:lnTo>
                <a:lnTo>
                  <a:pt x="212" y="30"/>
                </a:lnTo>
                <a:lnTo>
                  <a:pt x="216" y="30"/>
                </a:lnTo>
                <a:lnTo>
                  <a:pt x="216" y="34"/>
                </a:lnTo>
                <a:lnTo>
                  <a:pt x="216" y="38"/>
                </a:lnTo>
                <a:lnTo>
                  <a:pt x="216" y="42"/>
                </a:lnTo>
                <a:lnTo>
                  <a:pt x="220" y="42"/>
                </a:lnTo>
                <a:lnTo>
                  <a:pt x="216" y="46"/>
                </a:lnTo>
                <a:lnTo>
                  <a:pt x="216" y="48"/>
                </a:lnTo>
                <a:lnTo>
                  <a:pt x="216" y="52"/>
                </a:lnTo>
                <a:lnTo>
                  <a:pt x="220" y="52"/>
                </a:lnTo>
                <a:lnTo>
                  <a:pt x="216" y="60"/>
                </a:lnTo>
                <a:lnTo>
                  <a:pt x="216" y="64"/>
                </a:lnTo>
                <a:lnTo>
                  <a:pt x="216" y="68"/>
                </a:lnTo>
                <a:lnTo>
                  <a:pt x="216" y="72"/>
                </a:lnTo>
                <a:lnTo>
                  <a:pt x="216" y="68"/>
                </a:lnTo>
                <a:lnTo>
                  <a:pt x="212" y="68"/>
                </a:lnTo>
                <a:lnTo>
                  <a:pt x="210" y="64"/>
                </a:lnTo>
                <a:lnTo>
                  <a:pt x="206" y="68"/>
                </a:lnTo>
                <a:lnTo>
                  <a:pt x="206" y="72"/>
                </a:lnTo>
                <a:lnTo>
                  <a:pt x="206" y="76"/>
                </a:lnTo>
                <a:lnTo>
                  <a:pt x="202" y="76"/>
                </a:lnTo>
                <a:lnTo>
                  <a:pt x="202" y="78"/>
                </a:lnTo>
                <a:lnTo>
                  <a:pt x="202" y="82"/>
                </a:lnTo>
                <a:lnTo>
                  <a:pt x="202" y="86"/>
                </a:lnTo>
                <a:lnTo>
                  <a:pt x="202" y="82"/>
                </a:lnTo>
                <a:lnTo>
                  <a:pt x="202" y="86"/>
                </a:lnTo>
                <a:lnTo>
                  <a:pt x="206" y="86"/>
                </a:lnTo>
                <a:lnTo>
                  <a:pt x="206" y="90"/>
                </a:lnTo>
                <a:lnTo>
                  <a:pt x="206" y="92"/>
                </a:lnTo>
                <a:lnTo>
                  <a:pt x="210" y="92"/>
                </a:lnTo>
                <a:lnTo>
                  <a:pt x="212" y="92"/>
                </a:lnTo>
                <a:lnTo>
                  <a:pt x="216" y="92"/>
                </a:lnTo>
                <a:lnTo>
                  <a:pt x="216" y="90"/>
                </a:lnTo>
                <a:lnTo>
                  <a:pt x="216" y="86"/>
                </a:lnTo>
                <a:lnTo>
                  <a:pt x="220" y="86"/>
                </a:lnTo>
                <a:lnTo>
                  <a:pt x="224" y="86"/>
                </a:lnTo>
                <a:lnTo>
                  <a:pt x="228" y="86"/>
                </a:lnTo>
                <a:lnTo>
                  <a:pt x="232" y="86"/>
                </a:lnTo>
                <a:lnTo>
                  <a:pt x="232" y="90"/>
                </a:lnTo>
                <a:lnTo>
                  <a:pt x="228" y="92"/>
                </a:lnTo>
                <a:lnTo>
                  <a:pt x="228" y="96"/>
                </a:lnTo>
                <a:lnTo>
                  <a:pt x="228" y="100"/>
                </a:lnTo>
                <a:lnTo>
                  <a:pt x="228" y="104"/>
                </a:lnTo>
                <a:lnTo>
                  <a:pt x="228" y="108"/>
                </a:lnTo>
                <a:lnTo>
                  <a:pt x="224" y="108"/>
                </a:lnTo>
                <a:lnTo>
                  <a:pt x="224" y="112"/>
                </a:lnTo>
                <a:lnTo>
                  <a:pt x="224" y="116"/>
                </a:lnTo>
                <a:lnTo>
                  <a:pt x="220" y="120"/>
                </a:lnTo>
                <a:lnTo>
                  <a:pt x="220" y="122"/>
                </a:lnTo>
                <a:lnTo>
                  <a:pt x="216" y="122"/>
                </a:lnTo>
                <a:lnTo>
                  <a:pt x="212" y="122"/>
                </a:lnTo>
                <a:lnTo>
                  <a:pt x="212" y="126"/>
                </a:lnTo>
                <a:lnTo>
                  <a:pt x="210" y="130"/>
                </a:lnTo>
                <a:lnTo>
                  <a:pt x="206" y="134"/>
                </a:lnTo>
                <a:lnTo>
                  <a:pt x="206" y="138"/>
                </a:lnTo>
                <a:lnTo>
                  <a:pt x="206" y="142"/>
                </a:lnTo>
                <a:lnTo>
                  <a:pt x="202" y="142"/>
                </a:lnTo>
                <a:lnTo>
                  <a:pt x="202" y="146"/>
                </a:lnTo>
                <a:lnTo>
                  <a:pt x="202" y="148"/>
                </a:lnTo>
                <a:lnTo>
                  <a:pt x="198" y="148"/>
                </a:lnTo>
                <a:lnTo>
                  <a:pt x="198" y="156"/>
                </a:lnTo>
                <a:lnTo>
                  <a:pt x="194" y="156"/>
                </a:lnTo>
                <a:lnTo>
                  <a:pt x="194" y="160"/>
                </a:lnTo>
                <a:lnTo>
                  <a:pt x="190" y="164"/>
                </a:lnTo>
                <a:lnTo>
                  <a:pt x="190" y="168"/>
                </a:lnTo>
                <a:lnTo>
                  <a:pt x="186" y="168"/>
                </a:lnTo>
                <a:lnTo>
                  <a:pt x="186" y="172"/>
                </a:lnTo>
                <a:lnTo>
                  <a:pt x="182" y="172"/>
                </a:lnTo>
                <a:lnTo>
                  <a:pt x="182" y="176"/>
                </a:lnTo>
                <a:lnTo>
                  <a:pt x="180" y="176"/>
                </a:lnTo>
                <a:lnTo>
                  <a:pt x="180" y="178"/>
                </a:lnTo>
                <a:lnTo>
                  <a:pt x="176" y="178"/>
                </a:lnTo>
                <a:lnTo>
                  <a:pt x="176" y="182"/>
                </a:lnTo>
                <a:lnTo>
                  <a:pt x="172" y="186"/>
                </a:lnTo>
                <a:lnTo>
                  <a:pt x="168" y="190"/>
                </a:lnTo>
                <a:lnTo>
                  <a:pt x="168" y="194"/>
                </a:lnTo>
                <a:lnTo>
                  <a:pt x="164" y="194"/>
                </a:lnTo>
                <a:lnTo>
                  <a:pt x="164" y="198"/>
                </a:lnTo>
                <a:lnTo>
                  <a:pt x="162" y="198"/>
                </a:lnTo>
                <a:lnTo>
                  <a:pt x="158" y="198"/>
                </a:lnTo>
                <a:lnTo>
                  <a:pt x="158" y="202"/>
                </a:lnTo>
                <a:lnTo>
                  <a:pt x="154" y="206"/>
                </a:lnTo>
                <a:lnTo>
                  <a:pt x="150" y="206"/>
                </a:lnTo>
                <a:lnTo>
                  <a:pt x="150" y="208"/>
                </a:lnTo>
                <a:lnTo>
                  <a:pt x="146" y="208"/>
                </a:lnTo>
                <a:lnTo>
                  <a:pt x="142" y="208"/>
                </a:lnTo>
                <a:lnTo>
                  <a:pt x="142" y="212"/>
                </a:lnTo>
                <a:lnTo>
                  <a:pt x="140" y="212"/>
                </a:lnTo>
                <a:lnTo>
                  <a:pt x="136" y="212"/>
                </a:lnTo>
                <a:lnTo>
                  <a:pt x="132" y="212"/>
                </a:lnTo>
                <a:lnTo>
                  <a:pt x="128" y="212"/>
                </a:lnTo>
                <a:lnTo>
                  <a:pt x="128" y="216"/>
                </a:lnTo>
                <a:lnTo>
                  <a:pt x="132" y="216"/>
                </a:lnTo>
                <a:lnTo>
                  <a:pt x="128" y="216"/>
                </a:lnTo>
                <a:lnTo>
                  <a:pt x="124" y="216"/>
                </a:lnTo>
                <a:lnTo>
                  <a:pt x="120" y="216"/>
                </a:lnTo>
                <a:lnTo>
                  <a:pt x="116" y="220"/>
                </a:lnTo>
                <a:lnTo>
                  <a:pt x="112" y="220"/>
                </a:lnTo>
                <a:lnTo>
                  <a:pt x="106" y="216"/>
                </a:lnTo>
                <a:lnTo>
                  <a:pt x="102" y="216"/>
                </a:lnTo>
                <a:lnTo>
                  <a:pt x="98" y="216"/>
                </a:lnTo>
                <a:lnTo>
                  <a:pt x="94" y="216"/>
                </a:lnTo>
                <a:lnTo>
                  <a:pt x="90" y="216"/>
                </a:lnTo>
                <a:lnTo>
                  <a:pt x="86" y="216"/>
                </a:lnTo>
                <a:lnTo>
                  <a:pt x="84" y="216"/>
                </a:lnTo>
                <a:lnTo>
                  <a:pt x="80" y="216"/>
                </a:lnTo>
                <a:lnTo>
                  <a:pt x="80" y="220"/>
                </a:lnTo>
                <a:lnTo>
                  <a:pt x="76" y="220"/>
                </a:lnTo>
                <a:lnTo>
                  <a:pt x="76" y="224"/>
                </a:lnTo>
                <a:lnTo>
                  <a:pt x="72" y="224"/>
                </a:lnTo>
                <a:lnTo>
                  <a:pt x="68" y="224"/>
                </a:lnTo>
                <a:lnTo>
                  <a:pt x="64" y="224"/>
                </a:lnTo>
                <a:lnTo>
                  <a:pt x="60" y="224"/>
                </a:lnTo>
                <a:lnTo>
                  <a:pt x="56" y="224"/>
                </a:lnTo>
                <a:lnTo>
                  <a:pt x="56" y="228"/>
                </a:lnTo>
                <a:lnTo>
                  <a:pt x="54" y="228"/>
                </a:lnTo>
                <a:lnTo>
                  <a:pt x="50" y="232"/>
                </a:lnTo>
                <a:lnTo>
                  <a:pt x="46" y="232"/>
                </a:lnTo>
                <a:lnTo>
                  <a:pt x="42" y="232"/>
                </a:lnTo>
                <a:lnTo>
                  <a:pt x="42" y="228"/>
                </a:lnTo>
                <a:lnTo>
                  <a:pt x="38" y="228"/>
                </a:lnTo>
                <a:lnTo>
                  <a:pt x="38" y="224"/>
                </a:lnTo>
                <a:lnTo>
                  <a:pt x="34" y="224"/>
                </a:lnTo>
                <a:lnTo>
                  <a:pt x="30" y="224"/>
                </a:lnTo>
                <a:lnTo>
                  <a:pt x="30" y="220"/>
                </a:lnTo>
                <a:lnTo>
                  <a:pt x="34" y="220"/>
                </a:lnTo>
                <a:lnTo>
                  <a:pt x="30" y="220"/>
                </a:lnTo>
                <a:lnTo>
                  <a:pt x="30" y="216"/>
                </a:lnTo>
                <a:lnTo>
                  <a:pt x="28" y="216"/>
                </a:lnTo>
                <a:lnTo>
                  <a:pt x="28" y="220"/>
                </a:lnTo>
                <a:lnTo>
                  <a:pt x="28" y="224"/>
                </a:lnTo>
                <a:lnTo>
                  <a:pt x="28" y="220"/>
                </a:lnTo>
                <a:lnTo>
                  <a:pt x="24" y="216"/>
                </a:lnTo>
                <a:lnTo>
                  <a:pt x="28" y="216"/>
                </a:lnTo>
                <a:lnTo>
                  <a:pt x="28" y="212"/>
                </a:lnTo>
                <a:lnTo>
                  <a:pt x="28" y="216"/>
                </a:lnTo>
                <a:lnTo>
                  <a:pt x="28" y="212"/>
                </a:lnTo>
                <a:lnTo>
                  <a:pt x="28" y="208"/>
                </a:lnTo>
                <a:lnTo>
                  <a:pt x="24" y="206"/>
                </a:lnTo>
                <a:lnTo>
                  <a:pt x="24" y="202"/>
                </a:lnTo>
                <a:lnTo>
                  <a:pt x="20" y="198"/>
                </a:lnTo>
                <a:lnTo>
                  <a:pt x="20" y="194"/>
                </a:lnTo>
                <a:lnTo>
                  <a:pt x="24" y="194"/>
                </a:lnTo>
                <a:lnTo>
                  <a:pt x="24" y="190"/>
                </a:lnTo>
                <a:lnTo>
                  <a:pt x="28" y="190"/>
                </a:lnTo>
                <a:lnTo>
                  <a:pt x="28" y="186"/>
                </a:lnTo>
                <a:lnTo>
                  <a:pt x="28" y="182"/>
                </a:lnTo>
                <a:lnTo>
                  <a:pt x="24" y="182"/>
                </a:lnTo>
                <a:lnTo>
                  <a:pt x="24" y="178"/>
                </a:lnTo>
                <a:lnTo>
                  <a:pt x="24" y="176"/>
                </a:lnTo>
                <a:lnTo>
                  <a:pt x="24" y="172"/>
                </a:lnTo>
                <a:lnTo>
                  <a:pt x="20" y="172"/>
                </a:lnTo>
                <a:lnTo>
                  <a:pt x="20" y="168"/>
                </a:lnTo>
                <a:lnTo>
                  <a:pt x="20" y="164"/>
                </a:lnTo>
                <a:lnTo>
                  <a:pt x="16" y="164"/>
                </a:lnTo>
                <a:lnTo>
                  <a:pt x="16" y="160"/>
                </a:lnTo>
                <a:lnTo>
                  <a:pt x="12" y="156"/>
                </a:lnTo>
                <a:lnTo>
                  <a:pt x="12" y="152"/>
                </a:lnTo>
                <a:lnTo>
                  <a:pt x="12" y="148"/>
                </a:lnTo>
                <a:lnTo>
                  <a:pt x="8" y="146"/>
                </a:lnTo>
                <a:lnTo>
                  <a:pt x="8" y="142"/>
                </a:lnTo>
                <a:lnTo>
                  <a:pt x="8" y="138"/>
                </a:lnTo>
                <a:lnTo>
                  <a:pt x="8" y="134"/>
                </a:lnTo>
                <a:lnTo>
                  <a:pt x="4" y="130"/>
                </a:lnTo>
                <a:lnTo>
                  <a:pt x="4" y="126"/>
                </a:lnTo>
                <a:lnTo>
                  <a:pt x="0" y="122"/>
                </a:lnTo>
                <a:lnTo>
                  <a:pt x="0" y="120"/>
                </a:lnTo>
                <a:lnTo>
                  <a:pt x="0" y="116"/>
                </a:lnTo>
                <a:lnTo>
                  <a:pt x="4" y="116"/>
                </a:lnTo>
                <a:lnTo>
                  <a:pt x="4" y="112"/>
                </a:lnTo>
                <a:lnTo>
                  <a:pt x="4" y="108"/>
                </a:lnTo>
                <a:lnTo>
                  <a:pt x="8" y="108"/>
                </a:lnTo>
                <a:lnTo>
                  <a:pt x="8" y="108"/>
                </a:lnTo>
                <a:lnTo>
                  <a:pt x="8" y="108"/>
                </a:lnTo>
                <a:close/>
                <a:moveTo>
                  <a:pt x="180" y="134"/>
                </a:moveTo>
                <a:lnTo>
                  <a:pt x="180" y="130"/>
                </a:lnTo>
                <a:lnTo>
                  <a:pt x="182" y="130"/>
                </a:lnTo>
                <a:lnTo>
                  <a:pt x="180" y="126"/>
                </a:lnTo>
                <a:lnTo>
                  <a:pt x="180" y="122"/>
                </a:lnTo>
                <a:lnTo>
                  <a:pt x="176" y="122"/>
                </a:lnTo>
                <a:lnTo>
                  <a:pt x="176" y="120"/>
                </a:lnTo>
                <a:lnTo>
                  <a:pt x="172" y="120"/>
                </a:lnTo>
                <a:lnTo>
                  <a:pt x="172" y="116"/>
                </a:lnTo>
                <a:lnTo>
                  <a:pt x="168" y="116"/>
                </a:lnTo>
                <a:lnTo>
                  <a:pt x="168" y="120"/>
                </a:lnTo>
                <a:lnTo>
                  <a:pt x="164" y="120"/>
                </a:lnTo>
                <a:lnTo>
                  <a:pt x="162" y="122"/>
                </a:lnTo>
                <a:lnTo>
                  <a:pt x="158" y="122"/>
                </a:lnTo>
                <a:lnTo>
                  <a:pt x="158" y="126"/>
                </a:lnTo>
                <a:lnTo>
                  <a:pt x="154" y="130"/>
                </a:lnTo>
                <a:lnTo>
                  <a:pt x="154" y="134"/>
                </a:lnTo>
                <a:lnTo>
                  <a:pt x="150" y="134"/>
                </a:lnTo>
                <a:lnTo>
                  <a:pt x="150" y="138"/>
                </a:lnTo>
                <a:lnTo>
                  <a:pt x="150" y="142"/>
                </a:lnTo>
                <a:lnTo>
                  <a:pt x="154" y="142"/>
                </a:lnTo>
                <a:lnTo>
                  <a:pt x="154" y="146"/>
                </a:lnTo>
                <a:lnTo>
                  <a:pt x="154" y="148"/>
                </a:lnTo>
                <a:lnTo>
                  <a:pt x="158" y="148"/>
                </a:lnTo>
                <a:lnTo>
                  <a:pt x="158" y="152"/>
                </a:lnTo>
                <a:lnTo>
                  <a:pt x="162" y="152"/>
                </a:lnTo>
                <a:lnTo>
                  <a:pt x="164" y="152"/>
                </a:lnTo>
                <a:lnTo>
                  <a:pt x="164" y="148"/>
                </a:lnTo>
                <a:lnTo>
                  <a:pt x="164" y="146"/>
                </a:lnTo>
                <a:lnTo>
                  <a:pt x="168" y="146"/>
                </a:lnTo>
                <a:lnTo>
                  <a:pt x="172" y="146"/>
                </a:lnTo>
                <a:lnTo>
                  <a:pt x="176" y="142"/>
                </a:lnTo>
                <a:lnTo>
                  <a:pt x="180" y="142"/>
                </a:lnTo>
                <a:lnTo>
                  <a:pt x="180" y="138"/>
                </a:lnTo>
                <a:lnTo>
                  <a:pt x="180" y="134"/>
                </a:lnTo>
                <a:lnTo>
                  <a:pt x="180" y="134"/>
                </a:lnTo>
                <a:lnTo>
                  <a:pt x="180" y="134"/>
                </a:lnTo>
                <a:close/>
                <a:moveTo>
                  <a:pt x="302" y="470"/>
                </a:moveTo>
                <a:lnTo>
                  <a:pt x="298" y="470"/>
                </a:lnTo>
                <a:lnTo>
                  <a:pt x="298" y="466"/>
                </a:lnTo>
                <a:lnTo>
                  <a:pt x="302" y="466"/>
                </a:lnTo>
                <a:lnTo>
                  <a:pt x="302" y="470"/>
                </a:lnTo>
                <a:lnTo>
                  <a:pt x="302" y="470"/>
                </a:lnTo>
                <a:lnTo>
                  <a:pt x="302" y="470"/>
                </a:lnTo>
                <a:close/>
              </a:path>
            </a:pathLst>
          </a:custGeom>
          <a:solidFill>
            <a:srgbClr val="A0DCFF"/>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88" name="Freeform 195"/>
          <p:cNvSpPr>
            <a:spLocks noEditPoints="1"/>
          </p:cNvSpPr>
          <p:nvPr/>
        </p:nvSpPr>
        <p:spPr bwMode="auto">
          <a:xfrm>
            <a:off x="3950494" y="2764631"/>
            <a:ext cx="378619" cy="359569"/>
          </a:xfrm>
          <a:custGeom>
            <a:avLst/>
            <a:gdLst>
              <a:gd name="T0" fmla="*/ 210 w 318"/>
              <a:gd name="T1" fmla="*/ 8 h 302"/>
              <a:gd name="T2" fmla="*/ 224 w 318"/>
              <a:gd name="T3" fmla="*/ 8 h 302"/>
              <a:gd name="T4" fmla="*/ 236 w 318"/>
              <a:gd name="T5" fmla="*/ 12 h 302"/>
              <a:gd name="T6" fmla="*/ 250 w 318"/>
              <a:gd name="T7" fmla="*/ 18 h 302"/>
              <a:gd name="T8" fmla="*/ 266 w 318"/>
              <a:gd name="T9" fmla="*/ 18 h 302"/>
              <a:gd name="T10" fmla="*/ 278 w 318"/>
              <a:gd name="T11" fmla="*/ 22 h 302"/>
              <a:gd name="T12" fmla="*/ 296 w 318"/>
              <a:gd name="T13" fmla="*/ 26 h 302"/>
              <a:gd name="T14" fmla="*/ 304 w 318"/>
              <a:gd name="T15" fmla="*/ 36 h 302"/>
              <a:gd name="T16" fmla="*/ 284 w 318"/>
              <a:gd name="T17" fmla="*/ 48 h 302"/>
              <a:gd name="T18" fmla="*/ 270 w 318"/>
              <a:gd name="T19" fmla="*/ 58 h 302"/>
              <a:gd name="T20" fmla="*/ 266 w 318"/>
              <a:gd name="T21" fmla="*/ 62 h 302"/>
              <a:gd name="T22" fmla="*/ 254 w 318"/>
              <a:gd name="T23" fmla="*/ 88 h 302"/>
              <a:gd name="T24" fmla="*/ 258 w 318"/>
              <a:gd name="T25" fmla="*/ 100 h 302"/>
              <a:gd name="T26" fmla="*/ 248 w 318"/>
              <a:gd name="T27" fmla="*/ 110 h 302"/>
              <a:gd name="T28" fmla="*/ 236 w 318"/>
              <a:gd name="T29" fmla="*/ 122 h 302"/>
              <a:gd name="T30" fmla="*/ 220 w 318"/>
              <a:gd name="T31" fmla="*/ 134 h 302"/>
              <a:gd name="T32" fmla="*/ 202 w 318"/>
              <a:gd name="T33" fmla="*/ 134 h 302"/>
              <a:gd name="T34" fmla="*/ 188 w 318"/>
              <a:gd name="T35" fmla="*/ 140 h 302"/>
              <a:gd name="T36" fmla="*/ 176 w 318"/>
              <a:gd name="T37" fmla="*/ 144 h 302"/>
              <a:gd name="T38" fmla="*/ 168 w 318"/>
              <a:gd name="T39" fmla="*/ 134 h 302"/>
              <a:gd name="T40" fmla="*/ 154 w 318"/>
              <a:gd name="T41" fmla="*/ 118 h 302"/>
              <a:gd name="T42" fmla="*/ 158 w 318"/>
              <a:gd name="T43" fmla="*/ 108 h 302"/>
              <a:gd name="T44" fmla="*/ 158 w 318"/>
              <a:gd name="T45" fmla="*/ 92 h 302"/>
              <a:gd name="T46" fmla="*/ 154 w 318"/>
              <a:gd name="T47" fmla="*/ 78 h 302"/>
              <a:gd name="T48" fmla="*/ 162 w 318"/>
              <a:gd name="T49" fmla="*/ 62 h 302"/>
              <a:gd name="T50" fmla="*/ 168 w 318"/>
              <a:gd name="T51" fmla="*/ 44 h 302"/>
              <a:gd name="T52" fmla="*/ 164 w 318"/>
              <a:gd name="T53" fmla="*/ 32 h 302"/>
              <a:gd name="T54" fmla="*/ 146 w 318"/>
              <a:gd name="T55" fmla="*/ 36 h 302"/>
              <a:gd name="T56" fmla="*/ 134 w 318"/>
              <a:gd name="T57" fmla="*/ 32 h 302"/>
              <a:gd name="T58" fmla="*/ 134 w 318"/>
              <a:gd name="T59" fmla="*/ 28 h 302"/>
              <a:gd name="T60" fmla="*/ 132 w 318"/>
              <a:gd name="T61" fmla="*/ 26 h 302"/>
              <a:gd name="T62" fmla="*/ 132 w 318"/>
              <a:gd name="T63" fmla="*/ 18 h 302"/>
              <a:gd name="T64" fmla="*/ 134 w 318"/>
              <a:gd name="T65" fmla="*/ 8 h 302"/>
              <a:gd name="T66" fmla="*/ 154 w 318"/>
              <a:gd name="T67" fmla="*/ 4 h 302"/>
              <a:gd name="T68" fmla="*/ 176 w 318"/>
              <a:gd name="T69" fmla="*/ 0 h 302"/>
              <a:gd name="T70" fmla="*/ 192 w 318"/>
              <a:gd name="T71" fmla="*/ 8 h 302"/>
              <a:gd name="T72" fmla="*/ 184 w 318"/>
              <a:gd name="T73" fmla="*/ 152 h 302"/>
              <a:gd name="T74" fmla="*/ 218 w 318"/>
              <a:gd name="T75" fmla="*/ 164 h 302"/>
              <a:gd name="T76" fmla="*/ 318 w 318"/>
              <a:gd name="T77" fmla="*/ 70 h 302"/>
              <a:gd name="T78" fmla="*/ 296 w 318"/>
              <a:gd name="T79" fmla="*/ 78 h 302"/>
              <a:gd name="T80" fmla="*/ 304 w 318"/>
              <a:gd name="T81" fmla="*/ 82 h 302"/>
              <a:gd name="T82" fmla="*/ 292 w 318"/>
              <a:gd name="T83" fmla="*/ 82 h 302"/>
              <a:gd name="T84" fmla="*/ 278 w 318"/>
              <a:gd name="T85" fmla="*/ 92 h 302"/>
              <a:gd name="T86" fmla="*/ 278 w 318"/>
              <a:gd name="T87" fmla="*/ 96 h 302"/>
              <a:gd name="T88" fmla="*/ 64 w 318"/>
              <a:gd name="T89" fmla="*/ 276 h 302"/>
              <a:gd name="T90" fmla="*/ 64 w 318"/>
              <a:gd name="T91" fmla="*/ 282 h 302"/>
              <a:gd name="T92" fmla="*/ 8 w 318"/>
              <a:gd name="T93" fmla="*/ 282 h 302"/>
              <a:gd name="T94" fmla="*/ 56 w 318"/>
              <a:gd name="T95" fmla="*/ 294 h 302"/>
              <a:gd name="T96" fmla="*/ 60 w 318"/>
              <a:gd name="T97" fmla="*/ 290 h 302"/>
              <a:gd name="T98" fmla="*/ 22 w 318"/>
              <a:gd name="T99" fmla="*/ 294 h 302"/>
              <a:gd name="T100" fmla="*/ 26 w 318"/>
              <a:gd name="T101" fmla="*/ 286 h 302"/>
              <a:gd name="T102" fmla="*/ 22 w 318"/>
              <a:gd name="T103" fmla="*/ 298 h 302"/>
              <a:gd name="T104" fmla="*/ 16 w 318"/>
              <a:gd name="T105" fmla="*/ 298 h 302"/>
              <a:gd name="T106" fmla="*/ 42 w 318"/>
              <a:gd name="T107" fmla="*/ 298 h 302"/>
              <a:gd name="T108" fmla="*/ 4 w 318"/>
              <a:gd name="T109"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18" h="302">
                <a:moveTo>
                  <a:pt x="194" y="8"/>
                </a:moveTo>
                <a:lnTo>
                  <a:pt x="198" y="8"/>
                </a:lnTo>
                <a:lnTo>
                  <a:pt x="202" y="4"/>
                </a:lnTo>
                <a:lnTo>
                  <a:pt x="206" y="4"/>
                </a:lnTo>
                <a:lnTo>
                  <a:pt x="210" y="4"/>
                </a:lnTo>
                <a:lnTo>
                  <a:pt x="210" y="8"/>
                </a:lnTo>
                <a:lnTo>
                  <a:pt x="214" y="8"/>
                </a:lnTo>
                <a:lnTo>
                  <a:pt x="218" y="8"/>
                </a:lnTo>
                <a:lnTo>
                  <a:pt x="218" y="4"/>
                </a:lnTo>
                <a:lnTo>
                  <a:pt x="220" y="4"/>
                </a:lnTo>
                <a:lnTo>
                  <a:pt x="220" y="8"/>
                </a:lnTo>
                <a:lnTo>
                  <a:pt x="224" y="8"/>
                </a:lnTo>
                <a:lnTo>
                  <a:pt x="228" y="8"/>
                </a:lnTo>
                <a:lnTo>
                  <a:pt x="232" y="8"/>
                </a:lnTo>
                <a:lnTo>
                  <a:pt x="236" y="8"/>
                </a:lnTo>
                <a:lnTo>
                  <a:pt x="240" y="8"/>
                </a:lnTo>
                <a:lnTo>
                  <a:pt x="240" y="12"/>
                </a:lnTo>
                <a:lnTo>
                  <a:pt x="236" y="12"/>
                </a:lnTo>
                <a:lnTo>
                  <a:pt x="240" y="12"/>
                </a:lnTo>
                <a:lnTo>
                  <a:pt x="240" y="14"/>
                </a:lnTo>
                <a:lnTo>
                  <a:pt x="240" y="12"/>
                </a:lnTo>
                <a:lnTo>
                  <a:pt x="244" y="14"/>
                </a:lnTo>
                <a:lnTo>
                  <a:pt x="248" y="14"/>
                </a:lnTo>
                <a:lnTo>
                  <a:pt x="250" y="18"/>
                </a:lnTo>
                <a:lnTo>
                  <a:pt x="254" y="18"/>
                </a:lnTo>
                <a:lnTo>
                  <a:pt x="258" y="18"/>
                </a:lnTo>
                <a:lnTo>
                  <a:pt x="262" y="18"/>
                </a:lnTo>
                <a:lnTo>
                  <a:pt x="266" y="18"/>
                </a:lnTo>
                <a:lnTo>
                  <a:pt x="270" y="18"/>
                </a:lnTo>
                <a:lnTo>
                  <a:pt x="266" y="18"/>
                </a:lnTo>
                <a:lnTo>
                  <a:pt x="270" y="18"/>
                </a:lnTo>
                <a:lnTo>
                  <a:pt x="270" y="14"/>
                </a:lnTo>
                <a:lnTo>
                  <a:pt x="270" y="18"/>
                </a:lnTo>
                <a:lnTo>
                  <a:pt x="274" y="18"/>
                </a:lnTo>
                <a:lnTo>
                  <a:pt x="278" y="18"/>
                </a:lnTo>
                <a:lnTo>
                  <a:pt x="278" y="22"/>
                </a:lnTo>
                <a:lnTo>
                  <a:pt x="280" y="26"/>
                </a:lnTo>
                <a:lnTo>
                  <a:pt x="284" y="22"/>
                </a:lnTo>
                <a:lnTo>
                  <a:pt x="284" y="26"/>
                </a:lnTo>
                <a:lnTo>
                  <a:pt x="288" y="26"/>
                </a:lnTo>
                <a:lnTo>
                  <a:pt x="292" y="26"/>
                </a:lnTo>
                <a:lnTo>
                  <a:pt x="296" y="26"/>
                </a:lnTo>
                <a:lnTo>
                  <a:pt x="300" y="22"/>
                </a:lnTo>
                <a:lnTo>
                  <a:pt x="304" y="26"/>
                </a:lnTo>
                <a:lnTo>
                  <a:pt x="306" y="26"/>
                </a:lnTo>
                <a:lnTo>
                  <a:pt x="304" y="28"/>
                </a:lnTo>
                <a:lnTo>
                  <a:pt x="304" y="32"/>
                </a:lnTo>
                <a:lnTo>
                  <a:pt x="304" y="36"/>
                </a:lnTo>
                <a:lnTo>
                  <a:pt x="300" y="36"/>
                </a:lnTo>
                <a:lnTo>
                  <a:pt x="296" y="40"/>
                </a:lnTo>
                <a:lnTo>
                  <a:pt x="292" y="44"/>
                </a:lnTo>
                <a:lnTo>
                  <a:pt x="288" y="44"/>
                </a:lnTo>
                <a:lnTo>
                  <a:pt x="288" y="48"/>
                </a:lnTo>
                <a:lnTo>
                  <a:pt x="284" y="48"/>
                </a:lnTo>
                <a:lnTo>
                  <a:pt x="280" y="48"/>
                </a:lnTo>
                <a:lnTo>
                  <a:pt x="278" y="52"/>
                </a:lnTo>
                <a:lnTo>
                  <a:pt x="274" y="52"/>
                </a:lnTo>
                <a:lnTo>
                  <a:pt x="270" y="52"/>
                </a:lnTo>
                <a:lnTo>
                  <a:pt x="270" y="54"/>
                </a:lnTo>
                <a:lnTo>
                  <a:pt x="270" y="58"/>
                </a:lnTo>
                <a:lnTo>
                  <a:pt x="270" y="62"/>
                </a:lnTo>
                <a:lnTo>
                  <a:pt x="266" y="62"/>
                </a:lnTo>
                <a:lnTo>
                  <a:pt x="266" y="58"/>
                </a:lnTo>
                <a:lnTo>
                  <a:pt x="270" y="58"/>
                </a:lnTo>
                <a:lnTo>
                  <a:pt x="266" y="58"/>
                </a:lnTo>
                <a:lnTo>
                  <a:pt x="266" y="62"/>
                </a:lnTo>
                <a:lnTo>
                  <a:pt x="262" y="66"/>
                </a:lnTo>
                <a:lnTo>
                  <a:pt x="258" y="70"/>
                </a:lnTo>
                <a:lnTo>
                  <a:pt x="258" y="74"/>
                </a:lnTo>
                <a:lnTo>
                  <a:pt x="254" y="78"/>
                </a:lnTo>
                <a:lnTo>
                  <a:pt x="254" y="82"/>
                </a:lnTo>
                <a:lnTo>
                  <a:pt x="254" y="88"/>
                </a:lnTo>
                <a:lnTo>
                  <a:pt x="254" y="92"/>
                </a:lnTo>
                <a:lnTo>
                  <a:pt x="258" y="92"/>
                </a:lnTo>
                <a:lnTo>
                  <a:pt x="262" y="92"/>
                </a:lnTo>
                <a:lnTo>
                  <a:pt x="262" y="96"/>
                </a:lnTo>
                <a:lnTo>
                  <a:pt x="258" y="96"/>
                </a:lnTo>
                <a:lnTo>
                  <a:pt x="258" y="100"/>
                </a:lnTo>
                <a:lnTo>
                  <a:pt x="254" y="100"/>
                </a:lnTo>
                <a:lnTo>
                  <a:pt x="254" y="104"/>
                </a:lnTo>
                <a:lnTo>
                  <a:pt x="250" y="104"/>
                </a:lnTo>
                <a:lnTo>
                  <a:pt x="250" y="108"/>
                </a:lnTo>
                <a:lnTo>
                  <a:pt x="250" y="110"/>
                </a:lnTo>
                <a:lnTo>
                  <a:pt x="248" y="110"/>
                </a:lnTo>
                <a:lnTo>
                  <a:pt x="248" y="114"/>
                </a:lnTo>
                <a:lnTo>
                  <a:pt x="248" y="118"/>
                </a:lnTo>
                <a:lnTo>
                  <a:pt x="244" y="118"/>
                </a:lnTo>
                <a:lnTo>
                  <a:pt x="240" y="118"/>
                </a:lnTo>
                <a:lnTo>
                  <a:pt x="236" y="118"/>
                </a:lnTo>
                <a:lnTo>
                  <a:pt x="236" y="122"/>
                </a:lnTo>
                <a:lnTo>
                  <a:pt x="232" y="126"/>
                </a:lnTo>
                <a:lnTo>
                  <a:pt x="232" y="130"/>
                </a:lnTo>
                <a:lnTo>
                  <a:pt x="228" y="130"/>
                </a:lnTo>
                <a:lnTo>
                  <a:pt x="228" y="134"/>
                </a:lnTo>
                <a:lnTo>
                  <a:pt x="224" y="134"/>
                </a:lnTo>
                <a:lnTo>
                  <a:pt x="220" y="134"/>
                </a:lnTo>
                <a:lnTo>
                  <a:pt x="218" y="138"/>
                </a:lnTo>
                <a:lnTo>
                  <a:pt x="218" y="134"/>
                </a:lnTo>
                <a:lnTo>
                  <a:pt x="214" y="134"/>
                </a:lnTo>
                <a:lnTo>
                  <a:pt x="210" y="134"/>
                </a:lnTo>
                <a:lnTo>
                  <a:pt x="206" y="134"/>
                </a:lnTo>
                <a:lnTo>
                  <a:pt x="202" y="134"/>
                </a:lnTo>
                <a:lnTo>
                  <a:pt x="198" y="134"/>
                </a:lnTo>
                <a:lnTo>
                  <a:pt x="194" y="134"/>
                </a:lnTo>
                <a:lnTo>
                  <a:pt x="194" y="138"/>
                </a:lnTo>
                <a:lnTo>
                  <a:pt x="192" y="138"/>
                </a:lnTo>
                <a:lnTo>
                  <a:pt x="188" y="138"/>
                </a:lnTo>
                <a:lnTo>
                  <a:pt x="188" y="140"/>
                </a:lnTo>
                <a:lnTo>
                  <a:pt x="184" y="140"/>
                </a:lnTo>
                <a:lnTo>
                  <a:pt x="184" y="144"/>
                </a:lnTo>
                <a:lnTo>
                  <a:pt x="180" y="144"/>
                </a:lnTo>
                <a:lnTo>
                  <a:pt x="180" y="148"/>
                </a:lnTo>
                <a:lnTo>
                  <a:pt x="176" y="148"/>
                </a:lnTo>
                <a:lnTo>
                  <a:pt x="176" y="144"/>
                </a:lnTo>
                <a:lnTo>
                  <a:pt x="172" y="144"/>
                </a:lnTo>
                <a:lnTo>
                  <a:pt x="172" y="140"/>
                </a:lnTo>
                <a:lnTo>
                  <a:pt x="168" y="140"/>
                </a:lnTo>
                <a:lnTo>
                  <a:pt x="172" y="138"/>
                </a:lnTo>
                <a:lnTo>
                  <a:pt x="168" y="138"/>
                </a:lnTo>
                <a:lnTo>
                  <a:pt x="168" y="134"/>
                </a:lnTo>
                <a:lnTo>
                  <a:pt x="164" y="130"/>
                </a:lnTo>
                <a:lnTo>
                  <a:pt x="162" y="126"/>
                </a:lnTo>
                <a:lnTo>
                  <a:pt x="158" y="126"/>
                </a:lnTo>
                <a:lnTo>
                  <a:pt x="154" y="126"/>
                </a:lnTo>
                <a:lnTo>
                  <a:pt x="154" y="122"/>
                </a:lnTo>
                <a:lnTo>
                  <a:pt x="154" y="118"/>
                </a:lnTo>
                <a:lnTo>
                  <a:pt x="150" y="118"/>
                </a:lnTo>
                <a:lnTo>
                  <a:pt x="154" y="114"/>
                </a:lnTo>
                <a:lnTo>
                  <a:pt x="154" y="110"/>
                </a:lnTo>
                <a:lnTo>
                  <a:pt x="158" y="110"/>
                </a:lnTo>
                <a:lnTo>
                  <a:pt x="162" y="108"/>
                </a:lnTo>
                <a:lnTo>
                  <a:pt x="158" y="108"/>
                </a:lnTo>
                <a:lnTo>
                  <a:pt x="158" y="104"/>
                </a:lnTo>
                <a:lnTo>
                  <a:pt x="154" y="104"/>
                </a:lnTo>
                <a:lnTo>
                  <a:pt x="154" y="100"/>
                </a:lnTo>
                <a:lnTo>
                  <a:pt x="154" y="96"/>
                </a:lnTo>
                <a:lnTo>
                  <a:pt x="158" y="96"/>
                </a:lnTo>
                <a:lnTo>
                  <a:pt x="158" y="92"/>
                </a:lnTo>
                <a:lnTo>
                  <a:pt x="162" y="88"/>
                </a:lnTo>
                <a:lnTo>
                  <a:pt x="158" y="88"/>
                </a:lnTo>
                <a:lnTo>
                  <a:pt x="154" y="84"/>
                </a:lnTo>
                <a:lnTo>
                  <a:pt x="154" y="82"/>
                </a:lnTo>
                <a:lnTo>
                  <a:pt x="150" y="78"/>
                </a:lnTo>
                <a:lnTo>
                  <a:pt x="154" y="78"/>
                </a:lnTo>
                <a:lnTo>
                  <a:pt x="158" y="78"/>
                </a:lnTo>
                <a:lnTo>
                  <a:pt x="162" y="70"/>
                </a:lnTo>
                <a:lnTo>
                  <a:pt x="158" y="70"/>
                </a:lnTo>
                <a:lnTo>
                  <a:pt x="158" y="66"/>
                </a:lnTo>
                <a:lnTo>
                  <a:pt x="162" y="66"/>
                </a:lnTo>
                <a:lnTo>
                  <a:pt x="162" y="62"/>
                </a:lnTo>
                <a:lnTo>
                  <a:pt x="162" y="58"/>
                </a:lnTo>
                <a:lnTo>
                  <a:pt x="162" y="54"/>
                </a:lnTo>
                <a:lnTo>
                  <a:pt x="162" y="52"/>
                </a:lnTo>
                <a:lnTo>
                  <a:pt x="164" y="48"/>
                </a:lnTo>
                <a:lnTo>
                  <a:pt x="168" y="48"/>
                </a:lnTo>
                <a:lnTo>
                  <a:pt x="168" y="44"/>
                </a:lnTo>
                <a:lnTo>
                  <a:pt x="168" y="40"/>
                </a:lnTo>
                <a:lnTo>
                  <a:pt x="172" y="40"/>
                </a:lnTo>
                <a:lnTo>
                  <a:pt x="168" y="40"/>
                </a:lnTo>
                <a:lnTo>
                  <a:pt x="164" y="40"/>
                </a:lnTo>
                <a:lnTo>
                  <a:pt x="164" y="36"/>
                </a:lnTo>
                <a:lnTo>
                  <a:pt x="164" y="32"/>
                </a:lnTo>
                <a:lnTo>
                  <a:pt x="162" y="32"/>
                </a:lnTo>
                <a:lnTo>
                  <a:pt x="158" y="32"/>
                </a:lnTo>
                <a:lnTo>
                  <a:pt x="158" y="36"/>
                </a:lnTo>
                <a:lnTo>
                  <a:pt x="154" y="36"/>
                </a:lnTo>
                <a:lnTo>
                  <a:pt x="150" y="36"/>
                </a:lnTo>
                <a:lnTo>
                  <a:pt x="146" y="36"/>
                </a:lnTo>
                <a:lnTo>
                  <a:pt x="142" y="36"/>
                </a:lnTo>
                <a:lnTo>
                  <a:pt x="142" y="32"/>
                </a:lnTo>
                <a:lnTo>
                  <a:pt x="142" y="28"/>
                </a:lnTo>
                <a:lnTo>
                  <a:pt x="138" y="28"/>
                </a:lnTo>
                <a:lnTo>
                  <a:pt x="138" y="32"/>
                </a:lnTo>
                <a:lnTo>
                  <a:pt x="134" y="32"/>
                </a:lnTo>
                <a:lnTo>
                  <a:pt x="132" y="36"/>
                </a:lnTo>
                <a:lnTo>
                  <a:pt x="132" y="32"/>
                </a:lnTo>
                <a:lnTo>
                  <a:pt x="132" y="28"/>
                </a:lnTo>
                <a:lnTo>
                  <a:pt x="134" y="28"/>
                </a:lnTo>
                <a:lnTo>
                  <a:pt x="134" y="26"/>
                </a:lnTo>
                <a:lnTo>
                  <a:pt x="134" y="28"/>
                </a:lnTo>
                <a:lnTo>
                  <a:pt x="132" y="28"/>
                </a:lnTo>
                <a:lnTo>
                  <a:pt x="132" y="26"/>
                </a:lnTo>
                <a:lnTo>
                  <a:pt x="134" y="26"/>
                </a:lnTo>
                <a:lnTo>
                  <a:pt x="132" y="26"/>
                </a:lnTo>
                <a:lnTo>
                  <a:pt x="132" y="22"/>
                </a:lnTo>
                <a:lnTo>
                  <a:pt x="132" y="26"/>
                </a:lnTo>
                <a:lnTo>
                  <a:pt x="134" y="22"/>
                </a:lnTo>
                <a:lnTo>
                  <a:pt x="132" y="22"/>
                </a:lnTo>
                <a:lnTo>
                  <a:pt x="134" y="22"/>
                </a:lnTo>
                <a:lnTo>
                  <a:pt x="134" y="18"/>
                </a:lnTo>
                <a:lnTo>
                  <a:pt x="132" y="22"/>
                </a:lnTo>
                <a:lnTo>
                  <a:pt x="132" y="18"/>
                </a:lnTo>
                <a:lnTo>
                  <a:pt x="128" y="18"/>
                </a:lnTo>
                <a:lnTo>
                  <a:pt x="128" y="14"/>
                </a:lnTo>
                <a:lnTo>
                  <a:pt x="128" y="12"/>
                </a:lnTo>
                <a:lnTo>
                  <a:pt x="132" y="12"/>
                </a:lnTo>
                <a:lnTo>
                  <a:pt x="132" y="8"/>
                </a:lnTo>
                <a:lnTo>
                  <a:pt x="134" y="8"/>
                </a:lnTo>
                <a:lnTo>
                  <a:pt x="138" y="8"/>
                </a:lnTo>
                <a:lnTo>
                  <a:pt x="142" y="4"/>
                </a:lnTo>
                <a:lnTo>
                  <a:pt x="146" y="0"/>
                </a:lnTo>
                <a:lnTo>
                  <a:pt x="150" y="0"/>
                </a:lnTo>
                <a:lnTo>
                  <a:pt x="154" y="0"/>
                </a:lnTo>
                <a:lnTo>
                  <a:pt x="154" y="4"/>
                </a:lnTo>
                <a:lnTo>
                  <a:pt x="158" y="4"/>
                </a:lnTo>
                <a:lnTo>
                  <a:pt x="162" y="4"/>
                </a:lnTo>
                <a:lnTo>
                  <a:pt x="164" y="4"/>
                </a:lnTo>
                <a:lnTo>
                  <a:pt x="168" y="4"/>
                </a:lnTo>
                <a:lnTo>
                  <a:pt x="172" y="4"/>
                </a:lnTo>
                <a:lnTo>
                  <a:pt x="176" y="0"/>
                </a:lnTo>
                <a:lnTo>
                  <a:pt x="176" y="4"/>
                </a:lnTo>
                <a:lnTo>
                  <a:pt x="180" y="4"/>
                </a:lnTo>
                <a:lnTo>
                  <a:pt x="184" y="4"/>
                </a:lnTo>
                <a:lnTo>
                  <a:pt x="188" y="4"/>
                </a:lnTo>
                <a:lnTo>
                  <a:pt x="192" y="4"/>
                </a:lnTo>
                <a:lnTo>
                  <a:pt x="192" y="8"/>
                </a:lnTo>
                <a:lnTo>
                  <a:pt x="194" y="8"/>
                </a:lnTo>
                <a:lnTo>
                  <a:pt x="194" y="8"/>
                </a:lnTo>
                <a:lnTo>
                  <a:pt x="194" y="8"/>
                </a:lnTo>
                <a:close/>
                <a:moveTo>
                  <a:pt x="184" y="152"/>
                </a:moveTo>
                <a:lnTo>
                  <a:pt x="184" y="148"/>
                </a:lnTo>
                <a:lnTo>
                  <a:pt x="184" y="152"/>
                </a:lnTo>
                <a:lnTo>
                  <a:pt x="184" y="152"/>
                </a:lnTo>
                <a:lnTo>
                  <a:pt x="184" y="152"/>
                </a:lnTo>
                <a:close/>
                <a:moveTo>
                  <a:pt x="218" y="164"/>
                </a:moveTo>
                <a:lnTo>
                  <a:pt x="218" y="160"/>
                </a:lnTo>
                <a:lnTo>
                  <a:pt x="218" y="164"/>
                </a:lnTo>
                <a:lnTo>
                  <a:pt x="218" y="164"/>
                </a:lnTo>
                <a:lnTo>
                  <a:pt x="218" y="164"/>
                </a:lnTo>
                <a:close/>
                <a:moveTo>
                  <a:pt x="318" y="74"/>
                </a:moveTo>
                <a:lnTo>
                  <a:pt x="314" y="74"/>
                </a:lnTo>
                <a:lnTo>
                  <a:pt x="310" y="70"/>
                </a:lnTo>
                <a:lnTo>
                  <a:pt x="314" y="70"/>
                </a:lnTo>
                <a:lnTo>
                  <a:pt x="318" y="70"/>
                </a:lnTo>
                <a:lnTo>
                  <a:pt x="318" y="74"/>
                </a:lnTo>
                <a:lnTo>
                  <a:pt x="318" y="74"/>
                </a:lnTo>
                <a:lnTo>
                  <a:pt x="318" y="74"/>
                </a:lnTo>
                <a:close/>
                <a:moveTo>
                  <a:pt x="292" y="82"/>
                </a:moveTo>
                <a:lnTo>
                  <a:pt x="292" y="78"/>
                </a:lnTo>
                <a:lnTo>
                  <a:pt x="296" y="78"/>
                </a:lnTo>
                <a:lnTo>
                  <a:pt x="300" y="74"/>
                </a:lnTo>
                <a:lnTo>
                  <a:pt x="304" y="74"/>
                </a:lnTo>
                <a:lnTo>
                  <a:pt x="304" y="78"/>
                </a:lnTo>
                <a:lnTo>
                  <a:pt x="306" y="78"/>
                </a:lnTo>
                <a:lnTo>
                  <a:pt x="306" y="82"/>
                </a:lnTo>
                <a:lnTo>
                  <a:pt x="304" y="82"/>
                </a:lnTo>
                <a:lnTo>
                  <a:pt x="304" y="84"/>
                </a:lnTo>
                <a:lnTo>
                  <a:pt x="300" y="84"/>
                </a:lnTo>
                <a:lnTo>
                  <a:pt x="296" y="84"/>
                </a:lnTo>
                <a:lnTo>
                  <a:pt x="296" y="82"/>
                </a:lnTo>
                <a:lnTo>
                  <a:pt x="292" y="82"/>
                </a:lnTo>
                <a:lnTo>
                  <a:pt x="292" y="82"/>
                </a:lnTo>
                <a:lnTo>
                  <a:pt x="292" y="82"/>
                </a:lnTo>
                <a:close/>
                <a:moveTo>
                  <a:pt x="278" y="92"/>
                </a:moveTo>
                <a:lnTo>
                  <a:pt x="278" y="88"/>
                </a:lnTo>
                <a:lnTo>
                  <a:pt x="280" y="88"/>
                </a:lnTo>
                <a:lnTo>
                  <a:pt x="280" y="92"/>
                </a:lnTo>
                <a:lnTo>
                  <a:pt x="278" y="92"/>
                </a:lnTo>
                <a:lnTo>
                  <a:pt x="278" y="92"/>
                </a:lnTo>
                <a:lnTo>
                  <a:pt x="278" y="92"/>
                </a:lnTo>
                <a:close/>
                <a:moveTo>
                  <a:pt x="278" y="96"/>
                </a:moveTo>
                <a:lnTo>
                  <a:pt x="280" y="96"/>
                </a:lnTo>
                <a:lnTo>
                  <a:pt x="278" y="96"/>
                </a:lnTo>
                <a:lnTo>
                  <a:pt x="278" y="96"/>
                </a:lnTo>
                <a:lnTo>
                  <a:pt x="278" y="96"/>
                </a:lnTo>
                <a:close/>
                <a:moveTo>
                  <a:pt x="64" y="282"/>
                </a:moveTo>
                <a:lnTo>
                  <a:pt x="64" y="278"/>
                </a:lnTo>
                <a:lnTo>
                  <a:pt x="60" y="278"/>
                </a:lnTo>
                <a:lnTo>
                  <a:pt x="64" y="278"/>
                </a:lnTo>
                <a:lnTo>
                  <a:pt x="64" y="276"/>
                </a:lnTo>
                <a:lnTo>
                  <a:pt x="68" y="276"/>
                </a:lnTo>
                <a:lnTo>
                  <a:pt x="68" y="278"/>
                </a:lnTo>
                <a:lnTo>
                  <a:pt x="64" y="278"/>
                </a:lnTo>
                <a:lnTo>
                  <a:pt x="64" y="282"/>
                </a:lnTo>
                <a:lnTo>
                  <a:pt x="64" y="282"/>
                </a:lnTo>
                <a:lnTo>
                  <a:pt x="64" y="282"/>
                </a:lnTo>
                <a:close/>
                <a:moveTo>
                  <a:pt x="8" y="286"/>
                </a:moveTo>
                <a:lnTo>
                  <a:pt x="4" y="286"/>
                </a:lnTo>
                <a:lnTo>
                  <a:pt x="4" y="282"/>
                </a:lnTo>
                <a:lnTo>
                  <a:pt x="4" y="278"/>
                </a:lnTo>
                <a:lnTo>
                  <a:pt x="4" y="282"/>
                </a:lnTo>
                <a:lnTo>
                  <a:pt x="8" y="282"/>
                </a:lnTo>
                <a:lnTo>
                  <a:pt x="8" y="286"/>
                </a:lnTo>
                <a:lnTo>
                  <a:pt x="8" y="286"/>
                </a:lnTo>
                <a:lnTo>
                  <a:pt x="8" y="286"/>
                </a:lnTo>
                <a:close/>
                <a:moveTo>
                  <a:pt x="56" y="294"/>
                </a:moveTo>
                <a:lnTo>
                  <a:pt x="52" y="294"/>
                </a:lnTo>
                <a:lnTo>
                  <a:pt x="56" y="294"/>
                </a:lnTo>
                <a:lnTo>
                  <a:pt x="56" y="290"/>
                </a:lnTo>
                <a:lnTo>
                  <a:pt x="60" y="286"/>
                </a:lnTo>
                <a:lnTo>
                  <a:pt x="60" y="282"/>
                </a:lnTo>
                <a:lnTo>
                  <a:pt x="64" y="282"/>
                </a:lnTo>
                <a:lnTo>
                  <a:pt x="64" y="286"/>
                </a:lnTo>
                <a:lnTo>
                  <a:pt x="60" y="290"/>
                </a:lnTo>
                <a:lnTo>
                  <a:pt x="60" y="294"/>
                </a:lnTo>
                <a:lnTo>
                  <a:pt x="56" y="294"/>
                </a:lnTo>
                <a:lnTo>
                  <a:pt x="56" y="294"/>
                </a:lnTo>
                <a:lnTo>
                  <a:pt x="56" y="294"/>
                </a:lnTo>
                <a:close/>
                <a:moveTo>
                  <a:pt x="22" y="298"/>
                </a:moveTo>
                <a:lnTo>
                  <a:pt x="22" y="294"/>
                </a:lnTo>
                <a:lnTo>
                  <a:pt x="20" y="294"/>
                </a:lnTo>
                <a:lnTo>
                  <a:pt x="20" y="290"/>
                </a:lnTo>
                <a:lnTo>
                  <a:pt x="22" y="290"/>
                </a:lnTo>
                <a:lnTo>
                  <a:pt x="26" y="286"/>
                </a:lnTo>
                <a:lnTo>
                  <a:pt x="30" y="286"/>
                </a:lnTo>
                <a:lnTo>
                  <a:pt x="26" y="286"/>
                </a:lnTo>
                <a:lnTo>
                  <a:pt x="26" y="290"/>
                </a:lnTo>
                <a:lnTo>
                  <a:pt x="26" y="294"/>
                </a:lnTo>
                <a:lnTo>
                  <a:pt x="22" y="294"/>
                </a:lnTo>
                <a:lnTo>
                  <a:pt x="22" y="298"/>
                </a:lnTo>
                <a:lnTo>
                  <a:pt x="22" y="298"/>
                </a:lnTo>
                <a:lnTo>
                  <a:pt x="22" y="298"/>
                </a:lnTo>
                <a:close/>
                <a:moveTo>
                  <a:pt x="16" y="298"/>
                </a:moveTo>
                <a:lnTo>
                  <a:pt x="12" y="294"/>
                </a:lnTo>
                <a:lnTo>
                  <a:pt x="16" y="294"/>
                </a:lnTo>
                <a:lnTo>
                  <a:pt x="16" y="298"/>
                </a:lnTo>
                <a:lnTo>
                  <a:pt x="16" y="298"/>
                </a:lnTo>
                <a:lnTo>
                  <a:pt x="16" y="298"/>
                </a:lnTo>
                <a:close/>
                <a:moveTo>
                  <a:pt x="38" y="302"/>
                </a:moveTo>
                <a:lnTo>
                  <a:pt x="34" y="298"/>
                </a:lnTo>
                <a:lnTo>
                  <a:pt x="34" y="294"/>
                </a:lnTo>
                <a:lnTo>
                  <a:pt x="38" y="294"/>
                </a:lnTo>
                <a:lnTo>
                  <a:pt x="42" y="294"/>
                </a:lnTo>
                <a:lnTo>
                  <a:pt x="42" y="298"/>
                </a:lnTo>
                <a:lnTo>
                  <a:pt x="38" y="302"/>
                </a:lnTo>
                <a:lnTo>
                  <a:pt x="38" y="302"/>
                </a:lnTo>
                <a:lnTo>
                  <a:pt x="38" y="302"/>
                </a:lnTo>
                <a:close/>
                <a:moveTo>
                  <a:pt x="4" y="302"/>
                </a:moveTo>
                <a:lnTo>
                  <a:pt x="0" y="302"/>
                </a:lnTo>
                <a:lnTo>
                  <a:pt x="4" y="302"/>
                </a:lnTo>
                <a:lnTo>
                  <a:pt x="4" y="298"/>
                </a:lnTo>
                <a:lnTo>
                  <a:pt x="4" y="302"/>
                </a:lnTo>
                <a:lnTo>
                  <a:pt x="4" y="302"/>
                </a:lnTo>
                <a:lnTo>
                  <a:pt x="4" y="302"/>
                </a:lnTo>
                <a:close/>
              </a:path>
            </a:pathLst>
          </a:custGeom>
          <a:solidFill>
            <a:srgbClr val="A0DCFF"/>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89" name="Freeform 196"/>
          <p:cNvSpPr>
            <a:spLocks noEditPoints="1"/>
          </p:cNvSpPr>
          <p:nvPr/>
        </p:nvSpPr>
        <p:spPr bwMode="auto">
          <a:xfrm>
            <a:off x="1257299" y="2026443"/>
            <a:ext cx="6024563" cy="1283494"/>
          </a:xfrm>
          <a:custGeom>
            <a:avLst/>
            <a:gdLst>
              <a:gd name="T0" fmla="*/ 374 w 5060"/>
              <a:gd name="T1" fmla="*/ 280 h 1078"/>
              <a:gd name="T2" fmla="*/ 344 w 5060"/>
              <a:gd name="T3" fmla="*/ 284 h 1078"/>
              <a:gd name="T4" fmla="*/ 280 w 5060"/>
              <a:gd name="T5" fmla="*/ 358 h 1078"/>
              <a:gd name="T6" fmla="*/ 228 w 5060"/>
              <a:gd name="T7" fmla="*/ 370 h 1078"/>
              <a:gd name="T8" fmla="*/ 284 w 5060"/>
              <a:gd name="T9" fmla="*/ 294 h 1078"/>
              <a:gd name="T10" fmla="*/ 224 w 5060"/>
              <a:gd name="T11" fmla="*/ 262 h 1078"/>
              <a:gd name="T12" fmla="*/ 192 w 5060"/>
              <a:gd name="T13" fmla="*/ 238 h 1078"/>
              <a:gd name="T14" fmla="*/ 244 w 5060"/>
              <a:gd name="T15" fmla="*/ 176 h 1078"/>
              <a:gd name="T16" fmla="*/ 162 w 5060"/>
              <a:gd name="T17" fmla="*/ 150 h 1078"/>
              <a:gd name="T18" fmla="*/ 232 w 5060"/>
              <a:gd name="T19" fmla="*/ 136 h 1078"/>
              <a:gd name="T20" fmla="*/ 202 w 5060"/>
              <a:gd name="T21" fmla="*/ 94 h 1078"/>
              <a:gd name="T22" fmla="*/ 254 w 5060"/>
              <a:gd name="T23" fmla="*/ 24 h 1078"/>
              <a:gd name="T24" fmla="*/ 344 w 5060"/>
              <a:gd name="T25" fmla="*/ 12 h 1078"/>
              <a:gd name="T26" fmla="*/ 508 w 5060"/>
              <a:gd name="T27" fmla="*/ 38 h 1078"/>
              <a:gd name="T28" fmla="*/ 606 w 5060"/>
              <a:gd name="T29" fmla="*/ 280 h 1078"/>
              <a:gd name="T30" fmla="*/ 672 w 5060"/>
              <a:gd name="T31" fmla="*/ 380 h 1078"/>
              <a:gd name="T32" fmla="*/ 630 w 5060"/>
              <a:gd name="T33" fmla="*/ 322 h 1078"/>
              <a:gd name="T34" fmla="*/ 598 w 5060"/>
              <a:gd name="T35" fmla="*/ 302 h 1078"/>
              <a:gd name="T36" fmla="*/ 552 w 5060"/>
              <a:gd name="T37" fmla="*/ 276 h 1078"/>
              <a:gd name="T38" fmla="*/ 448 w 5060"/>
              <a:gd name="T39" fmla="*/ 246 h 1078"/>
              <a:gd name="T40" fmla="*/ 1440 w 5060"/>
              <a:gd name="T41" fmla="*/ 728 h 1078"/>
              <a:gd name="T42" fmla="*/ 1450 w 5060"/>
              <a:gd name="T43" fmla="*/ 764 h 1078"/>
              <a:gd name="T44" fmla="*/ 1428 w 5060"/>
              <a:gd name="T45" fmla="*/ 794 h 1078"/>
              <a:gd name="T46" fmla="*/ 1380 w 5060"/>
              <a:gd name="T47" fmla="*/ 906 h 1078"/>
              <a:gd name="T48" fmla="*/ 1350 w 5060"/>
              <a:gd name="T49" fmla="*/ 914 h 1078"/>
              <a:gd name="T50" fmla="*/ 1274 w 5060"/>
              <a:gd name="T51" fmla="*/ 874 h 1078"/>
              <a:gd name="T52" fmla="*/ 1198 w 5060"/>
              <a:gd name="T53" fmla="*/ 884 h 1078"/>
              <a:gd name="T54" fmla="*/ 1144 w 5060"/>
              <a:gd name="T55" fmla="*/ 952 h 1078"/>
              <a:gd name="T56" fmla="*/ 1026 w 5060"/>
              <a:gd name="T57" fmla="*/ 858 h 1078"/>
              <a:gd name="T58" fmla="*/ 846 w 5060"/>
              <a:gd name="T59" fmla="*/ 806 h 1078"/>
              <a:gd name="T60" fmla="*/ 784 w 5060"/>
              <a:gd name="T61" fmla="*/ 732 h 1078"/>
              <a:gd name="T62" fmla="*/ 772 w 5060"/>
              <a:gd name="T63" fmla="*/ 568 h 1078"/>
              <a:gd name="T64" fmla="*/ 790 w 5060"/>
              <a:gd name="T65" fmla="*/ 546 h 1078"/>
              <a:gd name="T66" fmla="*/ 1010 w 5060"/>
              <a:gd name="T67" fmla="*/ 512 h 1078"/>
              <a:gd name="T68" fmla="*/ 1242 w 5060"/>
              <a:gd name="T69" fmla="*/ 530 h 1078"/>
              <a:gd name="T70" fmla="*/ 1376 w 5060"/>
              <a:gd name="T71" fmla="*/ 648 h 1078"/>
              <a:gd name="T72" fmla="*/ 1532 w 5060"/>
              <a:gd name="T73" fmla="*/ 556 h 1078"/>
              <a:gd name="T74" fmla="*/ 1526 w 5060"/>
              <a:gd name="T75" fmla="*/ 620 h 1078"/>
              <a:gd name="T76" fmla="*/ 1472 w 5060"/>
              <a:gd name="T77" fmla="*/ 676 h 1078"/>
              <a:gd name="T78" fmla="*/ 1442 w 5060"/>
              <a:gd name="T79" fmla="*/ 728 h 1078"/>
              <a:gd name="T80" fmla="*/ 426 w 5060"/>
              <a:gd name="T81" fmla="*/ 258 h 1078"/>
              <a:gd name="T82" fmla="*/ 120 w 5060"/>
              <a:gd name="T83" fmla="*/ 350 h 1078"/>
              <a:gd name="T84" fmla="*/ 1144 w 5060"/>
              <a:gd name="T85" fmla="*/ 926 h 1078"/>
              <a:gd name="T86" fmla="*/ 116 w 5060"/>
              <a:gd name="T87" fmla="*/ 194 h 1078"/>
              <a:gd name="T88" fmla="*/ 172 w 5060"/>
              <a:gd name="T89" fmla="*/ 266 h 1078"/>
              <a:gd name="T90" fmla="*/ 370 w 5060"/>
              <a:gd name="T91" fmla="*/ 318 h 1078"/>
              <a:gd name="T92" fmla="*/ 606 w 5060"/>
              <a:gd name="T93" fmla="*/ 314 h 1078"/>
              <a:gd name="T94" fmla="*/ 348 w 5060"/>
              <a:gd name="T95" fmla="*/ 324 h 1078"/>
              <a:gd name="T96" fmla="*/ 340 w 5060"/>
              <a:gd name="T97" fmla="*/ 328 h 1078"/>
              <a:gd name="T98" fmla="*/ 354 w 5060"/>
              <a:gd name="T99" fmla="*/ 340 h 1078"/>
              <a:gd name="T100" fmla="*/ 630 w 5060"/>
              <a:gd name="T101" fmla="*/ 350 h 1078"/>
              <a:gd name="T102" fmla="*/ 648 w 5060"/>
              <a:gd name="T103" fmla="*/ 378 h 1078"/>
              <a:gd name="T104" fmla="*/ 660 w 5060"/>
              <a:gd name="T105" fmla="*/ 374 h 1078"/>
              <a:gd name="T106" fmla="*/ 630 w 5060"/>
              <a:gd name="T107" fmla="*/ 374 h 1078"/>
              <a:gd name="T108" fmla="*/ 634 w 5060"/>
              <a:gd name="T109" fmla="*/ 384 h 1078"/>
              <a:gd name="T110" fmla="*/ 642 w 5060"/>
              <a:gd name="T111" fmla="*/ 388 h 1078"/>
              <a:gd name="T112" fmla="*/ 168 w 5060"/>
              <a:gd name="T113" fmla="*/ 414 h 1078"/>
              <a:gd name="T114" fmla="*/ 52 w 5060"/>
              <a:gd name="T115" fmla="*/ 440 h 1078"/>
              <a:gd name="T116" fmla="*/ 24 w 5060"/>
              <a:gd name="T117" fmla="*/ 452 h 1078"/>
              <a:gd name="T118" fmla="*/ 780 w 5060"/>
              <a:gd name="T119" fmla="*/ 522 h 1078"/>
              <a:gd name="T120" fmla="*/ 1480 w 5060"/>
              <a:gd name="T121" fmla="*/ 678 h 1078"/>
              <a:gd name="T122" fmla="*/ 1152 w 5060"/>
              <a:gd name="T123" fmla="*/ 914 h 1078"/>
              <a:gd name="T124" fmla="*/ 302 w 5060"/>
              <a:gd name="T125" fmla="*/ 1046 h 10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060" h="1078">
                <a:moveTo>
                  <a:pt x="418" y="266"/>
                </a:moveTo>
                <a:lnTo>
                  <a:pt x="418" y="262"/>
                </a:lnTo>
                <a:lnTo>
                  <a:pt x="422" y="262"/>
                </a:lnTo>
                <a:lnTo>
                  <a:pt x="426" y="262"/>
                </a:lnTo>
                <a:lnTo>
                  <a:pt x="430" y="262"/>
                </a:lnTo>
                <a:lnTo>
                  <a:pt x="430" y="266"/>
                </a:lnTo>
                <a:lnTo>
                  <a:pt x="426" y="266"/>
                </a:lnTo>
                <a:lnTo>
                  <a:pt x="422" y="268"/>
                </a:lnTo>
                <a:lnTo>
                  <a:pt x="426" y="268"/>
                </a:lnTo>
                <a:lnTo>
                  <a:pt x="426" y="272"/>
                </a:lnTo>
                <a:lnTo>
                  <a:pt x="422" y="272"/>
                </a:lnTo>
                <a:lnTo>
                  <a:pt x="422" y="268"/>
                </a:lnTo>
                <a:lnTo>
                  <a:pt x="422" y="272"/>
                </a:lnTo>
                <a:lnTo>
                  <a:pt x="422" y="276"/>
                </a:lnTo>
                <a:lnTo>
                  <a:pt x="418" y="276"/>
                </a:lnTo>
                <a:lnTo>
                  <a:pt x="414" y="276"/>
                </a:lnTo>
                <a:lnTo>
                  <a:pt x="410" y="276"/>
                </a:lnTo>
                <a:lnTo>
                  <a:pt x="410" y="272"/>
                </a:lnTo>
                <a:lnTo>
                  <a:pt x="410" y="276"/>
                </a:lnTo>
                <a:lnTo>
                  <a:pt x="406" y="276"/>
                </a:lnTo>
                <a:lnTo>
                  <a:pt x="406" y="272"/>
                </a:lnTo>
                <a:lnTo>
                  <a:pt x="406" y="276"/>
                </a:lnTo>
                <a:lnTo>
                  <a:pt x="404" y="276"/>
                </a:lnTo>
                <a:lnTo>
                  <a:pt x="404" y="280"/>
                </a:lnTo>
                <a:lnTo>
                  <a:pt x="406" y="280"/>
                </a:lnTo>
                <a:lnTo>
                  <a:pt x="404" y="280"/>
                </a:lnTo>
                <a:lnTo>
                  <a:pt x="404" y="276"/>
                </a:lnTo>
                <a:lnTo>
                  <a:pt x="404" y="280"/>
                </a:lnTo>
                <a:lnTo>
                  <a:pt x="404" y="284"/>
                </a:lnTo>
                <a:lnTo>
                  <a:pt x="404" y="280"/>
                </a:lnTo>
                <a:lnTo>
                  <a:pt x="400" y="280"/>
                </a:lnTo>
                <a:lnTo>
                  <a:pt x="400" y="284"/>
                </a:lnTo>
                <a:lnTo>
                  <a:pt x="396" y="288"/>
                </a:lnTo>
                <a:lnTo>
                  <a:pt x="392" y="288"/>
                </a:lnTo>
                <a:lnTo>
                  <a:pt x="392" y="284"/>
                </a:lnTo>
                <a:lnTo>
                  <a:pt x="396" y="284"/>
                </a:lnTo>
                <a:lnTo>
                  <a:pt x="396" y="280"/>
                </a:lnTo>
                <a:lnTo>
                  <a:pt x="396" y="284"/>
                </a:lnTo>
                <a:lnTo>
                  <a:pt x="392" y="284"/>
                </a:lnTo>
                <a:lnTo>
                  <a:pt x="392" y="288"/>
                </a:lnTo>
                <a:lnTo>
                  <a:pt x="392" y="284"/>
                </a:lnTo>
                <a:lnTo>
                  <a:pt x="388" y="284"/>
                </a:lnTo>
                <a:lnTo>
                  <a:pt x="392" y="288"/>
                </a:lnTo>
                <a:lnTo>
                  <a:pt x="388" y="288"/>
                </a:lnTo>
                <a:lnTo>
                  <a:pt x="384" y="292"/>
                </a:lnTo>
                <a:lnTo>
                  <a:pt x="380" y="292"/>
                </a:lnTo>
                <a:lnTo>
                  <a:pt x="384" y="292"/>
                </a:lnTo>
                <a:lnTo>
                  <a:pt x="380" y="292"/>
                </a:lnTo>
                <a:lnTo>
                  <a:pt x="378" y="292"/>
                </a:lnTo>
                <a:lnTo>
                  <a:pt x="378" y="294"/>
                </a:lnTo>
                <a:lnTo>
                  <a:pt x="374" y="294"/>
                </a:lnTo>
                <a:lnTo>
                  <a:pt x="374" y="292"/>
                </a:lnTo>
                <a:lnTo>
                  <a:pt x="370" y="292"/>
                </a:lnTo>
                <a:lnTo>
                  <a:pt x="374" y="288"/>
                </a:lnTo>
                <a:lnTo>
                  <a:pt x="378" y="288"/>
                </a:lnTo>
                <a:lnTo>
                  <a:pt x="378" y="284"/>
                </a:lnTo>
                <a:lnTo>
                  <a:pt x="380" y="284"/>
                </a:lnTo>
                <a:lnTo>
                  <a:pt x="384" y="280"/>
                </a:lnTo>
                <a:lnTo>
                  <a:pt x="380" y="280"/>
                </a:lnTo>
                <a:lnTo>
                  <a:pt x="378" y="284"/>
                </a:lnTo>
                <a:lnTo>
                  <a:pt x="374" y="280"/>
                </a:lnTo>
                <a:lnTo>
                  <a:pt x="374" y="272"/>
                </a:lnTo>
                <a:lnTo>
                  <a:pt x="378" y="272"/>
                </a:lnTo>
                <a:lnTo>
                  <a:pt x="378" y="268"/>
                </a:lnTo>
                <a:lnTo>
                  <a:pt x="380" y="266"/>
                </a:lnTo>
                <a:lnTo>
                  <a:pt x="380" y="262"/>
                </a:lnTo>
                <a:lnTo>
                  <a:pt x="380" y="258"/>
                </a:lnTo>
                <a:lnTo>
                  <a:pt x="378" y="258"/>
                </a:lnTo>
                <a:lnTo>
                  <a:pt x="380" y="258"/>
                </a:lnTo>
                <a:lnTo>
                  <a:pt x="384" y="258"/>
                </a:lnTo>
                <a:lnTo>
                  <a:pt x="388" y="254"/>
                </a:lnTo>
                <a:lnTo>
                  <a:pt x="392" y="250"/>
                </a:lnTo>
                <a:lnTo>
                  <a:pt x="396" y="250"/>
                </a:lnTo>
                <a:lnTo>
                  <a:pt x="396" y="254"/>
                </a:lnTo>
                <a:lnTo>
                  <a:pt x="400" y="254"/>
                </a:lnTo>
                <a:lnTo>
                  <a:pt x="400" y="250"/>
                </a:lnTo>
                <a:lnTo>
                  <a:pt x="404" y="250"/>
                </a:lnTo>
                <a:lnTo>
                  <a:pt x="404" y="254"/>
                </a:lnTo>
                <a:lnTo>
                  <a:pt x="406" y="254"/>
                </a:lnTo>
                <a:lnTo>
                  <a:pt x="410" y="254"/>
                </a:lnTo>
                <a:lnTo>
                  <a:pt x="406" y="254"/>
                </a:lnTo>
                <a:lnTo>
                  <a:pt x="404" y="250"/>
                </a:lnTo>
                <a:lnTo>
                  <a:pt x="400" y="250"/>
                </a:lnTo>
                <a:lnTo>
                  <a:pt x="400" y="246"/>
                </a:lnTo>
                <a:lnTo>
                  <a:pt x="400" y="242"/>
                </a:lnTo>
                <a:lnTo>
                  <a:pt x="404" y="242"/>
                </a:lnTo>
                <a:lnTo>
                  <a:pt x="406" y="242"/>
                </a:lnTo>
                <a:lnTo>
                  <a:pt x="410" y="238"/>
                </a:lnTo>
                <a:lnTo>
                  <a:pt x="406" y="238"/>
                </a:lnTo>
                <a:lnTo>
                  <a:pt x="404" y="238"/>
                </a:lnTo>
                <a:lnTo>
                  <a:pt x="404" y="242"/>
                </a:lnTo>
                <a:lnTo>
                  <a:pt x="400" y="242"/>
                </a:lnTo>
                <a:lnTo>
                  <a:pt x="400" y="246"/>
                </a:lnTo>
                <a:lnTo>
                  <a:pt x="396" y="246"/>
                </a:lnTo>
                <a:lnTo>
                  <a:pt x="392" y="246"/>
                </a:lnTo>
                <a:lnTo>
                  <a:pt x="388" y="246"/>
                </a:lnTo>
                <a:lnTo>
                  <a:pt x="384" y="246"/>
                </a:lnTo>
                <a:lnTo>
                  <a:pt x="380" y="250"/>
                </a:lnTo>
                <a:lnTo>
                  <a:pt x="378" y="250"/>
                </a:lnTo>
                <a:lnTo>
                  <a:pt x="374" y="254"/>
                </a:lnTo>
                <a:lnTo>
                  <a:pt x="374" y="258"/>
                </a:lnTo>
                <a:lnTo>
                  <a:pt x="370" y="258"/>
                </a:lnTo>
                <a:lnTo>
                  <a:pt x="370" y="262"/>
                </a:lnTo>
                <a:lnTo>
                  <a:pt x="366" y="262"/>
                </a:lnTo>
                <a:lnTo>
                  <a:pt x="366" y="266"/>
                </a:lnTo>
                <a:lnTo>
                  <a:pt x="366" y="268"/>
                </a:lnTo>
                <a:lnTo>
                  <a:pt x="362" y="268"/>
                </a:lnTo>
                <a:lnTo>
                  <a:pt x="358" y="268"/>
                </a:lnTo>
                <a:lnTo>
                  <a:pt x="354" y="268"/>
                </a:lnTo>
                <a:lnTo>
                  <a:pt x="358" y="268"/>
                </a:lnTo>
                <a:lnTo>
                  <a:pt x="362" y="272"/>
                </a:lnTo>
                <a:lnTo>
                  <a:pt x="358" y="276"/>
                </a:lnTo>
                <a:lnTo>
                  <a:pt x="354" y="276"/>
                </a:lnTo>
                <a:lnTo>
                  <a:pt x="350" y="280"/>
                </a:lnTo>
                <a:lnTo>
                  <a:pt x="354" y="276"/>
                </a:lnTo>
                <a:lnTo>
                  <a:pt x="354" y="280"/>
                </a:lnTo>
                <a:lnTo>
                  <a:pt x="354" y="284"/>
                </a:lnTo>
                <a:lnTo>
                  <a:pt x="350" y="284"/>
                </a:lnTo>
                <a:lnTo>
                  <a:pt x="350" y="280"/>
                </a:lnTo>
                <a:lnTo>
                  <a:pt x="350" y="284"/>
                </a:lnTo>
                <a:lnTo>
                  <a:pt x="348" y="284"/>
                </a:lnTo>
                <a:lnTo>
                  <a:pt x="344" y="284"/>
                </a:lnTo>
                <a:lnTo>
                  <a:pt x="348" y="288"/>
                </a:lnTo>
                <a:lnTo>
                  <a:pt x="344" y="288"/>
                </a:lnTo>
                <a:lnTo>
                  <a:pt x="340" y="288"/>
                </a:lnTo>
                <a:lnTo>
                  <a:pt x="344" y="288"/>
                </a:lnTo>
                <a:lnTo>
                  <a:pt x="340" y="292"/>
                </a:lnTo>
                <a:lnTo>
                  <a:pt x="340" y="294"/>
                </a:lnTo>
                <a:lnTo>
                  <a:pt x="344" y="294"/>
                </a:lnTo>
                <a:lnTo>
                  <a:pt x="348" y="294"/>
                </a:lnTo>
                <a:lnTo>
                  <a:pt x="348" y="298"/>
                </a:lnTo>
                <a:lnTo>
                  <a:pt x="350" y="298"/>
                </a:lnTo>
                <a:lnTo>
                  <a:pt x="350" y="302"/>
                </a:lnTo>
                <a:lnTo>
                  <a:pt x="348" y="306"/>
                </a:lnTo>
                <a:lnTo>
                  <a:pt x="344" y="306"/>
                </a:lnTo>
                <a:lnTo>
                  <a:pt x="344" y="310"/>
                </a:lnTo>
                <a:lnTo>
                  <a:pt x="340" y="310"/>
                </a:lnTo>
                <a:lnTo>
                  <a:pt x="344" y="310"/>
                </a:lnTo>
                <a:lnTo>
                  <a:pt x="340" y="310"/>
                </a:lnTo>
                <a:lnTo>
                  <a:pt x="336" y="314"/>
                </a:lnTo>
                <a:lnTo>
                  <a:pt x="340" y="314"/>
                </a:lnTo>
                <a:lnTo>
                  <a:pt x="340" y="318"/>
                </a:lnTo>
                <a:lnTo>
                  <a:pt x="336" y="318"/>
                </a:lnTo>
                <a:lnTo>
                  <a:pt x="332" y="318"/>
                </a:lnTo>
                <a:lnTo>
                  <a:pt x="332" y="322"/>
                </a:lnTo>
                <a:lnTo>
                  <a:pt x="328" y="318"/>
                </a:lnTo>
                <a:lnTo>
                  <a:pt x="328" y="322"/>
                </a:lnTo>
                <a:lnTo>
                  <a:pt x="324" y="322"/>
                </a:lnTo>
                <a:lnTo>
                  <a:pt x="324" y="324"/>
                </a:lnTo>
                <a:lnTo>
                  <a:pt x="322" y="324"/>
                </a:lnTo>
                <a:lnTo>
                  <a:pt x="318" y="324"/>
                </a:lnTo>
                <a:lnTo>
                  <a:pt x="318" y="328"/>
                </a:lnTo>
                <a:lnTo>
                  <a:pt x="314" y="328"/>
                </a:lnTo>
                <a:lnTo>
                  <a:pt x="314" y="332"/>
                </a:lnTo>
                <a:lnTo>
                  <a:pt x="310" y="332"/>
                </a:lnTo>
                <a:lnTo>
                  <a:pt x="306" y="336"/>
                </a:lnTo>
                <a:lnTo>
                  <a:pt x="310" y="336"/>
                </a:lnTo>
                <a:lnTo>
                  <a:pt x="310" y="340"/>
                </a:lnTo>
                <a:lnTo>
                  <a:pt x="306" y="340"/>
                </a:lnTo>
                <a:lnTo>
                  <a:pt x="306" y="344"/>
                </a:lnTo>
                <a:lnTo>
                  <a:pt x="302" y="344"/>
                </a:lnTo>
                <a:lnTo>
                  <a:pt x="298" y="344"/>
                </a:lnTo>
                <a:lnTo>
                  <a:pt x="298" y="348"/>
                </a:lnTo>
                <a:lnTo>
                  <a:pt x="294" y="348"/>
                </a:lnTo>
                <a:lnTo>
                  <a:pt x="294" y="344"/>
                </a:lnTo>
                <a:lnTo>
                  <a:pt x="292" y="344"/>
                </a:lnTo>
                <a:lnTo>
                  <a:pt x="292" y="348"/>
                </a:lnTo>
                <a:lnTo>
                  <a:pt x="292" y="350"/>
                </a:lnTo>
                <a:lnTo>
                  <a:pt x="288" y="348"/>
                </a:lnTo>
                <a:lnTo>
                  <a:pt x="288" y="350"/>
                </a:lnTo>
                <a:lnTo>
                  <a:pt x="284" y="350"/>
                </a:lnTo>
                <a:lnTo>
                  <a:pt x="288" y="350"/>
                </a:lnTo>
                <a:lnTo>
                  <a:pt x="288" y="354"/>
                </a:lnTo>
                <a:lnTo>
                  <a:pt x="284" y="354"/>
                </a:lnTo>
                <a:lnTo>
                  <a:pt x="284" y="350"/>
                </a:lnTo>
                <a:lnTo>
                  <a:pt x="284" y="354"/>
                </a:lnTo>
                <a:lnTo>
                  <a:pt x="280" y="354"/>
                </a:lnTo>
                <a:lnTo>
                  <a:pt x="278" y="354"/>
                </a:lnTo>
                <a:lnTo>
                  <a:pt x="278" y="358"/>
                </a:lnTo>
                <a:lnTo>
                  <a:pt x="280" y="354"/>
                </a:lnTo>
                <a:lnTo>
                  <a:pt x="280" y="358"/>
                </a:lnTo>
                <a:lnTo>
                  <a:pt x="284" y="358"/>
                </a:lnTo>
                <a:lnTo>
                  <a:pt x="280" y="358"/>
                </a:lnTo>
                <a:lnTo>
                  <a:pt x="284" y="358"/>
                </a:lnTo>
                <a:lnTo>
                  <a:pt x="280" y="362"/>
                </a:lnTo>
                <a:lnTo>
                  <a:pt x="280" y="358"/>
                </a:lnTo>
                <a:lnTo>
                  <a:pt x="280" y="362"/>
                </a:lnTo>
                <a:lnTo>
                  <a:pt x="278" y="362"/>
                </a:lnTo>
                <a:lnTo>
                  <a:pt x="280" y="358"/>
                </a:lnTo>
                <a:lnTo>
                  <a:pt x="278" y="358"/>
                </a:lnTo>
                <a:lnTo>
                  <a:pt x="278" y="362"/>
                </a:lnTo>
                <a:lnTo>
                  <a:pt x="278" y="366"/>
                </a:lnTo>
                <a:lnTo>
                  <a:pt x="278" y="362"/>
                </a:lnTo>
                <a:lnTo>
                  <a:pt x="274" y="362"/>
                </a:lnTo>
                <a:lnTo>
                  <a:pt x="274" y="366"/>
                </a:lnTo>
                <a:lnTo>
                  <a:pt x="270" y="366"/>
                </a:lnTo>
                <a:lnTo>
                  <a:pt x="266" y="366"/>
                </a:lnTo>
                <a:lnTo>
                  <a:pt x="266" y="370"/>
                </a:lnTo>
                <a:lnTo>
                  <a:pt x="262" y="370"/>
                </a:lnTo>
                <a:lnTo>
                  <a:pt x="262" y="374"/>
                </a:lnTo>
                <a:lnTo>
                  <a:pt x="262" y="370"/>
                </a:lnTo>
                <a:lnTo>
                  <a:pt x="262" y="366"/>
                </a:lnTo>
                <a:lnTo>
                  <a:pt x="258" y="366"/>
                </a:lnTo>
                <a:lnTo>
                  <a:pt x="258" y="370"/>
                </a:lnTo>
                <a:lnTo>
                  <a:pt x="254" y="370"/>
                </a:lnTo>
                <a:lnTo>
                  <a:pt x="254" y="374"/>
                </a:lnTo>
                <a:lnTo>
                  <a:pt x="250" y="374"/>
                </a:lnTo>
                <a:lnTo>
                  <a:pt x="248" y="374"/>
                </a:lnTo>
                <a:lnTo>
                  <a:pt x="248" y="378"/>
                </a:lnTo>
                <a:lnTo>
                  <a:pt x="248" y="374"/>
                </a:lnTo>
                <a:lnTo>
                  <a:pt x="244" y="374"/>
                </a:lnTo>
                <a:lnTo>
                  <a:pt x="244" y="378"/>
                </a:lnTo>
                <a:lnTo>
                  <a:pt x="240" y="378"/>
                </a:lnTo>
                <a:lnTo>
                  <a:pt x="236" y="378"/>
                </a:lnTo>
                <a:lnTo>
                  <a:pt x="236" y="374"/>
                </a:lnTo>
                <a:lnTo>
                  <a:pt x="240" y="374"/>
                </a:lnTo>
                <a:lnTo>
                  <a:pt x="236" y="374"/>
                </a:lnTo>
                <a:lnTo>
                  <a:pt x="232" y="374"/>
                </a:lnTo>
                <a:lnTo>
                  <a:pt x="232" y="378"/>
                </a:lnTo>
                <a:lnTo>
                  <a:pt x="232" y="380"/>
                </a:lnTo>
                <a:lnTo>
                  <a:pt x="228" y="380"/>
                </a:lnTo>
                <a:lnTo>
                  <a:pt x="228" y="384"/>
                </a:lnTo>
                <a:lnTo>
                  <a:pt x="228" y="380"/>
                </a:lnTo>
                <a:lnTo>
                  <a:pt x="224" y="384"/>
                </a:lnTo>
                <a:lnTo>
                  <a:pt x="222" y="384"/>
                </a:lnTo>
                <a:lnTo>
                  <a:pt x="222" y="380"/>
                </a:lnTo>
                <a:lnTo>
                  <a:pt x="222" y="384"/>
                </a:lnTo>
                <a:lnTo>
                  <a:pt x="218" y="388"/>
                </a:lnTo>
                <a:lnTo>
                  <a:pt x="218" y="384"/>
                </a:lnTo>
                <a:lnTo>
                  <a:pt x="214" y="384"/>
                </a:lnTo>
                <a:lnTo>
                  <a:pt x="214" y="380"/>
                </a:lnTo>
                <a:lnTo>
                  <a:pt x="214" y="384"/>
                </a:lnTo>
                <a:lnTo>
                  <a:pt x="214" y="388"/>
                </a:lnTo>
                <a:lnTo>
                  <a:pt x="210" y="388"/>
                </a:lnTo>
                <a:lnTo>
                  <a:pt x="210" y="384"/>
                </a:lnTo>
                <a:lnTo>
                  <a:pt x="210" y="380"/>
                </a:lnTo>
                <a:lnTo>
                  <a:pt x="214" y="380"/>
                </a:lnTo>
                <a:lnTo>
                  <a:pt x="218" y="380"/>
                </a:lnTo>
                <a:lnTo>
                  <a:pt x="218" y="378"/>
                </a:lnTo>
                <a:lnTo>
                  <a:pt x="222" y="378"/>
                </a:lnTo>
                <a:lnTo>
                  <a:pt x="222" y="374"/>
                </a:lnTo>
                <a:lnTo>
                  <a:pt x="224" y="374"/>
                </a:lnTo>
                <a:lnTo>
                  <a:pt x="224" y="370"/>
                </a:lnTo>
                <a:lnTo>
                  <a:pt x="228" y="370"/>
                </a:lnTo>
                <a:lnTo>
                  <a:pt x="232" y="366"/>
                </a:lnTo>
                <a:lnTo>
                  <a:pt x="240" y="366"/>
                </a:lnTo>
                <a:lnTo>
                  <a:pt x="244" y="366"/>
                </a:lnTo>
                <a:lnTo>
                  <a:pt x="248" y="370"/>
                </a:lnTo>
                <a:lnTo>
                  <a:pt x="248" y="366"/>
                </a:lnTo>
                <a:lnTo>
                  <a:pt x="250" y="366"/>
                </a:lnTo>
                <a:lnTo>
                  <a:pt x="250" y="370"/>
                </a:lnTo>
                <a:lnTo>
                  <a:pt x="254" y="370"/>
                </a:lnTo>
                <a:lnTo>
                  <a:pt x="254" y="366"/>
                </a:lnTo>
                <a:lnTo>
                  <a:pt x="250" y="366"/>
                </a:lnTo>
                <a:lnTo>
                  <a:pt x="250" y="362"/>
                </a:lnTo>
                <a:lnTo>
                  <a:pt x="250" y="358"/>
                </a:lnTo>
                <a:lnTo>
                  <a:pt x="254" y="358"/>
                </a:lnTo>
                <a:lnTo>
                  <a:pt x="254" y="354"/>
                </a:lnTo>
                <a:lnTo>
                  <a:pt x="258" y="354"/>
                </a:lnTo>
                <a:lnTo>
                  <a:pt x="258" y="350"/>
                </a:lnTo>
                <a:lnTo>
                  <a:pt x="262" y="350"/>
                </a:lnTo>
                <a:lnTo>
                  <a:pt x="266" y="350"/>
                </a:lnTo>
                <a:lnTo>
                  <a:pt x="270" y="348"/>
                </a:lnTo>
                <a:lnTo>
                  <a:pt x="274" y="348"/>
                </a:lnTo>
                <a:lnTo>
                  <a:pt x="278" y="348"/>
                </a:lnTo>
                <a:lnTo>
                  <a:pt x="278" y="344"/>
                </a:lnTo>
                <a:lnTo>
                  <a:pt x="278" y="340"/>
                </a:lnTo>
                <a:lnTo>
                  <a:pt x="280" y="336"/>
                </a:lnTo>
                <a:lnTo>
                  <a:pt x="284" y="332"/>
                </a:lnTo>
                <a:lnTo>
                  <a:pt x="288" y="332"/>
                </a:lnTo>
                <a:lnTo>
                  <a:pt x="288" y="328"/>
                </a:lnTo>
                <a:lnTo>
                  <a:pt x="292" y="328"/>
                </a:lnTo>
                <a:lnTo>
                  <a:pt x="292" y="332"/>
                </a:lnTo>
                <a:lnTo>
                  <a:pt x="294" y="332"/>
                </a:lnTo>
                <a:lnTo>
                  <a:pt x="294" y="328"/>
                </a:lnTo>
                <a:lnTo>
                  <a:pt x="292" y="332"/>
                </a:lnTo>
                <a:lnTo>
                  <a:pt x="292" y="328"/>
                </a:lnTo>
                <a:lnTo>
                  <a:pt x="292" y="324"/>
                </a:lnTo>
                <a:lnTo>
                  <a:pt x="292" y="322"/>
                </a:lnTo>
                <a:lnTo>
                  <a:pt x="292" y="318"/>
                </a:lnTo>
                <a:lnTo>
                  <a:pt x="294" y="314"/>
                </a:lnTo>
                <a:lnTo>
                  <a:pt x="298" y="314"/>
                </a:lnTo>
                <a:lnTo>
                  <a:pt x="298" y="318"/>
                </a:lnTo>
                <a:lnTo>
                  <a:pt x="298" y="314"/>
                </a:lnTo>
                <a:lnTo>
                  <a:pt x="294" y="314"/>
                </a:lnTo>
                <a:lnTo>
                  <a:pt x="292" y="314"/>
                </a:lnTo>
                <a:lnTo>
                  <a:pt x="292" y="310"/>
                </a:lnTo>
                <a:lnTo>
                  <a:pt x="294" y="306"/>
                </a:lnTo>
                <a:lnTo>
                  <a:pt x="298" y="302"/>
                </a:lnTo>
                <a:lnTo>
                  <a:pt x="298" y="298"/>
                </a:lnTo>
                <a:lnTo>
                  <a:pt x="302" y="298"/>
                </a:lnTo>
                <a:lnTo>
                  <a:pt x="302" y="294"/>
                </a:lnTo>
                <a:lnTo>
                  <a:pt x="298" y="298"/>
                </a:lnTo>
                <a:lnTo>
                  <a:pt x="294" y="298"/>
                </a:lnTo>
                <a:lnTo>
                  <a:pt x="294" y="302"/>
                </a:lnTo>
                <a:lnTo>
                  <a:pt x="292" y="302"/>
                </a:lnTo>
                <a:lnTo>
                  <a:pt x="288" y="302"/>
                </a:lnTo>
                <a:lnTo>
                  <a:pt x="284" y="306"/>
                </a:lnTo>
                <a:lnTo>
                  <a:pt x="280" y="306"/>
                </a:lnTo>
                <a:lnTo>
                  <a:pt x="280" y="302"/>
                </a:lnTo>
                <a:lnTo>
                  <a:pt x="278" y="302"/>
                </a:lnTo>
                <a:lnTo>
                  <a:pt x="278" y="298"/>
                </a:lnTo>
                <a:lnTo>
                  <a:pt x="280" y="298"/>
                </a:lnTo>
                <a:lnTo>
                  <a:pt x="280" y="294"/>
                </a:lnTo>
                <a:lnTo>
                  <a:pt x="284" y="294"/>
                </a:lnTo>
                <a:lnTo>
                  <a:pt x="284" y="298"/>
                </a:lnTo>
                <a:lnTo>
                  <a:pt x="284" y="294"/>
                </a:lnTo>
                <a:lnTo>
                  <a:pt x="280" y="294"/>
                </a:lnTo>
                <a:lnTo>
                  <a:pt x="278" y="292"/>
                </a:lnTo>
                <a:lnTo>
                  <a:pt x="278" y="294"/>
                </a:lnTo>
                <a:lnTo>
                  <a:pt x="280" y="294"/>
                </a:lnTo>
                <a:lnTo>
                  <a:pt x="278" y="298"/>
                </a:lnTo>
                <a:lnTo>
                  <a:pt x="274" y="298"/>
                </a:lnTo>
                <a:lnTo>
                  <a:pt x="274" y="302"/>
                </a:lnTo>
                <a:lnTo>
                  <a:pt x="278" y="310"/>
                </a:lnTo>
                <a:lnTo>
                  <a:pt x="274" y="310"/>
                </a:lnTo>
                <a:lnTo>
                  <a:pt x="270" y="310"/>
                </a:lnTo>
                <a:lnTo>
                  <a:pt x="270" y="306"/>
                </a:lnTo>
                <a:lnTo>
                  <a:pt x="266" y="302"/>
                </a:lnTo>
                <a:lnTo>
                  <a:pt x="262" y="298"/>
                </a:lnTo>
                <a:lnTo>
                  <a:pt x="262" y="302"/>
                </a:lnTo>
                <a:lnTo>
                  <a:pt x="258" y="302"/>
                </a:lnTo>
                <a:lnTo>
                  <a:pt x="258" y="298"/>
                </a:lnTo>
                <a:lnTo>
                  <a:pt x="254" y="298"/>
                </a:lnTo>
                <a:lnTo>
                  <a:pt x="254" y="294"/>
                </a:lnTo>
                <a:lnTo>
                  <a:pt x="250" y="294"/>
                </a:lnTo>
                <a:lnTo>
                  <a:pt x="248" y="298"/>
                </a:lnTo>
                <a:lnTo>
                  <a:pt x="244" y="298"/>
                </a:lnTo>
                <a:lnTo>
                  <a:pt x="244" y="302"/>
                </a:lnTo>
                <a:lnTo>
                  <a:pt x="240" y="302"/>
                </a:lnTo>
                <a:lnTo>
                  <a:pt x="240" y="306"/>
                </a:lnTo>
                <a:lnTo>
                  <a:pt x="236" y="306"/>
                </a:lnTo>
                <a:lnTo>
                  <a:pt x="232" y="306"/>
                </a:lnTo>
                <a:lnTo>
                  <a:pt x="228" y="306"/>
                </a:lnTo>
                <a:lnTo>
                  <a:pt x="228" y="302"/>
                </a:lnTo>
                <a:lnTo>
                  <a:pt x="228" y="306"/>
                </a:lnTo>
                <a:lnTo>
                  <a:pt x="232" y="306"/>
                </a:lnTo>
                <a:lnTo>
                  <a:pt x="232" y="302"/>
                </a:lnTo>
                <a:lnTo>
                  <a:pt x="236" y="302"/>
                </a:lnTo>
                <a:lnTo>
                  <a:pt x="232" y="302"/>
                </a:lnTo>
                <a:lnTo>
                  <a:pt x="232" y="298"/>
                </a:lnTo>
                <a:lnTo>
                  <a:pt x="232" y="294"/>
                </a:lnTo>
                <a:lnTo>
                  <a:pt x="236" y="294"/>
                </a:lnTo>
                <a:lnTo>
                  <a:pt x="232" y="294"/>
                </a:lnTo>
                <a:lnTo>
                  <a:pt x="228" y="294"/>
                </a:lnTo>
                <a:lnTo>
                  <a:pt x="228" y="292"/>
                </a:lnTo>
                <a:lnTo>
                  <a:pt x="228" y="288"/>
                </a:lnTo>
                <a:lnTo>
                  <a:pt x="232" y="288"/>
                </a:lnTo>
                <a:lnTo>
                  <a:pt x="232" y="284"/>
                </a:lnTo>
                <a:lnTo>
                  <a:pt x="232" y="280"/>
                </a:lnTo>
                <a:lnTo>
                  <a:pt x="228" y="280"/>
                </a:lnTo>
                <a:lnTo>
                  <a:pt x="228" y="276"/>
                </a:lnTo>
                <a:lnTo>
                  <a:pt x="224" y="272"/>
                </a:lnTo>
                <a:lnTo>
                  <a:pt x="228" y="268"/>
                </a:lnTo>
                <a:lnTo>
                  <a:pt x="224" y="268"/>
                </a:lnTo>
                <a:lnTo>
                  <a:pt x="224" y="272"/>
                </a:lnTo>
                <a:lnTo>
                  <a:pt x="224" y="268"/>
                </a:lnTo>
                <a:lnTo>
                  <a:pt x="224" y="266"/>
                </a:lnTo>
                <a:lnTo>
                  <a:pt x="224" y="262"/>
                </a:lnTo>
                <a:lnTo>
                  <a:pt x="228" y="262"/>
                </a:lnTo>
                <a:lnTo>
                  <a:pt x="228" y="258"/>
                </a:lnTo>
                <a:lnTo>
                  <a:pt x="228" y="262"/>
                </a:lnTo>
                <a:lnTo>
                  <a:pt x="228" y="258"/>
                </a:lnTo>
                <a:lnTo>
                  <a:pt x="232" y="258"/>
                </a:lnTo>
                <a:lnTo>
                  <a:pt x="228" y="258"/>
                </a:lnTo>
                <a:lnTo>
                  <a:pt x="224" y="262"/>
                </a:lnTo>
                <a:lnTo>
                  <a:pt x="224" y="266"/>
                </a:lnTo>
                <a:lnTo>
                  <a:pt x="222" y="266"/>
                </a:lnTo>
                <a:lnTo>
                  <a:pt x="222" y="268"/>
                </a:lnTo>
                <a:lnTo>
                  <a:pt x="224" y="268"/>
                </a:lnTo>
                <a:lnTo>
                  <a:pt x="222" y="272"/>
                </a:lnTo>
                <a:lnTo>
                  <a:pt x="222" y="276"/>
                </a:lnTo>
                <a:lnTo>
                  <a:pt x="218" y="276"/>
                </a:lnTo>
                <a:lnTo>
                  <a:pt x="214" y="276"/>
                </a:lnTo>
                <a:lnTo>
                  <a:pt x="210" y="280"/>
                </a:lnTo>
                <a:lnTo>
                  <a:pt x="206" y="280"/>
                </a:lnTo>
                <a:lnTo>
                  <a:pt x="202" y="280"/>
                </a:lnTo>
                <a:lnTo>
                  <a:pt x="198" y="280"/>
                </a:lnTo>
                <a:lnTo>
                  <a:pt x="198" y="276"/>
                </a:lnTo>
                <a:lnTo>
                  <a:pt x="198" y="272"/>
                </a:lnTo>
                <a:lnTo>
                  <a:pt x="194" y="272"/>
                </a:lnTo>
                <a:lnTo>
                  <a:pt x="194" y="268"/>
                </a:lnTo>
                <a:lnTo>
                  <a:pt x="192" y="268"/>
                </a:lnTo>
                <a:lnTo>
                  <a:pt x="188" y="266"/>
                </a:lnTo>
                <a:lnTo>
                  <a:pt x="184" y="266"/>
                </a:lnTo>
                <a:lnTo>
                  <a:pt x="188" y="266"/>
                </a:lnTo>
                <a:lnTo>
                  <a:pt x="188" y="262"/>
                </a:lnTo>
                <a:lnTo>
                  <a:pt x="184" y="262"/>
                </a:lnTo>
                <a:lnTo>
                  <a:pt x="180" y="262"/>
                </a:lnTo>
                <a:lnTo>
                  <a:pt x="184" y="262"/>
                </a:lnTo>
                <a:lnTo>
                  <a:pt x="188" y="258"/>
                </a:lnTo>
                <a:lnTo>
                  <a:pt x="188" y="254"/>
                </a:lnTo>
                <a:lnTo>
                  <a:pt x="192" y="254"/>
                </a:lnTo>
                <a:lnTo>
                  <a:pt x="194" y="258"/>
                </a:lnTo>
                <a:lnTo>
                  <a:pt x="198" y="258"/>
                </a:lnTo>
                <a:lnTo>
                  <a:pt x="194" y="258"/>
                </a:lnTo>
                <a:lnTo>
                  <a:pt x="194" y="262"/>
                </a:lnTo>
                <a:lnTo>
                  <a:pt x="198" y="258"/>
                </a:lnTo>
                <a:lnTo>
                  <a:pt x="202" y="258"/>
                </a:lnTo>
                <a:lnTo>
                  <a:pt x="202" y="262"/>
                </a:lnTo>
                <a:lnTo>
                  <a:pt x="206" y="262"/>
                </a:lnTo>
                <a:lnTo>
                  <a:pt x="210" y="258"/>
                </a:lnTo>
                <a:lnTo>
                  <a:pt x="206" y="258"/>
                </a:lnTo>
                <a:lnTo>
                  <a:pt x="206" y="254"/>
                </a:lnTo>
                <a:lnTo>
                  <a:pt x="202" y="254"/>
                </a:lnTo>
                <a:lnTo>
                  <a:pt x="206" y="254"/>
                </a:lnTo>
                <a:lnTo>
                  <a:pt x="206" y="250"/>
                </a:lnTo>
                <a:lnTo>
                  <a:pt x="202" y="254"/>
                </a:lnTo>
                <a:lnTo>
                  <a:pt x="198" y="254"/>
                </a:lnTo>
                <a:lnTo>
                  <a:pt x="194" y="254"/>
                </a:lnTo>
                <a:lnTo>
                  <a:pt x="192" y="254"/>
                </a:lnTo>
                <a:lnTo>
                  <a:pt x="188" y="254"/>
                </a:lnTo>
                <a:lnTo>
                  <a:pt x="184" y="254"/>
                </a:lnTo>
                <a:lnTo>
                  <a:pt x="184" y="250"/>
                </a:lnTo>
                <a:lnTo>
                  <a:pt x="188" y="250"/>
                </a:lnTo>
                <a:lnTo>
                  <a:pt x="192" y="250"/>
                </a:lnTo>
                <a:lnTo>
                  <a:pt x="188" y="250"/>
                </a:lnTo>
                <a:lnTo>
                  <a:pt x="184" y="250"/>
                </a:lnTo>
                <a:lnTo>
                  <a:pt x="184" y="246"/>
                </a:lnTo>
                <a:lnTo>
                  <a:pt x="180" y="246"/>
                </a:lnTo>
                <a:lnTo>
                  <a:pt x="184" y="246"/>
                </a:lnTo>
                <a:lnTo>
                  <a:pt x="184" y="242"/>
                </a:lnTo>
                <a:lnTo>
                  <a:pt x="188" y="242"/>
                </a:lnTo>
                <a:lnTo>
                  <a:pt x="188" y="238"/>
                </a:lnTo>
                <a:lnTo>
                  <a:pt x="192" y="238"/>
                </a:lnTo>
                <a:lnTo>
                  <a:pt x="192" y="236"/>
                </a:lnTo>
                <a:lnTo>
                  <a:pt x="192" y="238"/>
                </a:lnTo>
                <a:lnTo>
                  <a:pt x="188" y="238"/>
                </a:lnTo>
                <a:lnTo>
                  <a:pt x="188" y="242"/>
                </a:lnTo>
                <a:lnTo>
                  <a:pt x="184" y="242"/>
                </a:lnTo>
                <a:lnTo>
                  <a:pt x="184" y="246"/>
                </a:lnTo>
                <a:lnTo>
                  <a:pt x="180" y="246"/>
                </a:lnTo>
                <a:lnTo>
                  <a:pt x="184" y="246"/>
                </a:lnTo>
                <a:lnTo>
                  <a:pt x="180" y="250"/>
                </a:lnTo>
                <a:lnTo>
                  <a:pt x="176" y="246"/>
                </a:lnTo>
                <a:lnTo>
                  <a:pt x="180" y="246"/>
                </a:lnTo>
                <a:lnTo>
                  <a:pt x="176" y="242"/>
                </a:lnTo>
                <a:lnTo>
                  <a:pt x="172" y="242"/>
                </a:lnTo>
                <a:lnTo>
                  <a:pt x="176" y="242"/>
                </a:lnTo>
                <a:lnTo>
                  <a:pt x="176" y="238"/>
                </a:lnTo>
                <a:lnTo>
                  <a:pt x="172" y="238"/>
                </a:lnTo>
                <a:lnTo>
                  <a:pt x="168" y="238"/>
                </a:lnTo>
                <a:lnTo>
                  <a:pt x="168" y="236"/>
                </a:lnTo>
                <a:lnTo>
                  <a:pt x="172" y="236"/>
                </a:lnTo>
                <a:lnTo>
                  <a:pt x="176" y="236"/>
                </a:lnTo>
                <a:lnTo>
                  <a:pt x="172" y="236"/>
                </a:lnTo>
                <a:lnTo>
                  <a:pt x="172" y="232"/>
                </a:lnTo>
                <a:lnTo>
                  <a:pt x="176" y="232"/>
                </a:lnTo>
                <a:lnTo>
                  <a:pt x="176" y="228"/>
                </a:lnTo>
                <a:lnTo>
                  <a:pt x="176" y="224"/>
                </a:lnTo>
                <a:lnTo>
                  <a:pt x="180" y="224"/>
                </a:lnTo>
                <a:lnTo>
                  <a:pt x="180" y="222"/>
                </a:lnTo>
                <a:lnTo>
                  <a:pt x="184" y="222"/>
                </a:lnTo>
                <a:lnTo>
                  <a:pt x="184" y="218"/>
                </a:lnTo>
                <a:lnTo>
                  <a:pt x="188" y="218"/>
                </a:lnTo>
                <a:lnTo>
                  <a:pt x="192" y="218"/>
                </a:lnTo>
                <a:lnTo>
                  <a:pt x="192" y="222"/>
                </a:lnTo>
                <a:lnTo>
                  <a:pt x="192" y="218"/>
                </a:lnTo>
                <a:lnTo>
                  <a:pt x="188" y="218"/>
                </a:lnTo>
                <a:lnTo>
                  <a:pt x="192" y="214"/>
                </a:lnTo>
                <a:lnTo>
                  <a:pt x="194" y="210"/>
                </a:lnTo>
                <a:lnTo>
                  <a:pt x="192" y="214"/>
                </a:lnTo>
                <a:lnTo>
                  <a:pt x="188" y="210"/>
                </a:lnTo>
                <a:lnTo>
                  <a:pt x="192" y="206"/>
                </a:lnTo>
                <a:lnTo>
                  <a:pt x="194" y="206"/>
                </a:lnTo>
                <a:lnTo>
                  <a:pt x="194" y="202"/>
                </a:lnTo>
                <a:lnTo>
                  <a:pt x="192" y="202"/>
                </a:lnTo>
                <a:lnTo>
                  <a:pt x="194" y="198"/>
                </a:lnTo>
                <a:lnTo>
                  <a:pt x="198" y="198"/>
                </a:lnTo>
                <a:lnTo>
                  <a:pt x="202" y="198"/>
                </a:lnTo>
                <a:lnTo>
                  <a:pt x="206" y="198"/>
                </a:lnTo>
                <a:lnTo>
                  <a:pt x="206" y="202"/>
                </a:lnTo>
                <a:lnTo>
                  <a:pt x="210" y="202"/>
                </a:lnTo>
                <a:lnTo>
                  <a:pt x="210" y="206"/>
                </a:lnTo>
                <a:lnTo>
                  <a:pt x="214" y="206"/>
                </a:lnTo>
                <a:lnTo>
                  <a:pt x="214" y="202"/>
                </a:lnTo>
                <a:lnTo>
                  <a:pt x="218" y="202"/>
                </a:lnTo>
                <a:lnTo>
                  <a:pt x="222" y="198"/>
                </a:lnTo>
                <a:lnTo>
                  <a:pt x="224" y="194"/>
                </a:lnTo>
                <a:lnTo>
                  <a:pt x="224" y="192"/>
                </a:lnTo>
                <a:lnTo>
                  <a:pt x="228" y="194"/>
                </a:lnTo>
                <a:lnTo>
                  <a:pt x="232" y="194"/>
                </a:lnTo>
                <a:lnTo>
                  <a:pt x="236" y="194"/>
                </a:lnTo>
                <a:lnTo>
                  <a:pt x="240" y="194"/>
                </a:lnTo>
                <a:lnTo>
                  <a:pt x="248" y="188"/>
                </a:lnTo>
                <a:lnTo>
                  <a:pt x="248" y="184"/>
                </a:lnTo>
                <a:lnTo>
                  <a:pt x="244" y="180"/>
                </a:lnTo>
                <a:lnTo>
                  <a:pt x="244" y="176"/>
                </a:lnTo>
                <a:lnTo>
                  <a:pt x="240" y="172"/>
                </a:lnTo>
                <a:lnTo>
                  <a:pt x="236" y="172"/>
                </a:lnTo>
                <a:lnTo>
                  <a:pt x="236" y="168"/>
                </a:lnTo>
                <a:lnTo>
                  <a:pt x="240" y="168"/>
                </a:lnTo>
                <a:lnTo>
                  <a:pt x="244" y="168"/>
                </a:lnTo>
                <a:lnTo>
                  <a:pt x="248" y="166"/>
                </a:lnTo>
                <a:lnTo>
                  <a:pt x="248" y="162"/>
                </a:lnTo>
                <a:lnTo>
                  <a:pt x="244" y="162"/>
                </a:lnTo>
                <a:lnTo>
                  <a:pt x="240" y="162"/>
                </a:lnTo>
                <a:lnTo>
                  <a:pt x="244" y="162"/>
                </a:lnTo>
                <a:lnTo>
                  <a:pt x="244" y="158"/>
                </a:lnTo>
                <a:lnTo>
                  <a:pt x="240" y="158"/>
                </a:lnTo>
                <a:lnTo>
                  <a:pt x="240" y="162"/>
                </a:lnTo>
                <a:lnTo>
                  <a:pt x="236" y="166"/>
                </a:lnTo>
                <a:lnTo>
                  <a:pt x="236" y="162"/>
                </a:lnTo>
                <a:lnTo>
                  <a:pt x="232" y="162"/>
                </a:lnTo>
                <a:lnTo>
                  <a:pt x="232" y="166"/>
                </a:lnTo>
                <a:lnTo>
                  <a:pt x="228" y="166"/>
                </a:lnTo>
                <a:lnTo>
                  <a:pt x="232" y="166"/>
                </a:lnTo>
                <a:lnTo>
                  <a:pt x="228" y="166"/>
                </a:lnTo>
                <a:lnTo>
                  <a:pt x="224" y="166"/>
                </a:lnTo>
                <a:lnTo>
                  <a:pt x="224" y="168"/>
                </a:lnTo>
                <a:lnTo>
                  <a:pt x="222" y="168"/>
                </a:lnTo>
                <a:lnTo>
                  <a:pt x="222" y="172"/>
                </a:lnTo>
                <a:lnTo>
                  <a:pt x="218" y="172"/>
                </a:lnTo>
                <a:lnTo>
                  <a:pt x="218" y="168"/>
                </a:lnTo>
                <a:lnTo>
                  <a:pt x="214" y="166"/>
                </a:lnTo>
                <a:lnTo>
                  <a:pt x="210" y="166"/>
                </a:lnTo>
                <a:lnTo>
                  <a:pt x="210" y="168"/>
                </a:lnTo>
                <a:lnTo>
                  <a:pt x="214" y="168"/>
                </a:lnTo>
                <a:lnTo>
                  <a:pt x="214" y="172"/>
                </a:lnTo>
                <a:lnTo>
                  <a:pt x="210" y="172"/>
                </a:lnTo>
                <a:lnTo>
                  <a:pt x="210" y="168"/>
                </a:lnTo>
                <a:lnTo>
                  <a:pt x="206" y="168"/>
                </a:lnTo>
                <a:lnTo>
                  <a:pt x="202" y="168"/>
                </a:lnTo>
                <a:lnTo>
                  <a:pt x="198" y="168"/>
                </a:lnTo>
                <a:lnTo>
                  <a:pt x="194" y="168"/>
                </a:lnTo>
                <a:lnTo>
                  <a:pt x="192" y="168"/>
                </a:lnTo>
                <a:lnTo>
                  <a:pt x="188" y="168"/>
                </a:lnTo>
                <a:lnTo>
                  <a:pt x="188" y="172"/>
                </a:lnTo>
                <a:lnTo>
                  <a:pt x="192" y="172"/>
                </a:lnTo>
                <a:lnTo>
                  <a:pt x="192" y="168"/>
                </a:lnTo>
                <a:lnTo>
                  <a:pt x="192" y="172"/>
                </a:lnTo>
                <a:lnTo>
                  <a:pt x="188" y="172"/>
                </a:lnTo>
                <a:lnTo>
                  <a:pt x="184" y="172"/>
                </a:lnTo>
                <a:lnTo>
                  <a:pt x="184" y="168"/>
                </a:lnTo>
                <a:lnTo>
                  <a:pt x="180" y="168"/>
                </a:lnTo>
                <a:lnTo>
                  <a:pt x="176" y="168"/>
                </a:lnTo>
                <a:lnTo>
                  <a:pt x="172" y="168"/>
                </a:lnTo>
                <a:lnTo>
                  <a:pt x="168" y="168"/>
                </a:lnTo>
                <a:lnTo>
                  <a:pt x="168" y="166"/>
                </a:lnTo>
                <a:lnTo>
                  <a:pt x="166" y="166"/>
                </a:lnTo>
                <a:lnTo>
                  <a:pt x="166" y="162"/>
                </a:lnTo>
                <a:lnTo>
                  <a:pt x="168" y="162"/>
                </a:lnTo>
                <a:lnTo>
                  <a:pt x="166" y="162"/>
                </a:lnTo>
                <a:lnTo>
                  <a:pt x="166" y="158"/>
                </a:lnTo>
                <a:lnTo>
                  <a:pt x="162" y="158"/>
                </a:lnTo>
                <a:lnTo>
                  <a:pt x="162" y="154"/>
                </a:lnTo>
                <a:lnTo>
                  <a:pt x="158" y="154"/>
                </a:lnTo>
                <a:lnTo>
                  <a:pt x="162" y="154"/>
                </a:lnTo>
                <a:lnTo>
                  <a:pt x="162" y="150"/>
                </a:lnTo>
                <a:lnTo>
                  <a:pt x="162" y="154"/>
                </a:lnTo>
                <a:lnTo>
                  <a:pt x="166" y="154"/>
                </a:lnTo>
                <a:lnTo>
                  <a:pt x="168" y="150"/>
                </a:lnTo>
                <a:lnTo>
                  <a:pt x="168" y="154"/>
                </a:lnTo>
                <a:lnTo>
                  <a:pt x="172" y="154"/>
                </a:lnTo>
                <a:lnTo>
                  <a:pt x="172" y="150"/>
                </a:lnTo>
                <a:lnTo>
                  <a:pt x="168" y="150"/>
                </a:lnTo>
                <a:lnTo>
                  <a:pt x="166" y="150"/>
                </a:lnTo>
                <a:lnTo>
                  <a:pt x="162" y="150"/>
                </a:lnTo>
                <a:lnTo>
                  <a:pt x="158" y="150"/>
                </a:lnTo>
                <a:lnTo>
                  <a:pt x="154" y="146"/>
                </a:lnTo>
                <a:lnTo>
                  <a:pt x="150" y="146"/>
                </a:lnTo>
                <a:lnTo>
                  <a:pt x="146" y="146"/>
                </a:lnTo>
                <a:lnTo>
                  <a:pt x="146" y="142"/>
                </a:lnTo>
                <a:lnTo>
                  <a:pt x="142" y="142"/>
                </a:lnTo>
                <a:lnTo>
                  <a:pt x="142" y="138"/>
                </a:lnTo>
                <a:lnTo>
                  <a:pt x="146" y="138"/>
                </a:lnTo>
                <a:lnTo>
                  <a:pt x="146" y="142"/>
                </a:lnTo>
                <a:lnTo>
                  <a:pt x="142" y="142"/>
                </a:lnTo>
                <a:lnTo>
                  <a:pt x="146" y="142"/>
                </a:lnTo>
                <a:lnTo>
                  <a:pt x="150" y="138"/>
                </a:lnTo>
                <a:lnTo>
                  <a:pt x="154" y="138"/>
                </a:lnTo>
                <a:lnTo>
                  <a:pt x="154" y="136"/>
                </a:lnTo>
                <a:lnTo>
                  <a:pt x="158" y="138"/>
                </a:lnTo>
                <a:lnTo>
                  <a:pt x="158" y="136"/>
                </a:lnTo>
                <a:lnTo>
                  <a:pt x="162" y="136"/>
                </a:lnTo>
                <a:lnTo>
                  <a:pt x="158" y="136"/>
                </a:lnTo>
                <a:lnTo>
                  <a:pt x="162" y="136"/>
                </a:lnTo>
                <a:lnTo>
                  <a:pt x="162" y="132"/>
                </a:lnTo>
                <a:lnTo>
                  <a:pt x="166" y="132"/>
                </a:lnTo>
                <a:lnTo>
                  <a:pt x="168" y="128"/>
                </a:lnTo>
                <a:lnTo>
                  <a:pt x="172" y="132"/>
                </a:lnTo>
                <a:lnTo>
                  <a:pt x="176" y="132"/>
                </a:lnTo>
                <a:lnTo>
                  <a:pt x="180" y="132"/>
                </a:lnTo>
                <a:lnTo>
                  <a:pt x="176" y="128"/>
                </a:lnTo>
                <a:lnTo>
                  <a:pt x="172" y="128"/>
                </a:lnTo>
                <a:lnTo>
                  <a:pt x="176" y="128"/>
                </a:lnTo>
                <a:lnTo>
                  <a:pt x="176" y="124"/>
                </a:lnTo>
                <a:lnTo>
                  <a:pt x="180" y="124"/>
                </a:lnTo>
                <a:lnTo>
                  <a:pt x="184" y="124"/>
                </a:lnTo>
                <a:lnTo>
                  <a:pt x="188" y="124"/>
                </a:lnTo>
                <a:lnTo>
                  <a:pt x="192" y="120"/>
                </a:lnTo>
                <a:lnTo>
                  <a:pt x="194" y="120"/>
                </a:lnTo>
                <a:lnTo>
                  <a:pt x="198" y="120"/>
                </a:lnTo>
                <a:lnTo>
                  <a:pt x="202" y="120"/>
                </a:lnTo>
                <a:lnTo>
                  <a:pt x="206" y="120"/>
                </a:lnTo>
                <a:lnTo>
                  <a:pt x="202" y="120"/>
                </a:lnTo>
                <a:lnTo>
                  <a:pt x="206" y="120"/>
                </a:lnTo>
                <a:lnTo>
                  <a:pt x="202" y="124"/>
                </a:lnTo>
                <a:lnTo>
                  <a:pt x="202" y="128"/>
                </a:lnTo>
                <a:lnTo>
                  <a:pt x="198" y="128"/>
                </a:lnTo>
                <a:lnTo>
                  <a:pt x="202" y="128"/>
                </a:lnTo>
                <a:lnTo>
                  <a:pt x="202" y="132"/>
                </a:lnTo>
                <a:lnTo>
                  <a:pt x="206" y="132"/>
                </a:lnTo>
                <a:lnTo>
                  <a:pt x="210" y="132"/>
                </a:lnTo>
                <a:lnTo>
                  <a:pt x="214" y="132"/>
                </a:lnTo>
                <a:lnTo>
                  <a:pt x="218" y="132"/>
                </a:lnTo>
                <a:lnTo>
                  <a:pt x="222" y="132"/>
                </a:lnTo>
                <a:lnTo>
                  <a:pt x="224" y="132"/>
                </a:lnTo>
                <a:lnTo>
                  <a:pt x="228" y="132"/>
                </a:lnTo>
                <a:lnTo>
                  <a:pt x="232" y="136"/>
                </a:lnTo>
                <a:lnTo>
                  <a:pt x="232" y="132"/>
                </a:lnTo>
                <a:lnTo>
                  <a:pt x="236" y="132"/>
                </a:lnTo>
                <a:lnTo>
                  <a:pt x="236" y="128"/>
                </a:lnTo>
                <a:lnTo>
                  <a:pt x="240" y="128"/>
                </a:lnTo>
                <a:lnTo>
                  <a:pt x="244" y="128"/>
                </a:lnTo>
                <a:lnTo>
                  <a:pt x="244" y="132"/>
                </a:lnTo>
                <a:lnTo>
                  <a:pt x="240" y="132"/>
                </a:lnTo>
                <a:lnTo>
                  <a:pt x="244" y="132"/>
                </a:lnTo>
                <a:lnTo>
                  <a:pt x="244" y="128"/>
                </a:lnTo>
                <a:lnTo>
                  <a:pt x="244" y="124"/>
                </a:lnTo>
                <a:lnTo>
                  <a:pt x="240" y="124"/>
                </a:lnTo>
                <a:lnTo>
                  <a:pt x="236" y="124"/>
                </a:lnTo>
                <a:lnTo>
                  <a:pt x="232" y="124"/>
                </a:lnTo>
                <a:lnTo>
                  <a:pt x="232" y="128"/>
                </a:lnTo>
                <a:lnTo>
                  <a:pt x="228" y="124"/>
                </a:lnTo>
                <a:lnTo>
                  <a:pt x="232" y="124"/>
                </a:lnTo>
                <a:lnTo>
                  <a:pt x="232" y="120"/>
                </a:lnTo>
                <a:lnTo>
                  <a:pt x="228" y="116"/>
                </a:lnTo>
                <a:lnTo>
                  <a:pt x="224" y="116"/>
                </a:lnTo>
                <a:lnTo>
                  <a:pt x="222" y="116"/>
                </a:lnTo>
                <a:lnTo>
                  <a:pt x="222" y="112"/>
                </a:lnTo>
                <a:lnTo>
                  <a:pt x="224" y="110"/>
                </a:lnTo>
                <a:lnTo>
                  <a:pt x="228" y="112"/>
                </a:lnTo>
                <a:lnTo>
                  <a:pt x="228" y="116"/>
                </a:lnTo>
                <a:lnTo>
                  <a:pt x="232" y="120"/>
                </a:lnTo>
                <a:lnTo>
                  <a:pt x="236" y="124"/>
                </a:lnTo>
                <a:lnTo>
                  <a:pt x="240" y="120"/>
                </a:lnTo>
                <a:lnTo>
                  <a:pt x="244" y="120"/>
                </a:lnTo>
                <a:lnTo>
                  <a:pt x="244" y="124"/>
                </a:lnTo>
                <a:lnTo>
                  <a:pt x="248" y="124"/>
                </a:lnTo>
                <a:lnTo>
                  <a:pt x="250" y="124"/>
                </a:lnTo>
                <a:lnTo>
                  <a:pt x="254" y="124"/>
                </a:lnTo>
                <a:lnTo>
                  <a:pt x="254" y="120"/>
                </a:lnTo>
                <a:lnTo>
                  <a:pt x="254" y="116"/>
                </a:lnTo>
                <a:lnTo>
                  <a:pt x="250" y="120"/>
                </a:lnTo>
                <a:lnTo>
                  <a:pt x="248" y="120"/>
                </a:lnTo>
                <a:lnTo>
                  <a:pt x="248" y="116"/>
                </a:lnTo>
                <a:lnTo>
                  <a:pt x="244" y="116"/>
                </a:lnTo>
                <a:lnTo>
                  <a:pt x="240" y="116"/>
                </a:lnTo>
                <a:lnTo>
                  <a:pt x="240" y="120"/>
                </a:lnTo>
                <a:lnTo>
                  <a:pt x="236" y="120"/>
                </a:lnTo>
                <a:lnTo>
                  <a:pt x="232" y="120"/>
                </a:lnTo>
                <a:lnTo>
                  <a:pt x="232" y="116"/>
                </a:lnTo>
                <a:lnTo>
                  <a:pt x="232" y="112"/>
                </a:lnTo>
                <a:lnTo>
                  <a:pt x="232" y="110"/>
                </a:lnTo>
                <a:lnTo>
                  <a:pt x="236" y="110"/>
                </a:lnTo>
                <a:lnTo>
                  <a:pt x="232" y="110"/>
                </a:lnTo>
                <a:lnTo>
                  <a:pt x="224" y="110"/>
                </a:lnTo>
                <a:lnTo>
                  <a:pt x="222" y="110"/>
                </a:lnTo>
                <a:lnTo>
                  <a:pt x="224" y="110"/>
                </a:lnTo>
                <a:lnTo>
                  <a:pt x="224" y="106"/>
                </a:lnTo>
                <a:lnTo>
                  <a:pt x="222" y="110"/>
                </a:lnTo>
                <a:lnTo>
                  <a:pt x="218" y="110"/>
                </a:lnTo>
                <a:lnTo>
                  <a:pt x="214" y="110"/>
                </a:lnTo>
                <a:lnTo>
                  <a:pt x="210" y="110"/>
                </a:lnTo>
                <a:lnTo>
                  <a:pt x="206" y="106"/>
                </a:lnTo>
                <a:lnTo>
                  <a:pt x="202" y="106"/>
                </a:lnTo>
                <a:lnTo>
                  <a:pt x="206" y="106"/>
                </a:lnTo>
                <a:lnTo>
                  <a:pt x="202" y="102"/>
                </a:lnTo>
                <a:lnTo>
                  <a:pt x="202" y="98"/>
                </a:lnTo>
                <a:lnTo>
                  <a:pt x="202" y="94"/>
                </a:lnTo>
                <a:lnTo>
                  <a:pt x="198" y="94"/>
                </a:lnTo>
                <a:lnTo>
                  <a:pt x="194" y="94"/>
                </a:lnTo>
                <a:lnTo>
                  <a:pt x="194" y="90"/>
                </a:lnTo>
                <a:lnTo>
                  <a:pt x="192" y="90"/>
                </a:lnTo>
                <a:lnTo>
                  <a:pt x="184" y="86"/>
                </a:lnTo>
                <a:lnTo>
                  <a:pt x="184" y="82"/>
                </a:lnTo>
                <a:lnTo>
                  <a:pt x="180" y="82"/>
                </a:lnTo>
                <a:lnTo>
                  <a:pt x="176" y="82"/>
                </a:lnTo>
                <a:lnTo>
                  <a:pt x="172" y="82"/>
                </a:lnTo>
                <a:lnTo>
                  <a:pt x="172" y="80"/>
                </a:lnTo>
                <a:lnTo>
                  <a:pt x="168" y="80"/>
                </a:lnTo>
                <a:lnTo>
                  <a:pt x="168" y="76"/>
                </a:lnTo>
                <a:lnTo>
                  <a:pt x="166" y="76"/>
                </a:lnTo>
                <a:lnTo>
                  <a:pt x="162" y="76"/>
                </a:lnTo>
                <a:lnTo>
                  <a:pt x="166" y="76"/>
                </a:lnTo>
                <a:lnTo>
                  <a:pt x="162" y="76"/>
                </a:lnTo>
                <a:lnTo>
                  <a:pt x="166" y="76"/>
                </a:lnTo>
                <a:lnTo>
                  <a:pt x="168" y="76"/>
                </a:lnTo>
                <a:lnTo>
                  <a:pt x="168" y="72"/>
                </a:lnTo>
                <a:lnTo>
                  <a:pt x="168" y="68"/>
                </a:lnTo>
                <a:lnTo>
                  <a:pt x="168" y="64"/>
                </a:lnTo>
                <a:lnTo>
                  <a:pt x="172" y="64"/>
                </a:lnTo>
                <a:lnTo>
                  <a:pt x="176" y="64"/>
                </a:lnTo>
                <a:lnTo>
                  <a:pt x="180" y="64"/>
                </a:lnTo>
                <a:lnTo>
                  <a:pt x="184" y="64"/>
                </a:lnTo>
                <a:lnTo>
                  <a:pt x="188" y="60"/>
                </a:lnTo>
                <a:lnTo>
                  <a:pt x="192" y="60"/>
                </a:lnTo>
                <a:lnTo>
                  <a:pt x="194" y="60"/>
                </a:lnTo>
                <a:lnTo>
                  <a:pt x="198" y="60"/>
                </a:lnTo>
                <a:lnTo>
                  <a:pt x="202" y="60"/>
                </a:lnTo>
                <a:lnTo>
                  <a:pt x="206" y="56"/>
                </a:lnTo>
                <a:lnTo>
                  <a:pt x="210" y="56"/>
                </a:lnTo>
                <a:lnTo>
                  <a:pt x="210" y="52"/>
                </a:lnTo>
                <a:lnTo>
                  <a:pt x="214" y="50"/>
                </a:lnTo>
                <a:lnTo>
                  <a:pt x="210" y="52"/>
                </a:lnTo>
                <a:lnTo>
                  <a:pt x="214" y="50"/>
                </a:lnTo>
                <a:lnTo>
                  <a:pt x="214" y="46"/>
                </a:lnTo>
                <a:lnTo>
                  <a:pt x="214" y="42"/>
                </a:lnTo>
                <a:lnTo>
                  <a:pt x="218" y="42"/>
                </a:lnTo>
                <a:lnTo>
                  <a:pt x="214" y="42"/>
                </a:lnTo>
                <a:lnTo>
                  <a:pt x="218" y="38"/>
                </a:lnTo>
                <a:lnTo>
                  <a:pt x="222" y="38"/>
                </a:lnTo>
                <a:lnTo>
                  <a:pt x="222" y="34"/>
                </a:lnTo>
                <a:lnTo>
                  <a:pt x="224" y="30"/>
                </a:lnTo>
                <a:lnTo>
                  <a:pt x="228" y="26"/>
                </a:lnTo>
                <a:lnTo>
                  <a:pt x="232" y="26"/>
                </a:lnTo>
                <a:lnTo>
                  <a:pt x="232" y="30"/>
                </a:lnTo>
                <a:lnTo>
                  <a:pt x="228" y="30"/>
                </a:lnTo>
                <a:lnTo>
                  <a:pt x="232" y="30"/>
                </a:lnTo>
                <a:lnTo>
                  <a:pt x="232" y="26"/>
                </a:lnTo>
                <a:lnTo>
                  <a:pt x="236" y="26"/>
                </a:lnTo>
                <a:lnTo>
                  <a:pt x="240" y="26"/>
                </a:lnTo>
                <a:lnTo>
                  <a:pt x="244" y="26"/>
                </a:lnTo>
                <a:lnTo>
                  <a:pt x="248" y="26"/>
                </a:lnTo>
                <a:lnTo>
                  <a:pt x="248" y="24"/>
                </a:lnTo>
                <a:lnTo>
                  <a:pt x="250" y="24"/>
                </a:lnTo>
                <a:lnTo>
                  <a:pt x="250" y="20"/>
                </a:lnTo>
                <a:lnTo>
                  <a:pt x="254" y="20"/>
                </a:lnTo>
                <a:lnTo>
                  <a:pt x="258" y="20"/>
                </a:lnTo>
                <a:lnTo>
                  <a:pt x="258" y="24"/>
                </a:lnTo>
                <a:lnTo>
                  <a:pt x="254" y="24"/>
                </a:lnTo>
                <a:lnTo>
                  <a:pt x="258" y="24"/>
                </a:lnTo>
                <a:lnTo>
                  <a:pt x="258" y="26"/>
                </a:lnTo>
                <a:lnTo>
                  <a:pt x="258" y="24"/>
                </a:lnTo>
                <a:lnTo>
                  <a:pt x="262" y="24"/>
                </a:lnTo>
                <a:lnTo>
                  <a:pt x="266" y="24"/>
                </a:lnTo>
                <a:lnTo>
                  <a:pt x="266" y="20"/>
                </a:lnTo>
                <a:lnTo>
                  <a:pt x="262" y="20"/>
                </a:lnTo>
                <a:lnTo>
                  <a:pt x="262" y="24"/>
                </a:lnTo>
                <a:lnTo>
                  <a:pt x="258" y="20"/>
                </a:lnTo>
                <a:lnTo>
                  <a:pt x="254" y="20"/>
                </a:lnTo>
                <a:lnTo>
                  <a:pt x="258" y="16"/>
                </a:lnTo>
                <a:lnTo>
                  <a:pt x="262" y="16"/>
                </a:lnTo>
                <a:lnTo>
                  <a:pt x="262" y="12"/>
                </a:lnTo>
                <a:lnTo>
                  <a:pt x="266" y="12"/>
                </a:lnTo>
                <a:lnTo>
                  <a:pt x="270" y="12"/>
                </a:lnTo>
                <a:lnTo>
                  <a:pt x="266" y="12"/>
                </a:lnTo>
                <a:lnTo>
                  <a:pt x="270" y="12"/>
                </a:lnTo>
                <a:lnTo>
                  <a:pt x="266" y="12"/>
                </a:lnTo>
                <a:lnTo>
                  <a:pt x="266" y="16"/>
                </a:lnTo>
                <a:lnTo>
                  <a:pt x="270" y="16"/>
                </a:lnTo>
                <a:lnTo>
                  <a:pt x="274" y="16"/>
                </a:lnTo>
                <a:lnTo>
                  <a:pt x="274" y="12"/>
                </a:lnTo>
                <a:lnTo>
                  <a:pt x="274" y="16"/>
                </a:lnTo>
                <a:lnTo>
                  <a:pt x="278" y="16"/>
                </a:lnTo>
                <a:lnTo>
                  <a:pt x="278" y="12"/>
                </a:lnTo>
                <a:lnTo>
                  <a:pt x="280" y="12"/>
                </a:lnTo>
                <a:lnTo>
                  <a:pt x="284" y="12"/>
                </a:lnTo>
                <a:lnTo>
                  <a:pt x="288" y="12"/>
                </a:lnTo>
                <a:lnTo>
                  <a:pt x="292" y="8"/>
                </a:lnTo>
                <a:lnTo>
                  <a:pt x="294" y="8"/>
                </a:lnTo>
                <a:lnTo>
                  <a:pt x="294" y="4"/>
                </a:lnTo>
                <a:lnTo>
                  <a:pt x="298" y="4"/>
                </a:lnTo>
                <a:lnTo>
                  <a:pt x="302" y="0"/>
                </a:lnTo>
                <a:lnTo>
                  <a:pt x="306" y="0"/>
                </a:lnTo>
                <a:lnTo>
                  <a:pt x="310" y="0"/>
                </a:lnTo>
                <a:lnTo>
                  <a:pt x="314" y="0"/>
                </a:lnTo>
                <a:lnTo>
                  <a:pt x="314" y="4"/>
                </a:lnTo>
                <a:lnTo>
                  <a:pt x="318" y="4"/>
                </a:lnTo>
                <a:lnTo>
                  <a:pt x="322" y="4"/>
                </a:lnTo>
                <a:lnTo>
                  <a:pt x="318" y="8"/>
                </a:lnTo>
                <a:lnTo>
                  <a:pt x="314" y="8"/>
                </a:lnTo>
                <a:lnTo>
                  <a:pt x="310" y="12"/>
                </a:lnTo>
                <a:lnTo>
                  <a:pt x="314" y="12"/>
                </a:lnTo>
                <a:lnTo>
                  <a:pt x="314" y="16"/>
                </a:lnTo>
                <a:lnTo>
                  <a:pt x="314" y="12"/>
                </a:lnTo>
                <a:lnTo>
                  <a:pt x="318" y="12"/>
                </a:lnTo>
                <a:lnTo>
                  <a:pt x="322" y="12"/>
                </a:lnTo>
                <a:lnTo>
                  <a:pt x="322" y="8"/>
                </a:lnTo>
                <a:lnTo>
                  <a:pt x="324" y="8"/>
                </a:lnTo>
                <a:lnTo>
                  <a:pt x="324" y="4"/>
                </a:lnTo>
                <a:lnTo>
                  <a:pt x="328" y="4"/>
                </a:lnTo>
                <a:lnTo>
                  <a:pt x="328" y="8"/>
                </a:lnTo>
                <a:lnTo>
                  <a:pt x="324" y="8"/>
                </a:lnTo>
                <a:lnTo>
                  <a:pt x="328" y="8"/>
                </a:lnTo>
                <a:lnTo>
                  <a:pt x="328" y="4"/>
                </a:lnTo>
                <a:lnTo>
                  <a:pt x="332" y="8"/>
                </a:lnTo>
                <a:lnTo>
                  <a:pt x="332" y="12"/>
                </a:lnTo>
                <a:lnTo>
                  <a:pt x="336" y="12"/>
                </a:lnTo>
                <a:lnTo>
                  <a:pt x="340" y="12"/>
                </a:lnTo>
                <a:lnTo>
                  <a:pt x="340" y="16"/>
                </a:lnTo>
                <a:lnTo>
                  <a:pt x="344" y="12"/>
                </a:lnTo>
                <a:lnTo>
                  <a:pt x="348" y="12"/>
                </a:lnTo>
                <a:lnTo>
                  <a:pt x="350" y="12"/>
                </a:lnTo>
                <a:lnTo>
                  <a:pt x="354" y="12"/>
                </a:lnTo>
                <a:lnTo>
                  <a:pt x="358" y="12"/>
                </a:lnTo>
                <a:lnTo>
                  <a:pt x="362" y="12"/>
                </a:lnTo>
                <a:lnTo>
                  <a:pt x="366" y="12"/>
                </a:lnTo>
                <a:lnTo>
                  <a:pt x="366" y="16"/>
                </a:lnTo>
                <a:lnTo>
                  <a:pt x="362" y="16"/>
                </a:lnTo>
                <a:lnTo>
                  <a:pt x="362" y="20"/>
                </a:lnTo>
                <a:lnTo>
                  <a:pt x="366" y="20"/>
                </a:lnTo>
                <a:lnTo>
                  <a:pt x="370" y="20"/>
                </a:lnTo>
                <a:lnTo>
                  <a:pt x="366" y="20"/>
                </a:lnTo>
                <a:lnTo>
                  <a:pt x="362" y="20"/>
                </a:lnTo>
                <a:lnTo>
                  <a:pt x="366" y="20"/>
                </a:lnTo>
                <a:lnTo>
                  <a:pt x="370" y="20"/>
                </a:lnTo>
                <a:lnTo>
                  <a:pt x="374" y="20"/>
                </a:lnTo>
                <a:lnTo>
                  <a:pt x="374" y="24"/>
                </a:lnTo>
                <a:lnTo>
                  <a:pt x="370" y="24"/>
                </a:lnTo>
                <a:lnTo>
                  <a:pt x="374" y="24"/>
                </a:lnTo>
                <a:lnTo>
                  <a:pt x="378" y="24"/>
                </a:lnTo>
                <a:lnTo>
                  <a:pt x="380" y="24"/>
                </a:lnTo>
                <a:lnTo>
                  <a:pt x="384" y="24"/>
                </a:lnTo>
                <a:lnTo>
                  <a:pt x="388" y="24"/>
                </a:lnTo>
                <a:lnTo>
                  <a:pt x="388" y="20"/>
                </a:lnTo>
                <a:lnTo>
                  <a:pt x="392" y="20"/>
                </a:lnTo>
                <a:lnTo>
                  <a:pt x="392" y="24"/>
                </a:lnTo>
                <a:lnTo>
                  <a:pt x="396" y="24"/>
                </a:lnTo>
                <a:lnTo>
                  <a:pt x="400" y="24"/>
                </a:lnTo>
                <a:lnTo>
                  <a:pt x="400" y="20"/>
                </a:lnTo>
                <a:lnTo>
                  <a:pt x="406" y="20"/>
                </a:lnTo>
                <a:lnTo>
                  <a:pt x="406" y="24"/>
                </a:lnTo>
                <a:lnTo>
                  <a:pt x="410" y="24"/>
                </a:lnTo>
                <a:lnTo>
                  <a:pt x="414" y="24"/>
                </a:lnTo>
                <a:lnTo>
                  <a:pt x="418" y="24"/>
                </a:lnTo>
                <a:lnTo>
                  <a:pt x="418" y="26"/>
                </a:lnTo>
                <a:lnTo>
                  <a:pt x="422" y="26"/>
                </a:lnTo>
                <a:lnTo>
                  <a:pt x="426" y="24"/>
                </a:lnTo>
                <a:lnTo>
                  <a:pt x="426" y="26"/>
                </a:lnTo>
                <a:lnTo>
                  <a:pt x="430" y="26"/>
                </a:lnTo>
                <a:lnTo>
                  <a:pt x="434" y="30"/>
                </a:lnTo>
                <a:lnTo>
                  <a:pt x="436" y="30"/>
                </a:lnTo>
                <a:lnTo>
                  <a:pt x="440" y="30"/>
                </a:lnTo>
                <a:lnTo>
                  <a:pt x="444" y="30"/>
                </a:lnTo>
                <a:lnTo>
                  <a:pt x="448" y="30"/>
                </a:lnTo>
                <a:lnTo>
                  <a:pt x="452" y="30"/>
                </a:lnTo>
                <a:lnTo>
                  <a:pt x="456" y="30"/>
                </a:lnTo>
                <a:lnTo>
                  <a:pt x="460" y="30"/>
                </a:lnTo>
                <a:lnTo>
                  <a:pt x="464" y="34"/>
                </a:lnTo>
                <a:lnTo>
                  <a:pt x="466" y="34"/>
                </a:lnTo>
                <a:lnTo>
                  <a:pt x="470" y="34"/>
                </a:lnTo>
                <a:lnTo>
                  <a:pt x="474" y="34"/>
                </a:lnTo>
                <a:lnTo>
                  <a:pt x="478" y="34"/>
                </a:lnTo>
                <a:lnTo>
                  <a:pt x="482" y="34"/>
                </a:lnTo>
                <a:lnTo>
                  <a:pt x="482" y="30"/>
                </a:lnTo>
                <a:lnTo>
                  <a:pt x="490" y="30"/>
                </a:lnTo>
                <a:lnTo>
                  <a:pt x="492" y="30"/>
                </a:lnTo>
                <a:lnTo>
                  <a:pt x="496" y="30"/>
                </a:lnTo>
                <a:lnTo>
                  <a:pt x="500" y="30"/>
                </a:lnTo>
                <a:lnTo>
                  <a:pt x="504" y="34"/>
                </a:lnTo>
                <a:lnTo>
                  <a:pt x="508" y="34"/>
                </a:lnTo>
                <a:lnTo>
                  <a:pt x="508" y="38"/>
                </a:lnTo>
                <a:lnTo>
                  <a:pt x="512" y="38"/>
                </a:lnTo>
                <a:lnTo>
                  <a:pt x="516" y="38"/>
                </a:lnTo>
                <a:lnTo>
                  <a:pt x="516" y="42"/>
                </a:lnTo>
                <a:lnTo>
                  <a:pt x="520" y="42"/>
                </a:lnTo>
                <a:lnTo>
                  <a:pt x="522" y="42"/>
                </a:lnTo>
                <a:lnTo>
                  <a:pt x="526" y="42"/>
                </a:lnTo>
                <a:lnTo>
                  <a:pt x="526" y="46"/>
                </a:lnTo>
                <a:lnTo>
                  <a:pt x="526" y="50"/>
                </a:lnTo>
                <a:lnTo>
                  <a:pt x="526" y="60"/>
                </a:lnTo>
                <a:lnTo>
                  <a:pt x="526" y="72"/>
                </a:lnTo>
                <a:lnTo>
                  <a:pt x="526" y="80"/>
                </a:lnTo>
                <a:lnTo>
                  <a:pt x="526" y="82"/>
                </a:lnTo>
                <a:lnTo>
                  <a:pt x="526" y="86"/>
                </a:lnTo>
                <a:lnTo>
                  <a:pt x="526" y="90"/>
                </a:lnTo>
                <a:lnTo>
                  <a:pt x="526" y="98"/>
                </a:lnTo>
                <a:lnTo>
                  <a:pt x="526" y="102"/>
                </a:lnTo>
                <a:lnTo>
                  <a:pt x="526" y="110"/>
                </a:lnTo>
                <a:lnTo>
                  <a:pt x="526" y="112"/>
                </a:lnTo>
                <a:lnTo>
                  <a:pt x="526" y="116"/>
                </a:lnTo>
                <a:lnTo>
                  <a:pt x="526" y="120"/>
                </a:lnTo>
                <a:lnTo>
                  <a:pt x="526" y="132"/>
                </a:lnTo>
                <a:lnTo>
                  <a:pt x="526" y="142"/>
                </a:lnTo>
                <a:lnTo>
                  <a:pt x="526" y="154"/>
                </a:lnTo>
                <a:lnTo>
                  <a:pt x="526" y="176"/>
                </a:lnTo>
                <a:lnTo>
                  <a:pt x="526" y="184"/>
                </a:lnTo>
                <a:lnTo>
                  <a:pt x="526" y="188"/>
                </a:lnTo>
                <a:lnTo>
                  <a:pt x="526" y="202"/>
                </a:lnTo>
                <a:lnTo>
                  <a:pt x="526" y="214"/>
                </a:lnTo>
                <a:lnTo>
                  <a:pt x="526" y="254"/>
                </a:lnTo>
                <a:lnTo>
                  <a:pt x="526" y="266"/>
                </a:lnTo>
                <a:lnTo>
                  <a:pt x="526" y="268"/>
                </a:lnTo>
                <a:lnTo>
                  <a:pt x="534" y="268"/>
                </a:lnTo>
                <a:lnTo>
                  <a:pt x="542" y="268"/>
                </a:lnTo>
                <a:lnTo>
                  <a:pt x="546" y="268"/>
                </a:lnTo>
                <a:lnTo>
                  <a:pt x="546" y="266"/>
                </a:lnTo>
                <a:lnTo>
                  <a:pt x="548" y="266"/>
                </a:lnTo>
                <a:lnTo>
                  <a:pt x="552" y="266"/>
                </a:lnTo>
                <a:lnTo>
                  <a:pt x="552" y="268"/>
                </a:lnTo>
                <a:lnTo>
                  <a:pt x="552" y="272"/>
                </a:lnTo>
                <a:lnTo>
                  <a:pt x="556" y="276"/>
                </a:lnTo>
                <a:lnTo>
                  <a:pt x="560" y="276"/>
                </a:lnTo>
                <a:lnTo>
                  <a:pt x="560" y="280"/>
                </a:lnTo>
                <a:lnTo>
                  <a:pt x="564" y="284"/>
                </a:lnTo>
                <a:lnTo>
                  <a:pt x="568" y="284"/>
                </a:lnTo>
                <a:lnTo>
                  <a:pt x="572" y="288"/>
                </a:lnTo>
                <a:lnTo>
                  <a:pt x="576" y="292"/>
                </a:lnTo>
                <a:lnTo>
                  <a:pt x="576" y="294"/>
                </a:lnTo>
                <a:lnTo>
                  <a:pt x="576" y="298"/>
                </a:lnTo>
                <a:lnTo>
                  <a:pt x="578" y="298"/>
                </a:lnTo>
                <a:lnTo>
                  <a:pt x="578" y="294"/>
                </a:lnTo>
                <a:lnTo>
                  <a:pt x="582" y="294"/>
                </a:lnTo>
                <a:lnTo>
                  <a:pt x="586" y="294"/>
                </a:lnTo>
                <a:lnTo>
                  <a:pt x="590" y="294"/>
                </a:lnTo>
                <a:lnTo>
                  <a:pt x="590" y="292"/>
                </a:lnTo>
                <a:lnTo>
                  <a:pt x="590" y="288"/>
                </a:lnTo>
                <a:lnTo>
                  <a:pt x="594" y="288"/>
                </a:lnTo>
                <a:lnTo>
                  <a:pt x="594" y="284"/>
                </a:lnTo>
                <a:lnTo>
                  <a:pt x="598" y="284"/>
                </a:lnTo>
                <a:lnTo>
                  <a:pt x="598" y="280"/>
                </a:lnTo>
                <a:lnTo>
                  <a:pt x="602" y="280"/>
                </a:lnTo>
                <a:lnTo>
                  <a:pt x="606" y="280"/>
                </a:lnTo>
                <a:lnTo>
                  <a:pt x="608" y="284"/>
                </a:lnTo>
                <a:lnTo>
                  <a:pt x="612" y="284"/>
                </a:lnTo>
                <a:lnTo>
                  <a:pt x="612" y="288"/>
                </a:lnTo>
                <a:lnTo>
                  <a:pt x="608" y="288"/>
                </a:lnTo>
                <a:lnTo>
                  <a:pt x="612" y="292"/>
                </a:lnTo>
                <a:lnTo>
                  <a:pt x="616" y="292"/>
                </a:lnTo>
                <a:lnTo>
                  <a:pt x="616" y="294"/>
                </a:lnTo>
                <a:lnTo>
                  <a:pt x="620" y="294"/>
                </a:lnTo>
                <a:lnTo>
                  <a:pt x="620" y="298"/>
                </a:lnTo>
                <a:lnTo>
                  <a:pt x="622" y="298"/>
                </a:lnTo>
                <a:lnTo>
                  <a:pt x="622" y="302"/>
                </a:lnTo>
                <a:lnTo>
                  <a:pt x="626" y="302"/>
                </a:lnTo>
                <a:lnTo>
                  <a:pt x="626" y="306"/>
                </a:lnTo>
                <a:lnTo>
                  <a:pt x="630" y="306"/>
                </a:lnTo>
                <a:lnTo>
                  <a:pt x="634" y="310"/>
                </a:lnTo>
                <a:lnTo>
                  <a:pt x="634" y="314"/>
                </a:lnTo>
                <a:lnTo>
                  <a:pt x="638" y="314"/>
                </a:lnTo>
                <a:lnTo>
                  <a:pt x="638" y="318"/>
                </a:lnTo>
                <a:lnTo>
                  <a:pt x="638" y="322"/>
                </a:lnTo>
                <a:lnTo>
                  <a:pt x="642" y="322"/>
                </a:lnTo>
                <a:lnTo>
                  <a:pt x="642" y="324"/>
                </a:lnTo>
                <a:lnTo>
                  <a:pt x="646" y="328"/>
                </a:lnTo>
                <a:lnTo>
                  <a:pt x="646" y="332"/>
                </a:lnTo>
                <a:lnTo>
                  <a:pt x="648" y="332"/>
                </a:lnTo>
                <a:lnTo>
                  <a:pt x="648" y="336"/>
                </a:lnTo>
                <a:lnTo>
                  <a:pt x="648" y="340"/>
                </a:lnTo>
                <a:lnTo>
                  <a:pt x="652" y="340"/>
                </a:lnTo>
                <a:lnTo>
                  <a:pt x="652" y="344"/>
                </a:lnTo>
                <a:lnTo>
                  <a:pt x="656" y="348"/>
                </a:lnTo>
                <a:lnTo>
                  <a:pt x="656" y="350"/>
                </a:lnTo>
                <a:lnTo>
                  <a:pt x="660" y="350"/>
                </a:lnTo>
                <a:lnTo>
                  <a:pt x="664" y="350"/>
                </a:lnTo>
                <a:lnTo>
                  <a:pt x="664" y="354"/>
                </a:lnTo>
                <a:lnTo>
                  <a:pt x="668" y="354"/>
                </a:lnTo>
                <a:lnTo>
                  <a:pt x="672" y="354"/>
                </a:lnTo>
                <a:lnTo>
                  <a:pt x="672" y="358"/>
                </a:lnTo>
                <a:lnTo>
                  <a:pt x="676" y="358"/>
                </a:lnTo>
                <a:lnTo>
                  <a:pt x="676" y="362"/>
                </a:lnTo>
                <a:lnTo>
                  <a:pt x="678" y="362"/>
                </a:lnTo>
                <a:lnTo>
                  <a:pt x="682" y="362"/>
                </a:lnTo>
                <a:lnTo>
                  <a:pt x="682" y="366"/>
                </a:lnTo>
                <a:lnTo>
                  <a:pt x="678" y="366"/>
                </a:lnTo>
                <a:lnTo>
                  <a:pt x="678" y="370"/>
                </a:lnTo>
                <a:lnTo>
                  <a:pt x="678" y="374"/>
                </a:lnTo>
                <a:lnTo>
                  <a:pt x="678" y="378"/>
                </a:lnTo>
                <a:lnTo>
                  <a:pt x="682" y="380"/>
                </a:lnTo>
                <a:lnTo>
                  <a:pt x="678" y="380"/>
                </a:lnTo>
                <a:lnTo>
                  <a:pt x="678" y="384"/>
                </a:lnTo>
                <a:lnTo>
                  <a:pt x="676" y="388"/>
                </a:lnTo>
                <a:lnTo>
                  <a:pt x="672" y="388"/>
                </a:lnTo>
                <a:lnTo>
                  <a:pt x="672" y="392"/>
                </a:lnTo>
                <a:lnTo>
                  <a:pt x="672" y="388"/>
                </a:lnTo>
                <a:lnTo>
                  <a:pt x="672" y="392"/>
                </a:lnTo>
                <a:lnTo>
                  <a:pt x="668" y="392"/>
                </a:lnTo>
                <a:lnTo>
                  <a:pt x="668" y="388"/>
                </a:lnTo>
                <a:lnTo>
                  <a:pt x="668" y="384"/>
                </a:lnTo>
                <a:lnTo>
                  <a:pt x="672" y="384"/>
                </a:lnTo>
                <a:lnTo>
                  <a:pt x="676" y="380"/>
                </a:lnTo>
                <a:lnTo>
                  <a:pt x="676" y="378"/>
                </a:lnTo>
                <a:lnTo>
                  <a:pt x="676" y="380"/>
                </a:lnTo>
                <a:lnTo>
                  <a:pt x="672" y="380"/>
                </a:lnTo>
                <a:lnTo>
                  <a:pt x="672" y="384"/>
                </a:lnTo>
                <a:lnTo>
                  <a:pt x="672" y="380"/>
                </a:lnTo>
                <a:lnTo>
                  <a:pt x="668" y="384"/>
                </a:lnTo>
                <a:lnTo>
                  <a:pt x="668" y="380"/>
                </a:lnTo>
                <a:lnTo>
                  <a:pt x="672" y="380"/>
                </a:lnTo>
                <a:lnTo>
                  <a:pt x="672" y="378"/>
                </a:lnTo>
                <a:lnTo>
                  <a:pt x="668" y="378"/>
                </a:lnTo>
                <a:lnTo>
                  <a:pt x="668" y="374"/>
                </a:lnTo>
                <a:lnTo>
                  <a:pt x="668" y="370"/>
                </a:lnTo>
                <a:lnTo>
                  <a:pt x="668" y="366"/>
                </a:lnTo>
                <a:lnTo>
                  <a:pt x="664" y="366"/>
                </a:lnTo>
                <a:lnTo>
                  <a:pt x="664" y="362"/>
                </a:lnTo>
                <a:lnTo>
                  <a:pt x="668" y="362"/>
                </a:lnTo>
                <a:lnTo>
                  <a:pt x="664" y="362"/>
                </a:lnTo>
                <a:lnTo>
                  <a:pt x="664" y="366"/>
                </a:lnTo>
                <a:lnTo>
                  <a:pt x="660" y="366"/>
                </a:lnTo>
                <a:lnTo>
                  <a:pt x="660" y="362"/>
                </a:lnTo>
                <a:lnTo>
                  <a:pt x="660" y="366"/>
                </a:lnTo>
                <a:lnTo>
                  <a:pt x="656" y="366"/>
                </a:lnTo>
                <a:lnTo>
                  <a:pt x="652" y="366"/>
                </a:lnTo>
                <a:lnTo>
                  <a:pt x="656" y="366"/>
                </a:lnTo>
                <a:lnTo>
                  <a:pt x="656" y="370"/>
                </a:lnTo>
                <a:lnTo>
                  <a:pt x="656" y="374"/>
                </a:lnTo>
                <a:lnTo>
                  <a:pt x="652" y="374"/>
                </a:lnTo>
                <a:lnTo>
                  <a:pt x="648" y="374"/>
                </a:lnTo>
                <a:lnTo>
                  <a:pt x="648" y="370"/>
                </a:lnTo>
                <a:lnTo>
                  <a:pt x="652" y="370"/>
                </a:lnTo>
                <a:lnTo>
                  <a:pt x="652" y="366"/>
                </a:lnTo>
                <a:lnTo>
                  <a:pt x="652" y="362"/>
                </a:lnTo>
                <a:lnTo>
                  <a:pt x="652" y="358"/>
                </a:lnTo>
                <a:lnTo>
                  <a:pt x="656" y="358"/>
                </a:lnTo>
                <a:lnTo>
                  <a:pt x="652" y="358"/>
                </a:lnTo>
                <a:lnTo>
                  <a:pt x="652" y="354"/>
                </a:lnTo>
                <a:lnTo>
                  <a:pt x="648" y="354"/>
                </a:lnTo>
                <a:lnTo>
                  <a:pt x="648" y="350"/>
                </a:lnTo>
                <a:lnTo>
                  <a:pt x="646" y="350"/>
                </a:lnTo>
                <a:lnTo>
                  <a:pt x="646" y="348"/>
                </a:lnTo>
                <a:lnTo>
                  <a:pt x="648" y="348"/>
                </a:lnTo>
                <a:lnTo>
                  <a:pt x="646" y="348"/>
                </a:lnTo>
                <a:lnTo>
                  <a:pt x="642" y="348"/>
                </a:lnTo>
                <a:lnTo>
                  <a:pt x="642" y="344"/>
                </a:lnTo>
                <a:lnTo>
                  <a:pt x="642" y="340"/>
                </a:lnTo>
                <a:lnTo>
                  <a:pt x="638" y="340"/>
                </a:lnTo>
                <a:lnTo>
                  <a:pt x="634" y="340"/>
                </a:lnTo>
                <a:lnTo>
                  <a:pt x="630" y="340"/>
                </a:lnTo>
                <a:lnTo>
                  <a:pt x="630" y="336"/>
                </a:lnTo>
                <a:lnTo>
                  <a:pt x="634" y="336"/>
                </a:lnTo>
                <a:lnTo>
                  <a:pt x="638" y="336"/>
                </a:lnTo>
                <a:lnTo>
                  <a:pt x="638" y="332"/>
                </a:lnTo>
                <a:lnTo>
                  <a:pt x="638" y="336"/>
                </a:lnTo>
                <a:lnTo>
                  <a:pt x="634" y="336"/>
                </a:lnTo>
                <a:lnTo>
                  <a:pt x="634" y="332"/>
                </a:lnTo>
                <a:lnTo>
                  <a:pt x="630" y="332"/>
                </a:lnTo>
                <a:lnTo>
                  <a:pt x="634" y="328"/>
                </a:lnTo>
                <a:lnTo>
                  <a:pt x="630" y="328"/>
                </a:lnTo>
                <a:lnTo>
                  <a:pt x="630" y="324"/>
                </a:lnTo>
                <a:lnTo>
                  <a:pt x="638" y="328"/>
                </a:lnTo>
                <a:lnTo>
                  <a:pt x="634" y="328"/>
                </a:lnTo>
                <a:lnTo>
                  <a:pt x="634" y="324"/>
                </a:lnTo>
                <a:lnTo>
                  <a:pt x="630" y="324"/>
                </a:lnTo>
                <a:lnTo>
                  <a:pt x="630" y="322"/>
                </a:lnTo>
                <a:lnTo>
                  <a:pt x="634" y="322"/>
                </a:lnTo>
                <a:lnTo>
                  <a:pt x="638" y="322"/>
                </a:lnTo>
                <a:lnTo>
                  <a:pt x="634" y="322"/>
                </a:lnTo>
                <a:lnTo>
                  <a:pt x="630" y="322"/>
                </a:lnTo>
                <a:lnTo>
                  <a:pt x="630" y="324"/>
                </a:lnTo>
                <a:lnTo>
                  <a:pt x="626" y="322"/>
                </a:lnTo>
                <a:lnTo>
                  <a:pt x="626" y="318"/>
                </a:lnTo>
                <a:lnTo>
                  <a:pt x="630" y="318"/>
                </a:lnTo>
                <a:lnTo>
                  <a:pt x="626" y="318"/>
                </a:lnTo>
                <a:lnTo>
                  <a:pt x="626" y="322"/>
                </a:lnTo>
                <a:lnTo>
                  <a:pt x="626" y="318"/>
                </a:lnTo>
                <a:lnTo>
                  <a:pt x="622" y="318"/>
                </a:lnTo>
                <a:lnTo>
                  <a:pt x="622" y="314"/>
                </a:lnTo>
                <a:lnTo>
                  <a:pt x="626" y="310"/>
                </a:lnTo>
                <a:lnTo>
                  <a:pt x="622" y="310"/>
                </a:lnTo>
                <a:lnTo>
                  <a:pt x="626" y="310"/>
                </a:lnTo>
                <a:lnTo>
                  <a:pt x="626" y="306"/>
                </a:lnTo>
                <a:lnTo>
                  <a:pt x="626" y="310"/>
                </a:lnTo>
                <a:lnTo>
                  <a:pt x="626" y="306"/>
                </a:lnTo>
                <a:lnTo>
                  <a:pt x="626" y="310"/>
                </a:lnTo>
                <a:lnTo>
                  <a:pt x="622" y="310"/>
                </a:lnTo>
                <a:lnTo>
                  <a:pt x="622" y="314"/>
                </a:lnTo>
                <a:lnTo>
                  <a:pt x="620" y="314"/>
                </a:lnTo>
                <a:lnTo>
                  <a:pt x="620" y="310"/>
                </a:lnTo>
                <a:lnTo>
                  <a:pt x="616" y="310"/>
                </a:lnTo>
                <a:lnTo>
                  <a:pt x="612" y="306"/>
                </a:lnTo>
                <a:lnTo>
                  <a:pt x="612" y="302"/>
                </a:lnTo>
                <a:lnTo>
                  <a:pt x="608" y="302"/>
                </a:lnTo>
                <a:lnTo>
                  <a:pt x="608" y="298"/>
                </a:lnTo>
                <a:lnTo>
                  <a:pt x="608" y="294"/>
                </a:lnTo>
                <a:lnTo>
                  <a:pt x="608" y="292"/>
                </a:lnTo>
                <a:lnTo>
                  <a:pt x="606" y="292"/>
                </a:lnTo>
                <a:lnTo>
                  <a:pt x="606" y="288"/>
                </a:lnTo>
                <a:lnTo>
                  <a:pt x="606" y="292"/>
                </a:lnTo>
                <a:lnTo>
                  <a:pt x="608" y="294"/>
                </a:lnTo>
                <a:lnTo>
                  <a:pt x="606" y="294"/>
                </a:lnTo>
                <a:lnTo>
                  <a:pt x="606" y="292"/>
                </a:lnTo>
                <a:lnTo>
                  <a:pt x="606" y="294"/>
                </a:lnTo>
                <a:lnTo>
                  <a:pt x="606" y="298"/>
                </a:lnTo>
                <a:lnTo>
                  <a:pt x="608" y="298"/>
                </a:lnTo>
                <a:lnTo>
                  <a:pt x="608" y="302"/>
                </a:lnTo>
                <a:lnTo>
                  <a:pt x="608" y="306"/>
                </a:lnTo>
                <a:lnTo>
                  <a:pt x="608" y="310"/>
                </a:lnTo>
                <a:lnTo>
                  <a:pt x="612" y="310"/>
                </a:lnTo>
                <a:lnTo>
                  <a:pt x="612" y="314"/>
                </a:lnTo>
                <a:lnTo>
                  <a:pt x="608" y="314"/>
                </a:lnTo>
                <a:lnTo>
                  <a:pt x="606" y="314"/>
                </a:lnTo>
                <a:lnTo>
                  <a:pt x="606" y="310"/>
                </a:lnTo>
                <a:lnTo>
                  <a:pt x="602" y="310"/>
                </a:lnTo>
                <a:lnTo>
                  <a:pt x="598" y="310"/>
                </a:lnTo>
                <a:lnTo>
                  <a:pt x="602" y="306"/>
                </a:lnTo>
                <a:lnTo>
                  <a:pt x="598" y="306"/>
                </a:lnTo>
                <a:lnTo>
                  <a:pt x="598" y="302"/>
                </a:lnTo>
                <a:lnTo>
                  <a:pt x="598" y="298"/>
                </a:lnTo>
                <a:lnTo>
                  <a:pt x="602" y="298"/>
                </a:lnTo>
                <a:lnTo>
                  <a:pt x="598" y="298"/>
                </a:lnTo>
                <a:lnTo>
                  <a:pt x="598" y="294"/>
                </a:lnTo>
                <a:lnTo>
                  <a:pt x="594" y="294"/>
                </a:lnTo>
                <a:lnTo>
                  <a:pt x="594" y="298"/>
                </a:lnTo>
                <a:lnTo>
                  <a:pt x="598" y="298"/>
                </a:lnTo>
                <a:lnTo>
                  <a:pt x="598" y="302"/>
                </a:lnTo>
                <a:lnTo>
                  <a:pt x="594" y="302"/>
                </a:lnTo>
                <a:lnTo>
                  <a:pt x="590" y="302"/>
                </a:lnTo>
                <a:lnTo>
                  <a:pt x="590" y="298"/>
                </a:lnTo>
                <a:lnTo>
                  <a:pt x="586" y="298"/>
                </a:lnTo>
                <a:lnTo>
                  <a:pt x="582" y="294"/>
                </a:lnTo>
                <a:lnTo>
                  <a:pt x="582" y="298"/>
                </a:lnTo>
                <a:lnTo>
                  <a:pt x="582" y="302"/>
                </a:lnTo>
                <a:lnTo>
                  <a:pt x="582" y="298"/>
                </a:lnTo>
                <a:lnTo>
                  <a:pt x="586" y="298"/>
                </a:lnTo>
                <a:lnTo>
                  <a:pt x="590" y="298"/>
                </a:lnTo>
                <a:lnTo>
                  <a:pt x="590" y="302"/>
                </a:lnTo>
                <a:lnTo>
                  <a:pt x="586" y="302"/>
                </a:lnTo>
                <a:lnTo>
                  <a:pt x="590" y="302"/>
                </a:lnTo>
                <a:lnTo>
                  <a:pt x="594" y="302"/>
                </a:lnTo>
                <a:lnTo>
                  <a:pt x="590" y="306"/>
                </a:lnTo>
                <a:lnTo>
                  <a:pt x="594" y="306"/>
                </a:lnTo>
                <a:lnTo>
                  <a:pt x="598" y="306"/>
                </a:lnTo>
                <a:lnTo>
                  <a:pt x="598" y="310"/>
                </a:lnTo>
                <a:lnTo>
                  <a:pt x="594" y="314"/>
                </a:lnTo>
                <a:lnTo>
                  <a:pt x="594" y="310"/>
                </a:lnTo>
                <a:lnTo>
                  <a:pt x="590" y="310"/>
                </a:lnTo>
                <a:lnTo>
                  <a:pt x="590" y="314"/>
                </a:lnTo>
                <a:lnTo>
                  <a:pt x="590" y="310"/>
                </a:lnTo>
                <a:lnTo>
                  <a:pt x="594" y="314"/>
                </a:lnTo>
                <a:lnTo>
                  <a:pt x="590" y="314"/>
                </a:lnTo>
                <a:lnTo>
                  <a:pt x="590" y="310"/>
                </a:lnTo>
                <a:lnTo>
                  <a:pt x="586" y="314"/>
                </a:lnTo>
                <a:lnTo>
                  <a:pt x="590" y="314"/>
                </a:lnTo>
                <a:lnTo>
                  <a:pt x="586" y="314"/>
                </a:lnTo>
                <a:lnTo>
                  <a:pt x="586" y="310"/>
                </a:lnTo>
                <a:lnTo>
                  <a:pt x="582" y="310"/>
                </a:lnTo>
                <a:lnTo>
                  <a:pt x="578" y="310"/>
                </a:lnTo>
                <a:lnTo>
                  <a:pt x="578" y="306"/>
                </a:lnTo>
                <a:lnTo>
                  <a:pt x="576" y="306"/>
                </a:lnTo>
                <a:lnTo>
                  <a:pt x="576" y="302"/>
                </a:lnTo>
                <a:lnTo>
                  <a:pt x="576" y="306"/>
                </a:lnTo>
                <a:lnTo>
                  <a:pt x="572" y="302"/>
                </a:lnTo>
                <a:lnTo>
                  <a:pt x="572" y="298"/>
                </a:lnTo>
                <a:lnTo>
                  <a:pt x="568" y="298"/>
                </a:lnTo>
                <a:lnTo>
                  <a:pt x="568" y="294"/>
                </a:lnTo>
                <a:lnTo>
                  <a:pt x="564" y="294"/>
                </a:lnTo>
                <a:lnTo>
                  <a:pt x="560" y="294"/>
                </a:lnTo>
                <a:lnTo>
                  <a:pt x="564" y="292"/>
                </a:lnTo>
                <a:lnTo>
                  <a:pt x="560" y="292"/>
                </a:lnTo>
                <a:lnTo>
                  <a:pt x="560" y="294"/>
                </a:lnTo>
                <a:lnTo>
                  <a:pt x="556" y="292"/>
                </a:lnTo>
                <a:lnTo>
                  <a:pt x="552" y="292"/>
                </a:lnTo>
                <a:lnTo>
                  <a:pt x="552" y="288"/>
                </a:lnTo>
                <a:lnTo>
                  <a:pt x="548" y="288"/>
                </a:lnTo>
                <a:lnTo>
                  <a:pt x="546" y="288"/>
                </a:lnTo>
                <a:lnTo>
                  <a:pt x="546" y="284"/>
                </a:lnTo>
                <a:lnTo>
                  <a:pt x="548" y="280"/>
                </a:lnTo>
                <a:lnTo>
                  <a:pt x="546" y="280"/>
                </a:lnTo>
                <a:lnTo>
                  <a:pt x="546" y="276"/>
                </a:lnTo>
                <a:lnTo>
                  <a:pt x="548" y="276"/>
                </a:lnTo>
                <a:lnTo>
                  <a:pt x="548" y="280"/>
                </a:lnTo>
                <a:lnTo>
                  <a:pt x="548" y="284"/>
                </a:lnTo>
                <a:lnTo>
                  <a:pt x="552" y="284"/>
                </a:lnTo>
                <a:lnTo>
                  <a:pt x="552" y="280"/>
                </a:lnTo>
                <a:lnTo>
                  <a:pt x="548" y="280"/>
                </a:lnTo>
                <a:lnTo>
                  <a:pt x="552" y="276"/>
                </a:lnTo>
                <a:lnTo>
                  <a:pt x="556" y="280"/>
                </a:lnTo>
                <a:lnTo>
                  <a:pt x="556" y="276"/>
                </a:lnTo>
                <a:lnTo>
                  <a:pt x="552" y="276"/>
                </a:lnTo>
                <a:lnTo>
                  <a:pt x="548" y="276"/>
                </a:lnTo>
                <a:lnTo>
                  <a:pt x="548" y="272"/>
                </a:lnTo>
                <a:lnTo>
                  <a:pt x="546" y="272"/>
                </a:lnTo>
                <a:lnTo>
                  <a:pt x="546" y="276"/>
                </a:lnTo>
                <a:lnTo>
                  <a:pt x="542" y="280"/>
                </a:lnTo>
                <a:lnTo>
                  <a:pt x="538" y="280"/>
                </a:lnTo>
                <a:lnTo>
                  <a:pt x="534" y="280"/>
                </a:lnTo>
                <a:lnTo>
                  <a:pt x="530" y="280"/>
                </a:lnTo>
                <a:lnTo>
                  <a:pt x="526" y="280"/>
                </a:lnTo>
                <a:lnTo>
                  <a:pt x="522" y="276"/>
                </a:lnTo>
                <a:lnTo>
                  <a:pt x="520" y="276"/>
                </a:lnTo>
                <a:lnTo>
                  <a:pt x="522" y="276"/>
                </a:lnTo>
                <a:lnTo>
                  <a:pt x="522" y="272"/>
                </a:lnTo>
                <a:lnTo>
                  <a:pt x="520" y="272"/>
                </a:lnTo>
                <a:lnTo>
                  <a:pt x="520" y="276"/>
                </a:lnTo>
                <a:lnTo>
                  <a:pt x="516" y="276"/>
                </a:lnTo>
                <a:lnTo>
                  <a:pt x="516" y="272"/>
                </a:lnTo>
                <a:lnTo>
                  <a:pt x="512" y="272"/>
                </a:lnTo>
                <a:lnTo>
                  <a:pt x="504" y="272"/>
                </a:lnTo>
                <a:lnTo>
                  <a:pt x="500" y="272"/>
                </a:lnTo>
                <a:lnTo>
                  <a:pt x="496" y="272"/>
                </a:lnTo>
                <a:lnTo>
                  <a:pt x="492" y="272"/>
                </a:lnTo>
                <a:lnTo>
                  <a:pt x="490" y="272"/>
                </a:lnTo>
                <a:lnTo>
                  <a:pt x="486" y="272"/>
                </a:lnTo>
                <a:lnTo>
                  <a:pt x="482" y="272"/>
                </a:lnTo>
                <a:lnTo>
                  <a:pt x="482" y="268"/>
                </a:lnTo>
                <a:lnTo>
                  <a:pt x="478" y="268"/>
                </a:lnTo>
                <a:lnTo>
                  <a:pt x="474" y="268"/>
                </a:lnTo>
                <a:lnTo>
                  <a:pt x="470" y="268"/>
                </a:lnTo>
                <a:lnTo>
                  <a:pt x="470" y="266"/>
                </a:lnTo>
                <a:lnTo>
                  <a:pt x="470" y="262"/>
                </a:lnTo>
                <a:lnTo>
                  <a:pt x="474" y="262"/>
                </a:lnTo>
                <a:lnTo>
                  <a:pt x="474" y="258"/>
                </a:lnTo>
                <a:lnTo>
                  <a:pt x="470" y="262"/>
                </a:lnTo>
                <a:lnTo>
                  <a:pt x="466" y="266"/>
                </a:lnTo>
                <a:lnTo>
                  <a:pt x="464" y="266"/>
                </a:lnTo>
                <a:lnTo>
                  <a:pt x="460" y="266"/>
                </a:lnTo>
                <a:lnTo>
                  <a:pt x="456" y="262"/>
                </a:lnTo>
                <a:lnTo>
                  <a:pt x="460" y="262"/>
                </a:lnTo>
                <a:lnTo>
                  <a:pt x="460" y="258"/>
                </a:lnTo>
                <a:lnTo>
                  <a:pt x="460" y="262"/>
                </a:lnTo>
                <a:lnTo>
                  <a:pt x="456" y="262"/>
                </a:lnTo>
                <a:lnTo>
                  <a:pt x="456" y="258"/>
                </a:lnTo>
                <a:lnTo>
                  <a:pt x="456" y="262"/>
                </a:lnTo>
                <a:lnTo>
                  <a:pt x="452" y="262"/>
                </a:lnTo>
                <a:lnTo>
                  <a:pt x="452" y="258"/>
                </a:lnTo>
                <a:lnTo>
                  <a:pt x="456" y="258"/>
                </a:lnTo>
                <a:lnTo>
                  <a:pt x="452" y="258"/>
                </a:lnTo>
                <a:lnTo>
                  <a:pt x="448" y="258"/>
                </a:lnTo>
                <a:lnTo>
                  <a:pt x="444" y="258"/>
                </a:lnTo>
                <a:lnTo>
                  <a:pt x="448" y="258"/>
                </a:lnTo>
                <a:lnTo>
                  <a:pt x="452" y="254"/>
                </a:lnTo>
                <a:lnTo>
                  <a:pt x="448" y="254"/>
                </a:lnTo>
                <a:lnTo>
                  <a:pt x="444" y="254"/>
                </a:lnTo>
                <a:lnTo>
                  <a:pt x="448" y="250"/>
                </a:lnTo>
                <a:lnTo>
                  <a:pt x="452" y="250"/>
                </a:lnTo>
                <a:lnTo>
                  <a:pt x="452" y="246"/>
                </a:lnTo>
                <a:lnTo>
                  <a:pt x="448" y="246"/>
                </a:lnTo>
                <a:lnTo>
                  <a:pt x="448" y="250"/>
                </a:lnTo>
                <a:lnTo>
                  <a:pt x="444" y="250"/>
                </a:lnTo>
                <a:lnTo>
                  <a:pt x="440" y="254"/>
                </a:lnTo>
                <a:lnTo>
                  <a:pt x="440" y="250"/>
                </a:lnTo>
                <a:lnTo>
                  <a:pt x="436" y="250"/>
                </a:lnTo>
                <a:lnTo>
                  <a:pt x="436" y="254"/>
                </a:lnTo>
                <a:lnTo>
                  <a:pt x="434" y="254"/>
                </a:lnTo>
                <a:lnTo>
                  <a:pt x="434" y="250"/>
                </a:lnTo>
                <a:lnTo>
                  <a:pt x="434" y="246"/>
                </a:lnTo>
                <a:lnTo>
                  <a:pt x="434" y="254"/>
                </a:lnTo>
                <a:lnTo>
                  <a:pt x="430" y="254"/>
                </a:lnTo>
                <a:lnTo>
                  <a:pt x="426" y="254"/>
                </a:lnTo>
                <a:lnTo>
                  <a:pt x="430" y="250"/>
                </a:lnTo>
                <a:lnTo>
                  <a:pt x="430" y="246"/>
                </a:lnTo>
                <a:lnTo>
                  <a:pt x="430" y="250"/>
                </a:lnTo>
                <a:lnTo>
                  <a:pt x="426" y="250"/>
                </a:lnTo>
                <a:lnTo>
                  <a:pt x="422" y="250"/>
                </a:lnTo>
                <a:lnTo>
                  <a:pt x="426" y="250"/>
                </a:lnTo>
                <a:lnTo>
                  <a:pt x="422" y="254"/>
                </a:lnTo>
                <a:lnTo>
                  <a:pt x="418" y="254"/>
                </a:lnTo>
                <a:lnTo>
                  <a:pt x="418" y="258"/>
                </a:lnTo>
                <a:lnTo>
                  <a:pt x="418" y="254"/>
                </a:lnTo>
                <a:lnTo>
                  <a:pt x="422" y="258"/>
                </a:lnTo>
                <a:lnTo>
                  <a:pt x="418" y="258"/>
                </a:lnTo>
                <a:lnTo>
                  <a:pt x="422" y="258"/>
                </a:lnTo>
                <a:lnTo>
                  <a:pt x="426" y="262"/>
                </a:lnTo>
                <a:lnTo>
                  <a:pt x="422" y="262"/>
                </a:lnTo>
                <a:lnTo>
                  <a:pt x="418" y="262"/>
                </a:lnTo>
                <a:lnTo>
                  <a:pt x="418" y="266"/>
                </a:lnTo>
                <a:lnTo>
                  <a:pt x="418" y="266"/>
                </a:lnTo>
                <a:lnTo>
                  <a:pt x="418" y="266"/>
                </a:lnTo>
                <a:close/>
                <a:moveTo>
                  <a:pt x="434" y="266"/>
                </a:moveTo>
                <a:lnTo>
                  <a:pt x="430" y="266"/>
                </a:lnTo>
                <a:lnTo>
                  <a:pt x="434" y="266"/>
                </a:lnTo>
                <a:lnTo>
                  <a:pt x="430" y="268"/>
                </a:lnTo>
                <a:lnTo>
                  <a:pt x="430" y="266"/>
                </a:lnTo>
                <a:lnTo>
                  <a:pt x="434" y="262"/>
                </a:lnTo>
                <a:lnTo>
                  <a:pt x="434" y="266"/>
                </a:lnTo>
                <a:lnTo>
                  <a:pt x="434" y="266"/>
                </a:lnTo>
                <a:lnTo>
                  <a:pt x="434" y="266"/>
                </a:lnTo>
                <a:close/>
                <a:moveTo>
                  <a:pt x="224" y="384"/>
                </a:moveTo>
                <a:lnTo>
                  <a:pt x="224" y="388"/>
                </a:lnTo>
                <a:lnTo>
                  <a:pt x="224" y="384"/>
                </a:lnTo>
                <a:lnTo>
                  <a:pt x="224" y="384"/>
                </a:lnTo>
                <a:lnTo>
                  <a:pt x="224" y="384"/>
                </a:lnTo>
                <a:close/>
                <a:moveTo>
                  <a:pt x="1440" y="706"/>
                </a:moveTo>
                <a:lnTo>
                  <a:pt x="1440" y="708"/>
                </a:lnTo>
                <a:lnTo>
                  <a:pt x="1440" y="706"/>
                </a:lnTo>
                <a:lnTo>
                  <a:pt x="1436" y="706"/>
                </a:lnTo>
                <a:lnTo>
                  <a:pt x="1440" y="708"/>
                </a:lnTo>
                <a:lnTo>
                  <a:pt x="1440" y="712"/>
                </a:lnTo>
                <a:lnTo>
                  <a:pt x="1440" y="716"/>
                </a:lnTo>
                <a:lnTo>
                  <a:pt x="1440" y="720"/>
                </a:lnTo>
                <a:lnTo>
                  <a:pt x="1440" y="724"/>
                </a:lnTo>
                <a:lnTo>
                  <a:pt x="1436" y="724"/>
                </a:lnTo>
                <a:lnTo>
                  <a:pt x="1436" y="720"/>
                </a:lnTo>
                <a:lnTo>
                  <a:pt x="1436" y="716"/>
                </a:lnTo>
                <a:lnTo>
                  <a:pt x="1436" y="720"/>
                </a:lnTo>
                <a:lnTo>
                  <a:pt x="1436" y="724"/>
                </a:lnTo>
                <a:lnTo>
                  <a:pt x="1440" y="724"/>
                </a:lnTo>
                <a:lnTo>
                  <a:pt x="1440" y="728"/>
                </a:lnTo>
                <a:lnTo>
                  <a:pt x="1440" y="732"/>
                </a:lnTo>
                <a:lnTo>
                  <a:pt x="1440" y="728"/>
                </a:lnTo>
                <a:lnTo>
                  <a:pt x="1436" y="728"/>
                </a:lnTo>
                <a:lnTo>
                  <a:pt x="1432" y="724"/>
                </a:lnTo>
                <a:lnTo>
                  <a:pt x="1428" y="724"/>
                </a:lnTo>
                <a:lnTo>
                  <a:pt x="1428" y="720"/>
                </a:lnTo>
                <a:lnTo>
                  <a:pt x="1428" y="716"/>
                </a:lnTo>
                <a:lnTo>
                  <a:pt x="1432" y="716"/>
                </a:lnTo>
                <a:lnTo>
                  <a:pt x="1432" y="712"/>
                </a:lnTo>
                <a:lnTo>
                  <a:pt x="1432" y="716"/>
                </a:lnTo>
                <a:lnTo>
                  <a:pt x="1428" y="716"/>
                </a:lnTo>
                <a:lnTo>
                  <a:pt x="1428" y="720"/>
                </a:lnTo>
                <a:lnTo>
                  <a:pt x="1428" y="724"/>
                </a:lnTo>
                <a:lnTo>
                  <a:pt x="1432" y="724"/>
                </a:lnTo>
                <a:lnTo>
                  <a:pt x="1432" y="728"/>
                </a:lnTo>
                <a:lnTo>
                  <a:pt x="1436" y="728"/>
                </a:lnTo>
                <a:lnTo>
                  <a:pt x="1440" y="732"/>
                </a:lnTo>
                <a:lnTo>
                  <a:pt x="1442" y="732"/>
                </a:lnTo>
                <a:lnTo>
                  <a:pt x="1442" y="734"/>
                </a:lnTo>
                <a:lnTo>
                  <a:pt x="1440" y="738"/>
                </a:lnTo>
                <a:lnTo>
                  <a:pt x="1440" y="734"/>
                </a:lnTo>
                <a:lnTo>
                  <a:pt x="1436" y="734"/>
                </a:lnTo>
                <a:lnTo>
                  <a:pt x="1432" y="732"/>
                </a:lnTo>
                <a:lnTo>
                  <a:pt x="1432" y="728"/>
                </a:lnTo>
                <a:lnTo>
                  <a:pt x="1428" y="728"/>
                </a:lnTo>
                <a:lnTo>
                  <a:pt x="1432" y="728"/>
                </a:lnTo>
                <a:lnTo>
                  <a:pt x="1432" y="732"/>
                </a:lnTo>
                <a:lnTo>
                  <a:pt x="1436" y="734"/>
                </a:lnTo>
                <a:lnTo>
                  <a:pt x="1440" y="738"/>
                </a:lnTo>
                <a:lnTo>
                  <a:pt x="1442" y="738"/>
                </a:lnTo>
                <a:lnTo>
                  <a:pt x="1442" y="742"/>
                </a:lnTo>
                <a:lnTo>
                  <a:pt x="1440" y="742"/>
                </a:lnTo>
                <a:lnTo>
                  <a:pt x="1440" y="746"/>
                </a:lnTo>
                <a:lnTo>
                  <a:pt x="1440" y="742"/>
                </a:lnTo>
                <a:lnTo>
                  <a:pt x="1436" y="742"/>
                </a:lnTo>
                <a:lnTo>
                  <a:pt x="1440" y="742"/>
                </a:lnTo>
                <a:lnTo>
                  <a:pt x="1440" y="746"/>
                </a:lnTo>
                <a:lnTo>
                  <a:pt x="1442" y="746"/>
                </a:lnTo>
                <a:lnTo>
                  <a:pt x="1440" y="750"/>
                </a:lnTo>
                <a:lnTo>
                  <a:pt x="1436" y="746"/>
                </a:lnTo>
                <a:lnTo>
                  <a:pt x="1432" y="746"/>
                </a:lnTo>
                <a:lnTo>
                  <a:pt x="1432" y="742"/>
                </a:lnTo>
                <a:lnTo>
                  <a:pt x="1428" y="742"/>
                </a:lnTo>
                <a:lnTo>
                  <a:pt x="1432" y="742"/>
                </a:lnTo>
                <a:lnTo>
                  <a:pt x="1432" y="746"/>
                </a:lnTo>
                <a:lnTo>
                  <a:pt x="1436" y="746"/>
                </a:lnTo>
                <a:lnTo>
                  <a:pt x="1436" y="750"/>
                </a:lnTo>
                <a:lnTo>
                  <a:pt x="1440" y="750"/>
                </a:lnTo>
                <a:lnTo>
                  <a:pt x="1440" y="754"/>
                </a:lnTo>
                <a:lnTo>
                  <a:pt x="1440" y="750"/>
                </a:lnTo>
                <a:lnTo>
                  <a:pt x="1442" y="750"/>
                </a:lnTo>
                <a:lnTo>
                  <a:pt x="1446" y="750"/>
                </a:lnTo>
                <a:lnTo>
                  <a:pt x="1446" y="754"/>
                </a:lnTo>
                <a:lnTo>
                  <a:pt x="1446" y="758"/>
                </a:lnTo>
                <a:lnTo>
                  <a:pt x="1446" y="762"/>
                </a:lnTo>
                <a:lnTo>
                  <a:pt x="1446" y="764"/>
                </a:lnTo>
                <a:lnTo>
                  <a:pt x="1450" y="764"/>
                </a:lnTo>
                <a:lnTo>
                  <a:pt x="1450" y="768"/>
                </a:lnTo>
                <a:lnTo>
                  <a:pt x="1450" y="772"/>
                </a:lnTo>
                <a:lnTo>
                  <a:pt x="1450" y="768"/>
                </a:lnTo>
                <a:lnTo>
                  <a:pt x="1450" y="764"/>
                </a:lnTo>
                <a:lnTo>
                  <a:pt x="1446" y="764"/>
                </a:lnTo>
                <a:lnTo>
                  <a:pt x="1446" y="762"/>
                </a:lnTo>
                <a:lnTo>
                  <a:pt x="1446" y="758"/>
                </a:lnTo>
                <a:lnTo>
                  <a:pt x="1446" y="754"/>
                </a:lnTo>
                <a:lnTo>
                  <a:pt x="1446" y="758"/>
                </a:lnTo>
                <a:lnTo>
                  <a:pt x="1442" y="758"/>
                </a:lnTo>
                <a:lnTo>
                  <a:pt x="1446" y="762"/>
                </a:lnTo>
                <a:lnTo>
                  <a:pt x="1446" y="764"/>
                </a:lnTo>
                <a:lnTo>
                  <a:pt x="1446" y="768"/>
                </a:lnTo>
                <a:lnTo>
                  <a:pt x="1446" y="764"/>
                </a:lnTo>
                <a:lnTo>
                  <a:pt x="1446" y="762"/>
                </a:lnTo>
                <a:lnTo>
                  <a:pt x="1446" y="764"/>
                </a:lnTo>
                <a:lnTo>
                  <a:pt x="1442" y="764"/>
                </a:lnTo>
                <a:lnTo>
                  <a:pt x="1442" y="762"/>
                </a:lnTo>
                <a:lnTo>
                  <a:pt x="1442" y="764"/>
                </a:lnTo>
                <a:lnTo>
                  <a:pt x="1440" y="764"/>
                </a:lnTo>
                <a:lnTo>
                  <a:pt x="1440" y="768"/>
                </a:lnTo>
                <a:lnTo>
                  <a:pt x="1436" y="768"/>
                </a:lnTo>
                <a:lnTo>
                  <a:pt x="1436" y="764"/>
                </a:lnTo>
                <a:lnTo>
                  <a:pt x="1436" y="768"/>
                </a:lnTo>
                <a:lnTo>
                  <a:pt x="1440" y="768"/>
                </a:lnTo>
                <a:lnTo>
                  <a:pt x="1442" y="768"/>
                </a:lnTo>
                <a:lnTo>
                  <a:pt x="1440" y="768"/>
                </a:lnTo>
                <a:lnTo>
                  <a:pt x="1442" y="768"/>
                </a:lnTo>
                <a:lnTo>
                  <a:pt x="1446" y="768"/>
                </a:lnTo>
                <a:lnTo>
                  <a:pt x="1442" y="772"/>
                </a:lnTo>
                <a:lnTo>
                  <a:pt x="1442" y="776"/>
                </a:lnTo>
                <a:lnTo>
                  <a:pt x="1442" y="772"/>
                </a:lnTo>
                <a:lnTo>
                  <a:pt x="1442" y="776"/>
                </a:lnTo>
                <a:lnTo>
                  <a:pt x="1446" y="772"/>
                </a:lnTo>
                <a:lnTo>
                  <a:pt x="1446" y="768"/>
                </a:lnTo>
                <a:lnTo>
                  <a:pt x="1450" y="772"/>
                </a:lnTo>
                <a:lnTo>
                  <a:pt x="1450" y="776"/>
                </a:lnTo>
                <a:lnTo>
                  <a:pt x="1446" y="776"/>
                </a:lnTo>
                <a:lnTo>
                  <a:pt x="1446" y="780"/>
                </a:lnTo>
                <a:lnTo>
                  <a:pt x="1442" y="780"/>
                </a:lnTo>
                <a:lnTo>
                  <a:pt x="1440" y="780"/>
                </a:lnTo>
                <a:lnTo>
                  <a:pt x="1436" y="780"/>
                </a:lnTo>
                <a:lnTo>
                  <a:pt x="1436" y="776"/>
                </a:lnTo>
                <a:lnTo>
                  <a:pt x="1440" y="776"/>
                </a:lnTo>
                <a:lnTo>
                  <a:pt x="1436" y="776"/>
                </a:lnTo>
                <a:lnTo>
                  <a:pt x="1436" y="780"/>
                </a:lnTo>
                <a:lnTo>
                  <a:pt x="1432" y="780"/>
                </a:lnTo>
                <a:lnTo>
                  <a:pt x="1432" y="776"/>
                </a:lnTo>
                <a:lnTo>
                  <a:pt x="1432" y="780"/>
                </a:lnTo>
                <a:lnTo>
                  <a:pt x="1440" y="780"/>
                </a:lnTo>
                <a:lnTo>
                  <a:pt x="1440" y="784"/>
                </a:lnTo>
                <a:lnTo>
                  <a:pt x="1436" y="784"/>
                </a:lnTo>
                <a:lnTo>
                  <a:pt x="1436" y="788"/>
                </a:lnTo>
                <a:lnTo>
                  <a:pt x="1432" y="788"/>
                </a:lnTo>
                <a:lnTo>
                  <a:pt x="1432" y="784"/>
                </a:lnTo>
                <a:lnTo>
                  <a:pt x="1432" y="788"/>
                </a:lnTo>
                <a:lnTo>
                  <a:pt x="1436" y="788"/>
                </a:lnTo>
                <a:lnTo>
                  <a:pt x="1440" y="788"/>
                </a:lnTo>
                <a:lnTo>
                  <a:pt x="1442" y="788"/>
                </a:lnTo>
                <a:lnTo>
                  <a:pt x="1440" y="788"/>
                </a:lnTo>
                <a:lnTo>
                  <a:pt x="1440" y="790"/>
                </a:lnTo>
                <a:lnTo>
                  <a:pt x="1436" y="790"/>
                </a:lnTo>
                <a:lnTo>
                  <a:pt x="1428" y="794"/>
                </a:lnTo>
                <a:lnTo>
                  <a:pt x="1424" y="794"/>
                </a:lnTo>
                <a:lnTo>
                  <a:pt x="1428" y="794"/>
                </a:lnTo>
                <a:lnTo>
                  <a:pt x="1424" y="790"/>
                </a:lnTo>
                <a:lnTo>
                  <a:pt x="1424" y="794"/>
                </a:lnTo>
                <a:lnTo>
                  <a:pt x="1424" y="798"/>
                </a:lnTo>
                <a:lnTo>
                  <a:pt x="1420" y="798"/>
                </a:lnTo>
                <a:lnTo>
                  <a:pt x="1420" y="802"/>
                </a:lnTo>
                <a:lnTo>
                  <a:pt x="1416" y="802"/>
                </a:lnTo>
                <a:lnTo>
                  <a:pt x="1416" y="806"/>
                </a:lnTo>
                <a:lnTo>
                  <a:pt x="1416" y="802"/>
                </a:lnTo>
                <a:lnTo>
                  <a:pt x="1416" y="806"/>
                </a:lnTo>
                <a:lnTo>
                  <a:pt x="1416" y="810"/>
                </a:lnTo>
                <a:lnTo>
                  <a:pt x="1416" y="806"/>
                </a:lnTo>
                <a:lnTo>
                  <a:pt x="1414" y="806"/>
                </a:lnTo>
                <a:lnTo>
                  <a:pt x="1410" y="810"/>
                </a:lnTo>
                <a:lnTo>
                  <a:pt x="1406" y="810"/>
                </a:lnTo>
                <a:lnTo>
                  <a:pt x="1406" y="814"/>
                </a:lnTo>
                <a:lnTo>
                  <a:pt x="1402" y="814"/>
                </a:lnTo>
                <a:lnTo>
                  <a:pt x="1402" y="818"/>
                </a:lnTo>
                <a:lnTo>
                  <a:pt x="1398" y="820"/>
                </a:lnTo>
                <a:lnTo>
                  <a:pt x="1398" y="818"/>
                </a:lnTo>
                <a:lnTo>
                  <a:pt x="1398" y="820"/>
                </a:lnTo>
                <a:lnTo>
                  <a:pt x="1398" y="824"/>
                </a:lnTo>
                <a:lnTo>
                  <a:pt x="1394" y="824"/>
                </a:lnTo>
                <a:lnTo>
                  <a:pt x="1390" y="828"/>
                </a:lnTo>
                <a:lnTo>
                  <a:pt x="1390" y="832"/>
                </a:lnTo>
                <a:lnTo>
                  <a:pt x="1386" y="832"/>
                </a:lnTo>
                <a:lnTo>
                  <a:pt x="1384" y="836"/>
                </a:lnTo>
                <a:lnTo>
                  <a:pt x="1380" y="832"/>
                </a:lnTo>
                <a:lnTo>
                  <a:pt x="1380" y="836"/>
                </a:lnTo>
                <a:lnTo>
                  <a:pt x="1384" y="836"/>
                </a:lnTo>
                <a:lnTo>
                  <a:pt x="1380" y="840"/>
                </a:lnTo>
                <a:lnTo>
                  <a:pt x="1380" y="836"/>
                </a:lnTo>
                <a:lnTo>
                  <a:pt x="1376" y="836"/>
                </a:lnTo>
                <a:lnTo>
                  <a:pt x="1376" y="832"/>
                </a:lnTo>
                <a:lnTo>
                  <a:pt x="1376" y="836"/>
                </a:lnTo>
                <a:lnTo>
                  <a:pt x="1380" y="840"/>
                </a:lnTo>
                <a:lnTo>
                  <a:pt x="1376" y="840"/>
                </a:lnTo>
                <a:lnTo>
                  <a:pt x="1376" y="844"/>
                </a:lnTo>
                <a:lnTo>
                  <a:pt x="1376" y="848"/>
                </a:lnTo>
                <a:lnTo>
                  <a:pt x="1372" y="848"/>
                </a:lnTo>
                <a:lnTo>
                  <a:pt x="1372" y="850"/>
                </a:lnTo>
                <a:lnTo>
                  <a:pt x="1368" y="850"/>
                </a:lnTo>
                <a:lnTo>
                  <a:pt x="1372" y="854"/>
                </a:lnTo>
                <a:lnTo>
                  <a:pt x="1372" y="850"/>
                </a:lnTo>
                <a:lnTo>
                  <a:pt x="1372" y="854"/>
                </a:lnTo>
                <a:lnTo>
                  <a:pt x="1372" y="858"/>
                </a:lnTo>
                <a:lnTo>
                  <a:pt x="1368" y="858"/>
                </a:lnTo>
                <a:lnTo>
                  <a:pt x="1368" y="862"/>
                </a:lnTo>
                <a:lnTo>
                  <a:pt x="1368" y="858"/>
                </a:lnTo>
                <a:lnTo>
                  <a:pt x="1368" y="862"/>
                </a:lnTo>
                <a:lnTo>
                  <a:pt x="1368" y="866"/>
                </a:lnTo>
                <a:lnTo>
                  <a:pt x="1368" y="870"/>
                </a:lnTo>
                <a:lnTo>
                  <a:pt x="1368" y="874"/>
                </a:lnTo>
                <a:lnTo>
                  <a:pt x="1368" y="876"/>
                </a:lnTo>
                <a:lnTo>
                  <a:pt x="1368" y="880"/>
                </a:lnTo>
                <a:lnTo>
                  <a:pt x="1372" y="880"/>
                </a:lnTo>
                <a:lnTo>
                  <a:pt x="1372" y="884"/>
                </a:lnTo>
                <a:lnTo>
                  <a:pt x="1372" y="888"/>
                </a:lnTo>
                <a:lnTo>
                  <a:pt x="1376" y="896"/>
                </a:lnTo>
                <a:lnTo>
                  <a:pt x="1376" y="900"/>
                </a:lnTo>
                <a:lnTo>
                  <a:pt x="1380" y="904"/>
                </a:lnTo>
                <a:lnTo>
                  <a:pt x="1380" y="906"/>
                </a:lnTo>
                <a:lnTo>
                  <a:pt x="1380" y="910"/>
                </a:lnTo>
                <a:lnTo>
                  <a:pt x="1380" y="914"/>
                </a:lnTo>
                <a:lnTo>
                  <a:pt x="1384" y="918"/>
                </a:lnTo>
                <a:lnTo>
                  <a:pt x="1380" y="918"/>
                </a:lnTo>
                <a:lnTo>
                  <a:pt x="1380" y="914"/>
                </a:lnTo>
                <a:lnTo>
                  <a:pt x="1380" y="910"/>
                </a:lnTo>
                <a:lnTo>
                  <a:pt x="1380" y="906"/>
                </a:lnTo>
                <a:lnTo>
                  <a:pt x="1376" y="906"/>
                </a:lnTo>
                <a:lnTo>
                  <a:pt x="1376" y="904"/>
                </a:lnTo>
                <a:lnTo>
                  <a:pt x="1380" y="904"/>
                </a:lnTo>
                <a:lnTo>
                  <a:pt x="1376" y="904"/>
                </a:lnTo>
                <a:lnTo>
                  <a:pt x="1380" y="910"/>
                </a:lnTo>
                <a:lnTo>
                  <a:pt x="1380" y="914"/>
                </a:lnTo>
                <a:lnTo>
                  <a:pt x="1384" y="918"/>
                </a:lnTo>
                <a:lnTo>
                  <a:pt x="1384" y="922"/>
                </a:lnTo>
                <a:lnTo>
                  <a:pt x="1384" y="926"/>
                </a:lnTo>
                <a:lnTo>
                  <a:pt x="1386" y="932"/>
                </a:lnTo>
                <a:lnTo>
                  <a:pt x="1386" y="936"/>
                </a:lnTo>
                <a:lnTo>
                  <a:pt x="1386" y="940"/>
                </a:lnTo>
                <a:lnTo>
                  <a:pt x="1386" y="944"/>
                </a:lnTo>
                <a:lnTo>
                  <a:pt x="1386" y="948"/>
                </a:lnTo>
                <a:lnTo>
                  <a:pt x="1386" y="956"/>
                </a:lnTo>
                <a:lnTo>
                  <a:pt x="1386" y="960"/>
                </a:lnTo>
                <a:lnTo>
                  <a:pt x="1384" y="960"/>
                </a:lnTo>
                <a:lnTo>
                  <a:pt x="1384" y="962"/>
                </a:lnTo>
                <a:lnTo>
                  <a:pt x="1384" y="966"/>
                </a:lnTo>
                <a:lnTo>
                  <a:pt x="1380" y="966"/>
                </a:lnTo>
                <a:lnTo>
                  <a:pt x="1376" y="966"/>
                </a:lnTo>
                <a:lnTo>
                  <a:pt x="1372" y="970"/>
                </a:lnTo>
                <a:lnTo>
                  <a:pt x="1372" y="966"/>
                </a:lnTo>
                <a:lnTo>
                  <a:pt x="1376" y="966"/>
                </a:lnTo>
                <a:lnTo>
                  <a:pt x="1372" y="966"/>
                </a:lnTo>
                <a:lnTo>
                  <a:pt x="1372" y="962"/>
                </a:lnTo>
                <a:lnTo>
                  <a:pt x="1368" y="956"/>
                </a:lnTo>
                <a:lnTo>
                  <a:pt x="1364" y="956"/>
                </a:lnTo>
                <a:lnTo>
                  <a:pt x="1364" y="952"/>
                </a:lnTo>
                <a:lnTo>
                  <a:pt x="1360" y="948"/>
                </a:lnTo>
                <a:lnTo>
                  <a:pt x="1360" y="944"/>
                </a:lnTo>
                <a:lnTo>
                  <a:pt x="1364" y="940"/>
                </a:lnTo>
                <a:lnTo>
                  <a:pt x="1360" y="940"/>
                </a:lnTo>
                <a:lnTo>
                  <a:pt x="1360" y="944"/>
                </a:lnTo>
                <a:lnTo>
                  <a:pt x="1360" y="940"/>
                </a:lnTo>
                <a:lnTo>
                  <a:pt x="1360" y="936"/>
                </a:lnTo>
                <a:lnTo>
                  <a:pt x="1358" y="936"/>
                </a:lnTo>
                <a:lnTo>
                  <a:pt x="1358" y="940"/>
                </a:lnTo>
                <a:lnTo>
                  <a:pt x="1358" y="936"/>
                </a:lnTo>
                <a:lnTo>
                  <a:pt x="1354" y="936"/>
                </a:lnTo>
                <a:lnTo>
                  <a:pt x="1354" y="932"/>
                </a:lnTo>
                <a:lnTo>
                  <a:pt x="1354" y="930"/>
                </a:lnTo>
                <a:lnTo>
                  <a:pt x="1354" y="926"/>
                </a:lnTo>
                <a:lnTo>
                  <a:pt x="1350" y="926"/>
                </a:lnTo>
                <a:lnTo>
                  <a:pt x="1354" y="926"/>
                </a:lnTo>
                <a:lnTo>
                  <a:pt x="1350" y="926"/>
                </a:lnTo>
                <a:lnTo>
                  <a:pt x="1354" y="922"/>
                </a:lnTo>
                <a:lnTo>
                  <a:pt x="1354" y="918"/>
                </a:lnTo>
                <a:lnTo>
                  <a:pt x="1350" y="914"/>
                </a:lnTo>
                <a:lnTo>
                  <a:pt x="1350" y="918"/>
                </a:lnTo>
                <a:lnTo>
                  <a:pt x="1354" y="918"/>
                </a:lnTo>
                <a:lnTo>
                  <a:pt x="1350" y="922"/>
                </a:lnTo>
                <a:lnTo>
                  <a:pt x="1350" y="918"/>
                </a:lnTo>
                <a:lnTo>
                  <a:pt x="1350" y="914"/>
                </a:lnTo>
                <a:lnTo>
                  <a:pt x="1350" y="910"/>
                </a:lnTo>
                <a:lnTo>
                  <a:pt x="1350" y="906"/>
                </a:lnTo>
                <a:lnTo>
                  <a:pt x="1350" y="904"/>
                </a:lnTo>
                <a:lnTo>
                  <a:pt x="1350" y="900"/>
                </a:lnTo>
                <a:lnTo>
                  <a:pt x="1350" y="896"/>
                </a:lnTo>
                <a:lnTo>
                  <a:pt x="1346" y="896"/>
                </a:lnTo>
                <a:lnTo>
                  <a:pt x="1346" y="892"/>
                </a:lnTo>
                <a:lnTo>
                  <a:pt x="1342" y="892"/>
                </a:lnTo>
                <a:lnTo>
                  <a:pt x="1342" y="888"/>
                </a:lnTo>
                <a:lnTo>
                  <a:pt x="1338" y="888"/>
                </a:lnTo>
                <a:lnTo>
                  <a:pt x="1338" y="884"/>
                </a:lnTo>
                <a:lnTo>
                  <a:pt x="1338" y="880"/>
                </a:lnTo>
                <a:lnTo>
                  <a:pt x="1334" y="880"/>
                </a:lnTo>
                <a:lnTo>
                  <a:pt x="1330" y="880"/>
                </a:lnTo>
                <a:lnTo>
                  <a:pt x="1330" y="876"/>
                </a:lnTo>
                <a:lnTo>
                  <a:pt x="1328" y="876"/>
                </a:lnTo>
                <a:lnTo>
                  <a:pt x="1324" y="880"/>
                </a:lnTo>
                <a:lnTo>
                  <a:pt x="1328" y="880"/>
                </a:lnTo>
                <a:lnTo>
                  <a:pt x="1324" y="880"/>
                </a:lnTo>
                <a:lnTo>
                  <a:pt x="1324" y="884"/>
                </a:lnTo>
                <a:lnTo>
                  <a:pt x="1320" y="884"/>
                </a:lnTo>
                <a:lnTo>
                  <a:pt x="1316" y="884"/>
                </a:lnTo>
                <a:lnTo>
                  <a:pt x="1312" y="884"/>
                </a:lnTo>
                <a:lnTo>
                  <a:pt x="1312" y="880"/>
                </a:lnTo>
                <a:lnTo>
                  <a:pt x="1308" y="880"/>
                </a:lnTo>
                <a:lnTo>
                  <a:pt x="1308" y="876"/>
                </a:lnTo>
                <a:lnTo>
                  <a:pt x="1308" y="880"/>
                </a:lnTo>
                <a:lnTo>
                  <a:pt x="1312" y="880"/>
                </a:lnTo>
                <a:lnTo>
                  <a:pt x="1308" y="876"/>
                </a:lnTo>
                <a:lnTo>
                  <a:pt x="1308" y="874"/>
                </a:lnTo>
                <a:lnTo>
                  <a:pt x="1304" y="874"/>
                </a:lnTo>
                <a:lnTo>
                  <a:pt x="1304" y="876"/>
                </a:lnTo>
                <a:lnTo>
                  <a:pt x="1308" y="876"/>
                </a:lnTo>
                <a:lnTo>
                  <a:pt x="1304" y="876"/>
                </a:lnTo>
                <a:lnTo>
                  <a:pt x="1304" y="874"/>
                </a:lnTo>
                <a:lnTo>
                  <a:pt x="1300" y="874"/>
                </a:lnTo>
                <a:lnTo>
                  <a:pt x="1298" y="874"/>
                </a:lnTo>
                <a:lnTo>
                  <a:pt x="1300" y="874"/>
                </a:lnTo>
                <a:lnTo>
                  <a:pt x="1300" y="870"/>
                </a:lnTo>
                <a:lnTo>
                  <a:pt x="1298" y="870"/>
                </a:lnTo>
                <a:lnTo>
                  <a:pt x="1298" y="874"/>
                </a:lnTo>
                <a:lnTo>
                  <a:pt x="1294" y="874"/>
                </a:lnTo>
                <a:lnTo>
                  <a:pt x="1290" y="874"/>
                </a:lnTo>
                <a:lnTo>
                  <a:pt x="1286" y="874"/>
                </a:lnTo>
                <a:lnTo>
                  <a:pt x="1290" y="874"/>
                </a:lnTo>
                <a:lnTo>
                  <a:pt x="1290" y="870"/>
                </a:lnTo>
                <a:lnTo>
                  <a:pt x="1286" y="870"/>
                </a:lnTo>
                <a:lnTo>
                  <a:pt x="1286" y="874"/>
                </a:lnTo>
                <a:lnTo>
                  <a:pt x="1282" y="874"/>
                </a:lnTo>
                <a:lnTo>
                  <a:pt x="1286" y="874"/>
                </a:lnTo>
                <a:lnTo>
                  <a:pt x="1282" y="870"/>
                </a:lnTo>
                <a:lnTo>
                  <a:pt x="1282" y="874"/>
                </a:lnTo>
                <a:lnTo>
                  <a:pt x="1278" y="876"/>
                </a:lnTo>
                <a:lnTo>
                  <a:pt x="1274" y="876"/>
                </a:lnTo>
                <a:lnTo>
                  <a:pt x="1278" y="876"/>
                </a:lnTo>
                <a:lnTo>
                  <a:pt x="1278" y="874"/>
                </a:lnTo>
                <a:lnTo>
                  <a:pt x="1274" y="874"/>
                </a:lnTo>
                <a:lnTo>
                  <a:pt x="1274" y="870"/>
                </a:lnTo>
                <a:lnTo>
                  <a:pt x="1274" y="866"/>
                </a:lnTo>
                <a:lnTo>
                  <a:pt x="1274" y="870"/>
                </a:lnTo>
                <a:lnTo>
                  <a:pt x="1274" y="874"/>
                </a:lnTo>
                <a:lnTo>
                  <a:pt x="1272" y="874"/>
                </a:lnTo>
                <a:lnTo>
                  <a:pt x="1268" y="874"/>
                </a:lnTo>
                <a:lnTo>
                  <a:pt x="1264" y="874"/>
                </a:lnTo>
                <a:lnTo>
                  <a:pt x="1260" y="874"/>
                </a:lnTo>
                <a:lnTo>
                  <a:pt x="1258" y="874"/>
                </a:lnTo>
                <a:lnTo>
                  <a:pt x="1258" y="876"/>
                </a:lnTo>
                <a:lnTo>
                  <a:pt x="1254" y="876"/>
                </a:lnTo>
                <a:lnTo>
                  <a:pt x="1250" y="876"/>
                </a:lnTo>
                <a:lnTo>
                  <a:pt x="1250" y="874"/>
                </a:lnTo>
                <a:lnTo>
                  <a:pt x="1246" y="874"/>
                </a:lnTo>
                <a:lnTo>
                  <a:pt x="1242" y="876"/>
                </a:lnTo>
                <a:lnTo>
                  <a:pt x="1242" y="880"/>
                </a:lnTo>
                <a:lnTo>
                  <a:pt x="1246" y="880"/>
                </a:lnTo>
                <a:lnTo>
                  <a:pt x="1250" y="876"/>
                </a:lnTo>
                <a:lnTo>
                  <a:pt x="1254" y="876"/>
                </a:lnTo>
                <a:lnTo>
                  <a:pt x="1254" y="880"/>
                </a:lnTo>
                <a:lnTo>
                  <a:pt x="1250" y="880"/>
                </a:lnTo>
                <a:lnTo>
                  <a:pt x="1254" y="880"/>
                </a:lnTo>
                <a:lnTo>
                  <a:pt x="1254" y="876"/>
                </a:lnTo>
                <a:lnTo>
                  <a:pt x="1258" y="880"/>
                </a:lnTo>
                <a:lnTo>
                  <a:pt x="1258" y="884"/>
                </a:lnTo>
                <a:lnTo>
                  <a:pt x="1254" y="884"/>
                </a:lnTo>
                <a:lnTo>
                  <a:pt x="1250" y="888"/>
                </a:lnTo>
                <a:lnTo>
                  <a:pt x="1254" y="888"/>
                </a:lnTo>
                <a:lnTo>
                  <a:pt x="1254" y="892"/>
                </a:lnTo>
                <a:lnTo>
                  <a:pt x="1258" y="892"/>
                </a:lnTo>
                <a:lnTo>
                  <a:pt x="1260" y="892"/>
                </a:lnTo>
                <a:lnTo>
                  <a:pt x="1260" y="896"/>
                </a:lnTo>
                <a:lnTo>
                  <a:pt x="1260" y="900"/>
                </a:lnTo>
                <a:lnTo>
                  <a:pt x="1258" y="896"/>
                </a:lnTo>
                <a:lnTo>
                  <a:pt x="1258" y="900"/>
                </a:lnTo>
                <a:lnTo>
                  <a:pt x="1258" y="896"/>
                </a:lnTo>
                <a:lnTo>
                  <a:pt x="1254" y="896"/>
                </a:lnTo>
                <a:lnTo>
                  <a:pt x="1254" y="892"/>
                </a:lnTo>
                <a:lnTo>
                  <a:pt x="1250" y="892"/>
                </a:lnTo>
                <a:lnTo>
                  <a:pt x="1250" y="888"/>
                </a:lnTo>
                <a:lnTo>
                  <a:pt x="1246" y="888"/>
                </a:lnTo>
                <a:lnTo>
                  <a:pt x="1246" y="892"/>
                </a:lnTo>
                <a:lnTo>
                  <a:pt x="1246" y="896"/>
                </a:lnTo>
                <a:lnTo>
                  <a:pt x="1242" y="896"/>
                </a:lnTo>
                <a:lnTo>
                  <a:pt x="1242" y="892"/>
                </a:lnTo>
                <a:lnTo>
                  <a:pt x="1238" y="892"/>
                </a:lnTo>
                <a:lnTo>
                  <a:pt x="1238" y="896"/>
                </a:lnTo>
                <a:lnTo>
                  <a:pt x="1234" y="896"/>
                </a:lnTo>
                <a:lnTo>
                  <a:pt x="1230" y="896"/>
                </a:lnTo>
                <a:lnTo>
                  <a:pt x="1230" y="892"/>
                </a:lnTo>
                <a:lnTo>
                  <a:pt x="1228" y="892"/>
                </a:lnTo>
                <a:lnTo>
                  <a:pt x="1230" y="892"/>
                </a:lnTo>
                <a:lnTo>
                  <a:pt x="1230" y="896"/>
                </a:lnTo>
                <a:lnTo>
                  <a:pt x="1230" y="892"/>
                </a:lnTo>
                <a:lnTo>
                  <a:pt x="1230" y="888"/>
                </a:lnTo>
                <a:lnTo>
                  <a:pt x="1228" y="888"/>
                </a:lnTo>
                <a:lnTo>
                  <a:pt x="1224" y="884"/>
                </a:lnTo>
                <a:lnTo>
                  <a:pt x="1220" y="884"/>
                </a:lnTo>
                <a:lnTo>
                  <a:pt x="1216" y="884"/>
                </a:lnTo>
                <a:lnTo>
                  <a:pt x="1216" y="888"/>
                </a:lnTo>
                <a:lnTo>
                  <a:pt x="1212" y="888"/>
                </a:lnTo>
                <a:lnTo>
                  <a:pt x="1208" y="888"/>
                </a:lnTo>
                <a:lnTo>
                  <a:pt x="1204" y="884"/>
                </a:lnTo>
                <a:lnTo>
                  <a:pt x="1202" y="884"/>
                </a:lnTo>
                <a:lnTo>
                  <a:pt x="1198" y="884"/>
                </a:lnTo>
                <a:lnTo>
                  <a:pt x="1194" y="884"/>
                </a:lnTo>
                <a:lnTo>
                  <a:pt x="1194" y="880"/>
                </a:lnTo>
                <a:lnTo>
                  <a:pt x="1190" y="884"/>
                </a:lnTo>
                <a:lnTo>
                  <a:pt x="1194" y="884"/>
                </a:lnTo>
                <a:lnTo>
                  <a:pt x="1190" y="884"/>
                </a:lnTo>
                <a:lnTo>
                  <a:pt x="1190" y="888"/>
                </a:lnTo>
                <a:lnTo>
                  <a:pt x="1186" y="888"/>
                </a:lnTo>
                <a:lnTo>
                  <a:pt x="1182" y="888"/>
                </a:lnTo>
                <a:lnTo>
                  <a:pt x="1182" y="892"/>
                </a:lnTo>
                <a:lnTo>
                  <a:pt x="1178" y="892"/>
                </a:lnTo>
                <a:lnTo>
                  <a:pt x="1182" y="888"/>
                </a:lnTo>
                <a:lnTo>
                  <a:pt x="1178" y="888"/>
                </a:lnTo>
                <a:lnTo>
                  <a:pt x="1182" y="888"/>
                </a:lnTo>
                <a:lnTo>
                  <a:pt x="1182" y="884"/>
                </a:lnTo>
                <a:lnTo>
                  <a:pt x="1178" y="884"/>
                </a:lnTo>
                <a:lnTo>
                  <a:pt x="1174" y="884"/>
                </a:lnTo>
                <a:lnTo>
                  <a:pt x="1174" y="888"/>
                </a:lnTo>
                <a:lnTo>
                  <a:pt x="1178" y="892"/>
                </a:lnTo>
                <a:lnTo>
                  <a:pt x="1174" y="896"/>
                </a:lnTo>
                <a:lnTo>
                  <a:pt x="1172" y="900"/>
                </a:lnTo>
                <a:lnTo>
                  <a:pt x="1168" y="904"/>
                </a:lnTo>
                <a:lnTo>
                  <a:pt x="1164" y="904"/>
                </a:lnTo>
                <a:lnTo>
                  <a:pt x="1164" y="906"/>
                </a:lnTo>
                <a:lnTo>
                  <a:pt x="1164" y="904"/>
                </a:lnTo>
                <a:lnTo>
                  <a:pt x="1168" y="904"/>
                </a:lnTo>
                <a:lnTo>
                  <a:pt x="1164" y="904"/>
                </a:lnTo>
                <a:lnTo>
                  <a:pt x="1164" y="906"/>
                </a:lnTo>
                <a:lnTo>
                  <a:pt x="1160" y="906"/>
                </a:lnTo>
                <a:lnTo>
                  <a:pt x="1164" y="906"/>
                </a:lnTo>
                <a:lnTo>
                  <a:pt x="1164" y="904"/>
                </a:lnTo>
                <a:lnTo>
                  <a:pt x="1160" y="906"/>
                </a:lnTo>
                <a:lnTo>
                  <a:pt x="1160" y="904"/>
                </a:lnTo>
                <a:lnTo>
                  <a:pt x="1156" y="904"/>
                </a:lnTo>
                <a:lnTo>
                  <a:pt x="1156" y="906"/>
                </a:lnTo>
                <a:lnTo>
                  <a:pt x="1156" y="904"/>
                </a:lnTo>
                <a:lnTo>
                  <a:pt x="1152" y="904"/>
                </a:lnTo>
                <a:lnTo>
                  <a:pt x="1152" y="906"/>
                </a:lnTo>
                <a:lnTo>
                  <a:pt x="1156" y="906"/>
                </a:lnTo>
                <a:lnTo>
                  <a:pt x="1152" y="910"/>
                </a:lnTo>
                <a:lnTo>
                  <a:pt x="1152" y="906"/>
                </a:lnTo>
                <a:lnTo>
                  <a:pt x="1148" y="910"/>
                </a:lnTo>
                <a:lnTo>
                  <a:pt x="1152" y="910"/>
                </a:lnTo>
                <a:lnTo>
                  <a:pt x="1148" y="914"/>
                </a:lnTo>
                <a:lnTo>
                  <a:pt x="1144" y="914"/>
                </a:lnTo>
                <a:lnTo>
                  <a:pt x="1148" y="914"/>
                </a:lnTo>
                <a:lnTo>
                  <a:pt x="1144" y="918"/>
                </a:lnTo>
                <a:lnTo>
                  <a:pt x="1142" y="918"/>
                </a:lnTo>
                <a:lnTo>
                  <a:pt x="1142" y="922"/>
                </a:lnTo>
                <a:lnTo>
                  <a:pt x="1144" y="922"/>
                </a:lnTo>
                <a:lnTo>
                  <a:pt x="1142" y="930"/>
                </a:lnTo>
                <a:lnTo>
                  <a:pt x="1138" y="930"/>
                </a:lnTo>
                <a:lnTo>
                  <a:pt x="1138" y="926"/>
                </a:lnTo>
                <a:lnTo>
                  <a:pt x="1138" y="930"/>
                </a:lnTo>
                <a:lnTo>
                  <a:pt x="1142" y="930"/>
                </a:lnTo>
                <a:lnTo>
                  <a:pt x="1142" y="932"/>
                </a:lnTo>
                <a:lnTo>
                  <a:pt x="1142" y="936"/>
                </a:lnTo>
                <a:lnTo>
                  <a:pt x="1142" y="940"/>
                </a:lnTo>
                <a:lnTo>
                  <a:pt x="1142" y="944"/>
                </a:lnTo>
                <a:lnTo>
                  <a:pt x="1142" y="948"/>
                </a:lnTo>
                <a:lnTo>
                  <a:pt x="1144" y="948"/>
                </a:lnTo>
                <a:lnTo>
                  <a:pt x="1144" y="952"/>
                </a:lnTo>
                <a:lnTo>
                  <a:pt x="1144" y="956"/>
                </a:lnTo>
                <a:lnTo>
                  <a:pt x="1142" y="956"/>
                </a:lnTo>
                <a:lnTo>
                  <a:pt x="1142" y="952"/>
                </a:lnTo>
                <a:lnTo>
                  <a:pt x="1138" y="952"/>
                </a:lnTo>
                <a:lnTo>
                  <a:pt x="1134" y="952"/>
                </a:lnTo>
                <a:lnTo>
                  <a:pt x="1130" y="952"/>
                </a:lnTo>
                <a:lnTo>
                  <a:pt x="1130" y="948"/>
                </a:lnTo>
                <a:lnTo>
                  <a:pt x="1126" y="948"/>
                </a:lnTo>
                <a:lnTo>
                  <a:pt x="1122" y="948"/>
                </a:lnTo>
                <a:lnTo>
                  <a:pt x="1122" y="944"/>
                </a:lnTo>
                <a:lnTo>
                  <a:pt x="1118" y="944"/>
                </a:lnTo>
                <a:lnTo>
                  <a:pt x="1118" y="940"/>
                </a:lnTo>
                <a:lnTo>
                  <a:pt x="1116" y="936"/>
                </a:lnTo>
                <a:lnTo>
                  <a:pt x="1116" y="932"/>
                </a:lnTo>
                <a:lnTo>
                  <a:pt x="1116" y="930"/>
                </a:lnTo>
                <a:lnTo>
                  <a:pt x="1116" y="926"/>
                </a:lnTo>
                <a:lnTo>
                  <a:pt x="1112" y="926"/>
                </a:lnTo>
                <a:lnTo>
                  <a:pt x="1112" y="922"/>
                </a:lnTo>
                <a:lnTo>
                  <a:pt x="1108" y="922"/>
                </a:lnTo>
                <a:lnTo>
                  <a:pt x="1108" y="918"/>
                </a:lnTo>
                <a:lnTo>
                  <a:pt x="1104" y="914"/>
                </a:lnTo>
                <a:lnTo>
                  <a:pt x="1104" y="910"/>
                </a:lnTo>
                <a:lnTo>
                  <a:pt x="1100" y="910"/>
                </a:lnTo>
                <a:lnTo>
                  <a:pt x="1100" y="906"/>
                </a:lnTo>
                <a:lnTo>
                  <a:pt x="1100" y="904"/>
                </a:lnTo>
                <a:lnTo>
                  <a:pt x="1096" y="900"/>
                </a:lnTo>
                <a:lnTo>
                  <a:pt x="1096" y="896"/>
                </a:lnTo>
                <a:lnTo>
                  <a:pt x="1092" y="892"/>
                </a:lnTo>
                <a:lnTo>
                  <a:pt x="1092" y="888"/>
                </a:lnTo>
                <a:lnTo>
                  <a:pt x="1088" y="888"/>
                </a:lnTo>
                <a:lnTo>
                  <a:pt x="1086" y="888"/>
                </a:lnTo>
                <a:lnTo>
                  <a:pt x="1086" y="884"/>
                </a:lnTo>
                <a:lnTo>
                  <a:pt x="1082" y="884"/>
                </a:lnTo>
                <a:lnTo>
                  <a:pt x="1078" y="884"/>
                </a:lnTo>
                <a:lnTo>
                  <a:pt x="1074" y="884"/>
                </a:lnTo>
                <a:lnTo>
                  <a:pt x="1074" y="880"/>
                </a:lnTo>
                <a:lnTo>
                  <a:pt x="1074" y="884"/>
                </a:lnTo>
                <a:lnTo>
                  <a:pt x="1070" y="884"/>
                </a:lnTo>
                <a:lnTo>
                  <a:pt x="1066" y="884"/>
                </a:lnTo>
                <a:lnTo>
                  <a:pt x="1066" y="888"/>
                </a:lnTo>
                <a:lnTo>
                  <a:pt x="1066" y="892"/>
                </a:lnTo>
                <a:lnTo>
                  <a:pt x="1066" y="896"/>
                </a:lnTo>
                <a:lnTo>
                  <a:pt x="1062" y="896"/>
                </a:lnTo>
                <a:lnTo>
                  <a:pt x="1062" y="900"/>
                </a:lnTo>
                <a:lnTo>
                  <a:pt x="1060" y="900"/>
                </a:lnTo>
                <a:lnTo>
                  <a:pt x="1056" y="896"/>
                </a:lnTo>
                <a:lnTo>
                  <a:pt x="1052" y="896"/>
                </a:lnTo>
                <a:lnTo>
                  <a:pt x="1052" y="892"/>
                </a:lnTo>
                <a:lnTo>
                  <a:pt x="1048" y="892"/>
                </a:lnTo>
                <a:lnTo>
                  <a:pt x="1048" y="888"/>
                </a:lnTo>
                <a:lnTo>
                  <a:pt x="1044" y="888"/>
                </a:lnTo>
                <a:lnTo>
                  <a:pt x="1040" y="884"/>
                </a:lnTo>
                <a:lnTo>
                  <a:pt x="1040" y="880"/>
                </a:lnTo>
                <a:lnTo>
                  <a:pt x="1040" y="876"/>
                </a:lnTo>
                <a:lnTo>
                  <a:pt x="1036" y="874"/>
                </a:lnTo>
                <a:lnTo>
                  <a:pt x="1036" y="870"/>
                </a:lnTo>
                <a:lnTo>
                  <a:pt x="1032" y="866"/>
                </a:lnTo>
                <a:lnTo>
                  <a:pt x="1030" y="866"/>
                </a:lnTo>
                <a:lnTo>
                  <a:pt x="1030" y="862"/>
                </a:lnTo>
                <a:lnTo>
                  <a:pt x="1026" y="862"/>
                </a:lnTo>
                <a:lnTo>
                  <a:pt x="1026" y="858"/>
                </a:lnTo>
                <a:lnTo>
                  <a:pt x="1022" y="858"/>
                </a:lnTo>
                <a:lnTo>
                  <a:pt x="1022" y="854"/>
                </a:lnTo>
                <a:lnTo>
                  <a:pt x="1018" y="854"/>
                </a:lnTo>
                <a:lnTo>
                  <a:pt x="1018" y="850"/>
                </a:lnTo>
                <a:lnTo>
                  <a:pt x="1014" y="850"/>
                </a:lnTo>
                <a:lnTo>
                  <a:pt x="1014" y="848"/>
                </a:lnTo>
                <a:lnTo>
                  <a:pt x="1010" y="848"/>
                </a:lnTo>
                <a:lnTo>
                  <a:pt x="1006" y="848"/>
                </a:lnTo>
                <a:lnTo>
                  <a:pt x="1002" y="848"/>
                </a:lnTo>
                <a:lnTo>
                  <a:pt x="1000" y="848"/>
                </a:lnTo>
                <a:lnTo>
                  <a:pt x="996" y="848"/>
                </a:lnTo>
                <a:lnTo>
                  <a:pt x="988" y="848"/>
                </a:lnTo>
                <a:lnTo>
                  <a:pt x="988" y="850"/>
                </a:lnTo>
                <a:lnTo>
                  <a:pt x="988" y="854"/>
                </a:lnTo>
                <a:lnTo>
                  <a:pt x="980" y="854"/>
                </a:lnTo>
                <a:lnTo>
                  <a:pt x="976" y="854"/>
                </a:lnTo>
                <a:lnTo>
                  <a:pt x="970" y="854"/>
                </a:lnTo>
                <a:lnTo>
                  <a:pt x="966" y="854"/>
                </a:lnTo>
                <a:lnTo>
                  <a:pt x="962" y="854"/>
                </a:lnTo>
                <a:lnTo>
                  <a:pt x="958" y="854"/>
                </a:lnTo>
                <a:lnTo>
                  <a:pt x="950" y="854"/>
                </a:lnTo>
                <a:lnTo>
                  <a:pt x="944" y="854"/>
                </a:lnTo>
                <a:lnTo>
                  <a:pt x="936" y="850"/>
                </a:lnTo>
                <a:lnTo>
                  <a:pt x="932" y="848"/>
                </a:lnTo>
                <a:lnTo>
                  <a:pt x="930" y="848"/>
                </a:lnTo>
                <a:lnTo>
                  <a:pt x="926" y="844"/>
                </a:lnTo>
                <a:lnTo>
                  <a:pt x="922" y="844"/>
                </a:lnTo>
                <a:lnTo>
                  <a:pt x="918" y="844"/>
                </a:lnTo>
                <a:lnTo>
                  <a:pt x="914" y="840"/>
                </a:lnTo>
                <a:lnTo>
                  <a:pt x="910" y="840"/>
                </a:lnTo>
                <a:lnTo>
                  <a:pt x="906" y="840"/>
                </a:lnTo>
                <a:lnTo>
                  <a:pt x="904" y="836"/>
                </a:lnTo>
                <a:lnTo>
                  <a:pt x="900" y="836"/>
                </a:lnTo>
                <a:lnTo>
                  <a:pt x="896" y="832"/>
                </a:lnTo>
                <a:lnTo>
                  <a:pt x="900" y="832"/>
                </a:lnTo>
                <a:lnTo>
                  <a:pt x="900" y="828"/>
                </a:lnTo>
                <a:lnTo>
                  <a:pt x="896" y="828"/>
                </a:lnTo>
                <a:lnTo>
                  <a:pt x="892" y="832"/>
                </a:lnTo>
                <a:lnTo>
                  <a:pt x="888" y="832"/>
                </a:lnTo>
                <a:lnTo>
                  <a:pt x="884" y="832"/>
                </a:lnTo>
                <a:lnTo>
                  <a:pt x="880" y="832"/>
                </a:lnTo>
                <a:lnTo>
                  <a:pt x="876" y="832"/>
                </a:lnTo>
                <a:lnTo>
                  <a:pt x="874" y="832"/>
                </a:lnTo>
                <a:lnTo>
                  <a:pt x="870" y="832"/>
                </a:lnTo>
                <a:lnTo>
                  <a:pt x="866" y="832"/>
                </a:lnTo>
                <a:lnTo>
                  <a:pt x="862" y="832"/>
                </a:lnTo>
                <a:lnTo>
                  <a:pt x="866" y="832"/>
                </a:lnTo>
                <a:lnTo>
                  <a:pt x="862" y="832"/>
                </a:lnTo>
                <a:lnTo>
                  <a:pt x="862" y="828"/>
                </a:lnTo>
                <a:lnTo>
                  <a:pt x="862" y="832"/>
                </a:lnTo>
                <a:lnTo>
                  <a:pt x="862" y="828"/>
                </a:lnTo>
                <a:lnTo>
                  <a:pt x="862" y="824"/>
                </a:lnTo>
                <a:lnTo>
                  <a:pt x="862" y="820"/>
                </a:lnTo>
                <a:lnTo>
                  <a:pt x="858" y="820"/>
                </a:lnTo>
                <a:lnTo>
                  <a:pt x="858" y="818"/>
                </a:lnTo>
                <a:lnTo>
                  <a:pt x="854" y="818"/>
                </a:lnTo>
                <a:lnTo>
                  <a:pt x="854" y="814"/>
                </a:lnTo>
                <a:lnTo>
                  <a:pt x="850" y="814"/>
                </a:lnTo>
                <a:lnTo>
                  <a:pt x="850" y="810"/>
                </a:lnTo>
                <a:lnTo>
                  <a:pt x="846" y="810"/>
                </a:lnTo>
                <a:lnTo>
                  <a:pt x="846" y="806"/>
                </a:lnTo>
                <a:lnTo>
                  <a:pt x="844" y="806"/>
                </a:lnTo>
                <a:lnTo>
                  <a:pt x="840" y="806"/>
                </a:lnTo>
                <a:lnTo>
                  <a:pt x="836" y="806"/>
                </a:lnTo>
                <a:lnTo>
                  <a:pt x="836" y="802"/>
                </a:lnTo>
                <a:lnTo>
                  <a:pt x="832" y="802"/>
                </a:lnTo>
                <a:lnTo>
                  <a:pt x="832" y="798"/>
                </a:lnTo>
                <a:lnTo>
                  <a:pt x="828" y="798"/>
                </a:lnTo>
                <a:lnTo>
                  <a:pt x="824" y="798"/>
                </a:lnTo>
                <a:lnTo>
                  <a:pt x="820" y="798"/>
                </a:lnTo>
                <a:lnTo>
                  <a:pt x="818" y="798"/>
                </a:lnTo>
                <a:lnTo>
                  <a:pt x="818" y="794"/>
                </a:lnTo>
                <a:lnTo>
                  <a:pt x="814" y="794"/>
                </a:lnTo>
                <a:lnTo>
                  <a:pt x="814" y="790"/>
                </a:lnTo>
                <a:lnTo>
                  <a:pt x="814" y="788"/>
                </a:lnTo>
                <a:lnTo>
                  <a:pt x="814" y="784"/>
                </a:lnTo>
                <a:lnTo>
                  <a:pt x="810" y="784"/>
                </a:lnTo>
                <a:lnTo>
                  <a:pt x="810" y="780"/>
                </a:lnTo>
                <a:lnTo>
                  <a:pt x="810" y="776"/>
                </a:lnTo>
                <a:lnTo>
                  <a:pt x="806" y="776"/>
                </a:lnTo>
                <a:lnTo>
                  <a:pt x="806" y="772"/>
                </a:lnTo>
                <a:lnTo>
                  <a:pt x="802" y="772"/>
                </a:lnTo>
                <a:lnTo>
                  <a:pt x="802" y="768"/>
                </a:lnTo>
                <a:lnTo>
                  <a:pt x="798" y="764"/>
                </a:lnTo>
                <a:lnTo>
                  <a:pt x="798" y="762"/>
                </a:lnTo>
                <a:lnTo>
                  <a:pt x="794" y="762"/>
                </a:lnTo>
                <a:lnTo>
                  <a:pt x="794" y="758"/>
                </a:lnTo>
                <a:lnTo>
                  <a:pt x="798" y="758"/>
                </a:lnTo>
                <a:lnTo>
                  <a:pt x="798" y="754"/>
                </a:lnTo>
                <a:lnTo>
                  <a:pt x="798" y="750"/>
                </a:lnTo>
                <a:lnTo>
                  <a:pt x="794" y="750"/>
                </a:lnTo>
                <a:lnTo>
                  <a:pt x="790" y="750"/>
                </a:lnTo>
                <a:lnTo>
                  <a:pt x="790" y="746"/>
                </a:lnTo>
                <a:lnTo>
                  <a:pt x="790" y="742"/>
                </a:lnTo>
                <a:lnTo>
                  <a:pt x="788" y="738"/>
                </a:lnTo>
                <a:lnTo>
                  <a:pt x="788" y="734"/>
                </a:lnTo>
                <a:lnTo>
                  <a:pt x="790" y="734"/>
                </a:lnTo>
                <a:lnTo>
                  <a:pt x="790" y="738"/>
                </a:lnTo>
                <a:lnTo>
                  <a:pt x="794" y="742"/>
                </a:lnTo>
                <a:lnTo>
                  <a:pt x="794" y="738"/>
                </a:lnTo>
                <a:lnTo>
                  <a:pt x="794" y="734"/>
                </a:lnTo>
                <a:lnTo>
                  <a:pt x="790" y="734"/>
                </a:lnTo>
                <a:lnTo>
                  <a:pt x="790" y="732"/>
                </a:lnTo>
                <a:lnTo>
                  <a:pt x="790" y="728"/>
                </a:lnTo>
                <a:lnTo>
                  <a:pt x="790" y="732"/>
                </a:lnTo>
                <a:lnTo>
                  <a:pt x="794" y="732"/>
                </a:lnTo>
                <a:lnTo>
                  <a:pt x="794" y="728"/>
                </a:lnTo>
                <a:lnTo>
                  <a:pt x="798" y="732"/>
                </a:lnTo>
                <a:lnTo>
                  <a:pt x="798" y="728"/>
                </a:lnTo>
                <a:lnTo>
                  <a:pt x="802" y="728"/>
                </a:lnTo>
                <a:lnTo>
                  <a:pt x="802" y="732"/>
                </a:lnTo>
                <a:lnTo>
                  <a:pt x="802" y="728"/>
                </a:lnTo>
                <a:lnTo>
                  <a:pt x="798" y="728"/>
                </a:lnTo>
                <a:lnTo>
                  <a:pt x="798" y="732"/>
                </a:lnTo>
                <a:lnTo>
                  <a:pt x="798" y="728"/>
                </a:lnTo>
                <a:lnTo>
                  <a:pt x="794" y="728"/>
                </a:lnTo>
                <a:lnTo>
                  <a:pt x="790" y="728"/>
                </a:lnTo>
                <a:lnTo>
                  <a:pt x="788" y="728"/>
                </a:lnTo>
                <a:lnTo>
                  <a:pt x="788" y="732"/>
                </a:lnTo>
                <a:lnTo>
                  <a:pt x="788" y="734"/>
                </a:lnTo>
                <a:lnTo>
                  <a:pt x="788" y="732"/>
                </a:lnTo>
                <a:lnTo>
                  <a:pt x="784" y="732"/>
                </a:lnTo>
                <a:lnTo>
                  <a:pt x="784" y="728"/>
                </a:lnTo>
                <a:lnTo>
                  <a:pt x="780" y="728"/>
                </a:lnTo>
                <a:lnTo>
                  <a:pt x="784" y="728"/>
                </a:lnTo>
                <a:lnTo>
                  <a:pt x="780" y="724"/>
                </a:lnTo>
                <a:lnTo>
                  <a:pt x="780" y="720"/>
                </a:lnTo>
                <a:lnTo>
                  <a:pt x="776" y="720"/>
                </a:lnTo>
                <a:lnTo>
                  <a:pt x="776" y="716"/>
                </a:lnTo>
                <a:lnTo>
                  <a:pt x="772" y="716"/>
                </a:lnTo>
                <a:lnTo>
                  <a:pt x="772" y="712"/>
                </a:lnTo>
                <a:lnTo>
                  <a:pt x="772" y="708"/>
                </a:lnTo>
                <a:lnTo>
                  <a:pt x="768" y="706"/>
                </a:lnTo>
                <a:lnTo>
                  <a:pt x="768" y="702"/>
                </a:lnTo>
                <a:lnTo>
                  <a:pt x="768" y="698"/>
                </a:lnTo>
                <a:lnTo>
                  <a:pt x="768" y="694"/>
                </a:lnTo>
                <a:lnTo>
                  <a:pt x="764" y="690"/>
                </a:lnTo>
                <a:lnTo>
                  <a:pt x="762" y="686"/>
                </a:lnTo>
                <a:lnTo>
                  <a:pt x="762" y="682"/>
                </a:lnTo>
                <a:lnTo>
                  <a:pt x="762" y="678"/>
                </a:lnTo>
                <a:lnTo>
                  <a:pt x="764" y="678"/>
                </a:lnTo>
                <a:lnTo>
                  <a:pt x="764" y="676"/>
                </a:lnTo>
                <a:lnTo>
                  <a:pt x="764" y="672"/>
                </a:lnTo>
                <a:lnTo>
                  <a:pt x="764" y="668"/>
                </a:lnTo>
                <a:lnTo>
                  <a:pt x="764" y="664"/>
                </a:lnTo>
                <a:lnTo>
                  <a:pt x="764" y="660"/>
                </a:lnTo>
                <a:lnTo>
                  <a:pt x="764" y="656"/>
                </a:lnTo>
                <a:lnTo>
                  <a:pt x="764" y="652"/>
                </a:lnTo>
                <a:lnTo>
                  <a:pt x="762" y="652"/>
                </a:lnTo>
                <a:lnTo>
                  <a:pt x="762" y="648"/>
                </a:lnTo>
                <a:lnTo>
                  <a:pt x="762" y="646"/>
                </a:lnTo>
                <a:lnTo>
                  <a:pt x="762" y="642"/>
                </a:lnTo>
                <a:lnTo>
                  <a:pt x="762" y="638"/>
                </a:lnTo>
                <a:lnTo>
                  <a:pt x="758" y="638"/>
                </a:lnTo>
                <a:lnTo>
                  <a:pt x="758" y="634"/>
                </a:lnTo>
                <a:lnTo>
                  <a:pt x="762" y="634"/>
                </a:lnTo>
                <a:lnTo>
                  <a:pt x="762" y="632"/>
                </a:lnTo>
                <a:lnTo>
                  <a:pt x="762" y="628"/>
                </a:lnTo>
                <a:lnTo>
                  <a:pt x="764" y="628"/>
                </a:lnTo>
                <a:lnTo>
                  <a:pt x="764" y="624"/>
                </a:lnTo>
                <a:lnTo>
                  <a:pt x="762" y="628"/>
                </a:lnTo>
                <a:lnTo>
                  <a:pt x="762" y="624"/>
                </a:lnTo>
                <a:lnTo>
                  <a:pt x="764" y="624"/>
                </a:lnTo>
                <a:lnTo>
                  <a:pt x="764" y="620"/>
                </a:lnTo>
                <a:lnTo>
                  <a:pt x="764" y="616"/>
                </a:lnTo>
                <a:lnTo>
                  <a:pt x="764" y="612"/>
                </a:lnTo>
                <a:lnTo>
                  <a:pt x="764" y="606"/>
                </a:lnTo>
                <a:lnTo>
                  <a:pt x="764" y="602"/>
                </a:lnTo>
                <a:lnTo>
                  <a:pt x="764" y="598"/>
                </a:lnTo>
                <a:lnTo>
                  <a:pt x="764" y="594"/>
                </a:lnTo>
                <a:lnTo>
                  <a:pt x="768" y="590"/>
                </a:lnTo>
                <a:lnTo>
                  <a:pt x="768" y="586"/>
                </a:lnTo>
                <a:lnTo>
                  <a:pt x="768" y="582"/>
                </a:lnTo>
                <a:lnTo>
                  <a:pt x="768" y="578"/>
                </a:lnTo>
                <a:lnTo>
                  <a:pt x="768" y="576"/>
                </a:lnTo>
                <a:lnTo>
                  <a:pt x="768" y="572"/>
                </a:lnTo>
                <a:lnTo>
                  <a:pt x="772" y="572"/>
                </a:lnTo>
                <a:lnTo>
                  <a:pt x="772" y="568"/>
                </a:lnTo>
                <a:lnTo>
                  <a:pt x="776" y="572"/>
                </a:lnTo>
                <a:lnTo>
                  <a:pt x="780" y="572"/>
                </a:lnTo>
                <a:lnTo>
                  <a:pt x="776" y="572"/>
                </a:lnTo>
                <a:lnTo>
                  <a:pt x="776" y="568"/>
                </a:lnTo>
                <a:lnTo>
                  <a:pt x="772" y="568"/>
                </a:lnTo>
                <a:lnTo>
                  <a:pt x="768" y="568"/>
                </a:lnTo>
                <a:lnTo>
                  <a:pt x="764" y="568"/>
                </a:lnTo>
                <a:lnTo>
                  <a:pt x="764" y="564"/>
                </a:lnTo>
                <a:lnTo>
                  <a:pt x="764" y="560"/>
                </a:lnTo>
                <a:lnTo>
                  <a:pt x="764" y="564"/>
                </a:lnTo>
                <a:lnTo>
                  <a:pt x="768" y="568"/>
                </a:lnTo>
                <a:lnTo>
                  <a:pt x="768" y="564"/>
                </a:lnTo>
                <a:lnTo>
                  <a:pt x="768" y="560"/>
                </a:lnTo>
                <a:lnTo>
                  <a:pt x="764" y="560"/>
                </a:lnTo>
                <a:lnTo>
                  <a:pt x="764" y="556"/>
                </a:lnTo>
                <a:lnTo>
                  <a:pt x="768" y="556"/>
                </a:lnTo>
                <a:lnTo>
                  <a:pt x="768" y="552"/>
                </a:lnTo>
                <a:lnTo>
                  <a:pt x="764" y="552"/>
                </a:lnTo>
                <a:lnTo>
                  <a:pt x="764" y="556"/>
                </a:lnTo>
                <a:lnTo>
                  <a:pt x="764" y="552"/>
                </a:lnTo>
                <a:lnTo>
                  <a:pt x="764" y="550"/>
                </a:lnTo>
                <a:lnTo>
                  <a:pt x="762" y="546"/>
                </a:lnTo>
                <a:lnTo>
                  <a:pt x="762" y="542"/>
                </a:lnTo>
                <a:lnTo>
                  <a:pt x="762" y="538"/>
                </a:lnTo>
                <a:lnTo>
                  <a:pt x="758" y="534"/>
                </a:lnTo>
                <a:lnTo>
                  <a:pt x="758" y="530"/>
                </a:lnTo>
                <a:lnTo>
                  <a:pt x="758" y="526"/>
                </a:lnTo>
                <a:lnTo>
                  <a:pt x="762" y="526"/>
                </a:lnTo>
                <a:lnTo>
                  <a:pt x="764" y="526"/>
                </a:lnTo>
                <a:lnTo>
                  <a:pt x="764" y="530"/>
                </a:lnTo>
                <a:lnTo>
                  <a:pt x="768" y="530"/>
                </a:lnTo>
                <a:lnTo>
                  <a:pt x="772" y="530"/>
                </a:lnTo>
                <a:lnTo>
                  <a:pt x="776" y="530"/>
                </a:lnTo>
                <a:lnTo>
                  <a:pt x="780" y="530"/>
                </a:lnTo>
                <a:lnTo>
                  <a:pt x="784" y="530"/>
                </a:lnTo>
                <a:lnTo>
                  <a:pt x="784" y="534"/>
                </a:lnTo>
                <a:lnTo>
                  <a:pt x="788" y="534"/>
                </a:lnTo>
                <a:lnTo>
                  <a:pt x="784" y="538"/>
                </a:lnTo>
                <a:lnTo>
                  <a:pt x="784" y="542"/>
                </a:lnTo>
                <a:lnTo>
                  <a:pt x="780" y="542"/>
                </a:lnTo>
                <a:lnTo>
                  <a:pt x="780" y="546"/>
                </a:lnTo>
                <a:lnTo>
                  <a:pt x="784" y="546"/>
                </a:lnTo>
                <a:lnTo>
                  <a:pt x="780" y="546"/>
                </a:lnTo>
                <a:lnTo>
                  <a:pt x="780" y="542"/>
                </a:lnTo>
                <a:lnTo>
                  <a:pt x="784" y="542"/>
                </a:lnTo>
                <a:lnTo>
                  <a:pt x="784" y="538"/>
                </a:lnTo>
                <a:lnTo>
                  <a:pt x="788" y="534"/>
                </a:lnTo>
                <a:lnTo>
                  <a:pt x="788" y="538"/>
                </a:lnTo>
                <a:lnTo>
                  <a:pt x="788" y="542"/>
                </a:lnTo>
                <a:lnTo>
                  <a:pt x="784" y="542"/>
                </a:lnTo>
                <a:lnTo>
                  <a:pt x="788" y="542"/>
                </a:lnTo>
                <a:lnTo>
                  <a:pt x="788" y="546"/>
                </a:lnTo>
                <a:lnTo>
                  <a:pt x="788" y="550"/>
                </a:lnTo>
                <a:lnTo>
                  <a:pt x="784" y="550"/>
                </a:lnTo>
                <a:lnTo>
                  <a:pt x="788" y="546"/>
                </a:lnTo>
                <a:lnTo>
                  <a:pt x="784" y="546"/>
                </a:lnTo>
                <a:lnTo>
                  <a:pt x="784" y="550"/>
                </a:lnTo>
                <a:lnTo>
                  <a:pt x="784" y="546"/>
                </a:lnTo>
                <a:lnTo>
                  <a:pt x="784" y="550"/>
                </a:lnTo>
                <a:lnTo>
                  <a:pt x="780" y="550"/>
                </a:lnTo>
                <a:lnTo>
                  <a:pt x="780" y="552"/>
                </a:lnTo>
                <a:lnTo>
                  <a:pt x="784" y="552"/>
                </a:lnTo>
                <a:lnTo>
                  <a:pt x="784" y="550"/>
                </a:lnTo>
                <a:lnTo>
                  <a:pt x="784" y="552"/>
                </a:lnTo>
                <a:lnTo>
                  <a:pt x="788" y="550"/>
                </a:lnTo>
                <a:lnTo>
                  <a:pt x="790" y="546"/>
                </a:lnTo>
                <a:lnTo>
                  <a:pt x="790" y="542"/>
                </a:lnTo>
                <a:lnTo>
                  <a:pt x="788" y="542"/>
                </a:lnTo>
                <a:lnTo>
                  <a:pt x="790" y="538"/>
                </a:lnTo>
                <a:lnTo>
                  <a:pt x="790" y="534"/>
                </a:lnTo>
                <a:lnTo>
                  <a:pt x="790" y="530"/>
                </a:lnTo>
                <a:lnTo>
                  <a:pt x="788" y="530"/>
                </a:lnTo>
                <a:lnTo>
                  <a:pt x="788" y="526"/>
                </a:lnTo>
                <a:lnTo>
                  <a:pt x="790" y="526"/>
                </a:lnTo>
                <a:lnTo>
                  <a:pt x="788" y="522"/>
                </a:lnTo>
                <a:lnTo>
                  <a:pt x="788" y="526"/>
                </a:lnTo>
                <a:lnTo>
                  <a:pt x="784" y="522"/>
                </a:lnTo>
                <a:lnTo>
                  <a:pt x="788" y="522"/>
                </a:lnTo>
                <a:lnTo>
                  <a:pt x="788" y="520"/>
                </a:lnTo>
                <a:lnTo>
                  <a:pt x="784" y="516"/>
                </a:lnTo>
                <a:lnTo>
                  <a:pt x="784" y="512"/>
                </a:lnTo>
                <a:lnTo>
                  <a:pt x="788" y="512"/>
                </a:lnTo>
                <a:lnTo>
                  <a:pt x="790" y="512"/>
                </a:lnTo>
                <a:lnTo>
                  <a:pt x="794" y="512"/>
                </a:lnTo>
                <a:lnTo>
                  <a:pt x="810" y="512"/>
                </a:lnTo>
                <a:lnTo>
                  <a:pt x="818" y="512"/>
                </a:lnTo>
                <a:lnTo>
                  <a:pt x="820" y="512"/>
                </a:lnTo>
                <a:lnTo>
                  <a:pt x="824" y="512"/>
                </a:lnTo>
                <a:lnTo>
                  <a:pt x="832" y="512"/>
                </a:lnTo>
                <a:lnTo>
                  <a:pt x="836" y="512"/>
                </a:lnTo>
                <a:lnTo>
                  <a:pt x="840" y="512"/>
                </a:lnTo>
                <a:lnTo>
                  <a:pt x="846" y="512"/>
                </a:lnTo>
                <a:lnTo>
                  <a:pt x="850" y="512"/>
                </a:lnTo>
                <a:lnTo>
                  <a:pt x="854" y="512"/>
                </a:lnTo>
                <a:lnTo>
                  <a:pt x="858" y="512"/>
                </a:lnTo>
                <a:lnTo>
                  <a:pt x="862" y="512"/>
                </a:lnTo>
                <a:lnTo>
                  <a:pt x="866" y="512"/>
                </a:lnTo>
                <a:lnTo>
                  <a:pt x="880" y="512"/>
                </a:lnTo>
                <a:lnTo>
                  <a:pt x="884" y="512"/>
                </a:lnTo>
                <a:lnTo>
                  <a:pt x="888" y="512"/>
                </a:lnTo>
                <a:lnTo>
                  <a:pt x="892" y="512"/>
                </a:lnTo>
                <a:lnTo>
                  <a:pt x="896" y="512"/>
                </a:lnTo>
                <a:lnTo>
                  <a:pt x="900" y="512"/>
                </a:lnTo>
                <a:lnTo>
                  <a:pt x="904" y="512"/>
                </a:lnTo>
                <a:lnTo>
                  <a:pt x="906" y="512"/>
                </a:lnTo>
                <a:lnTo>
                  <a:pt x="914" y="512"/>
                </a:lnTo>
                <a:lnTo>
                  <a:pt x="918" y="512"/>
                </a:lnTo>
                <a:lnTo>
                  <a:pt x="922" y="512"/>
                </a:lnTo>
                <a:lnTo>
                  <a:pt x="930" y="512"/>
                </a:lnTo>
                <a:lnTo>
                  <a:pt x="932" y="512"/>
                </a:lnTo>
                <a:lnTo>
                  <a:pt x="936" y="512"/>
                </a:lnTo>
                <a:lnTo>
                  <a:pt x="940" y="512"/>
                </a:lnTo>
                <a:lnTo>
                  <a:pt x="944" y="512"/>
                </a:lnTo>
                <a:lnTo>
                  <a:pt x="954" y="512"/>
                </a:lnTo>
                <a:lnTo>
                  <a:pt x="958" y="512"/>
                </a:lnTo>
                <a:lnTo>
                  <a:pt x="962" y="512"/>
                </a:lnTo>
                <a:lnTo>
                  <a:pt x="966" y="512"/>
                </a:lnTo>
                <a:lnTo>
                  <a:pt x="970" y="512"/>
                </a:lnTo>
                <a:lnTo>
                  <a:pt x="974" y="512"/>
                </a:lnTo>
                <a:lnTo>
                  <a:pt x="980" y="512"/>
                </a:lnTo>
                <a:lnTo>
                  <a:pt x="984" y="512"/>
                </a:lnTo>
                <a:lnTo>
                  <a:pt x="988" y="512"/>
                </a:lnTo>
                <a:lnTo>
                  <a:pt x="992" y="512"/>
                </a:lnTo>
                <a:lnTo>
                  <a:pt x="996" y="512"/>
                </a:lnTo>
                <a:lnTo>
                  <a:pt x="1000" y="512"/>
                </a:lnTo>
                <a:lnTo>
                  <a:pt x="1002" y="512"/>
                </a:lnTo>
                <a:lnTo>
                  <a:pt x="1010" y="512"/>
                </a:lnTo>
                <a:lnTo>
                  <a:pt x="1014" y="512"/>
                </a:lnTo>
                <a:lnTo>
                  <a:pt x="1018" y="512"/>
                </a:lnTo>
                <a:lnTo>
                  <a:pt x="1022" y="512"/>
                </a:lnTo>
                <a:lnTo>
                  <a:pt x="1026" y="512"/>
                </a:lnTo>
                <a:lnTo>
                  <a:pt x="1032" y="512"/>
                </a:lnTo>
                <a:lnTo>
                  <a:pt x="1036" y="512"/>
                </a:lnTo>
                <a:lnTo>
                  <a:pt x="1044" y="512"/>
                </a:lnTo>
                <a:lnTo>
                  <a:pt x="1048" y="512"/>
                </a:lnTo>
                <a:lnTo>
                  <a:pt x="1052" y="512"/>
                </a:lnTo>
                <a:lnTo>
                  <a:pt x="1056" y="512"/>
                </a:lnTo>
                <a:lnTo>
                  <a:pt x="1060" y="512"/>
                </a:lnTo>
                <a:lnTo>
                  <a:pt x="1062" y="512"/>
                </a:lnTo>
                <a:lnTo>
                  <a:pt x="1066" y="512"/>
                </a:lnTo>
                <a:lnTo>
                  <a:pt x="1070" y="512"/>
                </a:lnTo>
                <a:lnTo>
                  <a:pt x="1074" y="512"/>
                </a:lnTo>
                <a:lnTo>
                  <a:pt x="1086" y="512"/>
                </a:lnTo>
                <a:lnTo>
                  <a:pt x="1088" y="512"/>
                </a:lnTo>
                <a:lnTo>
                  <a:pt x="1100" y="512"/>
                </a:lnTo>
                <a:lnTo>
                  <a:pt x="1108" y="512"/>
                </a:lnTo>
                <a:lnTo>
                  <a:pt x="1116" y="512"/>
                </a:lnTo>
                <a:lnTo>
                  <a:pt x="1122" y="512"/>
                </a:lnTo>
                <a:lnTo>
                  <a:pt x="1126" y="512"/>
                </a:lnTo>
                <a:lnTo>
                  <a:pt x="1130" y="512"/>
                </a:lnTo>
                <a:lnTo>
                  <a:pt x="1134" y="512"/>
                </a:lnTo>
                <a:lnTo>
                  <a:pt x="1138" y="512"/>
                </a:lnTo>
                <a:lnTo>
                  <a:pt x="1142" y="512"/>
                </a:lnTo>
                <a:lnTo>
                  <a:pt x="1144" y="512"/>
                </a:lnTo>
                <a:lnTo>
                  <a:pt x="1172" y="512"/>
                </a:lnTo>
                <a:lnTo>
                  <a:pt x="1174" y="512"/>
                </a:lnTo>
                <a:lnTo>
                  <a:pt x="1174" y="508"/>
                </a:lnTo>
                <a:lnTo>
                  <a:pt x="1174" y="504"/>
                </a:lnTo>
                <a:lnTo>
                  <a:pt x="1178" y="504"/>
                </a:lnTo>
                <a:lnTo>
                  <a:pt x="1178" y="508"/>
                </a:lnTo>
                <a:lnTo>
                  <a:pt x="1178" y="512"/>
                </a:lnTo>
                <a:lnTo>
                  <a:pt x="1182" y="512"/>
                </a:lnTo>
                <a:lnTo>
                  <a:pt x="1182" y="516"/>
                </a:lnTo>
                <a:lnTo>
                  <a:pt x="1182" y="520"/>
                </a:lnTo>
                <a:lnTo>
                  <a:pt x="1186" y="520"/>
                </a:lnTo>
                <a:lnTo>
                  <a:pt x="1190" y="520"/>
                </a:lnTo>
                <a:lnTo>
                  <a:pt x="1194" y="520"/>
                </a:lnTo>
                <a:lnTo>
                  <a:pt x="1194" y="522"/>
                </a:lnTo>
                <a:lnTo>
                  <a:pt x="1198" y="522"/>
                </a:lnTo>
                <a:lnTo>
                  <a:pt x="1202" y="520"/>
                </a:lnTo>
                <a:lnTo>
                  <a:pt x="1204" y="520"/>
                </a:lnTo>
                <a:lnTo>
                  <a:pt x="1208" y="522"/>
                </a:lnTo>
                <a:lnTo>
                  <a:pt x="1212" y="522"/>
                </a:lnTo>
                <a:lnTo>
                  <a:pt x="1212" y="526"/>
                </a:lnTo>
                <a:lnTo>
                  <a:pt x="1216" y="530"/>
                </a:lnTo>
                <a:lnTo>
                  <a:pt x="1216" y="526"/>
                </a:lnTo>
                <a:lnTo>
                  <a:pt x="1220" y="526"/>
                </a:lnTo>
                <a:lnTo>
                  <a:pt x="1220" y="530"/>
                </a:lnTo>
                <a:lnTo>
                  <a:pt x="1224" y="530"/>
                </a:lnTo>
                <a:lnTo>
                  <a:pt x="1228" y="530"/>
                </a:lnTo>
                <a:lnTo>
                  <a:pt x="1228" y="534"/>
                </a:lnTo>
                <a:lnTo>
                  <a:pt x="1228" y="530"/>
                </a:lnTo>
                <a:lnTo>
                  <a:pt x="1230" y="530"/>
                </a:lnTo>
                <a:lnTo>
                  <a:pt x="1234" y="530"/>
                </a:lnTo>
                <a:lnTo>
                  <a:pt x="1234" y="526"/>
                </a:lnTo>
                <a:lnTo>
                  <a:pt x="1234" y="530"/>
                </a:lnTo>
                <a:lnTo>
                  <a:pt x="1238" y="530"/>
                </a:lnTo>
                <a:lnTo>
                  <a:pt x="1242" y="530"/>
                </a:lnTo>
                <a:lnTo>
                  <a:pt x="1246" y="530"/>
                </a:lnTo>
                <a:lnTo>
                  <a:pt x="1246" y="534"/>
                </a:lnTo>
                <a:lnTo>
                  <a:pt x="1250" y="534"/>
                </a:lnTo>
                <a:lnTo>
                  <a:pt x="1254" y="534"/>
                </a:lnTo>
                <a:lnTo>
                  <a:pt x="1258" y="534"/>
                </a:lnTo>
                <a:lnTo>
                  <a:pt x="1260" y="530"/>
                </a:lnTo>
                <a:lnTo>
                  <a:pt x="1264" y="526"/>
                </a:lnTo>
                <a:lnTo>
                  <a:pt x="1268" y="526"/>
                </a:lnTo>
                <a:lnTo>
                  <a:pt x="1272" y="526"/>
                </a:lnTo>
                <a:lnTo>
                  <a:pt x="1282" y="534"/>
                </a:lnTo>
                <a:lnTo>
                  <a:pt x="1286" y="534"/>
                </a:lnTo>
                <a:lnTo>
                  <a:pt x="1286" y="538"/>
                </a:lnTo>
                <a:lnTo>
                  <a:pt x="1290" y="538"/>
                </a:lnTo>
                <a:lnTo>
                  <a:pt x="1294" y="542"/>
                </a:lnTo>
                <a:lnTo>
                  <a:pt x="1298" y="542"/>
                </a:lnTo>
                <a:lnTo>
                  <a:pt x="1300" y="546"/>
                </a:lnTo>
                <a:lnTo>
                  <a:pt x="1304" y="546"/>
                </a:lnTo>
                <a:lnTo>
                  <a:pt x="1304" y="550"/>
                </a:lnTo>
                <a:lnTo>
                  <a:pt x="1308" y="550"/>
                </a:lnTo>
                <a:lnTo>
                  <a:pt x="1312" y="550"/>
                </a:lnTo>
                <a:lnTo>
                  <a:pt x="1312" y="552"/>
                </a:lnTo>
                <a:lnTo>
                  <a:pt x="1320" y="556"/>
                </a:lnTo>
                <a:lnTo>
                  <a:pt x="1320" y="560"/>
                </a:lnTo>
                <a:lnTo>
                  <a:pt x="1324" y="564"/>
                </a:lnTo>
                <a:lnTo>
                  <a:pt x="1328" y="564"/>
                </a:lnTo>
                <a:lnTo>
                  <a:pt x="1330" y="564"/>
                </a:lnTo>
                <a:lnTo>
                  <a:pt x="1330" y="568"/>
                </a:lnTo>
                <a:lnTo>
                  <a:pt x="1330" y="572"/>
                </a:lnTo>
                <a:lnTo>
                  <a:pt x="1334" y="572"/>
                </a:lnTo>
                <a:lnTo>
                  <a:pt x="1338" y="572"/>
                </a:lnTo>
                <a:lnTo>
                  <a:pt x="1338" y="576"/>
                </a:lnTo>
                <a:lnTo>
                  <a:pt x="1338" y="578"/>
                </a:lnTo>
                <a:lnTo>
                  <a:pt x="1342" y="578"/>
                </a:lnTo>
                <a:lnTo>
                  <a:pt x="1346" y="582"/>
                </a:lnTo>
                <a:lnTo>
                  <a:pt x="1350" y="586"/>
                </a:lnTo>
                <a:lnTo>
                  <a:pt x="1354" y="586"/>
                </a:lnTo>
                <a:lnTo>
                  <a:pt x="1354" y="598"/>
                </a:lnTo>
                <a:lnTo>
                  <a:pt x="1358" y="606"/>
                </a:lnTo>
                <a:lnTo>
                  <a:pt x="1358" y="616"/>
                </a:lnTo>
                <a:lnTo>
                  <a:pt x="1358" y="624"/>
                </a:lnTo>
                <a:lnTo>
                  <a:pt x="1358" y="628"/>
                </a:lnTo>
                <a:lnTo>
                  <a:pt x="1358" y="632"/>
                </a:lnTo>
                <a:lnTo>
                  <a:pt x="1354" y="632"/>
                </a:lnTo>
                <a:lnTo>
                  <a:pt x="1354" y="634"/>
                </a:lnTo>
                <a:lnTo>
                  <a:pt x="1354" y="638"/>
                </a:lnTo>
                <a:lnTo>
                  <a:pt x="1354" y="642"/>
                </a:lnTo>
                <a:lnTo>
                  <a:pt x="1350" y="642"/>
                </a:lnTo>
                <a:lnTo>
                  <a:pt x="1350" y="646"/>
                </a:lnTo>
                <a:lnTo>
                  <a:pt x="1346" y="646"/>
                </a:lnTo>
                <a:lnTo>
                  <a:pt x="1346" y="648"/>
                </a:lnTo>
                <a:lnTo>
                  <a:pt x="1342" y="652"/>
                </a:lnTo>
                <a:lnTo>
                  <a:pt x="1346" y="652"/>
                </a:lnTo>
                <a:lnTo>
                  <a:pt x="1346" y="656"/>
                </a:lnTo>
                <a:lnTo>
                  <a:pt x="1350" y="660"/>
                </a:lnTo>
                <a:lnTo>
                  <a:pt x="1354" y="660"/>
                </a:lnTo>
                <a:lnTo>
                  <a:pt x="1358" y="656"/>
                </a:lnTo>
                <a:lnTo>
                  <a:pt x="1360" y="652"/>
                </a:lnTo>
                <a:lnTo>
                  <a:pt x="1364" y="652"/>
                </a:lnTo>
                <a:lnTo>
                  <a:pt x="1368" y="648"/>
                </a:lnTo>
                <a:lnTo>
                  <a:pt x="1372" y="648"/>
                </a:lnTo>
                <a:lnTo>
                  <a:pt x="1376" y="648"/>
                </a:lnTo>
                <a:lnTo>
                  <a:pt x="1380" y="646"/>
                </a:lnTo>
                <a:lnTo>
                  <a:pt x="1386" y="646"/>
                </a:lnTo>
                <a:lnTo>
                  <a:pt x="1390" y="642"/>
                </a:lnTo>
                <a:lnTo>
                  <a:pt x="1394" y="642"/>
                </a:lnTo>
                <a:lnTo>
                  <a:pt x="1398" y="638"/>
                </a:lnTo>
                <a:lnTo>
                  <a:pt x="1402" y="638"/>
                </a:lnTo>
                <a:lnTo>
                  <a:pt x="1402" y="634"/>
                </a:lnTo>
                <a:lnTo>
                  <a:pt x="1406" y="634"/>
                </a:lnTo>
                <a:lnTo>
                  <a:pt x="1402" y="634"/>
                </a:lnTo>
                <a:lnTo>
                  <a:pt x="1402" y="632"/>
                </a:lnTo>
                <a:lnTo>
                  <a:pt x="1402" y="628"/>
                </a:lnTo>
                <a:lnTo>
                  <a:pt x="1402" y="624"/>
                </a:lnTo>
                <a:lnTo>
                  <a:pt x="1406" y="620"/>
                </a:lnTo>
                <a:lnTo>
                  <a:pt x="1414" y="620"/>
                </a:lnTo>
                <a:lnTo>
                  <a:pt x="1416" y="620"/>
                </a:lnTo>
                <a:lnTo>
                  <a:pt x="1420" y="620"/>
                </a:lnTo>
                <a:lnTo>
                  <a:pt x="1424" y="620"/>
                </a:lnTo>
                <a:lnTo>
                  <a:pt x="1428" y="620"/>
                </a:lnTo>
                <a:lnTo>
                  <a:pt x="1432" y="620"/>
                </a:lnTo>
                <a:lnTo>
                  <a:pt x="1436" y="620"/>
                </a:lnTo>
                <a:lnTo>
                  <a:pt x="1436" y="616"/>
                </a:lnTo>
                <a:lnTo>
                  <a:pt x="1440" y="616"/>
                </a:lnTo>
                <a:lnTo>
                  <a:pt x="1440" y="612"/>
                </a:lnTo>
                <a:lnTo>
                  <a:pt x="1442" y="608"/>
                </a:lnTo>
                <a:lnTo>
                  <a:pt x="1446" y="608"/>
                </a:lnTo>
                <a:lnTo>
                  <a:pt x="1446" y="606"/>
                </a:lnTo>
                <a:lnTo>
                  <a:pt x="1450" y="606"/>
                </a:lnTo>
                <a:lnTo>
                  <a:pt x="1450" y="602"/>
                </a:lnTo>
                <a:lnTo>
                  <a:pt x="1454" y="598"/>
                </a:lnTo>
                <a:lnTo>
                  <a:pt x="1458" y="598"/>
                </a:lnTo>
                <a:lnTo>
                  <a:pt x="1458" y="594"/>
                </a:lnTo>
                <a:lnTo>
                  <a:pt x="1462" y="594"/>
                </a:lnTo>
                <a:lnTo>
                  <a:pt x="1466" y="594"/>
                </a:lnTo>
                <a:lnTo>
                  <a:pt x="1470" y="594"/>
                </a:lnTo>
                <a:lnTo>
                  <a:pt x="1476" y="594"/>
                </a:lnTo>
                <a:lnTo>
                  <a:pt x="1480" y="594"/>
                </a:lnTo>
                <a:lnTo>
                  <a:pt x="1484" y="594"/>
                </a:lnTo>
                <a:lnTo>
                  <a:pt x="1488" y="594"/>
                </a:lnTo>
                <a:lnTo>
                  <a:pt x="1492" y="594"/>
                </a:lnTo>
                <a:lnTo>
                  <a:pt x="1496" y="594"/>
                </a:lnTo>
                <a:lnTo>
                  <a:pt x="1498" y="594"/>
                </a:lnTo>
                <a:lnTo>
                  <a:pt x="1502" y="594"/>
                </a:lnTo>
                <a:lnTo>
                  <a:pt x="1506" y="594"/>
                </a:lnTo>
                <a:lnTo>
                  <a:pt x="1510" y="594"/>
                </a:lnTo>
                <a:lnTo>
                  <a:pt x="1510" y="590"/>
                </a:lnTo>
                <a:lnTo>
                  <a:pt x="1510" y="586"/>
                </a:lnTo>
                <a:lnTo>
                  <a:pt x="1514" y="586"/>
                </a:lnTo>
                <a:lnTo>
                  <a:pt x="1514" y="590"/>
                </a:lnTo>
                <a:lnTo>
                  <a:pt x="1514" y="586"/>
                </a:lnTo>
                <a:lnTo>
                  <a:pt x="1518" y="590"/>
                </a:lnTo>
                <a:lnTo>
                  <a:pt x="1522" y="586"/>
                </a:lnTo>
                <a:lnTo>
                  <a:pt x="1522" y="582"/>
                </a:lnTo>
                <a:lnTo>
                  <a:pt x="1522" y="578"/>
                </a:lnTo>
                <a:lnTo>
                  <a:pt x="1526" y="578"/>
                </a:lnTo>
                <a:lnTo>
                  <a:pt x="1526" y="576"/>
                </a:lnTo>
                <a:lnTo>
                  <a:pt x="1526" y="572"/>
                </a:lnTo>
                <a:lnTo>
                  <a:pt x="1526" y="568"/>
                </a:lnTo>
                <a:lnTo>
                  <a:pt x="1528" y="568"/>
                </a:lnTo>
                <a:lnTo>
                  <a:pt x="1528" y="564"/>
                </a:lnTo>
                <a:lnTo>
                  <a:pt x="1528" y="560"/>
                </a:lnTo>
                <a:lnTo>
                  <a:pt x="1532" y="556"/>
                </a:lnTo>
                <a:lnTo>
                  <a:pt x="1532" y="552"/>
                </a:lnTo>
                <a:lnTo>
                  <a:pt x="1536" y="552"/>
                </a:lnTo>
                <a:lnTo>
                  <a:pt x="1540" y="550"/>
                </a:lnTo>
                <a:lnTo>
                  <a:pt x="1540" y="546"/>
                </a:lnTo>
                <a:lnTo>
                  <a:pt x="1544" y="546"/>
                </a:lnTo>
                <a:lnTo>
                  <a:pt x="1544" y="550"/>
                </a:lnTo>
                <a:lnTo>
                  <a:pt x="1548" y="550"/>
                </a:lnTo>
                <a:lnTo>
                  <a:pt x="1552" y="550"/>
                </a:lnTo>
                <a:lnTo>
                  <a:pt x="1556" y="546"/>
                </a:lnTo>
                <a:lnTo>
                  <a:pt x="1558" y="550"/>
                </a:lnTo>
                <a:lnTo>
                  <a:pt x="1558" y="552"/>
                </a:lnTo>
                <a:lnTo>
                  <a:pt x="1562" y="552"/>
                </a:lnTo>
                <a:lnTo>
                  <a:pt x="1562" y="556"/>
                </a:lnTo>
                <a:lnTo>
                  <a:pt x="1562" y="568"/>
                </a:lnTo>
                <a:lnTo>
                  <a:pt x="1562" y="576"/>
                </a:lnTo>
                <a:lnTo>
                  <a:pt x="1562" y="578"/>
                </a:lnTo>
                <a:lnTo>
                  <a:pt x="1562" y="582"/>
                </a:lnTo>
                <a:lnTo>
                  <a:pt x="1566" y="582"/>
                </a:lnTo>
                <a:lnTo>
                  <a:pt x="1566" y="586"/>
                </a:lnTo>
                <a:lnTo>
                  <a:pt x="1566" y="590"/>
                </a:lnTo>
                <a:lnTo>
                  <a:pt x="1570" y="590"/>
                </a:lnTo>
                <a:lnTo>
                  <a:pt x="1570" y="594"/>
                </a:lnTo>
                <a:lnTo>
                  <a:pt x="1574" y="594"/>
                </a:lnTo>
                <a:lnTo>
                  <a:pt x="1570" y="594"/>
                </a:lnTo>
                <a:lnTo>
                  <a:pt x="1570" y="598"/>
                </a:lnTo>
                <a:lnTo>
                  <a:pt x="1574" y="598"/>
                </a:lnTo>
                <a:lnTo>
                  <a:pt x="1570" y="602"/>
                </a:lnTo>
                <a:lnTo>
                  <a:pt x="1566" y="602"/>
                </a:lnTo>
                <a:lnTo>
                  <a:pt x="1562" y="606"/>
                </a:lnTo>
                <a:lnTo>
                  <a:pt x="1562" y="602"/>
                </a:lnTo>
                <a:lnTo>
                  <a:pt x="1558" y="606"/>
                </a:lnTo>
                <a:lnTo>
                  <a:pt x="1558" y="608"/>
                </a:lnTo>
                <a:lnTo>
                  <a:pt x="1558" y="606"/>
                </a:lnTo>
                <a:lnTo>
                  <a:pt x="1556" y="606"/>
                </a:lnTo>
                <a:lnTo>
                  <a:pt x="1552" y="606"/>
                </a:lnTo>
                <a:lnTo>
                  <a:pt x="1552" y="608"/>
                </a:lnTo>
                <a:lnTo>
                  <a:pt x="1548" y="608"/>
                </a:lnTo>
                <a:lnTo>
                  <a:pt x="1548" y="606"/>
                </a:lnTo>
                <a:lnTo>
                  <a:pt x="1548" y="602"/>
                </a:lnTo>
                <a:lnTo>
                  <a:pt x="1548" y="606"/>
                </a:lnTo>
                <a:lnTo>
                  <a:pt x="1544" y="606"/>
                </a:lnTo>
                <a:lnTo>
                  <a:pt x="1544" y="608"/>
                </a:lnTo>
                <a:lnTo>
                  <a:pt x="1544" y="612"/>
                </a:lnTo>
                <a:lnTo>
                  <a:pt x="1540" y="616"/>
                </a:lnTo>
                <a:lnTo>
                  <a:pt x="1540" y="612"/>
                </a:lnTo>
                <a:lnTo>
                  <a:pt x="1536" y="616"/>
                </a:lnTo>
                <a:lnTo>
                  <a:pt x="1536" y="612"/>
                </a:lnTo>
                <a:lnTo>
                  <a:pt x="1536" y="616"/>
                </a:lnTo>
                <a:lnTo>
                  <a:pt x="1536" y="612"/>
                </a:lnTo>
                <a:lnTo>
                  <a:pt x="1536" y="616"/>
                </a:lnTo>
                <a:lnTo>
                  <a:pt x="1532" y="616"/>
                </a:lnTo>
                <a:lnTo>
                  <a:pt x="1536" y="616"/>
                </a:lnTo>
                <a:lnTo>
                  <a:pt x="1532" y="620"/>
                </a:lnTo>
                <a:lnTo>
                  <a:pt x="1532" y="616"/>
                </a:lnTo>
                <a:lnTo>
                  <a:pt x="1532" y="612"/>
                </a:lnTo>
                <a:lnTo>
                  <a:pt x="1532" y="616"/>
                </a:lnTo>
                <a:lnTo>
                  <a:pt x="1532" y="620"/>
                </a:lnTo>
                <a:lnTo>
                  <a:pt x="1532" y="616"/>
                </a:lnTo>
                <a:lnTo>
                  <a:pt x="1528" y="616"/>
                </a:lnTo>
                <a:lnTo>
                  <a:pt x="1528" y="620"/>
                </a:lnTo>
                <a:lnTo>
                  <a:pt x="1526" y="620"/>
                </a:lnTo>
                <a:lnTo>
                  <a:pt x="1528" y="620"/>
                </a:lnTo>
                <a:lnTo>
                  <a:pt x="1528" y="624"/>
                </a:lnTo>
                <a:lnTo>
                  <a:pt x="1526" y="624"/>
                </a:lnTo>
                <a:lnTo>
                  <a:pt x="1526" y="628"/>
                </a:lnTo>
                <a:lnTo>
                  <a:pt x="1522" y="628"/>
                </a:lnTo>
                <a:lnTo>
                  <a:pt x="1522" y="632"/>
                </a:lnTo>
                <a:lnTo>
                  <a:pt x="1522" y="634"/>
                </a:lnTo>
                <a:lnTo>
                  <a:pt x="1518" y="634"/>
                </a:lnTo>
                <a:lnTo>
                  <a:pt x="1518" y="638"/>
                </a:lnTo>
                <a:lnTo>
                  <a:pt x="1522" y="642"/>
                </a:lnTo>
                <a:lnTo>
                  <a:pt x="1522" y="638"/>
                </a:lnTo>
                <a:lnTo>
                  <a:pt x="1522" y="642"/>
                </a:lnTo>
                <a:lnTo>
                  <a:pt x="1518" y="642"/>
                </a:lnTo>
                <a:lnTo>
                  <a:pt x="1514" y="646"/>
                </a:lnTo>
                <a:lnTo>
                  <a:pt x="1518" y="648"/>
                </a:lnTo>
                <a:lnTo>
                  <a:pt x="1522" y="648"/>
                </a:lnTo>
                <a:lnTo>
                  <a:pt x="1522" y="652"/>
                </a:lnTo>
                <a:lnTo>
                  <a:pt x="1522" y="656"/>
                </a:lnTo>
                <a:lnTo>
                  <a:pt x="1526" y="656"/>
                </a:lnTo>
                <a:lnTo>
                  <a:pt x="1526" y="660"/>
                </a:lnTo>
                <a:lnTo>
                  <a:pt x="1528" y="656"/>
                </a:lnTo>
                <a:lnTo>
                  <a:pt x="1528" y="652"/>
                </a:lnTo>
                <a:lnTo>
                  <a:pt x="1526" y="652"/>
                </a:lnTo>
                <a:lnTo>
                  <a:pt x="1528" y="652"/>
                </a:lnTo>
                <a:lnTo>
                  <a:pt x="1532" y="652"/>
                </a:lnTo>
                <a:lnTo>
                  <a:pt x="1532" y="656"/>
                </a:lnTo>
                <a:lnTo>
                  <a:pt x="1532" y="660"/>
                </a:lnTo>
                <a:lnTo>
                  <a:pt x="1528" y="660"/>
                </a:lnTo>
                <a:lnTo>
                  <a:pt x="1526" y="660"/>
                </a:lnTo>
                <a:lnTo>
                  <a:pt x="1522" y="660"/>
                </a:lnTo>
                <a:lnTo>
                  <a:pt x="1522" y="656"/>
                </a:lnTo>
                <a:lnTo>
                  <a:pt x="1518" y="660"/>
                </a:lnTo>
                <a:lnTo>
                  <a:pt x="1514" y="664"/>
                </a:lnTo>
                <a:lnTo>
                  <a:pt x="1514" y="660"/>
                </a:lnTo>
                <a:lnTo>
                  <a:pt x="1514" y="656"/>
                </a:lnTo>
                <a:lnTo>
                  <a:pt x="1514" y="660"/>
                </a:lnTo>
                <a:lnTo>
                  <a:pt x="1510" y="660"/>
                </a:lnTo>
                <a:lnTo>
                  <a:pt x="1510" y="656"/>
                </a:lnTo>
                <a:lnTo>
                  <a:pt x="1510" y="660"/>
                </a:lnTo>
                <a:lnTo>
                  <a:pt x="1510" y="664"/>
                </a:lnTo>
                <a:lnTo>
                  <a:pt x="1506" y="664"/>
                </a:lnTo>
                <a:lnTo>
                  <a:pt x="1506" y="668"/>
                </a:lnTo>
                <a:lnTo>
                  <a:pt x="1502" y="668"/>
                </a:lnTo>
                <a:lnTo>
                  <a:pt x="1502" y="664"/>
                </a:lnTo>
                <a:lnTo>
                  <a:pt x="1498" y="668"/>
                </a:lnTo>
                <a:lnTo>
                  <a:pt x="1496" y="668"/>
                </a:lnTo>
                <a:lnTo>
                  <a:pt x="1492" y="668"/>
                </a:lnTo>
                <a:lnTo>
                  <a:pt x="1488" y="668"/>
                </a:lnTo>
                <a:lnTo>
                  <a:pt x="1484" y="668"/>
                </a:lnTo>
                <a:lnTo>
                  <a:pt x="1484" y="672"/>
                </a:lnTo>
                <a:lnTo>
                  <a:pt x="1480" y="672"/>
                </a:lnTo>
                <a:lnTo>
                  <a:pt x="1476" y="672"/>
                </a:lnTo>
                <a:lnTo>
                  <a:pt x="1476" y="676"/>
                </a:lnTo>
                <a:lnTo>
                  <a:pt x="1472" y="676"/>
                </a:lnTo>
                <a:lnTo>
                  <a:pt x="1476" y="676"/>
                </a:lnTo>
                <a:lnTo>
                  <a:pt x="1476" y="672"/>
                </a:lnTo>
                <a:lnTo>
                  <a:pt x="1476" y="668"/>
                </a:lnTo>
                <a:lnTo>
                  <a:pt x="1472" y="668"/>
                </a:lnTo>
                <a:lnTo>
                  <a:pt x="1476" y="668"/>
                </a:lnTo>
                <a:lnTo>
                  <a:pt x="1476" y="672"/>
                </a:lnTo>
                <a:lnTo>
                  <a:pt x="1472" y="676"/>
                </a:lnTo>
                <a:lnTo>
                  <a:pt x="1472" y="678"/>
                </a:lnTo>
                <a:lnTo>
                  <a:pt x="1470" y="678"/>
                </a:lnTo>
                <a:lnTo>
                  <a:pt x="1470" y="682"/>
                </a:lnTo>
                <a:lnTo>
                  <a:pt x="1472" y="682"/>
                </a:lnTo>
                <a:lnTo>
                  <a:pt x="1472" y="686"/>
                </a:lnTo>
                <a:lnTo>
                  <a:pt x="1472" y="690"/>
                </a:lnTo>
                <a:lnTo>
                  <a:pt x="1472" y="698"/>
                </a:lnTo>
                <a:lnTo>
                  <a:pt x="1472" y="694"/>
                </a:lnTo>
                <a:lnTo>
                  <a:pt x="1472" y="690"/>
                </a:lnTo>
                <a:lnTo>
                  <a:pt x="1472" y="694"/>
                </a:lnTo>
                <a:lnTo>
                  <a:pt x="1472" y="698"/>
                </a:lnTo>
                <a:lnTo>
                  <a:pt x="1470" y="698"/>
                </a:lnTo>
                <a:lnTo>
                  <a:pt x="1470" y="702"/>
                </a:lnTo>
                <a:lnTo>
                  <a:pt x="1466" y="702"/>
                </a:lnTo>
                <a:lnTo>
                  <a:pt x="1466" y="706"/>
                </a:lnTo>
                <a:lnTo>
                  <a:pt x="1470" y="706"/>
                </a:lnTo>
                <a:lnTo>
                  <a:pt x="1466" y="706"/>
                </a:lnTo>
                <a:lnTo>
                  <a:pt x="1466" y="708"/>
                </a:lnTo>
                <a:lnTo>
                  <a:pt x="1462" y="708"/>
                </a:lnTo>
                <a:lnTo>
                  <a:pt x="1462" y="712"/>
                </a:lnTo>
                <a:lnTo>
                  <a:pt x="1462" y="708"/>
                </a:lnTo>
                <a:lnTo>
                  <a:pt x="1458" y="708"/>
                </a:lnTo>
                <a:lnTo>
                  <a:pt x="1458" y="706"/>
                </a:lnTo>
                <a:lnTo>
                  <a:pt x="1454" y="706"/>
                </a:lnTo>
                <a:lnTo>
                  <a:pt x="1450" y="702"/>
                </a:lnTo>
                <a:lnTo>
                  <a:pt x="1450" y="698"/>
                </a:lnTo>
                <a:lnTo>
                  <a:pt x="1454" y="698"/>
                </a:lnTo>
                <a:lnTo>
                  <a:pt x="1454" y="694"/>
                </a:lnTo>
                <a:lnTo>
                  <a:pt x="1458" y="694"/>
                </a:lnTo>
                <a:lnTo>
                  <a:pt x="1458" y="690"/>
                </a:lnTo>
                <a:lnTo>
                  <a:pt x="1458" y="694"/>
                </a:lnTo>
                <a:lnTo>
                  <a:pt x="1454" y="694"/>
                </a:lnTo>
                <a:lnTo>
                  <a:pt x="1454" y="698"/>
                </a:lnTo>
                <a:lnTo>
                  <a:pt x="1450" y="698"/>
                </a:lnTo>
                <a:lnTo>
                  <a:pt x="1450" y="702"/>
                </a:lnTo>
                <a:lnTo>
                  <a:pt x="1454" y="706"/>
                </a:lnTo>
                <a:lnTo>
                  <a:pt x="1454" y="708"/>
                </a:lnTo>
                <a:lnTo>
                  <a:pt x="1454" y="712"/>
                </a:lnTo>
                <a:lnTo>
                  <a:pt x="1458" y="716"/>
                </a:lnTo>
                <a:lnTo>
                  <a:pt x="1458" y="720"/>
                </a:lnTo>
                <a:lnTo>
                  <a:pt x="1458" y="724"/>
                </a:lnTo>
                <a:lnTo>
                  <a:pt x="1458" y="720"/>
                </a:lnTo>
                <a:lnTo>
                  <a:pt x="1458" y="724"/>
                </a:lnTo>
                <a:lnTo>
                  <a:pt x="1458" y="728"/>
                </a:lnTo>
                <a:lnTo>
                  <a:pt x="1454" y="728"/>
                </a:lnTo>
                <a:lnTo>
                  <a:pt x="1454" y="732"/>
                </a:lnTo>
                <a:lnTo>
                  <a:pt x="1454" y="734"/>
                </a:lnTo>
                <a:lnTo>
                  <a:pt x="1450" y="734"/>
                </a:lnTo>
                <a:lnTo>
                  <a:pt x="1450" y="738"/>
                </a:lnTo>
                <a:lnTo>
                  <a:pt x="1446" y="742"/>
                </a:lnTo>
                <a:lnTo>
                  <a:pt x="1446" y="746"/>
                </a:lnTo>
                <a:lnTo>
                  <a:pt x="1446" y="742"/>
                </a:lnTo>
                <a:lnTo>
                  <a:pt x="1446" y="738"/>
                </a:lnTo>
                <a:lnTo>
                  <a:pt x="1446" y="734"/>
                </a:lnTo>
                <a:lnTo>
                  <a:pt x="1450" y="734"/>
                </a:lnTo>
                <a:lnTo>
                  <a:pt x="1450" y="732"/>
                </a:lnTo>
                <a:lnTo>
                  <a:pt x="1446" y="732"/>
                </a:lnTo>
                <a:lnTo>
                  <a:pt x="1446" y="728"/>
                </a:lnTo>
                <a:lnTo>
                  <a:pt x="1446" y="724"/>
                </a:lnTo>
                <a:lnTo>
                  <a:pt x="1446" y="728"/>
                </a:lnTo>
                <a:lnTo>
                  <a:pt x="1442" y="728"/>
                </a:lnTo>
                <a:lnTo>
                  <a:pt x="1442" y="724"/>
                </a:lnTo>
                <a:lnTo>
                  <a:pt x="1440" y="720"/>
                </a:lnTo>
                <a:lnTo>
                  <a:pt x="1442" y="720"/>
                </a:lnTo>
                <a:lnTo>
                  <a:pt x="1446" y="720"/>
                </a:lnTo>
                <a:lnTo>
                  <a:pt x="1446" y="716"/>
                </a:lnTo>
                <a:lnTo>
                  <a:pt x="1446" y="720"/>
                </a:lnTo>
                <a:lnTo>
                  <a:pt x="1442" y="720"/>
                </a:lnTo>
                <a:lnTo>
                  <a:pt x="1442" y="716"/>
                </a:lnTo>
                <a:lnTo>
                  <a:pt x="1440" y="716"/>
                </a:lnTo>
                <a:lnTo>
                  <a:pt x="1442" y="712"/>
                </a:lnTo>
                <a:lnTo>
                  <a:pt x="1442" y="716"/>
                </a:lnTo>
                <a:lnTo>
                  <a:pt x="1442" y="712"/>
                </a:lnTo>
                <a:lnTo>
                  <a:pt x="1440" y="712"/>
                </a:lnTo>
                <a:lnTo>
                  <a:pt x="1440" y="708"/>
                </a:lnTo>
                <a:lnTo>
                  <a:pt x="1442" y="712"/>
                </a:lnTo>
                <a:lnTo>
                  <a:pt x="1442" y="708"/>
                </a:lnTo>
                <a:lnTo>
                  <a:pt x="1442" y="706"/>
                </a:lnTo>
                <a:lnTo>
                  <a:pt x="1446" y="706"/>
                </a:lnTo>
                <a:lnTo>
                  <a:pt x="1446" y="702"/>
                </a:lnTo>
                <a:lnTo>
                  <a:pt x="1446" y="698"/>
                </a:lnTo>
                <a:lnTo>
                  <a:pt x="1442" y="702"/>
                </a:lnTo>
                <a:lnTo>
                  <a:pt x="1442" y="706"/>
                </a:lnTo>
                <a:lnTo>
                  <a:pt x="1442" y="702"/>
                </a:lnTo>
                <a:lnTo>
                  <a:pt x="1440" y="706"/>
                </a:lnTo>
                <a:lnTo>
                  <a:pt x="1440" y="706"/>
                </a:lnTo>
                <a:lnTo>
                  <a:pt x="1440" y="706"/>
                </a:lnTo>
                <a:close/>
                <a:moveTo>
                  <a:pt x="780" y="520"/>
                </a:moveTo>
                <a:lnTo>
                  <a:pt x="780" y="522"/>
                </a:lnTo>
                <a:lnTo>
                  <a:pt x="780" y="520"/>
                </a:lnTo>
                <a:lnTo>
                  <a:pt x="780" y="520"/>
                </a:lnTo>
                <a:lnTo>
                  <a:pt x="780" y="520"/>
                </a:lnTo>
                <a:close/>
                <a:moveTo>
                  <a:pt x="824" y="806"/>
                </a:moveTo>
                <a:lnTo>
                  <a:pt x="828" y="806"/>
                </a:lnTo>
                <a:lnTo>
                  <a:pt x="824" y="806"/>
                </a:lnTo>
                <a:lnTo>
                  <a:pt x="824" y="806"/>
                </a:lnTo>
                <a:lnTo>
                  <a:pt x="824" y="806"/>
                </a:lnTo>
                <a:close/>
                <a:moveTo>
                  <a:pt x="192" y="120"/>
                </a:moveTo>
                <a:lnTo>
                  <a:pt x="188" y="120"/>
                </a:lnTo>
                <a:lnTo>
                  <a:pt x="180" y="124"/>
                </a:lnTo>
                <a:lnTo>
                  <a:pt x="184" y="120"/>
                </a:lnTo>
                <a:lnTo>
                  <a:pt x="188" y="120"/>
                </a:lnTo>
                <a:lnTo>
                  <a:pt x="192" y="120"/>
                </a:lnTo>
                <a:lnTo>
                  <a:pt x="192" y="120"/>
                </a:lnTo>
                <a:lnTo>
                  <a:pt x="192" y="120"/>
                </a:lnTo>
                <a:close/>
                <a:moveTo>
                  <a:pt x="168" y="128"/>
                </a:moveTo>
                <a:lnTo>
                  <a:pt x="166" y="132"/>
                </a:lnTo>
                <a:lnTo>
                  <a:pt x="166" y="128"/>
                </a:lnTo>
                <a:lnTo>
                  <a:pt x="168" y="128"/>
                </a:lnTo>
                <a:lnTo>
                  <a:pt x="168" y="128"/>
                </a:lnTo>
                <a:lnTo>
                  <a:pt x="168" y="128"/>
                </a:lnTo>
                <a:close/>
                <a:moveTo>
                  <a:pt x="224" y="192"/>
                </a:moveTo>
                <a:lnTo>
                  <a:pt x="222" y="192"/>
                </a:lnTo>
                <a:lnTo>
                  <a:pt x="224" y="192"/>
                </a:lnTo>
                <a:lnTo>
                  <a:pt x="224" y="192"/>
                </a:lnTo>
                <a:lnTo>
                  <a:pt x="224" y="192"/>
                </a:lnTo>
                <a:close/>
                <a:moveTo>
                  <a:pt x="426" y="258"/>
                </a:moveTo>
                <a:lnTo>
                  <a:pt x="426" y="262"/>
                </a:lnTo>
                <a:lnTo>
                  <a:pt x="426" y="258"/>
                </a:lnTo>
                <a:lnTo>
                  <a:pt x="422" y="258"/>
                </a:lnTo>
                <a:lnTo>
                  <a:pt x="426" y="258"/>
                </a:lnTo>
                <a:lnTo>
                  <a:pt x="426" y="258"/>
                </a:lnTo>
                <a:lnTo>
                  <a:pt x="426" y="258"/>
                </a:lnTo>
                <a:close/>
                <a:moveTo>
                  <a:pt x="82" y="268"/>
                </a:moveTo>
                <a:lnTo>
                  <a:pt x="82" y="266"/>
                </a:lnTo>
                <a:lnTo>
                  <a:pt x="80" y="266"/>
                </a:lnTo>
                <a:lnTo>
                  <a:pt x="76" y="266"/>
                </a:lnTo>
                <a:lnTo>
                  <a:pt x="72" y="262"/>
                </a:lnTo>
                <a:lnTo>
                  <a:pt x="76" y="262"/>
                </a:lnTo>
                <a:lnTo>
                  <a:pt x="76" y="266"/>
                </a:lnTo>
                <a:lnTo>
                  <a:pt x="80" y="266"/>
                </a:lnTo>
                <a:lnTo>
                  <a:pt x="82" y="266"/>
                </a:lnTo>
                <a:lnTo>
                  <a:pt x="82" y="268"/>
                </a:lnTo>
                <a:lnTo>
                  <a:pt x="82" y="268"/>
                </a:lnTo>
                <a:lnTo>
                  <a:pt x="82" y="268"/>
                </a:lnTo>
                <a:close/>
                <a:moveTo>
                  <a:pt x="466" y="266"/>
                </a:moveTo>
                <a:lnTo>
                  <a:pt x="466" y="268"/>
                </a:lnTo>
                <a:lnTo>
                  <a:pt x="466" y="266"/>
                </a:lnTo>
                <a:lnTo>
                  <a:pt x="466" y="266"/>
                </a:lnTo>
                <a:lnTo>
                  <a:pt x="466" y="266"/>
                </a:lnTo>
                <a:close/>
                <a:moveTo>
                  <a:pt x="426" y="266"/>
                </a:moveTo>
                <a:lnTo>
                  <a:pt x="426" y="268"/>
                </a:lnTo>
                <a:lnTo>
                  <a:pt x="426" y="266"/>
                </a:lnTo>
                <a:lnTo>
                  <a:pt x="426" y="266"/>
                </a:lnTo>
                <a:lnTo>
                  <a:pt x="426" y="266"/>
                </a:lnTo>
                <a:close/>
                <a:moveTo>
                  <a:pt x="426" y="268"/>
                </a:moveTo>
                <a:lnTo>
                  <a:pt x="426" y="272"/>
                </a:lnTo>
                <a:lnTo>
                  <a:pt x="422" y="272"/>
                </a:lnTo>
                <a:lnTo>
                  <a:pt x="426" y="272"/>
                </a:lnTo>
                <a:lnTo>
                  <a:pt x="426" y="268"/>
                </a:lnTo>
                <a:lnTo>
                  <a:pt x="426" y="268"/>
                </a:lnTo>
                <a:lnTo>
                  <a:pt x="426" y="268"/>
                </a:lnTo>
                <a:close/>
                <a:moveTo>
                  <a:pt x="482" y="276"/>
                </a:moveTo>
                <a:lnTo>
                  <a:pt x="478" y="276"/>
                </a:lnTo>
                <a:lnTo>
                  <a:pt x="474" y="276"/>
                </a:lnTo>
                <a:lnTo>
                  <a:pt x="474" y="280"/>
                </a:lnTo>
                <a:lnTo>
                  <a:pt x="474" y="276"/>
                </a:lnTo>
                <a:lnTo>
                  <a:pt x="478" y="276"/>
                </a:lnTo>
                <a:lnTo>
                  <a:pt x="478" y="272"/>
                </a:lnTo>
                <a:lnTo>
                  <a:pt x="482" y="272"/>
                </a:lnTo>
                <a:lnTo>
                  <a:pt x="482" y="276"/>
                </a:lnTo>
                <a:lnTo>
                  <a:pt x="482" y="276"/>
                </a:lnTo>
                <a:lnTo>
                  <a:pt x="482" y="276"/>
                </a:lnTo>
                <a:close/>
                <a:moveTo>
                  <a:pt x="244" y="306"/>
                </a:moveTo>
                <a:lnTo>
                  <a:pt x="244" y="302"/>
                </a:lnTo>
                <a:lnTo>
                  <a:pt x="248" y="302"/>
                </a:lnTo>
                <a:lnTo>
                  <a:pt x="244" y="306"/>
                </a:lnTo>
                <a:lnTo>
                  <a:pt x="244" y="306"/>
                </a:lnTo>
                <a:lnTo>
                  <a:pt x="244" y="306"/>
                </a:lnTo>
                <a:close/>
                <a:moveTo>
                  <a:pt x="620" y="314"/>
                </a:moveTo>
                <a:lnTo>
                  <a:pt x="616" y="314"/>
                </a:lnTo>
                <a:lnTo>
                  <a:pt x="616" y="310"/>
                </a:lnTo>
                <a:lnTo>
                  <a:pt x="620" y="314"/>
                </a:lnTo>
                <a:lnTo>
                  <a:pt x="620" y="314"/>
                </a:lnTo>
                <a:lnTo>
                  <a:pt x="620" y="314"/>
                </a:lnTo>
                <a:close/>
                <a:moveTo>
                  <a:pt x="112" y="340"/>
                </a:moveTo>
                <a:lnTo>
                  <a:pt x="110" y="340"/>
                </a:lnTo>
                <a:lnTo>
                  <a:pt x="110" y="336"/>
                </a:lnTo>
                <a:lnTo>
                  <a:pt x="112" y="336"/>
                </a:lnTo>
                <a:lnTo>
                  <a:pt x="112" y="340"/>
                </a:lnTo>
                <a:lnTo>
                  <a:pt x="112" y="340"/>
                </a:lnTo>
                <a:lnTo>
                  <a:pt x="112" y="340"/>
                </a:lnTo>
                <a:close/>
                <a:moveTo>
                  <a:pt x="120" y="350"/>
                </a:moveTo>
                <a:lnTo>
                  <a:pt x="124" y="350"/>
                </a:lnTo>
                <a:lnTo>
                  <a:pt x="120" y="350"/>
                </a:lnTo>
                <a:lnTo>
                  <a:pt x="120" y="350"/>
                </a:lnTo>
                <a:lnTo>
                  <a:pt x="120" y="350"/>
                </a:lnTo>
                <a:close/>
                <a:moveTo>
                  <a:pt x="340" y="350"/>
                </a:moveTo>
                <a:lnTo>
                  <a:pt x="336" y="350"/>
                </a:lnTo>
                <a:lnTo>
                  <a:pt x="340" y="350"/>
                </a:lnTo>
                <a:lnTo>
                  <a:pt x="340" y="350"/>
                </a:lnTo>
                <a:lnTo>
                  <a:pt x="340" y="350"/>
                </a:lnTo>
                <a:close/>
                <a:moveTo>
                  <a:pt x="344" y="350"/>
                </a:moveTo>
                <a:lnTo>
                  <a:pt x="340" y="350"/>
                </a:lnTo>
                <a:lnTo>
                  <a:pt x="344" y="350"/>
                </a:lnTo>
                <a:lnTo>
                  <a:pt x="344" y="350"/>
                </a:lnTo>
                <a:lnTo>
                  <a:pt x="344" y="350"/>
                </a:lnTo>
                <a:close/>
                <a:moveTo>
                  <a:pt x="322" y="366"/>
                </a:moveTo>
                <a:lnTo>
                  <a:pt x="322" y="370"/>
                </a:lnTo>
                <a:lnTo>
                  <a:pt x="318" y="370"/>
                </a:lnTo>
                <a:lnTo>
                  <a:pt x="318" y="366"/>
                </a:lnTo>
                <a:lnTo>
                  <a:pt x="322" y="366"/>
                </a:lnTo>
                <a:lnTo>
                  <a:pt x="322" y="366"/>
                </a:lnTo>
                <a:lnTo>
                  <a:pt x="322" y="366"/>
                </a:lnTo>
                <a:close/>
                <a:moveTo>
                  <a:pt x="634" y="366"/>
                </a:moveTo>
                <a:lnTo>
                  <a:pt x="634" y="370"/>
                </a:lnTo>
                <a:lnTo>
                  <a:pt x="634" y="366"/>
                </a:lnTo>
                <a:lnTo>
                  <a:pt x="634" y="366"/>
                </a:lnTo>
                <a:lnTo>
                  <a:pt x="634" y="366"/>
                </a:lnTo>
                <a:close/>
                <a:moveTo>
                  <a:pt x="1472" y="678"/>
                </a:moveTo>
                <a:lnTo>
                  <a:pt x="1472" y="682"/>
                </a:lnTo>
                <a:lnTo>
                  <a:pt x="1470" y="682"/>
                </a:lnTo>
                <a:lnTo>
                  <a:pt x="1470" y="678"/>
                </a:lnTo>
                <a:lnTo>
                  <a:pt x="1472" y="678"/>
                </a:lnTo>
                <a:lnTo>
                  <a:pt x="1472" y="678"/>
                </a:lnTo>
                <a:lnTo>
                  <a:pt x="1472" y="678"/>
                </a:lnTo>
                <a:close/>
                <a:moveTo>
                  <a:pt x="1450" y="784"/>
                </a:moveTo>
                <a:lnTo>
                  <a:pt x="1450" y="780"/>
                </a:lnTo>
                <a:lnTo>
                  <a:pt x="1454" y="780"/>
                </a:lnTo>
                <a:lnTo>
                  <a:pt x="1454" y="776"/>
                </a:lnTo>
                <a:lnTo>
                  <a:pt x="1450" y="772"/>
                </a:lnTo>
                <a:lnTo>
                  <a:pt x="1454" y="772"/>
                </a:lnTo>
                <a:lnTo>
                  <a:pt x="1454" y="776"/>
                </a:lnTo>
                <a:lnTo>
                  <a:pt x="1454" y="780"/>
                </a:lnTo>
                <a:lnTo>
                  <a:pt x="1450" y="784"/>
                </a:lnTo>
                <a:lnTo>
                  <a:pt x="1450" y="784"/>
                </a:lnTo>
                <a:lnTo>
                  <a:pt x="1450" y="784"/>
                </a:lnTo>
                <a:close/>
                <a:moveTo>
                  <a:pt x="1380" y="910"/>
                </a:moveTo>
                <a:lnTo>
                  <a:pt x="1380" y="906"/>
                </a:lnTo>
                <a:lnTo>
                  <a:pt x="1380" y="910"/>
                </a:lnTo>
                <a:lnTo>
                  <a:pt x="1380" y="910"/>
                </a:lnTo>
                <a:lnTo>
                  <a:pt x="1380" y="910"/>
                </a:lnTo>
                <a:close/>
                <a:moveTo>
                  <a:pt x="1384" y="918"/>
                </a:moveTo>
                <a:lnTo>
                  <a:pt x="1384" y="922"/>
                </a:lnTo>
                <a:lnTo>
                  <a:pt x="1384" y="926"/>
                </a:lnTo>
                <a:lnTo>
                  <a:pt x="1386" y="930"/>
                </a:lnTo>
                <a:lnTo>
                  <a:pt x="1386" y="932"/>
                </a:lnTo>
                <a:lnTo>
                  <a:pt x="1386" y="930"/>
                </a:lnTo>
                <a:lnTo>
                  <a:pt x="1384" y="926"/>
                </a:lnTo>
                <a:lnTo>
                  <a:pt x="1384" y="922"/>
                </a:lnTo>
                <a:lnTo>
                  <a:pt x="1384" y="918"/>
                </a:lnTo>
                <a:lnTo>
                  <a:pt x="1384" y="918"/>
                </a:lnTo>
                <a:lnTo>
                  <a:pt x="1384" y="918"/>
                </a:lnTo>
                <a:close/>
                <a:moveTo>
                  <a:pt x="1144" y="926"/>
                </a:moveTo>
                <a:lnTo>
                  <a:pt x="1144" y="930"/>
                </a:lnTo>
                <a:lnTo>
                  <a:pt x="1142" y="930"/>
                </a:lnTo>
                <a:lnTo>
                  <a:pt x="1144" y="926"/>
                </a:lnTo>
                <a:lnTo>
                  <a:pt x="1144" y="922"/>
                </a:lnTo>
                <a:lnTo>
                  <a:pt x="1148" y="918"/>
                </a:lnTo>
                <a:lnTo>
                  <a:pt x="1148" y="922"/>
                </a:lnTo>
                <a:lnTo>
                  <a:pt x="1144" y="922"/>
                </a:lnTo>
                <a:lnTo>
                  <a:pt x="1144" y="926"/>
                </a:lnTo>
                <a:lnTo>
                  <a:pt x="1144" y="926"/>
                </a:lnTo>
                <a:lnTo>
                  <a:pt x="1144" y="926"/>
                </a:lnTo>
                <a:close/>
                <a:moveTo>
                  <a:pt x="1144" y="940"/>
                </a:moveTo>
                <a:lnTo>
                  <a:pt x="1144" y="936"/>
                </a:lnTo>
                <a:lnTo>
                  <a:pt x="1142" y="936"/>
                </a:lnTo>
                <a:lnTo>
                  <a:pt x="1142" y="932"/>
                </a:lnTo>
                <a:lnTo>
                  <a:pt x="1142" y="930"/>
                </a:lnTo>
                <a:lnTo>
                  <a:pt x="1142" y="932"/>
                </a:lnTo>
                <a:lnTo>
                  <a:pt x="1144" y="936"/>
                </a:lnTo>
                <a:lnTo>
                  <a:pt x="1144" y="940"/>
                </a:lnTo>
                <a:lnTo>
                  <a:pt x="1144" y="944"/>
                </a:lnTo>
                <a:lnTo>
                  <a:pt x="1144" y="948"/>
                </a:lnTo>
                <a:lnTo>
                  <a:pt x="1144" y="952"/>
                </a:lnTo>
                <a:lnTo>
                  <a:pt x="1144" y="948"/>
                </a:lnTo>
                <a:lnTo>
                  <a:pt x="1144" y="944"/>
                </a:lnTo>
                <a:lnTo>
                  <a:pt x="1144" y="940"/>
                </a:lnTo>
                <a:lnTo>
                  <a:pt x="1144" y="940"/>
                </a:lnTo>
                <a:lnTo>
                  <a:pt x="1144" y="940"/>
                </a:lnTo>
                <a:close/>
                <a:moveTo>
                  <a:pt x="132" y="202"/>
                </a:moveTo>
                <a:lnTo>
                  <a:pt x="128" y="202"/>
                </a:lnTo>
                <a:lnTo>
                  <a:pt x="124" y="202"/>
                </a:lnTo>
                <a:lnTo>
                  <a:pt x="120" y="206"/>
                </a:lnTo>
                <a:lnTo>
                  <a:pt x="120" y="202"/>
                </a:lnTo>
                <a:lnTo>
                  <a:pt x="116" y="202"/>
                </a:lnTo>
                <a:lnTo>
                  <a:pt x="112" y="202"/>
                </a:lnTo>
                <a:lnTo>
                  <a:pt x="112" y="198"/>
                </a:lnTo>
                <a:lnTo>
                  <a:pt x="110" y="194"/>
                </a:lnTo>
                <a:lnTo>
                  <a:pt x="106" y="194"/>
                </a:lnTo>
                <a:lnTo>
                  <a:pt x="102" y="194"/>
                </a:lnTo>
                <a:lnTo>
                  <a:pt x="106" y="194"/>
                </a:lnTo>
                <a:lnTo>
                  <a:pt x="110" y="194"/>
                </a:lnTo>
                <a:lnTo>
                  <a:pt x="110" y="198"/>
                </a:lnTo>
                <a:lnTo>
                  <a:pt x="112" y="198"/>
                </a:lnTo>
                <a:lnTo>
                  <a:pt x="110" y="198"/>
                </a:lnTo>
                <a:lnTo>
                  <a:pt x="106" y="194"/>
                </a:lnTo>
                <a:lnTo>
                  <a:pt x="102" y="194"/>
                </a:lnTo>
                <a:lnTo>
                  <a:pt x="98" y="194"/>
                </a:lnTo>
                <a:lnTo>
                  <a:pt x="98" y="198"/>
                </a:lnTo>
                <a:lnTo>
                  <a:pt x="94" y="198"/>
                </a:lnTo>
                <a:lnTo>
                  <a:pt x="90" y="198"/>
                </a:lnTo>
                <a:lnTo>
                  <a:pt x="90" y="194"/>
                </a:lnTo>
                <a:lnTo>
                  <a:pt x="90" y="192"/>
                </a:lnTo>
                <a:lnTo>
                  <a:pt x="90" y="188"/>
                </a:lnTo>
                <a:lnTo>
                  <a:pt x="94" y="188"/>
                </a:lnTo>
                <a:lnTo>
                  <a:pt x="94" y="192"/>
                </a:lnTo>
                <a:lnTo>
                  <a:pt x="98" y="192"/>
                </a:lnTo>
                <a:lnTo>
                  <a:pt x="102" y="192"/>
                </a:lnTo>
                <a:lnTo>
                  <a:pt x="106" y="192"/>
                </a:lnTo>
                <a:lnTo>
                  <a:pt x="110" y="188"/>
                </a:lnTo>
                <a:lnTo>
                  <a:pt x="112" y="188"/>
                </a:lnTo>
                <a:lnTo>
                  <a:pt x="112" y="192"/>
                </a:lnTo>
                <a:lnTo>
                  <a:pt x="116" y="192"/>
                </a:lnTo>
                <a:lnTo>
                  <a:pt x="116" y="194"/>
                </a:lnTo>
                <a:lnTo>
                  <a:pt x="120" y="194"/>
                </a:lnTo>
                <a:lnTo>
                  <a:pt x="124" y="194"/>
                </a:lnTo>
                <a:lnTo>
                  <a:pt x="124" y="198"/>
                </a:lnTo>
                <a:lnTo>
                  <a:pt x="128" y="198"/>
                </a:lnTo>
                <a:lnTo>
                  <a:pt x="132" y="198"/>
                </a:lnTo>
                <a:lnTo>
                  <a:pt x="136" y="198"/>
                </a:lnTo>
                <a:lnTo>
                  <a:pt x="132" y="202"/>
                </a:lnTo>
                <a:lnTo>
                  <a:pt x="132" y="202"/>
                </a:lnTo>
                <a:lnTo>
                  <a:pt x="132" y="202"/>
                </a:lnTo>
                <a:close/>
                <a:moveTo>
                  <a:pt x="426" y="254"/>
                </a:moveTo>
                <a:lnTo>
                  <a:pt x="430" y="254"/>
                </a:lnTo>
                <a:lnTo>
                  <a:pt x="426" y="258"/>
                </a:lnTo>
                <a:lnTo>
                  <a:pt x="426" y="254"/>
                </a:lnTo>
                <a:lnTo>
                  <a:pt x="426" y="254"/>
                </a:lnTo>
                <a:lnTo>
                  <a:pt x="426" y="254"/>
                </a:lnTo>
                <a:close/>
                <a:moveTo>
                  <a:pt x="460" y="262"/>
                </a:moveTo>
                <a:lnTo>
                  <a:pt x="456" y="262"/>
                </a:lnTo>
                <a:lnTo>
                  <a:pt x="452" y="266"/>
                </a:lnTo>
                <a:lnTo>
                  <a:pt x="452" y="262"/>
                </a:lnTo>
                <a:lnTo>
                  <a:pt x="456" y="262"/>
                </a:lnTo>
                <a:lnTo>
                  <a:pt x="460" y="262"/>
                </a:lnTo>
                <a:lnTo>
                  <a:pt x="460" y="262"/>
                </a:lnTo>
                <a:lnTo>
                  <a:pt x="460" y="262"/>
                </a:lnTo>
                <a:close/>
                <a:moveTo>
                  <a:pt x="456" y="266"/>
                </a:moveTo>
                <a:lnTo>
                  <a:pt x="452" y="266"/>
                </a:lnTo>
                <a:lnTo>
                  <a:pt x="448" y="266"/>
                </a:lnTo>
                <a:lnTo>
                  <a:pt x="448" y="268"/>
                </a:lnTo>
                <a:lnTo>
                  <a:pt x="444" y="268"/>
                </a:lnTo>
                <a:lnTo>
                  <a:pt x="448" y="268"/>
                </a:lnTo>
                <a:lnTo>
                  <a:pt x="448" y="266"/>
                </a:lnTo>
                <a:lnTo>
                  <a:pt x="444" y="266"/>
                </a:lnTo>
                <a:lnTo>
                  <a:pt x="448" y="266"/>
                </a:lnTo>
                <a:lnTo>
                  <a:pt x="448" y="262"/>
                </a:lnTo>
                <a:lnTo>
                  <a:pt x="448" y="266"/>
                </a:lnTo>
                <a:lnTo>
                  <a:pt x="452" y="266"/>
                </a:lnTo>
                <a:lnTo>
                  <a:pt x="456" y="266"/>
                </a:lnTo>
                <a:lnTo>
                  <a:pt x="456" y="266"/>
                </a:lnTo>
                <a:lnTo>
                  <a:pt x="456" y="266"/>
                </a:lnTo>
                <a:close/>
                <a:moveTo>
                  <a:pt x="172" y="266"/>
                </a:moveTo>
                <a:lnTo>
                  <a:pt x="176" y="266"/>
                </a:lnTo>
                <a:lnTo>
                  <a:pt x="176" y="268"/>
                </a:lnTo>
                <a:lnTo>
                  <a:pt x="176" y="272"/>
                </a:lnTo>
                <a:lnTo>
                  <a:pt x="180" y="276"/>
                </a:lnTo>
                <a:lnTo>
                  <a:pt x="176" y="276"/>
                </a:lnTo>
                <a:lnTo>
                  <a:pt x="172" y="276"/>
                </a:lnTo>
                <a:lnTo>
                  <a:pt x="168" y="276"/>
                </a:lnTo>
                <a:lnTo>
                  <a:pt x="168" y="280"/>
                </a:lnTo>
                <a:lnTo>
                  <a:pt x="172" y="280"/>
                </a:lnTo>
                <a:lnTo>
                  <a:pt x="168" y="280"/>
                </a:lnTo>
                <a:lnTo>
                  <a:pt x="166" y="276"/>
                </a:lnTo>
                <a:lnTo>
                  <a:pt x="158" y="276"/>
                </a:lnTo>
                <a:lnTo>
                  <a:pt x="158" y="272"/>
                </a:lnTo>
                <a:lnTo>
                  <a:pt x="154" y="272"/>
                </a:lnTo>
                <a:lnTo>
                  <a:pt x="154" y="268"/>
                </a:lnTo>
                <a:lnTo>
                  <a:pt x="158" y="268"/>
                </a:lnTo>
                <a:lnTo>
                  <a:pt x="162" y="268"/>
                </a:lnTo>
                <a:lnTo>
                  <a:pt x="162" y="266"/>
                </a:lnTo>
                <a:lnTo>
                  <a:pt x="166" y="266"/>
                </a:lnTo>
                <a:lnTo>
                  <a:pt x="168" y="266"/>
                </a:lnTo>
                <a:lnTo>
                  <a:pt x="172" y="266"/>
                </a:lnTo>
                <a:lnTo>
                  <a:pt x="172" y="266"/>
                </a:lnTo>
                <a:lnTo>
                  <a:pt x="172" y="266"/>
                </a:lnTo>
                <a:close/>
                <a:moveTo>
                  <a:pt x="440" y="268"/>
                </a:moveTo>
                <a:lnTo>
                  <a:pt x="436" y="268"/>
                </a:lnTo>
                <a:lnTo>
                  <a:pt x="436" y="272"/>
                </a:lnTo>
                <a:lnTo>
                  <a:pt x="434" y="276"/>
                </a:lnTo>
                <a:lnTo>
                  <a:pt x="430" y="280"/>
                </a:lnTo>
                <a:lnTo>
                  <a:pt x="430" y="276"/>
                </a:lnTo>
                <a:lnTo>
                  <a:pt x="434" y="272"/>
                </a:lnTo>
                <a:lnTo>
                  <a:pt x="436" y="272"/>
                </a:lnTo>
                <a:lnTo>
                  <a:pt x="436" y="268"/>
                </a:lnTo>
                <a:lnTo>
                  <a:pt x="436" y="266"/>
                </a:lnTo>
                <a:lnTo>
                  <a:pt x="440" y="266"/>
                </a:lnTo>
                <a:lnTo>
                  <a:pt x="440" y="268"/>
                </a:lnTo>
                <a:lnTo>
                  <a:pt x="440" y="268"/>
                </a:lnTo>
                <a:lnTo>
                  <a:pt x="440" y="268"/>
                </a:lnTo>
                <a:close/>
                <a:moveTo>
                  <a:pt x="430" y="272"/>
                </a:moveTo>
                <a:lnTo>
                  <a:pt x="426" y="272"/>
                </a:lnTo>
                <a:lnTo>
                  <a:pt x="430" y="268"/>
                </a:lnTo>
                <a:lnTo>
                  <a:pt x="430" y="272"/>
                </a:lnTo>
                <a:lnTo>
                  <a:pt x="430" y="272"/>
                </a:lnTo>
                <a:lnTo>
                  <a:pt x="430" y="272"/>
                </a:lnTo>
                <a:close/>
                <a:moveTo>
                  <a:pt x="430" y="272"/>
                </a:moveTo>
                <a:lnTo>
                  <a:pt x="430" y="276"/>
                </a:lnTo>
                <a:lnTo>
                  <a:pt x="426" y="276"/>
                </a:lnTo>
                <a:lnTo>
                  <a:pt x="426" y="272"/>
                </a:lnTo>
                <a:lnTo>
                  <a:pt x="430" y="272"/>
                </a:lnTo>
                <a:lnTo>
                  <a:pt x="430" y="272"/>
                </a:lnTo>
                <a:lnTo>
                  <a:pt x="430" y="272"/>
                </a:lnTo>
                <a:close/>
                <a:moveTo>
                  <a:pt x="350" y="288"/>
                </a:moveTo>
                <a:lnTo>
                  <a:pt x="350" y="292"/>
                </a:lnTo>
                <a:lnTo>
                  <a:pt x="348" y="292"/>
                </a:lnTo>
                <a:lnTo>
                  <a:pt x="348" y="288"/>
                </a:lnTo>
                <a:lnTo>
                  <a:pt x="350" y="288"/>
                </a:lnTo>
                <a:lnTo>
                  <a:pt x="350" y="288"/>
                </a:lnTo>
                <a:lnTo>
                  <a:pt x="350" y="288"/>
                </a:lnTo>
                <a:close/>
                <a:moveTo>
                  <a:pt x="388" y="288"/>
                </a:moveTo>
                <a:lnTo>
                  <a:pt x="388" y="292"/>
                </a:lnTo>
                <a:lnTo>
                  <a:pt x="388" y="288"/>
                </a:lnTo>
                <a:lnTo>
                  <a:pt x="388" y="288"/>
                </a:lnTo>
                <a:lnTo>
                  <a:pt x="388" y="288"/>
                </a:lnTo>
                <a:close/>
                <a:moveTo>
                  <a:pt x="366" y="306"/>
                </a:moveTo>
                <a:lnTo>
                  <a:pt x="362" y="310"/>
                </a:lnTo>
                <a:lnTo>
                  <a:pt x="362" y="306"/>
                </a:lnTo>
                <a:lnTo>
                  <a:pt x="366" y="306"/>
                </a:lnTo>
                <a:lnTo>
                  <a:pt x="366" y="306"/>
                </a:lnTo>
                <a:lnTo>
                  <a:pt x="366" y="306"/>
                </a:lnTo>
                <a:close/>
                <a:moveTo>
                  <a:pt x="362" y="318"/>
                </a:moveTo>
                <a:lnTo>
                  <a:pt x="358" y="322"/>
                </a:lnTo>
                <a:lnTo>
                  <a:pt x="358" y="318"/>
                </a:lnTo>
                <a:lnTo>
                  <a:pt x="354" y="318"/>
                </a:lnTo>
                <a:lnTo>
                  <a:pt x="354" y="314"/>
                </a:lnTo>
                <a:lnTo>
                  <a:pt x="358" y="318"/>
                </a:lnTo>
                <a:lnTo>
                  <a:pt x="358" y="314"/>
                </a:lnTo>
                <a:lnTo>
                  <a:pt x="354" y="314"/>
                </a:lnTo>
                <a:lnTo>
                  <a:pt x="358" y="314"/>
                </a:lnTo>
                <a:lnTo>
                  <a:pt x="358" y="310"/>
                </a:lnTo>
                <a:lnTo>
                  <a:pt x="362" y="310"/>
                </a:lnTo>
                <a:lnTo>
                  <a:pt x="366" y="310"/>
                </a:lnTo>
                <a:lnTo>
                  <a:pt x="370" y="310"/>
                </a:lnTo>
                <a:lnTo>
                  <a:pt x="370" y="314"/>
                </a:lnTo>
                <a:lnTo>
                  <a:pt x="370" y="318"/>
                </a:lnTo>
                <a:lnTo>
                  <a:pt x="366" y="314"/>
                </a:lnTo>
                <a:lnTo>
                  <a:pt x="366" y="318"/>
                </a:lnTo>
                <a:lnTo>
                  <a:pt x="362" y="318"/>
                </a:lnTo>
                <a:lnTo>
                  <a:pt x="362" y="318"/>
                </a:lnTo>
                <a:lnTo>
                  <a:pt x="362" y="318"/>
                </a:lnTo>
                <a:close/>
                <a:moveTo>
                  <a:pt x="626" y="332"/>
                </a:moveTo>
                <a:lnTo>
                  <a:pt x="622" y="332"/>
                </a:lnTo>
                <a:lnTo>
                  <a:pt x="626" y="332"/>
                </a:lnTo>
                <a:lnTo>
                  <a:pt x="626" y="336"/>
                </a:lnTo>
                <a:lnTo>
                  <a:pt x="622" y="336"/>
                </a:lnTo>
                <a:lnTo>
                  <a:pt x="622" y="332"/>
                </a:lnTo>
                <a:lnTo>
                  <a:pt x="622" y="336"/>
                </a:lnTo>
                <a:lnTo>
                  <a:pt x="620" y="340"/>
                </a:lnTo>
                <a:lnTo>
                  <a:pt x="616" y="340"/>
                </a:lnTo>
                <a:lnTo>
                  <a:pt x="616" y="336"/>
                </a:lnTo>
                <a:lnTo>
                  <a:pt x="620" y="332"/>
                </a:lnTo>
                <a:lnTo>
                  <a:pt x="620" y="336"/>
                </a:lnTo>
                <a:lnTo>
                  <a:pt x="620" y="332"/>
                </a:lnTo>
                <a:lnTo>
                  <a:pt x="616" y="332"/>
                </a:lnTo>
                <a:lnTo>
                  <a:pt x="620" y="332"/>
                </a:lnTo>
                <a:lnTo>
                  <a:pt x="620" y="328"/>
                </a:lnTo>
                <a:lnTo>
                  <a:pt x="616" y="328"/>
                </a:lnTo>
                <a:lnTo>
                  <a:pt x="616" y="324"/>
                </a:lnTo>
                <a:lnTo>
                  <a:pt x="616" y="318"/>
                </a:lnTo>
                <a:lnTo>
                  <a:pt x="612" y="314"/>
                </a:lnTo>
                <a:lnTo>
                  <a:pt x="612" y="310"/>
                </a:lnTo>
                <a:lnTo>
                  <a:pt x="612" y="314"/>
                </a:lnTo>
                <a:lnTo>
                  <a:pt x="616" y="314"/>
                </a:lnTo>
                <a:lnTo>
                  <a:pt x="616" y="318"/>
                </a:lnTo>
                <a:lnTo>
                  <a:pt x="616" y="314"/>
                </a:lnTo>
                <a:lnTo>
                  <a:pt x="620" y="314"/>
                </a:lnTo>
                <a:lnTo>
                  <a:pt x="620" y="318"/>
                </a:lnTo>
                <a:lnTo>
                  <a:pt x="622" y="318"/>
                </a:lnTo>
                <a:lnTo>
                  <a:pt x="622" y="322"/>
                </a:lnTo>
                <a:lnTo>
                  <a:pt x="626" y="324"/>
                </a:lnTo>
                <a:lnTo>
                  <a:pt x="626" y="328"/>
                </a:lnTo>
                <a:lnTo>
                  <a:pt x="626" y="324"/>
                </a:lnTo>
                <a:lnTo>
                  <a:pt x="622" y="324"/>
                </a:lnTo>
                <a:lnTo>
                  <a:pt x="622" y="322"/>
                </a:lnTo>
                <a:lnTo>
                  <a:pt x="622" y="318"/>
                </a:lnTo>
                <a:lnTo>
                  <a:pt x="620" y="318"/>
                </a:lnTo>
                <a:lnTo>
                  <a:pt x="620" y="322"/>
                </a:lnTo>
                <a:lnTo>
                  <a:pt x="622" y="322"/>
                </a:lnTo>
                <a:lnTo>
                  <a:pt x="622" y="324"/>
                </a:lnTo>
                <a:lnTo>
                  <a:pt x="622" y="328"/>
                </a:lnTo>
                <a:lnTo>
                  <a:pt x="626" y="328"/>
                </a:lnTo>
                <a:lnTo>
                  <a:pt x="626" y="332"/>
                </a:lnTo>
                <a:lnTo>
                  <a:pt x="626" y="332"/>
                </a:lnTo>
                <a:lnTo>
                  <a:pt x="626" y="332"/>
                </a:lnTo>
                <a:close/>
                <a:moveTo>
                  <a:pt x="594" y="324"/>
                </a:moveTo>
                <a:lnTo>
                  <a:pt x="590" y="324"/>
                </a:lnTo>
                <a:lnTo>
                  <a:pt x="594" y="322"/>
                </a:lnTo>
                <a:lnTo>
                  <a:pt x="598" y="322"/>
                </a:lnTo>
                <a:lnTo>
                  <a:pt x="594" y="322"/>
                </a:lnTo>
                <a:lnTo>
                  <a:pt x="590" y="318"/>
                </a:lnTo>
                <a:lnTo>
                  <a:pt x="594" y="314"/>
                </a:lnTo>
                <a:lnTo>
                  <a:pt x="594" y="318"/>
                </a:lnTo>
                <a:lnTo>
                  <a:pt x="594" y="314"/>
                </a:lnTo>
                <a:lnTo>
                  <a:pt x="598" y="314"/>
                </a:lnTo>
                <a:lnTo>
                  <a:pt x="602" y="314"/>
                </a:lnTo>
                <a:lnTo>
                  <a:pt x="606" y="314"/>
                </a:lnTo>
                <a:lnTo>
                  <a:pt x="606" y="318"/>
                </a:lnTo>
                <a:lnTo>
                  <a:pt x="602" y="318"/>
                </a:lnTo>
                <a:lnTo>
                  <a:pt x="602" y="322"/>
                </a:lnTo>
                <a:lnTo>
                  <a:pt x="606" y="322"/>
                </a:lnTo>
                <a:lnTo>
                  <a:pt x="606" y="318"/>
                </a:lnTo>
                <a:lnTo>
                  <a:pt x="608" y="318"/>
                </a:lnTo>
                <a:lnTo>
                  <a:pt x="612" y="318"/>
                </a:lnTo>
                <a:lnTo>
                  <a:pt x="612" y="322"/>
                </a:lnTo>
                <a:lnTo>
                  <a:pt x="608" y="322"/>
                </a:lnTo>
                <a:lnTo>
                  <a:pt x="612" y="322"/>
                </a:lnTo>
                <a:lnTo>
                  <a:pt x="612" y="324"/>
                </a:lnTo>
                <a:lnTo>
                  <a:pt x="608" y="324"/>
                </a:lnTo>
                <a:lnTo>
                  <a:pt x="606" y="324"/>
                </a:lnTo>
                <a:lnTo>
                  <a:pt x="606" y="322"/>
                </a:lnTo>
                <a:lnTo>
                  <a:pt x="602" y="322"/>
                </a:lnTo>
                <a:lnTo>
                  <a:pt x="598" y="322"/>
                </a:lnTo>
                <a:lnTo>
                  <a:pt x="602" y="322"/>
                </a:lnTo>
                <a:lnTo>
                  <a:pt x="606" y="322"/>
                </a:lnTo>
                <a:lnTo>
                  <a:pt x="606" y="324"/>
                </a:lnTo>
                <a:lnTo>
                  <a:pt x="608" y="324"/>
                </a:lnTo>
                <a:lnTo>
                  <a:pt x="612" y="324"/>
                </a:lnTo>
                <a:lnTo>
                  <a:pt x="612" y="328"/>
                </a:lnTo>
                <a:lnTo>
                  <a:pt x="612" y="332"/>
                </a:lnTo>
                <a:lnTo>
                  <a:pt x="608" y="332"/>
                </a:lnTo>
                <a:lnTo>
                  <a:pt x="608" y="328"/>
                </a:lnTo>
                <a:lnTo>
                  <a:pt x="606" y="328"/>
                </a:lnTo>
                <a:lnTo>
                  <a:pt x="606" y="324"/>
                </a:lnTo>
                <a:lnTo>
                  <a:pt x="602" y="324"/>
                </a:lnTo>
                <a:lnTo>
                  <a:pt x="602" y="328"/>
                </a:lnTo>
                <a:lnTo>
                  <a:pt x="606" y="328"/>
                </a:lnTo>
                <a:lnTo>
                  <a:pt x="606" y="332"/>
                </a:lnTo>
                <a:lnTo>
                  <a:pt x="602" y="332"/>
                </a:lnTo>
                <a:lnTo>
                  <a:pt x="598" y="332"/>
                </a:lnTo>
                <a:lnTo>
                  <a:pt x="598" y="328"/>
                </a:lnTo>
                <a:lnTo>
                  <a:pt x="598" y="332"/>
                </a:lnTo>
                <a:lnTo>
                  <a:pt x="602" y="332"/>
                </a:lnTo>
                <a:lnTo>
                  <a:pt x="598" y="328"/>
                </a:lnTo>
                <a:lnTo>
                  <a:pt x="594" y="324"/>
                </a:lnTo>
                <a:lnTo>
                  <a:pt x="594" y="324"/>
                </a:lnTo>
                <a:lnTo>
                  <a:pt x="594" y="324"/>
                </a:lnTo>
                <a:close/>
                <a:moveTo>
                  <a:pt x="350" y="318"/>
                </a:moveTo>
                <a:lnTo>
                  <a:pt x="354" y="318"/>
                </a:lnTo>
                <a:lnTo>
                  <a:pt x="358" y="318"/>
                </a:lnTo>
                <a:lnTo>
                  <a:pt x="358" y="322"/>
                </a:lnTo>
                <a:lnTo>
                  <a:pt x="354" y="322"/>
                </a:lnTo>
                <a:lnTo>
                  <a:pt x="354" y="318"/>
                </a:lnTo>
                <a:lnTo>
                  <a:pt x="350" y="318"/>
                </a:lnTo>
                <a:lnTo>
                  <a:pt x="350" y="318"/>
                </a:lnTo>
                <a:lnTo>
                  <a:pt x="350" y="318"/>
                </a:lnTo>
                <a:close/>
                <a:moveTo>
                  <a:pt x="590" y="318"/>
                </a:moveTo>
                <a:lnTo>
                  <a:pt x="594" y="318"/>
                </a:lnTo>
                <a:lnTo>
                  <a:pt x="594" y="322"/>
                </a:lnTo>
                <a:lnTo>
                  <a:pt x="590" y="322"/>
                </a:lnTo>
                <a:lnTo>
                  <a:pt x="590" y="318"/>
                </a:lnTo>
                <a:lnTo>
                  <a:pt x="590" y="318"/>
                </a:lnTo>
                <a:lnTo>
                  <a:pt x="590" y="318"/>
                </a:lnTo>
                <a:close/>
                <a:moveTo>
                  <a:pt x="348" y="328"/>
                </a:moveTo>
                <a:lnTo>
                  <a:pt x="348" y="324"/>
                </a:lnTo>
                <a:lnTo>
                  <a:pt x="344" y="324"/>
                </a:lnTo>
                <a:lnTo>
                  <a:pt x="348" y="322"/>
                </a:lnTo>
                <a:lnTo>
                  <a:pt x="348" y="324"/>
                </a:lnTo>
                <a:lnTo>
                  <a:pt x="348" y="328"/>
                </a:lnTo>
                <a:lnTo>
                  <a:pt x="350" y="324"/>
                </a:lnTo>
                <a:lnTo>
                  <a:pt x="350" y="322"/>
                </a:lnTo>
                <a:lnTo>
                  <a:pt x="354" y="324"/>
                </a:lnTo>
                <a:lnTo>
                  <a:pt x="354" y="322"/>
                </a:lnTo>
                <a:lnTo>
                  <a:pt x="354" y="324"/>
                </a:lnTo>
                <a:lnTo>
                  <a:pt x="354" y="322"/>
                </a:lnTo>
                <a:lnTo>
                  <a:pt x="350" y="322"/>
                </a:lnTo>
                <a:lnTo>
                  <a:pt x="354" y="322"/>
                </a:lnTo>
                <a:lnTo>
                  <a:pt x="358" y="322"/>
                </a:lnTo>
                <a:lnTo>
                  <a:pt x="358" y="324"/>
                </a:lnTo>
                <a:lnTo>
                  <a:pt x="358" y="322"/>
                </a:lnTo>
                <a:lnTo>
                  <a:pt x="362" y="322"/>
                </a:lnTo>
                <a:lnTo>
                  <a:pt x="366" y="322"/>
                </a:lnTo>
                <a:lnTo>
                  <a:pt x="366" y="324"/>
                </a:lnTo>
                <a:lnTo>
                  <a:pt x="362" y="324"/>
                </a:lnTo>
                <a:lnTo>
                  <a:pt x="366" y="328"/>
                </a:lnTo>
                <a:lnTo>
                  <a:pt x="370" y="328"/>
                </a:lnTo>
                <a:lnTo>
                  <a:pt x="366" y="328"/>
                </a:lnTo>
                <a:lnTo>
                  <a:pt x="366" y="332"/>
                </a:lnTo>
                <a:lnTo>
                  <a:pt x="362" y="332"/>
                </a:lnTo>
                <a:lnTo>
                  <a:pt x="358" y="328"/>
                </a:lnTo>
                <a:lnTo>
                  <a:pt x="354" y="332"/>
                </a:lnTo>
                <a:lnTo>
                  <a:pt x="358" y="332"/>
                </a:lnTo>
                <a:lnTo>
                  <a:pt x="362" y="332"/>
                </a:lnTo>
                <a:lnTo>
                  <a:pt x="362" y="336"/>
                </a:lnTo>
                <a:lnTo>
                  <a:pt x="358" y="336"/>
                </a:lnTo>
                <a:lnTo>
                  <a:pt x="354" y="332"/>
                </a:lnTo>
                <a:lnTo>
                  <a:pt x="354" y="336"/>
                </a:lnTo>
                <a:lnTo>
                  <a:pt x="358" y="336"/>
                </a:lnTo>
                <a:lnTo>
                  <a:pt x="354" y="336"/>
                </a:lnTo>
                <a:lnTo>
                  <a:pt x="350" y="336"/>
                </a:lnTo>
                <a:lnTo>
                  <a:pt x="350" y="340"/>
                </a:lnTo>
                <a:lnTo>
                  <a:pt x="348" y="340"/>
                </a:lnTo>
                <a:lnTo>
                  <a:pt x="348" y="344"/>
                </a:lnTo>
                <a:lnTo>
                  <a:pt x="344" y="344"/>
                </a:lnTo>
                <a:lnTo>
                  <a:pt x="344" y="348"/>
                </a:lnTo>
                <a:lnTo>
                  <a:pt x="340" y="348"/>
                </a:lnTo>
                <a:lnTo>
                  <a:pt x="340" y="344"/>
                </a:lnTo>
                <a:lnTo>
                  <a:pt x="344" y="344"/>
                </a:lnTo>
                <a:lnTo>
                  <a:pt x="344" y="340"/>
                </a:lnTo>
                <a:lnTo>
                  <a:pt x="344" y="344"/>
                </a:lnTo>
                <a:lnTo>
                  <a:pt x="344" y="340"/>
                </a:lnTo>
                <a:lnTo>
                  <a:pt x="348" y="340"/>
                </a:lnTo>
                <a:lnTo>
                  <a:pt x="344" y="340"/>
                </a:lnTo>
                <a:lnTo>
                  <a:pt x="340" y="340"/>
                </a:lnTo>
                <a:lnTo>
                  <a:pt x="340" y="344"/>
                </a:lnTo>
                <a:lnTo>
                  <a:pt x="340" y="340"/>
                </a:lnTo>
                <a:lnTo>
                  <a:pt x="344" y="340"/>
                </a:lnTo>
                <a:lnTo>
                  <a:pt x="340" y="340"/>
                </a:lnTo>
                <a:lnTo>
                  <a:pt x="336" y="340"/>
                </a:lnTo>
                <a:lnTo>
                  <a:pt x="340" y="340"/>
                </a:lnTo>
                <a:lnTo>
                  <a:pt x="340" y="344"/>
                </a:lnTo>
                <a:lnTo>
                  <a:pt x="336" y="344"/>
                </a:lnTo>
                <a:lnTo>
                  <a:pt x="336" y="340"/>
                </a:lnTo>
                <a:lnTo>
                  <a:pt x="336" y="336"/>
                </a:lnTo>
                <a:lnTo>
                  <a:pt x="332" y="336"/>
                </a:lnTo>
                <a:lnTo>
                  <a:pt x="332" y="332"/>
                </a:lnTo>
                <a:lnTo>
                  <a:pt x="332" y="328"/>
                </a:lnTo>
                <a:lnTo>
                  <a:pt x="336" y="328"/>
                </a:lnTo>
                <a:lnTo>
                  <a:pt x="340" y="328"/>
                </a:lnTo>
                <a:lnTo>
                  <a:pt x="344" y="328"/>
                </a:lnTo>
                <a:lnTo>
                  <a:pt x="344" y="332"/>
                </a:lnTo>
                <a:lnTo>
                  <a:pt x="344" y="336"/>
                </a:lnTo>
                <a:lnTo>
                  <a:pt x="348" y="336"/>
                </a:lnTo>
                <a:lnTo>
                  <a:pt x="344" y="332"/>
                </a:lnTo>
                <a:lnTo>
                  <a:pt x="344" y="328"/>
                </a:lnTo>
                <a:lnTo>
                  <a:pt x="348" y="328"/>
                </a:lnTo>
                <a:lnTo>
                  <a:pt x="348" y="328"/>
                </a:lnTo>
                <a:lnTo>
                  <a:pt x="348" y="328"/>
                </a:lnTo>
                <a:close/>
                <a:moveTo>
                  <a:pt x="350" y="322"/>
                </a:moveTo>
                <a:lnTo>
                  <a:pt x="354" y="322"/>
                </a:lnTo>
                <a:lnTo>
                  <a:pt x="354" y="324"/>
                </a:lnTo>
                <a:lnTo>
                  <a:pt x="350" y="324"/>
                </a:lnTo>
                <a:lnTo>
                  <a:pt x="350" y="322"/>
                </a:lnTo>
                <a:lnTo>
                  <a:pt x="348" y="322"/>
                </a:lnTo>
                <a:lnTo>
                  <a:pt x="350" y="322"/>
                </a:lnTo>
                <a:lnTo>
                  <a:pt x="350" y="322"/>
                </a:lnTo>
                <a:lnTo>
                  <a:pt x="350" y="322"/>
                </a:lnTo>
                <a:close/>
                <a:moveTo>
                  <a:pt x="616" y="350"/>
                </a:moveTo>
                <a:lnTo>
                  <a:pt x="616" y="354"/>
                </a:lnTo>
                <a:lnTo>
                  <a:pt x="616" y="358"/>
                </a:lnTo>
                <a:lnTo>
                  <a:pt x="612" y="354"/>
                </a:lnTo>
                <a:lnTo>
                  <a:pt x="612" y="350"/>
                </a:lnTo>
                <a:lnTo>
                  <a:pt x="612" y="348"/>
                </a:lnTo>
                <a:lnTo>
                  <a:pt x="608" y="350"/>
                </a:lnTo>
                <a:lnTo>
                  <a:pt x="608" y="348"/>
                </a:lnTo>
                <a:lnTo>
                  <a:pt x="606" y="344"/>
                </a:lnTo>
                <a:lnTo>
                  <a:pt x="606" y="340"/>
                </a:lnTo>
                <a:lnTo>
                  <a:pt x="606" y="336"/>
                </a:lnTo>
                <a:lnTo>
                  <a:pt x="602" y="336"/>
                </a:lnTo>
                <a:lnTo>
                  <a:pt x="602" y="332"/>
                </a:lnTo>
                <a:lnTo>
                  <a:pt x="606" y="332"/>
                </a:lnTo>
                <a:lnTo>
                  <a:pt x="606" y="328"/>
                </a:lnTo>
                <a:lnTo>
                  <a:pt x="608" y="332"/>
                </a:lnTo>
                <a:lnTo>
                  <a:pt x="612" y="332"/>
                </a:lnTo>
                <a:lnTo>
                  <a:pt x="612" y="336"/>
                </a:lnTo>
                <a:lnTo>
                  <a:pt x="616" y="340"/>
                </a:lnTo>
                <a:lnTo>
                  <a:pt x="616" y="344"/>
                </a:lnTo>
                <a:lnTo>
                  <a:pt x="616" y="348"/>
                </a:lnTo>
                <a:lnTo>
                  <a:pt x="616" y="350"/>
                </a:lnTo>
                <a:lnTo>
                  <a:pt x="616" y="350"/>
                </a:lnTo>
                <a:lnTo>
                  <a:pt x="616" y="350"/>
                </a:lnTo>
                <a:close/>
                <a:moveTo>
                  <a:pt x="612" y="332"/>
                </a:moveTo>
                <a:lnTo>
                  <a:pt x="616" y="332"/>
                </a:lnTo>
                <a:lnTo>
                  <a:pt x="612" y="336"/>
                </a:lnTo>
                <a:lnTo>
                  <a:pt x="612" y="332"/>
                </a:lnTo>
                <a:lnTo>
                  <a:pt x="612" y="332"/>
                </a:lnTo>
                <a:lnTo>
                  <a:pt x="612" y="332"/>
                </a:lnTo>
                <a:close/>
                <a:moveTo>
                  <a:pt x="602" y="336"/>
                </a:moveTo>
                <a:lnTo>
                  <a:pt x="606" y="336"/>
                </a:lnTo>
                <a:lnTo>
                  <a:pt x="606" y="340"/>
                </a:lnTo>
                <a:lnTo>
                  <a:pt x="602" y="340"/>
                </a:lnTo>
                <a:lnTo>
                  <a:pt x="602" y="344"/>
                </a:lnTo>
                <a:lnTo>
                  <a:pt x="602" y="340"/>
                </a:lnTo>
                <a:lnTo>
                  <a:pt x="602" y="336"/>
                </a:lnTo>
                <a:lnTo>
                  <a:pt x="598" y="336"/>
                </a:lnTo>
                <a:lnTo>
                  <a:pt x="602" y="336"/>
                </a:lnTo>
                <a:lnTo>
                  <a:pt x="602" y="336"/>
                </a:lnTo>
                <a:lnTo>
                  <a:pt x="602" y="336"/>
                </a:lnTo>
                <a:close/>
                <a:moveTo>
                  <a:pt x="358" y="340"/>
                </a:moveTo>
                <a:lnTo>
                  <a:pt x="354" y="340"/>
                </a:lnTo>
                <a:lnTo>
                  <a:pt x="350" y="340"/>
                </a:lnTo>
                <a:lnTo>
                  <a:pt x="350" y="344"/>
                </a:lnTo>
                <a:lnTo>
                  <a:pt x="350" y="340"/>
                </a:lnTo>
                <a:lnTo>
                  <a:pt x="350" y="336"/>
                </a:lnTo>
                <a:lnTo>
                  <a:pt x="354" y="336"/>
                </a:lnTo>
                <a:lnTo>
                  <a:pt x="358" y="336"/>
                </a:lnTo>
                <a:lnTo>
                  <a:pt x="358" y="340"/>
                </a:lnTo>
                <a:lnTo>
                  <a:pt x="358" y="340"/>
                </a:lnTo>
                <a:lnTo>
                  <a:pt x="358" y="340"/>
                </a:lnTo>
                <a:close/>
                <a:moveTo>
                  <a:pt x="638" y="344"/>
                </a:moveTo>
                <a:lnTo>
                  <a:pt x="642" y="344"/>
                </a:lnTo>
                <a:lnTo>
                  <a:pt x="638" y="348"/>
                </a:lnTo>
                <a:lnTo>
                  <a:pt x="642" y="350"/>
                </a:lnTo>
                <a:lnTo>
                  <a:pt x="638" y="350"/>
                </a:lnTo>
                <a:lnTo>
                  <a:pt x="638" y="348"/>
                </a:lnTo>
                <a:lnTo>
                  <a:pt x="634" y="348"/>
                </a:lnTo>
                <a:lnTo>
                  <a:pt x="634" y="344"/>
                </a:lnTo>
                <a:lnTo>
                  <a:pt x="634" y="348"/>
                </a:lnTo>
                <a:lnTo>
                  <a:pt x="638" y="350"/>
                </a:lnTo>
                <a:lnTo>
                  <a:pt x="638" y="354"/>
                </a:lnTo>
                <a:lnTo>
                  <a:pt x="634" y="354"/>
                </a:lnTo>
                <a:lnTo>
                  <a:pt x="630" y="354"/>
                </a:lnTo>
                <a:lnTo>
                  <a:pt x="630" y="350"/>
                </a:lnTo>
                <a:lnTo>
                  <a:pt x="630" y="348"/>
                </a:lnTo>
                <a:lnTo>
                  <a:pt x="626" y="348"/>
                </a:lnTo>
                <a:lnTo>
                  <a:pt x="626" y="344"/>
                </a:lnTo>
                <a:lnTo>
                  <a:pt x="622" y="340"/>
                </a:lnTo>
                <a:lnTo>
                  <a:pt x="626" y="340"/>
                </a:lnTo>
                <a:lnTo>
                  <a:pt x="630" y="340"/>
                </a:lnTo>
                <a:lnTo>
                  <a:pt x="634" y="340"/>
                </a:lnTo>
                <a:lnTo>
                  <a:pt x="634" y="344"/>
                </a:lnTo>
                <a:lnTo>
                  <a:pt x="638" y="340"/>
                </a:lnTo>
                <a:lnTo>
                  <a:pt x="638" y="344"/>
                </a:lnTo>
                <a:lnTo>
                  <a:pt x="638" y="344"/>
                </a:lnTo>
                <a:lnTo>
                  <a:pt x="638" y="344"/>
                </a:lnTo>
                <a:close/>
                <a:moveTo>
                  <a:pt x="626" y="358"/>
                </a:moveTo>
                <a:lnTo>
                  <a:pt x="626" y="354"/>
                </a:lnTo>
                <a:lnTo>
                  <a:pt x="626" y="358"/>
                </a:lnTo>
                <a:lnTo>
                  <a:pt x="626" y="362"/>
                </a:lnTo>
                <a:lnTo>
                  <a:pt x="622" y="362"/>
                </a:lnTo>
                <a:lnTo>
                  <a:pt x="622" y="358"/>
                </a:lnTo>
                <a:lnTo>
                  <a:pt x="622" y="362"/>
                </a:lnTo>
                <a:lnTo>
                  <a:pt x="620" y="358"/>
                </a:lnTo>
                <a:lnTo>
                  <a:pt x="622" y="358"/>
                </a:lnTo>
                <a:lnTo>
                  <a:pt x="620" y="354"/>
                </a:lnTo>
                <a:lnTo>
                  <a:pt x="622" y="354"/>
                </a:lnTo>
                <a:lnTo>
                  <a:pt x="622" y="350"/>
                </a:lnTo>
                <a:lnTo>
                  <a:pt x="620" y="350"/>
                </a:lnTo>
                <a:lnTo>
                  <a:pt x="620" y="348"/>
                </a:lnTo>
                <a:lnTo>
                  <a:pt x="620" y="344"/>
                </a:lnTo>
                <a:lnTo>
                  <a:pt x="622" y="344"/>
                </a:lnTo>
                <a:lnTo>
                  <a:pt x="620" y="344"/>
                </a:lnTo>
                <a:lnTo>
                  <a:pt x="622" y="344"/>
                </a:lnTo>
                <a:lnTo>
                  <a:pt x="626" y="344"/>
                </a:lnTo>
                <a:lnTo>
                  <a:pt x="626" y="348"/>
                </a:lnTo>
                <a:lnTo>
                  <a:pt x="626" y="350"/>
                </a:lnTo>
                <a:lnTo>
                  <a:pt x="622" y="350"/>
                </a:lnTo>
                <a:lnTo>
                  <a:pt x="626" y="350"/>
                </a:lnTo>
                <a:lnTo>
                  <a:pt x="626" y="348"/>
                </a:lnTo>
                <a:lnTo>
                  <a:pt x="630" y="348"/>
                </a:lnTo>
                <a:lnTo>
                  <a:pt x="630" y="350"/>
                </a:lnTo>
                <a:lnTo>
                  <a:pt x="626" y="350"/>
                </a:lnTo>
                <a:lnTo>
                  <a:pt x="626" y="354"/>
                </a:lnTo>
                <a:lnTo>
                  <a:pt x="626" y="358"/>
                </a:lnTo>
                <a:lnTo>
                  <a:pt x="626" y="358"/>
                </a:lnTo>
                <a:lnTo>
                  <a:pt x="626" y="358"/>
                </a:lnTo>
                <a:close/>
                <a:moveTo>
                  <a:pt x="642" y="348"/>
                </a:moveTo>
                <a:lnTo>
                  <a:pt x="646" y="348"/>
                </a:lnTo>
                <a:lnTo>
                  <a:pt x="646" y="350"/>
                </a:lnTo>
                <a:lnTo>
                  <a:pt x="642" y="350"/>
                </a:lnTo>
                <a:lnTo>
                  <a:pt x="638" y="350"/>
                </a:lnTo>
                <a:lnTo>
                  <a:pt x="642" y="350"/>
                </a:lnTo>
                <a:lnTo>
                  <a:pt x="642" y="348"/>
                </a:lnTo>
                <a:lnTo>
                  <a:pt x="642" y="348"/>
                </a:lnTo>
                <a:lnTo>
                  <a:pt x="642" y="348"/>
                </a:lnTo>
                <a:close/>
                <a:moveTo>
                  <a:pt x="336" y="350"/>
                </a:moveTo>
                <a:lnTo>
                  <a:pt x="332" y="354"/>
                </a:lnTo>
                <a:lnTo>
                  <a:pt x="332" y="350"/>
                </a:lnTo>
                <a:lnTo>
                  <a:pt x="336" y="350"/>
                </a:lnTo>
                <a:lnTo>
                  <a:pt x="336" y="350"/>
                </a:lnTo>
                <a:lnTo>
                  <a:pt x="336" y="350"/>
                </a:lnTo>
                <a:close/>
                <a:moveTo>
                  <a:pt x="294" y="350"/>
                </a:moveTo>
                <a:lnTo>
                  <a:pt x="298" y="350"/>
                </a:lnTo>
                <a:lnTo>
                  <a:pt x="294" y="350"/>
                </a:lnTo>
                <a:lnTo>
                  <a:pt x="294" y="350"/>
                </a:lnTo>
                <a:lnTo>
                  <a:pt x="294" y="350"/>
                </a:lnTo>
                <a:close/>
                <a:moveTo>
                  <a:pt x="652" y="362"/>
                </a:moveTo>
                <a:lnTo>
                  <a:pt x="652" y="358"/>
                </a:lnTo>
                <a:lnTo>
                  <a:pt x="648" y="358"/>
                </a:lnTo>
                <a:lnTo>
                  <a:pt x="648" y="354"/>
                </a:lnTo>
                <a:lnTo>
                  <a:pt x="652" y="354"/>
                </a:lnTo>
                <a:lnTo>
                  <a:pt x="652" y="358"/>
                </a:lnTo>
                <a:lnTo>
                  <a:pt x="652" y="362"/>
                </a:lnTo>
                <a:lnTo>
                  <a:pt x="652" y="362"/>
                </a:lnTo>
                <a:lnTo>
                  <a:pt x="652" y="362"/>
                </a:lnTo>
                <a:close/>
                <a:moveTo>
                  <a:pt x="642" y="358"/>
                </a:moveTo>
                <a:lnTo>
                  <a:pt x="638" y="354"/>
                </a:lnTo>
                <a:lnTo>
                  <a:pt x="642" y="354"/>
                </a:lnTo>
                <a:lnTo>
                  <a:pt x="646" y="354"/>
                </a:lnTo>
                <a:lnTo>
                  <a:pt x="646" y="358"/>
                </a:lnTo>
                <a:lnTo>
                  <a:pt x="642" y="358"/>
                </a:lnTo>
                <a:lnTo>
                  <a:pt x="642" y="358"/>
                </a:lnTo>
                <a:lnTo>
                  <a:pt x="642" y="358"/>
                </a:lnTo>
                <a:close/>
                <a:moveTo>
                  <a:pt x="648" y="366"/>
                </a:moveTo>
                <a:lnTo>
                  <a:pt x="646" y="366"/>
                </a:lnTo>
                <a:lnTo>
                  <a:pt x="648" y="362"/>
                </a:lnTo>
                <a:lnTo>
                  <a:pt x="646" y="362"/>
                </a:lnTo>
                <a:lnTo>
                  <a:pt x="642" y="362"/>
                </a:lnTo>
                <a:lnTo>
                  <a:pt x="642" y="358"/>
                </a:lnTo>
                <a:lnTo>
                  <a:pt x="646" y="358"/>
                </a:lnTo>
                <a:lnTo>
                  <a:pt x="646" y="354"/>
                </a:lnTo>
                <a:lnTo>
                  <a:pt x="648" y="354"/>
                </a:lnTo>
                <a:lnTo>
                  <a:pt x="648" y="358"/>
                </a:lnTo>
                <a:lnTo>
                  <a:pt x="652" y="362"/>
                </a:lnTo>
                <a:lnTo>
                  <a:pt x="652" y="366"/>
                </a:lnTo>
                <a:lnTo>
                  <a:pt x="648" y="366"/>
                </a:lnTo>
                <a:lnTo>
                  <a:pt x="648" y="366"/>
                </a:lnTo>
                <a:lnTo>
                  <a:pt x="648" y="366"/>
                </a:lnTo>
                <a:close/>
                <a:moveTo>
                  <a:pt x="648" y="378"/>
                </a:moveTo>
                <a:lnTo>
                  <a:pt x="648" y="374"/>
                </a:lnTo>
                <a:lnTo>
                  <a:pt x="646" y="374"/>
                </a:lnTo>
                <a:lnTo>
                  <a:pt x="648" y="378"/>
                </a:lnTo>
                <a:lnTo>
                  <a:pt x="652" y="380"/>
                </a:lnTo>
                <a:lnTo>
                  <a:pt x="648" y="380"/>
                </a:lnTo>
                <a:lnTo>
                  <a:pt x="652" y="380"/>
                </a:lnTo>
                <a:lnTo>
                  <a:pt x="652" y="384"/>
                </a:lnTo>
                <a:lnTo>
                  <a:pt x="648" y="384"/>
                </a:lnTo>
                <a:lnTo>
                  <a:pt x="652" y="384"/>
                </a:lnTo>
                <a:lnTo>
                  <a:pt x="652" y="388"/>
                </a:lnTo>
                <a:lnTo>
                  <a:pt x="652" y="392"/>
                </a:lnTo>
                <a:lnTo>
                  <a:pt x="648" y="392"/>
                </a:lnTo>
                <a:lnTo>
                  <a:pt x="648" y="388"/>
                </a:lnTo>
                <a:lnTo>
                  <a:pt x="646" y="384"/>
                </a:lnTo>
                <a:lnTo>
                  <a:pt x="646" y="388"/>
                </a:lnTo>
                <a:lnTo>
                  <a:pt x="646" y="384"/>
                </a:lnTo>
                <a:lnTo>
                  <a:pt x="646" y="380"/>
                </a:lnTo>
                <a:lnTo>
                  <a:pt x="642" y="380"/>
                </a:lnTo>
                <a:lnTo>
                  <a:pt x="638" y="380"/>
                </a:lnTo>
                <a:lnTo>
                  <a:pt x="642" y="380"/>
                </a:lnTo>
                <a:lnTo>
                  <a:pt x="638" y="380"/>
                </a:lnTo>
                <a:lnTo>
                  <a:pt x="634" y="380"/>
                </a:lnTo>
                <a:lnTo>
                  <a:pt x="634" y="378"/>
                </a:lnTo>
                <a:lnTo>
                  <a:pt x="638" y="378"/>
                </a:lnTo>
                <a:lnTo>
                  <a:pt x="642" y="378"/>
                </a:lnTo>
                <a:lnTo>
                  <a:pt x="638" y="378"/>
                </a:lnTo>
                <a:lnTo>
                  <a:pt x="638" y="374"/>
                </a:lnTo>
                <a:lnTo>
                  <a:pt x="642" y="374"/>
                </a:lnTo>
                <a:lnTo>
                  <a:pt x="638" y="374"/>
                </a:lnTo>
                <a:lnTo>
                  <a:pt x="634" y="374"/>
                </a:lnTo>
                <a:lnTo>
                  <a:pt x="634" y="370"/>
                </a:lnTo>
                <a:lnTo>
                  <a:pt x="638" y="366"/>
                </a:lnTo>
                <a:lnTo>
                  <a:pt x="634" y="366"/>
                </a:lnTo>
                <a:lnTo>
                  <a:pt x="634" y="358"/>
                </a:lnTo>
                <a:lnTo>
                  <a:pt x="630" y="358"/>
                </a:lnTo>
                <a:lnTo>
                  <a:pt x="630" y="354"/>
                </a:lnTo>
                <a:lnTo>
                  <a:pt x="634" y="354"/>
                </a:lnTo>
                <a:lnTo>
                  <a:pt x="638" y="354"/>
                </a:lnTo>
                <a:lnTo>
                  <a:pt x="638" y="358"/>
                </a:lnTo>
                <a:lnTo>
                  <a:pt x="638" y="362"/>
                </a:lnTo>
                <a:lnTo>
                  <a:pt x="642" y="362"/>
                </a:lnTo>
                <a:lnTo>
                  <a:pt x="646" y="366"/>
                </a:lnTo>
                <a:lnTo>
                  <a:pt x="646" y="370"/>
                </a:lnTo>
                <a:lnTo>
                  <a:pt x="648" y="370"/>
                </a:lnTo>
                <a:lnTo>
                  <a:pt x="648" y="374"/>
                </a:lnTo>
                <a:lnTo>
                  <a:pt x="652" y="374"/>
                </a:lnTo>
                <a:lnTo>
                  <a:pt x="652" y="378"/>
                </a:lnTo>
                <a:lnTo>
                  <a:pt x="648" y="378"/>
                </a:lnTo>
                <a:lnTo>
                  <a:pt x="648" y="378"/>
                </a:lnTo>
                <a:lnTo>
                  <a:pt x="648" y="378"/>
                </a:lnTo>
                <a:close/>
                <a:moveTo>
                  <a:pt x="634" y="362"/>
                </a:moveTo>
                <a:lnTo>
                  <a:pt x="630" y="366"/>
                </a:lnTo>
                <a:lnTo>
                  <a:pt x="626" y="366"/>
                </a:lnTo>
                <a:lnTo>
                  <a:pt x="630" y="362"/>
                </a:lnTo>
                <a:lnTo>
                  <a:pt x="634" y="358"/>
                </a:lnTo>
                <a:lnTo>
                  <a:pt x="634" y="362"/>
                </a:lnTo>
                <a:lnTo>
                  <a:pt x="634" y="362"/>
                </a:lnTo>
                <a:lnTo>
                  <a:pt x="634" y="362"/>
                </a:lnTo>
                <a:close/>
                <a:moveTo>
                  <a:pt x="660" y="380"/>
                </a:moveTo>
                <a:lnTo>
                  <a:pt x="660" y="378"/>
                </a:lnTo>
                <a:lnTo>
                  <a:pt x="664" y="378"/>
                </a:lnTo>
                <a:lnTo>
                  <a:pt x="664" y="374"/>
                </a:lnTo>
                <a:lnTo>
                  <a:pt x="664" y="370"/>
                </a:lnTo>
                <a:lnTo>
                  <a:pt x="660" y="374"/>
                </a:lnTo>
                <a:lnTo>
                  <a:pt x="664" y="374"/>
                </a:lnTo>
                <a:lnTo>
                  <a:pt x="664" y="378"/>
                </a:lnTo>
                <a:lnTo>
                  <a:pt x="660" y="378"/>
                </a:lnTo>
                <a:lnTo>
                  <a:pt x="660" y="374"/>
                </a:lnTo>
                <a:lnTo>
                  <a:pt x="660" y="378"/>
                </a:lnTo>
                <a:lnTo>
                  <a:pt x="660" y="380"/>
                </a:lnTo>
                <a:lnTo>
                  <a:pt x="656" y="378"/>
                </a:lnTo>
                <a:lnTo>
                  <a:pt x="656" y="374"/>
                </a:lnTo>
                <a:lnTo>
                  <a:pt x="656" y="370"/>
                </a:lnTo>
                <a:lnTo>
                  <a:pt x="660" y="370"/>
                </a:lnTo>
                <a:lnTo>
                  <a:pt x="656" y="370"/>
                </a:lnTo>
                <a:lnTo>
                  <a:pt x="656" y="366"/>
                </a:lnTo>
                <a:lnTo>
                  <a:pt x="660" y="366"/>
                </a:lnTo>
                <a:lnTo>
                  <a:pt x="664" y="366"/>
                </a:lnTo>
                <a:lnTo>
                  <a:pt x="668" y="366"/>
                </a:lnTo>
                <a:lnTo>
                  <a:pt x="668" y="370"/>
                </a:lnTo>
                <a:lnTo>
                  <a:pt x="668" y="374"/>
                </a:lnTo>
                <a:lnTo>
                  <a:pt x="668" y="378"/>
                </a:lnTo>
                <a:lnTo>
                  <a:pt x="668" y="380"/>
                </a:lnTo>
                <a:lnTo>
                  <a:pt x="664" y="380"/>
                </a:lnTo>
                <a:lnTo>
                  <a:pt x="664" y="378"/>
                </a:lnTo>
                <a:lnTo>
                  <a:pt x="664" y="380"/>
                </a:lnTo>
                <a:lnTo>
                  <a:pt x="660" y="380"/>
                </a:lnTo>
                <a:lnTo>
                  <a:pt x="660" y="380"/>
                </a:lnTo>
                <a:lnTo>
                  <a:pt x="660" y="380"/>
                </a:lnTo>
                <a:close/>
                <a:moveTo>
                  <a:pt x="622" y="366"/>
                </a:moveTo>
                <a:lnTo>
                  <a:pt x="620" y="366"/>
                </a:lnTo>
                <a:lnTo>
                  <a:pt x="622" y="366"/>
                </a:lnTo>
                <a:lnTo>
                  <a:pt x="622" y="366"/>
                </a:lnTo>
                <a:lnTo>
                  <a:pt x="622" y="366"/>
                </a:lnTo>
                <a:close/>
                <a:moveTo>
                  <a:pt x="274" y="366"/>
                </a:moveTo>
                <a:lnTo>
                  <a:pt x="278" y="366"/>
                </a:lnTo>
                <a:lnTo>
                  <a:pt x="274" y="370"/>
                </a:lnTo>
                <a:lnTo>
                  <a:pt x="274" y="366"/>
                </a:lnTo>
                <a:lnTo>
                  <a:pt x="274" y="366"/>
                </a:lnTo>
                <a:lnTo>
                  <a:pt x="274" y="366"/>
                </a:lnTo>
                <a:close/>
                <a:moveTo>
                  <a:pt x="634" y="370"/>
                </a:moveTo>
                <a:lnTo>
                  <a:pt x="630" y="370"/>
                </a:lnTo>
                <a:lnTo>
                  <a:pt x="630" y="366"/>
                </a:lnTo>
                <a:lnTo>
                  <a:pt x="634" y="370"/>
                </a:lnTo>
                <a:lnTo>
                  <a:pt x="634" y="370"/>
                </a:lnTo>
                <a:lnTo>
                  <a:pt x="634" y="370"/>
                </a:lnTo>
                <a:close/>
                <a:moveTo>
                  <a:pt x="634" y="374"/>
                </a:moveTo>
                <a:lnTo>
                  <a:pt x="634" y="378"/>
                </a:lnTo>
                <a:lnTo>
                  <a:pt x="634" y="374"/>
                </a:lnTo>
                <a:lnTo>
                  <a:pt x="634" y="374"/>
                </a:lnTo>
                <a:lnTo>
                  <a:pt x="634" y="374"/>
                </a:lnTo>
                <a:close/>
                <a:moveTo>
                  <a:pt x="630" y="378"/>
                </a:moveTo>
                <a:lnTo>
                  <a:pt x="626" y="378"/>
                </a:lnTo>
                <a:lnTo>
                  <a:pt x="626" y="374"/>
                </a:lnTo>
                <a:lnTo>
                  <a:pt x="630" y="374"/>
                </a:lnTo>
                <a:lnTo>
                  <a:pt x="630" y="378"/>
                </a:lnTo>
                <a:lnTo>
                  <a:pt x="630" y="378"/>
                </a:lnTo>
                <a:lnTo>
                  <a:pt x="630" y="378"/>
                </a:lnTo>
                <a:close/>
                <a:moveTo>
                  <a:pt x="630" y="374"/>
                </a:moveTo>
                <a:lnTo>
                  <a:pt x="634" y="374"/>
                </a:lnTo>
                <a:lnTo>
                  <a:pt x="634" y="378"/>
                </a:lnTo>
                <a:lnTo>
                  <a:pt x="630" y="378"/>
                </a:lnTo>
                <a:lnTo>
                  <a:pt x="630" y="374"/>
                </a:lnTo>
                <a:lnTo>
                  <a:pt x="630" y="374"/>
                </a:lnTo>
                <a:lnTo>
                  <a:pt x="630" y="374"/>
                </a:lnTo>
                <a:close/>
                <a:moveTo>
                  <a:pt x="634" y="378"/>
                </a:moveTo>
                <a:lnTo>
                  <a:pt x="630" y="378"/>
                </a:lnTo>
                <a:lnTo>
                  <a:pt x="630" y="380"/>
                </a:lnTo>
                <a:lnTo>
                  <a:pt x="630" y="378"/>
                </a:lnTo>
                <a:lnTo>
                  <a:pt x="634" y="378"/>
                </a:lnTo>
                <a:lnTo>
                  <a:pt x="634" y="378"/>
                </a:lnTo>
                <a:lnTo>
                  <a:pt x="634" y="378"/>
                </a:lnTo>
                <a:close/>
                <a:moveTo>
                  <a:pt x="656" y="378"/>
                </a:moveTo>
                <a:lnTo>
                  <a:pt x="660" y="380"/>
                </a:lnTo>
                <a:lnTo>
                  <a:pt x="656" y="380"/>
                </a:lnTo>
                <a:lnTo>
                  <a:pt x="656" y="378"/>
                </a:lnTo>
                <a:lnTo>
                  <a:pt x="656" y="378"/>
                </a:lnTo>
                <a:lnTo>
                  <a:pt x="656" y="378"/>
                </a:lnTo>
                <a:close/>
                <a:moveTo>
                  <a:pt x="248" y="378"/>
                </a:moveTo>
                <a:lnTo>
                  <a:pt x="250" y="378"/>
                </a:lnTo>
                <a:lnTo>
                  <a:pt x="250" y="380"/>
                </a:lnTo>
                <a:lnTo>
                  <a:pt x="248" y="380"/>
                </a:lnTo>
                <a:lnTo>
                  <a:pt x="248" y="384"/>
                </a:lnTo>
                <a:lnTo>
                  <a:pt x="248" y="380"/>
                </a:lnTo>
                <a:lnTo>
                  <a:pt x="248" y="378"/>
                </a:lnTo>
                <a:lnTo>
                  <a:pt x="248" y="378"/>
                </a:lnTo>
                <a:lnTo>
                  <a:pt x="248" y="378"/>
                </a:lnTo>
                <a:close/>
                <a:moveTo>
                  <a:pt x="254" y="378"/>
                </a:moveTo>
                <a:lnTo>
                  <a:pt x="254" y="380"/>
                </a:lnTo>
                <a:lnTo>
                  <a:pt x="250" y="380"/>
                </a:lnTo>
                <a:lnTo>
                  <a:pt x="250" y="378"/>
                </a:lnTo>
                <a:lnTo>
                  <a:pt x="254" y="378"/>
                </a:lnTo>
                <a:lnTo>
                  <a:pt x="254" y="378"/>
                </a:lnTo>
                <a:lnTo>
                  <a:pt x="254" y="378"/>
                </a:lnTo>
                <a:close/>
                <a:moveTo>
                  <a:pt x="634" y="378"/>
                </a:moveTo>
                <a:lnTo>
                  <a:pt x="634" y="380"/>
                </a:lnTo>
                <a:lnTo>
                  <a:pt x="634" y="378"/>
                </a:lnTo>
                <a:lnTo>
                  <a:pt x="634" y="378"/>
                </a:lnTo>
                <a:lnTo>
                  <a:pt x="634" y="378"/>
                </a:lnTo>
                <a:close/>
                <a:moveTo>
                  <a:pt x="258" y="380"/>
                </a:moveTo>
                <a:lnTo>
                  <a:pt x="258" y="384"/>
                </a:lnTo>
                <a:lnTo>
                  <a:pt x="254" y="384"/>
                </a:lnTo>
                <a:lnTo>
                  <a:pt x="254" y="388"/>
                </a:lnTo>
                <a:lnTo>
                  <a:pt x="254" y="384"/>
                </a:lnTo>
                <a:lnTo>
                  <a:pt x="254" y="380"/>
                </a:lnTo>
                <a:lnTo>
                  <a:pt x="258" y="380"/>
                </a:lnTo>
                <a:lnTo>
                  <a:pt x="258" y="384"/>
                </a:lnTo>
                <a:lnTo>
                  <a:pt x="258" y="380"/>
                </a:lnTo>
                <a:lnTo>
                  <a:pt x="258" y="380"/>
                </a:lnTo>
                <a:lnTo>
                  <a:pt x="258" y="380"/>
                </a:lnTo>
                <a:close/>
                <a:moveTo>
                  <a:pt x="660" y="380"/>
                </a:moveTo>
                <a:lnTo>
                  <a:pt x="664" y="384"/>
                </a:lnTo>
                <a:lnTo>
                  <a:pt x="660" y="384"/>
                </a:lnTo>
                <a:lnTo>
                  <a:pt x="660" y="380"/>
                </a:lnTo>
                <a:lnTo>
                  <a:pt x="660" y="380"/>
                </a:lnTo>
                <a:lnTo>
                  <a:pt x="660" y="380"/>
                </a:lnTo>
                <a:close/>
                <a:moveTo>
                  <a:pt x="638" y="380"/>
                </a:moveTo>
                <a:lnTo>
                  <a:pt x="638" y="384"/>
                </a:lnTo>
                <a:lnTo>
                  <a:pt x="642" y="388"/>
                </a:lnTo>
                <a:lnTo>
                  <a:pt x="642" y="392"/>
                </a:lnTo>
                <a:lnTo>
                  <a:pt x="646" y="392"/>
                </a:lnTo>
                <a:lnTo>
                  <a:pt x="642" y="392"/>
                </a:lnTo>
                <a:lnTo>
                  <a:pt x="642" y="388"/>
                </a:lnTo>
                <a:lnTo>
                  <a:pt x="638" y="388"/>
                </a:lnTo>
                <a:lnTo>
                  <a:pt x="638" y="384"/>
                </a:lnTo>
                <a:lnTo>
                  <a:pt x="634" y="384"/>
                </a:lnTo>
                <a:lnTo>
                  <a:pt x="638" y="380"/>
                </a:lnTo>
                <a:lnTo>
                  <a:pt x="638" y="380"/>
                </a:lnTo>
                <a:lnTo>
                  <a:pt x="638" y="380"/>
                </a:lnTo>
                <a:close/>
                <a:moveTo>
                  <a:pt x="266" y="380"/>
                </a:moveTo>
                <a:lnTo>
                  <a:pt x="266" y="384"/>
                </a:lnTo>
                <a:lnTo>
                  <a:pt x="262" y="384"/>
                </a:lnTo>
                <a:lnTo>
                  <a:pt x="266" y="380"/>
                </a:lnTo>
                <a:lnTo>
                  <a:pt x="266" y="380"/>
                </a:lnTo>
                <a:lnTo>
                  <a:pt x="266" y="380"/>
                </a:lnTo>
                <a:close/>
                <a:moveTo>
                  <a:pt x="642" y="380"/>
                </a:moveTo>
                <a:lnTo>
                  <a:pt x="642" y="384"/>
                </a:lnTo>
                <a:lnTo>
                  <a:pt x="646" y="384"/>
                </a:lnTo>
                <a:lnTo>
                  <a:pt x="642" y="384"/>
                </a:lnTo>
                <a:lnTo>
                  <a:pt x="642" y="380"/>
                </a:lnTo>
                <a:lnTo>
                  <a:pt x="642" y="380"/>
                </a:lnTo>
                <a:lnTo>
                  <a:pt x="642" y="380"/>
                </a:lnTo>
                <a:close/>
                <a:moveTo>
                  <a:pt x="232" y="380"/>
                </a:moveTo>
                <a:lnTo>
                  <a:pt x="236" y="380"/>
                </a:lnTo>
                <a:lnTo>
                  <a:pt x="236" y="384"/>
                </a:lnTo>
                <a:lnTo>
                  <a:pt x="232" y="384"/>
                </a:lnTo>
                <a:lnTo>
                  <a:pt x="232" y="380"/>
                </a:lnTo>
                <a:lnTo>
                  <a:pt x="232" y="380"/>
                </a:lnTo>
                <a:lnTo>
                  <a:pt x="232" y="380"/>
                </a:lnTo>
                <a:close/>
                <a:moveTo>
                  <a:pt x="266" y="384"/>
                </a:moveTo>
                <a:lnTo>
                  <a:pt x="266" y="388"/>
                </a:lnTo>
                <a:lnTo>
                  <a:pt x="266" y="384"/>
                </a:lnTo>
                <a:lnTo>
                  <a:pt x="266" y="384"/>
                </a:lnTo>
                <a:lnTo>
                  <a:pt x="266" y="384"/>
                </a:lnTo>
                <a:close/>
                <a:moveTo>
                  <a:pt x="198" y="396"/>
                </a:moveTo>
                <a:lnTo>
                  <a:pt x="194" y="396"/>
                </a:lnTo>
                <a:lnTo>
                  <a:pt x="194" y="400"/>
                </a:lnTo>
                <a:lnTo>
                  <a:pt x="192" y="400"/>
                </a:lnTo>
                <a:lnTo>
                  <a:pt x="188" y="400"/>
                </a:lnTo>
                <a:lnTo>
                  <a:pt x="188" y="396"/>
                </a:lnTo>
                <a:lnTo>
                  <a:pt x="188" y="392"/>
                </a:lnTo>
                <a:lnTo>
                  <a:pt x="192" y="392"/>
                </a:lnTo>
                <a:lnTo>
                  <a:pt x="194" y="388"/>
                </a:lnTo>
                <a:lnTo>
                  <a:pt x="198" y="388"/>
                </a:lnTo>
                <a:lnTo>
                  <a:pt x="202" y="384"/>
                </a:lnTo>
                <a:lnTo>
                  <a:pt x="206" y="384"/>
                </a:lnTo>
                <a:lnTo>
                  <a:pt x="210" y="388"/>
                </a:lnTo>
                <a:lnTo>
                  <a:pt x="210" y="392"/>
                </a:lnTo>
                <a:lnTo>
                  <a:pt x="214" y="392"/>
                </a:lnTo>
                <a:lnTo>
                  <a:pt x="210" y="392"/>
                </a:lnTo>
                <a:lnTo>
                  <a:pt x="206" y="392"/>
                </a:lnTo>
                <a:lnTo>
                  <a:pt x="206" y="396"/>
                </a:lnTo>
                <a:lnTo>
                  <a:pt x="206" y="392"/>
                </a:lnTo>
                <a:lnTo>
                  <a:pt x="202" y="392"/>
                </a:lnTo>
                <a:lnTo>
                  <a:pt x="198" y="392"/>
                </a:lnTo>
                <a:lnTo>
                  <a:pt x="198" y="396"/>
                </a:lnTo>
                <a:lnTo>
                  <a:pt x="198" y="396"/>
                </a:lnTo>
                <a:lnTo>
                  <a:pt x="198" y="396"/>
                </a:lnTo>
                <a:close/>
                <a:moveTo>
                  <a:pt x="664" y="384"/>
                </a:moveTo>
                <a:lnTo>
                  <a:pt x="664" y="388"/>
                </a:lnTo>
                <a:lnTo>
                  <a:pt x="660" y="388"/>
                </a:lnTo>
                <a:lnTo>
                  <a:pt x="664" y="384"/>
                </a:lnTo>
                <a:lnTo>
                  <a:pt x="664" y="384"/>
                </a:lnTo>
                <a:lnTo>
                  <a:pt x="664" y="384"/>
                </a:lnTo>
                <a:close/>
                <a:moveTo>
                  <a:pt x="646" y="388"/>
                </a:moveTo>
                <a:lnTo>
                  <a:pt x="646" y="392"/>
                </a:lnTo>
                <a:lnTo>
                  <a:pt x="642" y="388"/>
                </a:lnTo>
                <a:lnTo>
                  <a:pt x="646" y="388"/>
                </a:lnTo>
                <a:lnTo>
                  <a:pt x="646" y="388"/>
                </a:lnTo>
                <a:lnTo>
                  <a:pt x="646" y="388"/>
                </a:lnTo>
                <a:close/>
                <a:moveTo>
                  <a:pt x="218" y="396"/>
                </a:moveTo>
                <a:lnTo>
                  <a:pt x="222" y="396"/>
                </a:lnTo>
                <a:lnTo>
                  <a:pt x="222" y="400"/>
                </a:lnTo>
                <a:lnTo>
                  <a:pt x="218" y="400"/>
                </a:lnTo>
                <a:lnTo>
                  <a:pt x="218" y="396"/>
                </a:lnTo>
                <a:lnTo>
                  <a:pt x="218" y="396"/>
                </a:lnTo>
                <a:lnTo>
                  <a:pt x="218" y="396"/>
                </a:lnTo>
                <a:close/>
                <a:moveTo>
                  <a:pt x="180" y="404"/>
                </a:moveTo>
                <a:lnTo>
                  <a:pt x="176" y="404"/>
                </a:lnTo>
                <a:lnTo>
                  <a:pt x="176" y="400"/>
                </a:lnTo>
                <a:lnTo>
                  <a:pt x="180" y="400"/>
                </a:lnTo>
                <a:lnTo>
                  <a:pt x="180" y="404"/>
                </a:lnTo>
                <a:lnTo>
                  <a:pt x="180" y="404"/>
                </a:lnTo>
                <a:lnTo>
                  <a:pt x="180" y="404"/>
                </a:lnTo>
                <a:close/>
                <a:moveTo>
                  <a:pt x="172" y="408"/>
                </a:moveTo>
                <a:lnTo>
                  <a:pt x="172" y="404"/>
                </a:lnTo>
                <a:lnTo>
                  <a:pt x="176" y="404"/>
                </a:lnTo>
                <a:lnTo>
                  <a:pt x="176" y="408"/>
                </a:lnTo>
                <a:lnTo>
                  <a:pt x="172" y="408"/>
                </a:lnTo>
                <a:lnTo>
                  <a:pt x="172" y="408"/>
                </a:lnTo>
                <a:lnTo>
                  <a:pt x="172" y="408"/>
                </a:lnTo>
                <a:close/>
                <a:moveTo>
                  <a:pt x="188" y="404"/>
                </a:moveTo>
                <a:lnTo>
                  <a:pt x="188" y="408"/>
                </a:lnTo>
                <a:lnTo>
                  <a:pt x="184" y="408"/>
                </a:lnTo>
                <a:lnTo>
                  <a:pt x="184" y="404"/>
                </a:lnTo>
                <a:lnTo>
                  <a:pt x="188" y="404"/>
                </a:lnTo>
                <a:lnTo>
                  <a:pt x="188" y="404"/>
                </a:lnTo>
                <a:lnTo>
                  <a:pt x="188" y="404"/>
                </a:lnTo>
                <a:close/>
                <a:moveTo>
                  <a:pt x="158" y="414"/>
                </a:moveTo>
                <a:lnTo>
                  <a:pt x="162" y="414"/>
                </a:lnTo>
                <a:lnTo>
                  <a:pt x="158" y="410"/>
                </a:lnTo>
                <a:lnTo>
                  <a:pt x="158" y="408"/>
                </a:lnTo>
                <a:lnTo>
                  <a:pt x="162" y="408"/>
                </a:lnTo>
                <a:lnTo>
                  <a:pt x="166" y="408"/>
                </a:lnTo>
                <a:lnTo>
                  <a:pt x="166" y="410"/>
                </a:lnTo>
                <a:lnTo>
                  <a:pt x="166" y="408"/>
                </a:lnTo>
                <a:lnTo>
                  <a:pt x="168" y="408"/>
                </a:lnTo>
                <a:lnTo>
                  <a:pt x="168" y="410"/>
                </a:lnTo>
                <a:lnTo>
                  <a:pt x="166" y="410"/>
                </a:lnTo>
                <a:lnTo>
                  <a:pt x="166" y="414"/>
                </a:lnTo>
                <a:lnTo>
                  <a:pt x="166" y="410"/>
                </a:lnTo>
                <a:lnTo>
                  <a:pt x="168" y="410"/>
                </a:lnTo>
                <a:lnTo>
                  <a:pt x="168" y="414"/>
                </a:lnTo>
                <a:lnTo>
                  <a:pt x="166" y="414"/>
                </a:lnTo>
                <a:lnTo>
                  <a:pt x="166" y="418"/>
                </a:lnTo>
                <a:lnTo>
                  <a:pt x="162" y="418"/>
                </a:lnTo>
                <a:lnTo>
                  <a:pt x="158" y="418"/>
                </a:lnTo>
                <a:lnTo>
                  <a:pt x="154" y="422"/>
                </a:lnTo>
                <a:lnTo>
                  <a:pt x="150" y="422"/>
                </a:lnTo>
                <a:lnTo>
                  <a:pt x="146" y="422"/>
                </a:lnTo>
                <a:lnTo>
                  <a:pt x="150" y="422"/>
                </a:lnTo>
                <a:lnTo>
                  <a:pt x="150" y="418"/>
                </a:lnTo>
                <a:lnTo>
                  <a:pt x="154" y="418"/>
                </a:lnTo>
                <a:lnTo>
                  <a:pt x="158" y="418"/>
                </a:lnTo>
                <a:lnTo>
                  <a:pt x="158" y="414"/>
                </a:lnTo>
                <a:lnTo>
                  <a:pt x="158" y="414"/>
                </a:lnTo>
                <a:lnTo>
                  <a:pt x="158" y="414"/>
                </a:lnTo>
                <a:close/>
                <a:moveTo>
                  <a:pt x="168" y="414"/>
                </a:moveTo>
                <a:lnTo>
                  <a:pt x="168" y="410"/>
                </a:lnTo>
                <a:lnTo>
                  <a:pt x="172" y="410"/>
                </a:lnTo>
                <a:lnTo>
                  <a:pt x="168" y="414"/>
                </a:lnTo>
                <a:lnTo>
                  <a:pt x="168" y="414"/>
                </a:lnTo>
                <a:lnTo>
                  <a:pt x="168" y="414"/>
                </a:lnTo>
                <a:close/>
                <a:moveTo>
                  <a:pt x="146" y="418"/>
                </a:moveTo>
                <a:lnTo>
                  <a:pt x="146" y="422"/>
                </a:lnTo>
                <a:lnTo>
                  <a:pt x="142" y="422"/>
                </a:lnTo>
                <a:lnTo>
                  <a:pt x="138" y="422"/>
                </a:lnTo>
                <a:lnTo>
                  <a:pt x="138" y="426"/>
                </a:lnTo>
                <a:lnTo>
                  <a:pt x="138" y="430"/>
                </a:lnTo>
                <a:lnTo>
                  <a:pt x="136" y="430"/>
                </a:lnTo>
                <a:lnTo>
                  <a:pt x="132" y="430"/>
                </a:lnTo>
                <a:lnTo>
                  <a:pt x="132" y="434"/>
                </a:lnTo>
                <a:lnTo>
                  <a:pt x="128" y="434"/>
                </a:lnTo>
                <a:lnTo>
                  <a:pt x="132" y="430"/>
                </a:lnTo>
                <a:lnTo>
                  <a:pt x="136" y="426"/>
                </a:lnTo>
                <a:lnTo>
                  <a:pt x="132" y="426"/>
                </a:lnTo>
                <a:lnTo>
                  <a:pt x="136" y="426"/>
                </a:lnTo>
                <a:lnTo>
                  <a:pt x="136" y="422"/>
                </a:lnTo>
                <a:lnTo>
                  <a:pt x="138" y="422"/>
                </a:lnTo>
                <a:lnTo>
                  <a:pt x="138" y="418"/>
                </a:lnTo>
                <a:lnTo>
                  <a:pt x="142" y="418"/>
                </a:lnTo>
                <a:lnTo>
                  <a:pt x="146" y="418"/>
                </a:lnTo>
                <a:lnTo>
                  <a:pt x="146" y="418"/>
                </a:lnTo>
                <a:lnTo>
                  <a:pt x="146" y="418"/>
                </a:lnTo>
                <a:close/>
                <a:moveTo>
                  <a:pt x="4964" y="434"/>
                </a:moveTo>
                <a:lnTo>
                  <a:pt x="4964" y="430"/>
                </a:lnTo>
                <a:lnTo>
                  <a:pt x="4960" y="434"/>
                </a:lnTo>
                <a:lnTo>
                  <a:pt x="4960" y="430"/>
                </a:lnTo>
                <a:lnTo>
                  <a:pt x="4964" y="430"/>
                </a:lnTo>
                <a:lnTo>
                  <a:pt x="4968" y="430"/>
                </a:lnTo>
                <a:lnTo>
                  <a:pt x="4972" y="430"/>
                </a:lnTo>
                <a:lnTo>
                  <a:pt x="4972" y="434"/>
                </a:lnTo>
                <a:lnTo>
                  <a:pt x="4968" y="434"/>
                </a:lnTo>
                <a:lnTo>
                  <a:pt x="4964" y="434"/>
                </a:lnTo>
                <a:lnTo>
                  <a:pt x="4964" y="434"/>
                </a:lnTo>
                <a:lnTo>
                  <a:pt x="4964" y="434"/>
                </a:lnTo>
                <a:close/>
                <a:moveTo>
                  <a:pt x="116" y="434"/>
                </a:moveTo>
                <a:lnTo>
                  <a:pt x="120" y="430"/>
                </a:lnTo>
                <a:lnTo>
                  <a:pt x="120" y="434"/>
                </a:lnTo>
                <a:lnTo>
                  <a:pt x="116" y="434"/>
                </a:lnTo>
                <a:lnTo>
                  <a:pt x="116" y="434"/>
                </a:lnTo>
                <a:lnTo>
                  <a:pt x="116" y="434"/>
                </a:lnTo>
                <a:close/>
                <a:moveTo>
                  <a:pt x="106" y="436"/>
                </a:moveTo>
                <a:lnTo>
                  <a:pt x="110" y="436"/>
                </a:lnTo>
                <a:lnTo>
                  <a:pt x="106" y="436"/>
                </a:lnTo>
                <a:lnTo>
                  <a:pt x="106" y="436"/>
                </a:lnTo>
                <a:lnTo>
                  <a:pt x="106" y="436"/>
                </a:lnTo>
                <a:close/>
                <a:moveTo>
                  <a:pt x="4974" y="440"/>
                </a:moveTo>
                <a:lnTo>
                  <a:pt x="4972" y="440"/>
                </a:lnTo>
                <a:lnTo>
                  <a:pt x="4974" y="440"/>
                </a:lnTo>
                <a:lnTo>
                  <a:pt x="4974" y="440"/>
                </a:lnTo>
                <a:lnTo>
                  <a:pt x="4974" y="440"/>
                </a:lnTo>
                <a:close/>
                <a:moveTo>
                  <a:pt x="46" y="448"/>
                </a:moveTo>
                <a:lnTo>
                  <a:pt x="50" y="448"/>
                </a:lnTo>
                <a:lnTo>
                  <a:pt x="52" y="448"/>
                </a:lnTo>
                <a:lnTo>
                  <a:pt x="52" y="444"/>
                </a:lnTo>
                <a:lnTo>
                  <a:pt x="56" y="444"/>
                </a:lnTo>
                <a:lnTo>
                  <a:pt x="52" y="444"/>
                </a:lnTo>
                <a:lnTo>
                  <a:pt x="52" y="440"/>
                </a:lnTo>
                <a:lnTo>
                  <a:pt x="56" y="440"/>
                </a:lnTo>
                <a:lnTo>
                  <a:pt x="60" y="440"/>
                </a:lnTo>
                <a:lnTo>
                  <a:pt x="60" y="444"/>
                </a:lnTo>
                <a:lnTo>
                  <a:pt x="56" y="448"/>
                </a:lnTo>
                <a:lnTo>
                  <a:pt x="52" y="448"/>
                </a:lnTo>
                <a:lnTo>
                  <a:pt x="50" y="448"/>
                </a:lnTo>
                <a:lnTo>
                  <a:pt x="46" y="448"/>
                </a:lnTo>
                <a:lnTo>
                  <a:pt x="42" y="448"/>
                </a:lnTo>
                <a:lnTo>
                  <a:pt x="46" y="448"/>
                </a:lnTo>
                <a:lnTo>
                  <a:pt x="46" y="448"/>
                </a:lnTo>
                <a:lnTo>
                  <a:pt x="46" y="448"/>
                </a:lnTo>
                <a:close/>
                <a:moveTo>
                  <a:pt x="80" y="444"/>
                </a:moveTo>
                <a:lnTo>
                  <a:pt x="80" y="440"/>
                </a:lnTo>
                <a:lnTo>
                  <a:pt x="82" y="440"/>
                </a:lnTo>
                <a:lnTo>
                  <a:pt x="82" y="444"/>
                </a:lnTo>
                <a:lnTo>
                  <a:pt x="80" y="444"/>
                </a:lnTo>
                <a:lnTo>
                  <a:pt x="80" y="444"/>
                </a:lnTo>
                <a:lnTo>
                  <a:pt x="80" y="444"/>
                </a:lnTo>
                <a:close/>
                <a:moveTo>
                  <a:pt x="68" y="448"/>
                </a:moveTo>
                <a:lnTo>
                  <a:pt x="64" y="448"/>
                </a:lnTo>
                <a:lnTo>
                  <a:pt x="60" y="448"/>
                </a:lnTo>
                <a:lnTo>
                  <a:pt x="56" y="448"/>
                </a:lnTo>
                <a:lnTo>
                  <a:pt x="60" y="448"/>
                </a:lnTo>
                <a:lnTo>
                  <a:pt x="64" y="448"/>
                </a:lnTo>
                <a:lnTo>
                  <a:pt x="68" y="448"/>
                </a:lnTo>
                <a:lnTo>
                  <a:pt x="72" y="448"/>
                </a:lnTo>
                <a:lnTo>
                  <a:pt x="76" y="448"/>
                </a:lnTo>
                <a:lnTo>
                  <a:pt x="72" y="448"/>
                </a:lnTo>
                <a:lnTo>
                  <a:pt x="68" y="448"/>
                </a:lnTo>
                <a:lnTo>
                  <a:pt x="68" y="448"/>
                </a:lnTo>
                <a:lnTo>
                  <a:pt x="68" y="448"/>
                </a:lnTo>
                <a:close/>
                <a:moveTo>
                  <a:pt x="5028" y="452"/>
                </a:moveTo>
                <a:lnTo>
                  <a:pt x="5030" y="448"/>
                </a:lnTo>
                <a:lnTo>
                  <a:pt x="5030" y="452"/>
                </a:lnTo>
                <a:lnTo>
                  <a:pt x="5028" y="452"/>
                </a:lnTo>
                <a:lnTo>
                  <a:pt x="5028" y="452"/>
                </a:lnTo>
                <a:lnTo>
                  <a:pt x="5028" y="452"/>
                </a:lnTo>
                <a:close/>
                <a:moveTo>
                  <a:pt x="30" y="452"/>
                </a:moveTo>
                <a:lnTo>
                  <a:pt x="26" y="452"/>
                </a:lnTo>
                <a:lnTo>
                  <a:pt x="26" y="448"/>
                </a:lnTo>
                <a:lnTo>
                  <a:pt x="30" y="448"/>
                </a:lnTo>
                <a:lnTo>
                  <a:pt x="30" y="452"/>
                </a:lnTo>
                <a:lnTo>
                  <a:pt x="30" y="452"/>
                </a:lnTo>
                <a:lnTo>
                  <a:pt x="30" y="452"/>
                </a:lnTo>
                <a:close/>
                <a:moveTo>
                  <a:pt x="5060" y="452"/>
                </a:moveTo>
                <a:lnTo>
                  <a:pt x="5058" y="452"/>
                </a:lnTo>
                <a:lnTo>
                  <a:pt x="5060" y="448"/>
                </a:lnTo>
                <a:lnTo>
                  <a:pt x="5060" y="452"/>
                </a:lnTo>
                <a:lnTo>
                  <a:pt x="5060" y="452"/>
                </a:lnTo>
                <a:lnTo>
                  <a:pt x="5060" y="452"/>
                </a:lnTo>
                <a:close/>
                <a:moveTo>
                  <a:pt x="5042" y="452"/>
                </a:moveTo>
                <a:lnTo>
                  <a:pt x="5046" y="452"/>
                </a:lnTo>
                <a:lnTo>
                  <a:pt x="5042" y="452"/>
                </a:lnTo>
                <a:lnTo>
                  <a:pt x="5042" y="452"/>
                </a:lnTo>
                <a:lnTo>
                  <a:pt x="5042" y="452"/>
                </a:lnTo>
                <a:close/>
                <a:moveTo>
                  <a:pt x="20" y="460"/>
                </a:moveTo>
                <a:lnTo>
                  <a:pt x="16" y="460"/>
                </a:lnTo>
                <a:lnTo>
                  <a:pt x="16" y="456"/>
                </a:lnTo>
                <a:lnTo>
                  <a:pt x="20" y="456"/>
                </a:lnTo>
                <a:lnTo>
                  <a:pt x="20" y="452"/>
                </a:lnTo>
                <a:lnTo>
                  <a:pt x="24" y="452"/>
                </a:lnTo>
                <a:lnTo>
                  <a:pt x="26" y="456"/>
                </a:lnTo>
                <a:lnTo>
                  <a:pt x="24" y="456"/>
                </a:lnTo>
                <a:lnTo>
                  <a:pt x="20" y="456"/>
                </a:lnTo>
                <a:lnTo>
                  <a:pt x="20" y="460"/>
                </a:lnTo>
                <a:lnTo>
                  <a:pt x="20" y="460"/>
                </a:lnTo>
                <a:lnTo>
                  <a:pt x="20" y="460"/>
                </a:lnTo>
                <a:close/>
                <a:moveTo>
                  <a:pt x="8" y="456"/>
                </a:moveTo>
                <a:lnTo>
                  <a:pt x="12" y="456"/>
                </a:lnTo>
                <a:lnTo>
                  <a:pt x="16" y="456"/>
                </a:lnTo>
                <a:lnTo>
                  <a:pt x="16" y="452"/>
                </a:lnTo>
                <a:lnTo>
                  <a:pt x="16" y="456"/>
                </a:lnTo>
                <a:lnTo>
                  <a:pt x="12" y="456"/>
                </a:lnTo>
                <a:lnTo>
                  <a:pt x="8" y="456"/>
                </a:lnTo>
                <a:lnTo>
                  <a:pt x="8" y="456"/>
                </a:lnTo>
                <a:lnTo>
                  <a:pt x="8" y="456"/>
                </a:lnTo>
                <a:close/>
                <a:moveTo>
                  <a:pt x="4" y="460"/>
                </a:moveTo>
                <a:lnTo>
                  <a:pt x="0" y="456"/>
                </a:lnTo>
                <a:lnTo>
                  <a:pt x="4" y="456"/>
                </a:lnTo>
                <a:lnTo>
                  <a:pt x="0" y="456"/>
                </a:lnTo>
                <a:lnTo>
                  <a:pt x="0" y="452"/>
                </a:lnTo>
                <a:lnTo>
                  <a:pt x="4" y="452"/>
                </a:lnTo>
                <a:lnTo>
                  <a:pt x="4" y="456"/>
                </a:lnTo>
                <a:lnTo>
                  <a:pt x="4" y="460"/>
                </a:lnTo>
                <a:lnTo>
                  <a:pt x="4" y="460"/>
                </a:lnTo>
                <a:lnTo>
                  <a:pt x="4" y="460"/>
                </a:lnTo>
                <a:close/>
                <a:moveTo>
                  <a:pt x="30" y="456"/>
                </a:moveTo>
                <a:lnTo>
                  <a:pt x="26" y="456"/>
                </a:lnTo>
                <a:lnTo>
                  <a:pt x="26" y="452"/>
                </a:lnTo>
                <a:lnTo>
                  <a:pt x="30" y="452"/>
                </a:lnTo>
                <a:lnTo>
                  <a:pt x="30" y="456"/>
                </a:lnTo>
                <a:lnTo>
                  <a:pt x="30" y="452"/>
                </a:lnTo>
                <a:lnTo>
                  <a:pt x="30" y="456"/>
                </a:lnTo>
                <a:lnTo>
                  <a:pt x="30" y="456"/>
                </a:lnTo>
                <a:lnTo>
                  <a:pt x="30" y="456"/>
                </a:lnTo>
                <a:close/>
                <a:moveTo>
                  <a:pt x="26" y="456"/>
                </a:moveTo>
                <a:lnTo>
                  <a:pt x="26" y="452"/>
                </a:lnTo>
                <a:lnTo>
                  <a:pt x="26" y="456"/>
                </a:lnTo>
                <a:lnTo>
                  <a:pt x="26" y="456"/>
                </a:lnTo>
                <a:lnTo>
                  <a:pt x="26" y="456"/>
                </a:lnTo>
                <a:close/>
                <a:moveTo>
                  <a:pt x="5054" y="464"/>
                </a:moveTo>
                <a:lnTo>
                  <a:pt x="5050" y="460"/>
                </a:lnTo>
                <a:lnTo>
                  <a:pt x="5046" y="460"/>
                </a:lnTo>
                <a:lnTo>
                  <a:pt x="5046" y="456"/>
                </a:lnTo>
                <a:lnTo>
                  <a:pt x="5046" y="460"/>
                </a:lnTo>
                <a:lnTo>
                  <a:pt x="5050" y="460"/>
                </a:lnTo>
                <a:lnTo>
                  <a:pt x="5054" y="460"/>
                </a:lnTo>
                <a:lnTo>
                  <a:pt x="5054" y="464"/>
                </a:lnTo>
                <a:lnTo>
                  <a:pt x="5058" y="464"/>
                </a:lnTo>
                <a:lnTo>
                  <a:pt x="5054" y="464"/>
                </a:lnTo>
                <a:lnTo>
                  <a:pt x="5054" y="464"/>
                </a:lnTo>
                <a:lnTo>
                  <a:pt x="5054" y="464"/>
                </a:lnTo>
                <a:close/>
                <a:moveTo>
                  <a:pt x="784" y="520"/>
                </a:moveTo>
                <a:lnTo>
                  <a:pt x="784" y="522"/>
                </a:lnTo>
                <a:lnTo>
                  <a:pt x="780" y="520"/>
                </a:lnTo>
                <a:lnTo>
                  <a:pt x="784" y="520"/>
                </a:lnTo>
                <a:lnTo>
                  <a:pt x="784" y="520"/>
                </a:lnTo>
                <a:lnTo>
                  <a:pt x="784" y="520"/>
                </a:lnTo>
                <a:close/>
                <a:moveTo>
                  <a:pt x="784" y="522"/>
                </a:moveTo>
                <a:lnTo>
                  <a:pt x="784" y="526"/>
                </a:lnTo>
                <a:lnTo>
                  <a:pt x="784" y="522"/>
                </a:lnTo>
                <a:lnTo>
                  <a:pt x="780" y="522"/>
                </a:lnTo>
                <a:lnTo>
                  <a:pt x="784" y="522"/>
                </a:lnTo>
                <a:lnTo>
                  <a:pt x="784" y="522"/>
                </a:lnTo>
                <a:lnTo>
                  <a:pt x="784" y="522"/>
                </a:lnTo>
                <a:close/>
                <a:moveTo>
                  <a:pt x="788" y="526"/>
                </a:moveTo>
                <a:lnTo>
                  <a:pt x="788" y="530"/>
                </a:lnTo>
                <a:lnTo>
                  <a:pt x="790" y="534"/>
                </a:lnTo>
                <a:lnTo>
                  <a:pt x="788" y="534"/>
                </a:lnTo>
                <a:lnTo>
                  <a:pt x="788" y="530"/>
                </a:lnTo>
                <a:lnTo>
                  <a:pt x="784" y="530"/>
                </a:lnTo>
                <a:lnTo>
                  <a:pt x="784" y="526"/>
                </a:lnTo>
                <a:lnTo>
                  <a:pt x="788" y="526"/>
                </a:lnTo>
                <a:lnTo>
                  <a:pt x="788" y="526"/>
                </a:lnTo>
                <a:lnTo>
                  <a:pt x="788" y="526"/>
                </a:lnTo>
                <a:close/>
                <a:moveTo>
                  <a:pt x="790" y="546"/>
                </a:moveTo>
                <a:lnTo>
                  <a:pt x="788" y="546"/>
                </a:lnTo>
                <a:lnTo>
                  <a:pt x="788" y="542"/>
                </a:lnTo>
                <a:lnTo>
                  <a:pt x="788" y="546"/>
                </a:lnTo>
                <a:lnTo>
                  <a:pt x="790" y="546"/>
                </a:lnTo>
                <a:lnTo>
                  <a:pt x="790" y="546"/>
                </a:lnTo>
                <a:lnTo>
                  <a:pt x="790" y="546"/>
                </a:lnTo>
                <a:close/>
                <a:moveTo>
                  <a:pt x="1556" y="606"/>
                </a:moveTo>
                <a:lnTo>
                  <a:pt x="1556" y="608"/>
                </a:lnTo>
                <a:lnTo>
                  <a:pt x="1552" y="608"/>
                </a:lnTo>
                <a:lnTo>
                  <a:pt x="1552" y="606"/>
                </a:lnTo>
                <a:lnTo>
                  <a:pt x="1556" y="606"/>
                </a:lnTo>
                <a:lnTo>
                  <a:pt x="1556" y="606"/>
                </a:lnTo>
                <a:lnTo>
                  <a:pt x="1556" y="606"/>
                </a:lnTo>
                <a:close/>
                <a:moveTo>
                  <a:pt x="1552" y="608"/>
                </a:moveTo>
                <a:lnTo>
                  <a:pt x="1548" y="612"/>
                </a:lnTo>
                <a:lnTo>
                  <a:pt x="1548" y="608"/>
                </a:lnTo>
                <a:lnTo>
                  <a:pt x="1552" y="608"/>
                </a:lnTo>
                <a:lnTo>
                  <a:pt x="1552" y="608"/>
                </a:lnTo>
                <a:lnTo>
                  <a:pt x="1552" y="608"/>
                </a:lnTo>
                <a:close/>
                <a:moveTo>
                  <a:pt x="1514" y="660"/>
                </a:moveTo>
                <a:lnTo>
                  <a:pt x="1514" y="664"/>
                </a:lnTo>
                <a:lnTo>
                  <a:pt x="1510" y="664"/>
                </a:lnTo>
                <a:lnTo>
                  <a:pt x="1510" y="660"/>
                </a:lnTo>
                <a:lnTo>
                  <a:pt x="1514" y="660"/>
                </a:lnTo>
                <a:lnTo>
                  <a:pt x="1514" y="660"/>
                </a:lnTo>
                <a:lnTo>
                  <a:pt x="1514" y="660"/>
                </a:lnTo>
                <a:close/>
                <a:moveTo>
                  <a:pt x="1522" y="664"/>
                </a:moveTo>
                <a:lnTo>
                  <a:pt x="1522" y="668"/>
                </a:lnTo>
                <a:lnTo>
                  <a:pt x="1518" y="668"/>
                </a:lnTo>
                <a:lnTo>
                  <a:pt x="1518" y="664"/>
                </a:lnTo>
                <a:lnTo>
                  <a:pt x="1522" y="664"/>
                </a:lnTo>
                <a:lnTo>
                  <a:pt x="1522" y="664"/>
                </a:lnTo>
                <a:lnTo>
                  <a:pt x="1522" y="664"/>
                </a:lnTo>
                <a:close/>
                <a:moveTo>
                  <a:pt x="1528" y="664"/>
                </a:moveTo>
                <a:lnTo>
                  <a:pt x="1528" y="668"/>
                </a:lnTo>
                <a:lnTo>
                  <a:pt x="1532" y="668"/>
                </a:lnTo>
                <a:lnTo>
                  <a:pt x="1528" y="668"/>
                </a:lnTo>
                <a:lnTo>
                  <a:pt x="1526" y="668"/>
                </a:lnTo>
                <a:lnTo>
                  <a:pt x="1528" y="668"/>
                </a:lnTo>
                <a:lnTo>
                  <a:pt x="1528" y="664"/>
                </a:lnTo>
                <a:lnTo>
                  <a:pt x="1528" y="664"/>
                </a:lnTo>
                <a:lnTo>
                  <a:pt x="1528" y="664"/>
                </a:lnTo>
                <a:close/>
                <a:moveTo>
                  <a:pt x="1488" y="678"/>
                </a:moveTo>
                <a:lnTo>
                  <a:pt x="1488" y="676"/>
                </a:lnTo>
                <a:lnTo>
                  <a:pt x="1488" y="678"/>
                </a:lnTo>
                <a:lnTo>
                  <a:pt x="1484" y="678"/>
                </a:lnTo>
                <a:lnTo>
                  <a:pt x="1480" y="678"/>
                </a:lnTo>
                <a:lnTo>
                  <a:pt x="1476" y="678"/>
                </a:lnTo>
                <a:lnTo>
                  <a:pt x="1472" y="678"/>
                </a:lnTo>
                <a:lnTo>
                  <a:pt x="1472" y="676"/>
                </a:lnTo>
                <a:lnTo>
                  <a:pt x="1476" y="676"/>
                </a:lnTo>
                <a:lnTo>
                  <a:pt x="1480" y="676"/>
                </a:lnTo>
                <a:lnTo>
                  <a:pt x="1484" y="676"/>
                </a:lnTo>
                <a:lnTo>
                  <a:pt x="1488" y="672"/>
                </a:lnTo>
                <a:lnTo>
                  <a:pt x="1492" y="672"/>
                </a:lnTo>
                <a:lnTo>
                  <a:pt x="1496" y="672"/>
                </a:lnTo>
                <a:lnTo>
                  <a:pt x="1498" y="668"/>
                </a:lnTo>
                <a:lnTo>
                  <a:pt x="1498" y="672"/>
                </a:lnTo>
                <a:lnTo>
                  <a:pt x="1496" y="672"/>
                </a:lnTo>
                <a:lnTo>
                  <a:pt x="1492" y="676"/>
                </a:lnTo>
                <a:lnTo>
                  <a:pt x="1496" y="676"/>
                </a:lnTo>
                <a:lnTo>
                  <a:pt x="1496" y="672"/>
                </a:lnTo>
                <a:lnTo>
                  <a:pt x="1498" y="672"/>
                </a:lnTo>
                <a:lnTo>
                  <a:pt x="1502" y="672"/>
                </a:lnTo>
                <a:lnTo>
                  <a:pt x="1498" y="672"/>
                </a:lnTo>
                <a:lnTo>
                  <a:pt x="1496" y="676"/>
                </a:lnTo>
                <a:lnTo>
                  <a:pt x="1492" y="676"/>
                </a:lnTo>
                <a:lnTo>
                  <a:pt x="1488" y="678"/>
                </a:lnTo>
                <a:lnTo>
                  <a:pt x="1488" y="678"/>
                </a:lnTo>
                <a:lnTo>
                  <a:pt x="1488" y="678"/>
                </a:lnTo>
                <a:close/>
                <a:moveTo>
                  <a:pt x="824" y="806"/>
                </a:moveTo>
                <a:lnTo>
                  <a:pt x="820" y="806"/>
                </a:lnTo>
                <a:lnTo>
                  <a:pt x="824" y="806"/>
                </a:lnTo>
                <a:lnTo>
                  <a:pt x="824" y="806"/>
                </a:lnTo>
                <a:lnTo>
                  <a:pt x="824" y="806"/>
                </a:lnTo>
                <a:close/>
                <a:moveTo>
                  <a:pt x="844" y="818"/>
                </a:moveTo>
                <a:lnTo>
                  <a:pt x="846" y="818"/>
                </a:lnTo>
                <a:lnTo>
                  <a:pt x="844" y="818"/>
                </a:lnTo>
                <a:lnTo>
                  <a:pt x="844" y="818"/>
                </a:lnTo>
                <a:lnTo>
                  <a:pt x="844" y="818"/>
                </a:lnTo>
                <a:close/>
                <a:moveTo>
                  <a:pt x="844" y="824"/>
                </a:moveTo>
                <a:lnTo>
                  <a:pt x="846" y="828"/>
                </a:lnTo>
                <a:lnTo>
                  <a:pt x="844" y="828"/>
                </a:lnTo>
                <a:lnTo>
                  <a:pt x="844" y="824"/>
                </a:lnTo>
                <a:lnTo>
                  <a:pt x="844" y="824"/>
                </a:lnTo>
                <a:lnTo>
                  <a:pt x="844" y="824"/>
                </a:lnTo>
                <a:close/>
                <a:moveTo>
                  <a:pt x="1298" y="874"/>
                </a:moveTo>
                <a:lnTo>
                  <a:pt x="1294" y="874"/>
                </a:lnTo>
                <a:lnTo>
                  <a:pt x="1290" y="874"/>
                </a:lnTo>
                <a:lnTo>
                  <a:pt x="1286" y="874"/>
                </a:lnTo>
                <a:lnTo>
                  <a:pt x="1290" y="874"/>
                </a:lnTo>
                <a:lnTo>
                  <a:pt x="1294" y="874"/>
                </a:lnTo>
                <a:lnTo>
                  <a:pt x="1298" y="874"/>
                </a:lnTo>
                <a:lnTo>
                  <a:pt x="1298" y="874"/>
                </a:lnTo>
                <a:lnTo>
                  <a:pt x="1298" y="874"/>
                </a:lnTo>
                <a:close/>
                <a:moveTo>
                  <a:pt x="1224" y="888"/>
                </a:moveTo>
                <a:lnTo>
                  <a:pt x="1220" y="888"/>
                </a:lnTo>
                <a:lnTo>
                  <a:pt x="1224" y="888"/>
                </a:lnTo>
                <a:lnTo>
                  <a:pt x="1224" y="888"/>
                </a:lnTo>
                <a:lnTo>
                  <a:pt x="1224" y="888"/>
                </a:lnTo>
                <a:close/>
                <a:moveTo>
                  <a:pt x="1178" y="892"/>
                </a:moveTo>
                <a:lnTo>
                  <a:pt x="1178" y="896"/>
                </a:lnTo>
                <a:lnTo>
                  <a:pt x="1174" y="896"/>
                </a:lnTo>
                <a:lnTo>
                  <a:pt x="1178" y="896"/>
                </a:lnTo>
                <a:lnTo>
                  <a:pt x="1178" y="892"/>
                </a:lnTo>
                <a:lnTo>
                  <a:pt x="1178" y="892"/>
                </a:lnTo>
                <a:lnTo>
                  <a:pt x="1178" y="892"/>
                </a:lnTo>
                <a:close/>
                <a:moveTo>
                  <a:pt x="1152" y="914"/>
                </a:moveTo>
                <a:lnTo>
                  <a:pt x="1152" y="910"/>
                </a:lnTo>
                <a:lnTo>
                  <a:pt x="1156" y="910"/>
                </a:lnTo>
                <a:lnTo>
                  <a:pt x="1152" y="914"/>
                </a:lnTo>
                <a:lnTo>
                  <a:pt x="1152" y="914"/>
                </a:lnTo>
                <a:lnTo>
                  <a:pt x="1152" y="914"/>
                </a:lnTo>
                <a:close/>
                <a:moveTo>
                  <a:pt x="1152" y="914"/>
                </a:moveTo>
                <a:lnTo>
                  <a:pt x="1148" y="914"/>
                </a:lnTo>
                <a:lnTo>
                  <a:pt x="1148" y="918"/>
                </a:lnTo>
                <a:lnTo>
                  <a:pt x="1148" y="914"/>
                </a:lnTo>
                <a:lnTo>
                  <a:pt x="1152" y="914"/>
                </a:lnTo>
                <a:lnTo>
                  <a:pt x="1152" y="914"/>
                </a:lnTo>
                <a:lnTo>
                  <a:pt x="1152" y="914"/>
                </a:lnTo>
                <a:close/>
                <a:moveTo>
                  <a:pt x="1384" y="966"/>
                </a:moveTo>
                <a:lnTo>
                  <a:pt x="1384" y="962"/>
                </a:lnTo>
                <a:lnTo>
                  <a:pt x="1384" y="966"/>
                </a:lnTo>
                <a:lnTo>
                  <a:pt x="1380" y="970"/>
                </a:lnTo>
                <a:lnTo>
                  <a:pt x="1384" y="970"/>
                </a:lnTo>
                <a:lnTo>
                  <a:pt x="1384" y="966"/>
                </a:lnTo>
                <a:lnTo>
                  <a:pt x="1384" y="966"/>
                </a:lnTo>
                <a:lnTo>
                  <a:pt x="1384" y="966"/>
                </a:lnTo>
                <a:close/>
                <a:moveTo>
                  <a:pt x="266" y="1026"/>
                </a:moveTo>
                <a:lnTo>
                  <a:pt x="262" y="1026"/>
                </a:lnTo>
                <a:lnTo>
                  <a:pt x="262" y="1022"/>
                </a:lnTo>
                <a:lnTo>
                  <a:pt x="262" y="1018"/>
                </a:lnTo>
                <a:lnTo>
                  <a:pt x="266" y="1018"/>
                </a:lnTo>
                <a:lnTo>
                  <a:pt x="266" y="1022"/>
                </a:lnTo>
                <a:lnTo>
                  <a:pt x="270" y="1022"/>
                </a:lnTo>
                <a:lnTo>
                  <a:pt x="266" y="1026"/>
                </a:lnTo>
                <a:lnTo>
                  <a:pt x="266" y="1026"/>
                </a:lnTo>
                <a:lnTo>
                  <a:pt x="266" y="1026"/>
                </a:lnTo>
                <a:close/>
                <a:moveTo>
                  <a:pt x="254" y="1026"/>
                </a:moveTo>
                <a:lnTo>
                  <a:pt x="254" y="1022"/>
                </a:lnTo>
                <a:lnTo>
                  <a:pt x="258" y="1022"/>
                </a:lnTo>
                <a:lnTo>
                  <a:pt x="258" y="1026"/>
                </a:lnTo>
                <a:lnTo>
                  <a:pt x="254" y="1026"/>
                </a:lnTo>
                <a:lnTo>
                  <a:pt x="254" y="1026"/>
                </a:lnTo>
                <a:lnTo>
                  <a:pt x="254" y="1026"/>
                </a:lnTo>
                <a:close/>
                <a:moveTo>
                  <a:pt x="288" y="1038"/>
                </a:moveTo>
                <a:lnTo>
                  <a:pt x="284" y="1038"/>
                </a:lnTo>
                <a:lnTo>
                  <a:pt x="284" y="1034"/>
                </a:lnTo>
                <a:lnTo>
                  <a:pt x="280" y="1030"/>
                </a:lnTo>
                <a:lnTo>
                  <a:pt x="284" y="1030"/>
                </a:lnTo>
                <a:lnTo>
                  <a:pt x="288" y="1030"/>
                </a:lnTo>
                <a:lnTo>
                  <a:pt x="288" y="1034"/>
                </a:lnTo>
                <a:lnTo>
                  <a:pt x="292" y="1038"/>
                </a:lnTo>
                <a:lnTo>
                  <a:pt x="288" y="1038"/>
                </a:lnTo>
                <a:lnTo>
                  <a:pt x="288" y="1038"/>
                </a:lnTo>
                <a:lnTo>
                  <a:pt x="288" y="1038"/>
                </a:lnTo>
                <a:close/>
                <a:moveTo>
                  <a:pt x="302" y="1042"/>
                </a:moveTo>
                <a:lnTo>
                  <a:pt x="298" y="1042"/>
                </a:lnTo>
                <a:lnTo>
                  <a:pt x="294" y="1042"/>
                </a:lnTo>
                <a:lnTo>
                  <a:pt x="294" y="1038"/>
                </a:lnTo>
                <a:lnTo>
                  <a:pt x="298" y="1038"/>
                </a:lnTo>
                <a:lnTo>
                  <a:pt x="302" y="1038"/>
                </a:lnTo>
                <a:lnTo>
                  <a:pt x="302" y="1042"/>
                </a:lnTo>
                <a:lnTo>
                  <a:pt x="302" y="1042"/>
                </a:lnTo>
                <a:lnTo>
                  <a:pt x="302" y="1042"/>
                </a:lnTo>
                <a:close/>
                <a:moveTo>
                  <a:pt x="310" y="1048"/>
                </a:moveTo>
                <a:lnTo>
                  <a:pt x="306" y="1048"/>
                </a:lnTo>
                <a:lnTo>
                  <a:pt x="306" y="1046"/>
                </a:lnTo>
                <a:lnTo>
                  <a:pt x="302" y="1046"/>
                </a:lnTo>
                <a:lnTo>
                  <a:pt x="302" y="1042"/>
                </a:lnTo>
                <a:lnTo>
                  <a:pt x="306" y="1042"/>
                </a:lnTo>
                <a:lnTo>
                  <a:pt x="306" y="1046"/>
                </a:lnTo>
                <a:lnTo>
                  <a:pt x="310" y="1046"/>
                </a:lnTo>
                <a:lnTo>
                  <a:pt x="310" y="1042"/>
                </a:lnTo>
                <a:lnTo>
                  <a:pt x="310" y="1046"/>
                </a:lnTo>
                <a:lnTo>
                  <a:pt x="314" y="1046"/>
                </a:lnTo>
                <a:lnTo>
                  <a:pt x="314" y="1048"/>
                </a:lnTo>
                <a:lnTo>
                  <a:pt x="310" y="1048"/>
                </a:lnTo>
                <a:lnTo>
                  <a:pt x="310" y="1048"/>
                </a:lnTo>
                <a:lnTo>
                  <a:pt x="310" y="1048"/>
                </a:lnTo>
                <a:close/>
                <a:moveTo>
                  <a:pt x="302" y="1046"/>
                </a:moveTo>
                <a:lnTo>
                  <a:pt x="298" y="1046"/>
                </a:lnTo>
                <a:lnTo>
                  <a:pt x="302" y="1046"/>
                </a:lnTo>
                <a:lnTo>
                  <a:pt x="302" y="1046"/>
                </a:lnTo>
                <a:lnTo>
                  <a:pt x="302" y="1046"/>
                </a:lnTo>
                <a:close/>
                <a:moveTo>
                  <a:pt x="318" y="1056"/>
                </a:moveTo>
                <a:lnTo>
                  <a:pt x="322" y="1056"/>
                </a:lnTo>
                <a:lnTo>
                  <a:pt x="324" y="1060"/>
                </a:lnTo>
                <a:lnTo>
                  <a:pt x="324" y="1062"/>
                </a:lnTo>
                <a:lnTo>
                  <a:pt x="328" y="1062"/>
                </a:lnTo>
                <a:lnTo>
                  <a:pt x="328" y="1066"/>
                </a:lnTo>
                <a:lnTo>
                  <a:pt x="332" y="1066"/>
                </a:lnTo>
                <a:lnTo>
                  <a:pt x="328" y="1070"/>
                </a:lnTo>
                <a:lnTo>
                  <a:pt x="324" y="1070"/>
                </a:lnTo>
                <a:lnTo>
                  <a:pt x="322" y="1074"/>
                </a:lnTo>
                <a:lnTo>
                  <a:pt x="322" y="1078"/>
                </a:lnTo>
                <a:lnTo>
                  <a:pt x="318" y="1078"/>
                </a:lnTo>
                <a:lnTo>
                  <a:pt x="314" y="1074"/>
                </a:lnTo>
                <a:lnTo>
                  <a:pt x="314" y="1070"/>
                </a:lnTo>
                <a:lnTo>
                  <a:pt x="314" y="1066"/>
                </a:lnTo>
                <a:lnTo>
                  <a:pt x="314" y="1062"/>
                </a:lnTo>
                <a:lnTo>
                  <a:pt x="318" y="1060"/>
                </a:lnTo>
                <a:lnTo>
                  <a:pt x="314" y="1056"/>
                </a:lnTo>
                <a:lnTo>
                  <a:pt x="318" y="1056"/>
                </a:lnTo>
                <a:lnTo>
                  <a:pt x="318" y="1056"/>
                </a:lnTo>
                <a:lnTo>
                  <a:pt x="318" y="1056"/>
                </a:lnTo>
                <a:close/>
              </a:path>
            </a:pathLst>
          </a:custGeom>
          <a:solidFill>
            <a:srgbClr val="A0DCFF"/>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90" name="Freeform 197"/>
          <p:cNvSpPr>
            <a:spLocks/>
          </p:cNvSpPr>
          <p:nvPr/>
        </p:nvSpPr>
        <p:spPr bwMode="auto">
          <a:xfrm>
            <a:off x="3055144" y="2157412"/>
            <a:ext cx="40481" cy="30956"/>
          </a:xfrm>
          <a:custGeom>
            <a:avLst/>
            <a:gdLst>
              <a:gd name="T0" fmla="*/ 0 w 34"/>
              <a:gd name="T1" fmla="*/ 6 h 26"/>
              <a:gd name="T2" fmla="*/ 4 w 34"/>
              <a:gd name="T3" fmla="*/ 2 h 26"/>
              <a:gd name="T4" fmla="*/ 4 w 34"/>
              <a:gd name="T5" fmla="*/ 0 h 26"/>
              <a:gd name="T6" fmla="*/ 4 w 34"/>
              <a:gd name="T7" fmla="*/ 0 h 26"/>
              <a:gd name="T8" fmla="*/ 4 w 34"/>
              <a:gd name="T9" fmla="*/ 0 h 26"/>
              <a:gd name="T10" fmla="*/ 8 w 34"/>
              <a:gd name="T11" fmla="*/ 0 h 26"/>
              <a:gd name="T12" fmla="*/ 8 w 34"/>
              <a:gd name="T13" fmla="*/ 0 h 26"/>
              <a:gd name="T14" fmla="*/ 8 w 34"/>
              <a:gd name="T15" fmla="*/ 0 h 26"/>
              <a:gd name="T16" fmla="*/ 8 w 34"/>
              <a:gd name="T17" fmla="*/ 0 h 26"/>
              <a:gd name="T18" fmla="*/ 12 w 34"/>
              <a:gd name="T19" fmla="*/ 2 h 26"/>
              <a:gd name="T20" fmla="*/ 12 w 34"/>
              <a:gd name="T21" fmla="*/ 2 h 26"/>
              <a:gd name="T22" fmla="*/ 20 w 34"/>
              <a:gd name="T23" fmla="*/ 6 h 26"/>
              <a:gd name="T24" fmla="*/ 26 w 34"/>
              <a:gd name="T25" fmla="*/ 10 h 26"/>
              <a:gd name="T26" fmla="*/ 26 w 34"/>
              <a:gd name="T27" fmla="*/ 10 h 26"/>
              <a:gd name="T28" fmla="*/ 26 w 34"/>
              <a:gd name="T29" fmla="*/ 10 h 26"/>
              <a:gd name="T30" fmla="*/ 26 w 34"/>
              <a:gd name="T31" fmla="*/ 10 h 26"/>
              <a:gd name="T32" fmla="*/ 30 w 34"/>
              <a:gd name="T33" fmla="*/ 10 h 26"/>
              <a:gd name="T34" fmla="*/ 30 w 34"/>
              <a:gd name="T35" fmla="*/ 10 h 26"/>
              <a:gd name="T36" fmla="*/ 30 w 34"/>
              <a:gd name="T37" fmla="*/ 10 h 26"/>
              <a:gd name="T38" fmla="*/ 26 w 34"/>
              <a:gd name="T39" fmla="*/ 10 h 26"/>
              <a:gd name="T40" fmla="*/ 24 w 34"/>
              <a:gd name="T41" fmla="*/ 14 h 26"/>
              <a:gd name="T42" fmla="*/ 26 w 34"/>
              <a:gd name="T43" fmla="*/ 14 h 26"/>
              <a:gd name="T44" fmla="*/ 30 w 34"/>
              <a:gd name="T45" fmla="*/ 14 h 26"/>
              <a:gd name="T46" fmla="*/ 30 w 34"/>
              <a:gd name="T47" fmla="*/ 14 h 26"/>
              <a:gd name="T48" fmla="*/ 34 w 34"/>
              <a:gd name="T49" fmla="*/ 14 h 26"/>
              <a:gd name="T50" fmla="*/ 34 w 34"/>
              <a:gd name="T51" fmla="*/ 14 h 26"/>
              <a:gd name="T52" fmla="*/ 30 w 34"/>
              <a:gd name="T53" fmla="*/ 14 h 26"/>
              <a:gd name="T54" fmla="*/ 26 w 34"/>
              <a:gd name="T55" fmla="*/ 18 h 26"/>
              <a:gd name="T56" fmla="*/ 26 w 34"/>
              <a:gd name="T57" fmla="*/ 18 h 26"/>
              <a:gd name="T58" fmla="*/ 26 w 34"/>
              <a:gd name="T59" fmla="*/ 18 h 26"/>
              <a:gd name="T60" fmla="*/ 24 w 34"/>
              <a:gd name="T61" fmla="*/ 18 h 26"/>
              <a:gd name="T62" fmla="*/ 24 w 34"/>
              <a:gd name="T63" fmla="*/ 18 h 26"/>
              <a:gd name="T64" fmla="*/ 20 w 34"/>
              <a:gd name="T65" fmla="*/ 18 h 26"/>
              <a:gd name="T66" fmla="*/ 16 w 34"/>
              <a:gd name="T67" fmla="*/ 18 h 26"/>
              <a:gd name="T68" fmla="*/ 16 w 34"/>
              <a:gd name="T69" fmla="*/ 18 h 26"/>
              <a:gd name="T70" fmla="*/ 16 w 34"/>
              <a:gd name="T71" fmla="*/ 18 h 26"/>
              <a:gd name="T72" fmla="*/ 12 w 34"/>
              <a:gd name="T73" fmla="*/ 14 h 26"/>
              <a:gd name="T74" fmla="*/ 12 w 34"/>
              <a:gd name="T75" fmla="*/ 18 h 26"/>
              <a:gd name="T76" fmla="*/ 8 w 34"/>
              <a:gd name="T77" fmla="*/ 22 h 26"/>
              <a:gd name="T78" fmla="*/ 4 w 34"/>
              <a:gd name="T79" fmla="*/ 26 h 26"/>
              <a:gd name="T80" fmla="*/ 0 w 34"/>
              <a:gd name="T81" fmla="*/ 26 h 26"/>
              <a:gd name="T82" fmla="*/ 4 w 34"/>
              <a:gd name="T83" fmla="*/ 22 h 26"/>
              <a:gd name="T84" fmla="*/ 4 w 34"/>
              <a:gd name="T85" fmla="*/ 22 h 26"/>
              <a:gd name="T86" fmla="*/ 4 w 34"/>
              <a:gd name="T87" fmla="*/ 22 h 26"/>
              <a:gd name="T88" fmla="*/ 4 w 34"/>
              <a:gd name="T89" fmla="*/ 22 h 26"/>
              <a:gd name="T90" fmla="*/ 0 w 34"/>
              <a:gd name="T91" fmla="*/ 22 h 26"/>
              <a:gd name="T92" fmla="*/ 4 w 34"/>
              <a:gd name="T93" fmla="*/ 22 h 26"/>
              <a:gd name="T94" fmla="*/ 4 w 34"/>
              <a:gd name="T95" fmla="*/ 18 h 26"/>
              <a:gd name="T96" fmla="*/ 4 w 34"/>
              <a:gd name="T97" fmla="*/ 14 h 26"/>
              <a:gd name="T98" fmla="*/ 0 w 34"/>
              <a:gd name="T99" fmla="*/ 10 h 26"/>
              <a:gd name="T100" fmla="*/ 0 w 34"/>
              <a:gd name="T101"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4" h="26">
                <a:moveTo>
                  <a:pt x="0" y="10"/>
                </a:moveTo>
                <a:lnTo>
                  <a:pt x="0" y="10"/>
                </a:lnTo>
                <a:lnTo>
                  <a:pt x="0" y="6"/>
                </a:lnTo>
                <a:lnTo>
                  <a:pt x="0" y="6"/>
                </a:lnTo>
                <a:lnTo>
                  <a:pt x="0" y="6"/>
                </a:lnTo>
                <a:lnTo>
                  <a:pt x="0" y="6"/>
                </a:lnTo>
                <a:lnTo>
                  <a:pt x="0" y="6"/>
                </a:lnTo>
                <a:lnTo>
                  <a:pt x="4" y="2"/>
                </a:lnTo>
                <a:lnTo>
                  <a:pt x="4" y="2"/>
                </a:lnTo>
                <a:lnTo>
                  <a:pt x="4" y="0"/>
                </a:lnTo>
                <a:lnTo>
                  <a:pt x="4" y="0"/>
                </a:lnTo>
                <a:lnTo>
                  <a:pt x="4" y="0"/>
                </a:lnTo>
                <a:lnTo>
                  <a:pt x="4" y="0"/>
                </a:lnTo>
                <a:lnTo>
                  <a:pt x="4" y="0"/>
                </a:lnTo>
                <a:lnTo>
                  <a:pt x="4" y="0"/>
                </a:lnTo>
                <a:lnTo>
                  <a:pt x="4" y="0"/>
                </a:lnTo>
                <a:lnTo>
                  <a:pt x="4" y="0"/>
                </a:lnTo>
                <a:lnTo>
                  <a:pt x="4" y="0"/>
                </a:lnTo>
                <a:lnTo>
                  <a:pt x="4" y="0"/>
                </a:lnTo>
                <a:lnTo>
                  <a:pt x="4" y="0"/>
                </a:lnTo>
                <a:lnTo>
                  <a:pt x="8" y="0"/>
                </a:lnTo>
                <a:lnTo>
                  <a:pt x="8" y="0"/>
                </a:lnTo>
                <a:lnTo>
                  <a:pt x="8" y="0"/>
                </a:lnTo>
                <a:lnTo>
                  <a:pt x="8" y="0"/>
                </a:lnTo>
                <a:lnTo>
                  <a:pt x="12" y="0"/>
                </a:lnTo>
                <a:lnTo>
                  <a:pt x="12" y="0"/>
                </a:lnTo>
                <a:lnTo>
                  <a:pt x="12" y="0"/>
                </a:lnTo>
                <a:lnTo>
                  <a:pt x="8" y="0"/>
                </a:lnTo>
                <a:lnTo>
                  <a:pt x="8" y="0"/>
                </a:lnTo>
                <a:lnTo>
                  <a:pt x="8" y="0"/>
                </a:lnTo>
                <a:lnTo>
                  <a:pt x="8" y="0"/>
                </a:lnTo>
                <a:lnTo>
                  <a:pt x="8" y="0"/>
                </a:lnTo>
                <a:lnTo>
                  <a:pt x="8" y="0"/>
                </a:lnTo>
                <a:lnTo>
                  <a:pt x="8" y="0"/>
                </a:lnTo>
                <a:lnTo>
                  <a:pt x="8" y="0"/>
                </a:lnTo>
                <a:lnTo>
                  <a:pt x="8" y="0"/>
                </a:lnTo>
                <a:lnTo>
                  <a:pt x="12" y="2"/>
                </a:lnTo>
                <a:lnTo>
                  <a:pt x="12" y="2"/>
                </a:lnTo>
                <a:lnTo>
                  <a:pt x="12" y="2"/>
                </a:lnTo>
                <a:lnTo>
                  <a:pt x="12" y="2"/>
                </a:lnTo>
                <a:lnTo>
                  <a:pt x="12" y="2"/>
                </a:lnTo>
                <a:lnTo>
                  <a:pt x="12" y="2"/>
                </a:lnTo>
                <a:lnTo>
                  <a:pt x="12" y="2"/>
                </a:lnTo>
                <a:lnTo>
                  <a:pt x="12" y="2"/>
                </a:lnTo>
                <a:lnTo>
                  <a:pt x="12" y="6"/>
                </a:lnTo>
                <a:lnTo>
                  <a:pt x="12" y="6"/>
                </a:lnTo>
                <a:lnTo>
                  <a:pt x="16" y="6"/>
                </a:lnTo>
                <a:lnTo>
                  <a:pt x="20" y="6"/>
                </a:lnTo>
                <a:lnTo>
                  <a:pt x="20" y="6"/>
                </a:lnTo>
                <a:lnTo>
                  <a:pt x="20" y="6"/>
                </a:lnTo>
                <a:lnTo>
                  <a:pt x="24" y="6"/>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30" y="10"/>
                </a:lnTo>
                <a:lnTo>
                  <a:pt x="30" y="10"/>
                </a:lnTo>
                <a:lnTo>
                  <a:pt x="30" y="10"/>
                </a:lnTo>
                <a:lnTo>
                  <a:pt x="30" y="10"/>
                </a:lnTo>
                <a:lnTo>
                  <a:pt x="30" y="10"/>
                </a:lnTo>
                <a:lnTo>
                  <a:pt x="30" y="10"/>
                </a:lnTo>
                <a:lnTo>
                  <a:pt x="30" y="10"/>
                </a:lnTo>
                <a:lnTo>
                  <a:pt x="30" y="10"/>
                </a:lnTo>
                <a:lnTo>
                  <a:pt x="30" y="10"/>
                </a:lnTo>
                <a:lnTo>
                  <a:pt x="30" y="10"/>
                </a:lnTo>
                <a:lnTo>
                  <a:pt x="30" y="10"/>
                </a:lnTo>
                <a:lnTo>
                  <a:pt x="30" y="10"/>
                </a:lnTo>
                <a:lnTo>
                  <a:pt x="30" y="10"/>
                </a:lnTo>
                <a:lnTo>
                  <a:pt x="26" y="10"/>
                </a:lnTo>
                <a:lnTo>
                  <a:pt x="26" y="10"/>
                </a:lnTo>
                <a:lnTo>
                  <a:pt x="26" y="10"/>
                </a:lnTo>
                <a:lnTo>
                  <a:pt x="26" y="10"/>
                </a:lnTo>
                <a:lnTo>
                  <a:pt x="26" y="14"/>
                </a:lnTo>
                <a:lnTo>
                  <a:pt x="24" y="14"/>
                </a:lnTo>
                <a:lnTo>
                  <a:pt x="24" y="14"/>
                </a:lnTo>
                <a:lnTo>
                  <a:pt x="26" y="14"/>
                </a:lnTo>
                <a:lnTo>
                  <a:pt x="26" y="14"/>
                </a:lnTo>
                <a:lnTo>
                  <a:pt x="26" y="14"/>
                </a:lnTo>
                <a:lnTo>
                  <a:pt x="26" y="14"/>
                </a:lnTo>
                <a:lnTo>
                  <a:pt x="30" y="14"/>
                </a:lnTo>
                <a:lnTo>
                  <a:pt x="30" y="14"/>
                </a:lnTo>
                <a:lnTo>
                  <a:pt x="30" y="14"/>
                </a:lnTo>
                <a:lnTo>
                  <a:pt x="30" y="14"/>
                </a:lnTo>
                <a:lnTo>
                  <a:pt x="30" y="14"/>
                </a:lnTo>
                <a:lnTo>
                  <a:pt x="30" y="14"/>
                </a:lnTo>
                <a:lnTo>
                  <a:pt x="30" y="14"/>
                </a:lnTo>
                <a:lnTo>
                  <a:pt x="30" y="14"/>
                </a:lnTo>
                <a:lnTo>
                  <a:pt x="30" y="14"/>
                </a:lnTo>
                <a:lnTo>
                  <a:pt x="30" y="14"/>
                </a:lnTo>
                <a:lnTo>
                  <a:pt x="34" y="14"/>
                </a:lnTo>
                <a:lnTo>
                  <a:pt x="34" y="14"/>
                </a:lnTo>
                <a:lnTo>
                  <a:pt x="34" y="14"/>
                </a:lnTo>
                <a:lnTo>
                  <a:pt x="34" y="14"/>
                </a:lnTo>
                <a:lnTo>
                  <a:pt x="34" y="14"/>
                </a:lnTo>
                <a:lnTo>
                  <a:pt x="34" y="14"/>
                </a:lnTo>
                <a:lnTo>
                  <a:pt x="34" y="14"/>
                </a:lnTo>
                <a:lnTo>
                  <a:pt x="30" y="14"/>
                </a:lnTo>
                <a:lnTo>
                  <a:pt x="30" y="14"/>
                </a:lnTo>
                <a:lnTo>
                  <a:pt x="30" y="14"/>
                </a:lnTo>
                <a:lnTo>
                  <a:pt x="30" y="14"/>
                </a:lnTo>
                <a:lnTo>
                  <a:pt x="26" y="18"/>
                </a:lnTo>
                <a:lnTo>
                  <a:pt x="26" y="18"/>
                </a:lnTo>
                <a:lnTo>
                  <a:pt x="26" y="18"/>
                </a:lnTo>
                <a:lnTo>
                  <a:pt x="26" y="18"/>
                </a:lnTo>
                <a:lnTo>
                  <a:pt x="26" y="18"/>
                </a:lnTo>
                <a:lnTo>
                  <a:pt x="26" y="18"/>
                </a:lnTo>
                <a:lnTo>
                  <a:pt x="26" y="18"/>
                </a:lnTo>
                <a:lnTo>
                  <a:pt x="26" y="18"/>
                </a:lnTo>
                <a:lnTo>
                  <a:pt x="26" y="18"/>
                </a:lnTo>
                <a:lnTo>
                  <a:pt x="26" y="18"/>
                </a:lnTo>
                <a:lnTo>
                  <a:pt x="26" y="18"/>
                </a:lnTo>
                <a:lnTo>
                  <a:pt x="26" y="18"/>
                </a:lnTo>
                <a:lnTo>
                  <a:pt x="24" y="18"/>
                </a:lnTo>
                <a:lnTo>
                  <a:pt x="24" y="18"/>
                </a:lnTo>
                <a:lnTo>
                  <a:pt x="24" y="18"/>
                </a:lnTo>
                <a:lnTo>
                  <a:pt x="24" y="18"/>
                </a:lnTo>
                <a:lnTo>
                  <a:pt x="24" y="18"/>
                </a:lnTo>
                <a:lnTo>
                  <a:pt x="24" y="18"/>
                </a:lnTo>
                <a:lnTo>
                  <a:pt x="24" y="18"/>
                </a:lnTo>
                <a:lnTo>
                  <a:pt x="20" y="18"/>
                </a:lnTo>
                <a:lnTo>
                  <a:pt x="20" y="18"/>
                </a:lnTo>
                <a:lnTo>
                  <a:pt x="20" y="18"/>
                </a:lnTo>
                <a:lnTo>
                  <a:pt x="20" y="18"/>
                </a:lnTo>
                <a:lnTo>
                  <a:pt x="16" y="18"/>
                </a:lnTo>
                <a:lnTo>
                  <a:pt x="16" y="18"/>
                </a:lnTo>
                <a:lnTo>
                  <a:pt x="16" y="18"/>
                </a:lnTo>
                <a:lnTo>
                  <a:pt x="16" y="22"/>
                </a:lnTo>
                <a:lnTo>
                  <a:pt x="16" y="22"/>
                </a:lnTo>
                <a:lnTo>
                  <a:pt x="16" y="18"/>
                </a:lnTo>
                <a:lnTo>
                  <a:pt x="16" y="18"/>
                </a:lnTo>
                <a:lnTo>
                  <a:pt x="16" y="18"/>
                </a:lnTo>
                <a:lnTo>
                  <a:pt x="16" y="18"/>
                </a:lnTo>
                <a:lnTo>
                  <a:pt x="16" y="18"/>
                </a:lnTo>
                <a:lnTo>
                  <a:pt x="16" y="18"/>
                </a:lnTo>
                <a:lnTo>
                  <a:pt x="12" y="14"/>
                </a:lnTo>
                <a:lnTo>
                  <a:pt x="12" y="14"/>
                </a:lnTo>
                <a:lnTo>
                  <a:pt x="12" y="14"/>
                </a:lnTo>
                <a:lnTo>
                  <a:pt x="12" y="14"/>
                </a:lnTo>
                <a:lnTo>
                  <a:pt x="12" y="18"/>
                </a:lnTo>
                <a:lnTo>
                  <a:pt x="12" y="18"/>
                </a:lnTo>
                <a:lnTo>
                  <a:pt x="12" y="18"/>
                </a:lnTo>
                <a:lnTo>
                  <a:pt x="12" y="18"/>
                </a:lnTo>
                <a:lnTo>
                  <a:pt x="12" y="18"/>
                </a:lnTo>
                <a:lnTo>
                  <a:pt x="12" y="18"/>
                </a:lnTo>
                <a:lnTo>
                  <a:pt x="12" y="18"/>
                </a:lnTo>
                <a:lnTo>
                  <a:pt x="8" y="22"/>
                </a:lnTo>
                <a:lnTo>
                  <a:pt x="8" y="22"/>
                </a:lnTo>
                <a:lnTo>
                  <a:pt x="4" y="26"/>
                </a:lnTo>
                <a:lnTo>
                  <a:pt x="4" y="26"/>
                </a:lnTo>
                <a:lnTo>
                  <a:pt x="4" y="26"/>
                </a:lnTo>
                <a:lnTo>
                  <a:pt x="4" y="26"/>
                </a:lnTo>
                <a:lnTo>
                  <a:pt x="4" y="26"/>
                </a:lnTo>
                <a:lnTo>
                  <a:pt x="0" y="26"/>
                </a:lnTo>
                <a:lnTo>
                  <a:pt x="0" y="26"/>
                </a:lnTo>
                <a:lnTo>
                  <a:pt x="0" y="26"/>
                </a:lnTo>
                <a:lnTo>
                  <a:pt x="0" y="26"/>
                </a:lnTo>
                <a:lnTo>
                  <a:pt x="4" y="22"/>
                </a:lnTo>
                <a:lnTo>
                  <a:pt x="4" y="22"/>
                </a:lnTo>
                <a:lnTo>
                  <a:pt x="4" y="22"/>
                </a:lnTo>
                <a:lnTo>
                  <a:pt x="4" y="22"/>
                </a:lnTo>
                <a:lnTo>
                  <a:pt x="4" y="22"/>
                </a:lnTo>
                <a:lnTo>
                  <a:pt x="4" y="22"/>
                </a:lnTo>
                <a:lnTo>
                  <a:pt x="4" y="22"/>
                </a:lnTo>
                <a:lnTo>
                  <a:pt x="4" y="22"/>
                </a:lnTo>
                <a:lnTo>
                  <a:pt x="4" y="22"/>
                </a:lnTo>
                <a:lnTo>
                  <a:pt x="4" y="22"/>
                </a:lnTo>
                <a:lnTo>
                  <a:pt x="4" y="22"/>
                </a:lnTo>
                <a:lnTo>
                  <a:pt x="4" y="22"/>
                </a:lnTo>
                <a:lnTo>
                  <a:pt x="4" y="22"/>
                </a:lnTo>
                <a:lnTo>
                  <a:pt x="4" y="22"/>
                </a:lnTo>
                <a:lnTo>
                  <a:pt x="4" y="22"/>
                </a:lnTo>
                <a:lnTo>
                  <a:pt x="4" y="22"/>
                </a:lnTo>
                <a:lnTo>
                  <a:pt x="4" y="22"/>
                </a:lnTo>
                <a:lnTo>
                  <a:pt x="0" y="22"/>
                </a:lnTo>
                <a:lnTo>
                  <a:pt x="0" y="22"/>
                </a:lnTo>
                <a:lnTo>
                  <a:pt x="4" y="22"/>
                </a:lnTo>
                <a:lnTo>
                  <a:pt x="4" y="22"/>
                </a:lnTo>
                <a:lnTo>
                  <a:pt x="4" y="22"/>
                </a:lnTo>
                <a:lnTo>
                  <a:pt x="4" y="22"/>
                </a:lnTo>
                <a:lnTo>
                  <a:pt x="4" y="22"/>
                </a:lnTo>
                <a:lnTo>
                  <a:pt x="4" y="18"/>
                </a:lnTo>
                <a:lnTo>
                  <a:pt x="4" y="18"/>
                </a:lnTo>
                <a:lnTo>
                  <a:pt x="4" y="14"/>
                </a:lnTo>
                <a:lnTo>
                  <a:pt x="4" y="14"/>
                </a:lnTo>
                <a:lnTo>
                  <a:pt x="4" y="14"/>
                </a:lnTo>
                <a:lnTo>
                  <a:pt x="4" y="14"/>
                </a:lnTo>
                <a:lnTo>
                  <a:pt x="4" y="14"/>
                </a:lnTo>
                <a:lnTo>
                  <a:pt x="0" y="10"/>
                </a:lnTo>
                <a:lnTo>
                  <a:pt x="0" y="10"/>
                </a:lnTo>
                <a:lnTo>
                  <a:pt x="0" y="10"/>
                </a:lnTo>
                <a:lnTo>
                  <a:pt x="0" y="10"/>
                </a:lnTo>
                <a:lnTo>
                  <a:pt x="0" y="10"/>
                </a:lnTo>
                <a:lnTo>
                  <a:pt x="0" y="10"/>
                </a:lnTo>
                <a:lnTo>
                  <a:pt x="0" y="10"/>
                </a:lnTo>
                <a:lnTo>
                  <a:pt x="0" y="10"/>
                </a:lnTo>
                <a:lnTo>
                  <a:pt x="0" y="10"/>
                </a:lnTo>
                <a:lnTo>
                  <a:pt x="0" y="10"/>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91" name="Freeform 198"/>
          <p:cNvSpPr>
            <a:spLocks/>
          </p:cNvSpPr>
          <p:nvPr/>
        </p:nvSpPr>
        <p:spPr bwMode="auto">
          <a:xfrm>
            <a:off x="2812256" y="3450430"/>
            <a:ext cx="16669" cy="23813"/>
          </a:xfrm>
          <a:custGeom>
            <a:avLst/>
            <a:gdLst>
              <a:gd name="T0" fmla="*/ 14 w 14"/>
              <a:gd name="T1" fmla="*/ 16 h 20"/>
              <a:gd name="T2" fmla="*/ 14 w 14"/>
              <a:gd name="T3" fmla="*/ 20 h 20"/>
              <a:gd name="T4" fmla="*/ 14 w 14"/>
              <a:gd name="T5" fmla="*/ 20 h 20"/>
              <a:gd name="T6" fmla="*/ 14 w 14"/>
              <a:gd name="T7" fmla="*/ 20 h 20"/>
              <a:gd name="T8" fmla="*/ 14 w 14"/>
              <a:gd name="T9" fmla="*/ 20 h 20"/>
              <a:gd name="T10" fmla="*/ 14 w 14"/>
              <a:gd name="T11" fmla="*/ 20 h 20"/>
              <a:gd name="T12" fmla="*/ 10 w 14"/>
              <a:gd name="T13" fmla="*/ 20 h 20"/>
              <a:gd name="T14" fmla="*/ 6 w 14"/>
              <a:gd name="T15" fmla="*/ 16 h 20"/>
              <a:gd name="T16" fmla="*/ 2 w 14"/>
              <a:gd name="T17" fmla="*/ 16 h 20"/>
              <a:gd name="T18" fmla="*/ 2 w 14"/>
              <a:gd name="T19" fmla="*/ 12 h 20"/>
              <a:gd name="T20" fmla="*/ 2 w 14"/>
              <a:gd name="T21" fmla="*/ 12 h 20"/>
              <a:gd name="T22" fmla="*/ 0 w 14"/>
              <a:gd name="T23" fmla="*/ 12 h 20"/>
              <a:gd name="T24" fmla="*/ 0 w 14"/>
              <a:gd name="T25" fmla="*/ 12 h 20"/>
              <a:gd name="T26" fmla="*/ 0 w 14"/>
              <a:gd name="T27" fmla="*/ 12 h 20"/>
              <a:gd name="T28" fmla="*/ 0 w 14"/>
              <a:gd name="T29" fmla="*/ 8 h 20"/>
              <a:gd name="T30" fmla="*/ 0 w 14"/>
              <a:gd name="T31" fmla="*/ 8 h 20"/>
              <a:gd name="T32" fmla="*/ 0 w 14"/>
              <a:gd name="T33" fmla="*/ 4 h 20"/>
              <a:gd name="T34" fmla="*/ 0 w 14"/>
              <a:gd name="T35" fmla="*/ 4 h 20"/>
              <a:gd name="T36" fmla="*/ 0 w 14"/>
              <a:gd name="T37" fmla="*/ 4 h 20"/>
              <a:gd name="T38" fmla="*/ 0 w 14"/>
              <a:gd name="T39" fmla="*/ 4 h 20"/>
              <a:gd name="T40" fmla="*/ 0 w 14"/>
              <a:gd name="T41" fmla="*/ 4 h 20"/>
              <a:gd name="T42" fmla="*/ 0 w 14"/>
              <a:gd name="T43" fmla="*/ 0 h 20"/>
              <a:gd name="T44" fmla="*/ 0 w 14"/>
              <a:gd name="T45" fmla="*/ 0 h 20"/>
              <a:gd name="T46" fmla="*/ 0 w 14"/>
              <a:gd name="T47" fmla="*/ 0 h 20"/>
              <a:gd name="T48" fmla="*/ 0 w 14"/>
              <a:gd name="T49" fmla="*/ 0 h 20"/>
              <a:gd name="T50" fmla="*/ 0 w 14"/>
              <a:gd name="T51" fmla="*/ 0 h 20"/>
              <a:gd name="T52" fmla="*/ 2 w 14"/>
              <a:gd name="T53" fmla="*/ 0 h 20"/>
              <a:gd name="T54" fmla="*/ 2 w 14"/>
              <a:gd name="T55" fmla="*/ 0 h 20"/>
              <a:gd name="T56" fmla="*/ 2 w 14"/>
              <a:gd name="T57" fmla="*/ 0 h 20"/>
              <a:gd name="T58" fmla="*/ 6 w 14"/>
              <a:gd name="T59" fmla="*/ 4 h 20"/>
              <a:gd name="T60" fmla="*/ 6 w 14"/>
              <a:gd name="T61" fmla="*/ 4 h 20"/>
              <a:gd name="T62" fmla="*/ 6 w 14"/>
              <a:gd name="T63" fmla="*/ 4 h 20"/>
              <a:gd name="T64" fmla="*/ 10 w 14"/>
              <a:gd name="T65" fmla="*/ 8 h 20"/>
              <a:gd name="T66" fmla="*/ 10 w 14"/>
              <a:gd name="T67" fmla="*/ 8 h 20"/>
              <a:gd name="T68" fmla="*/ 10 w 14"/>
              <a:gd name="T69" fmla="*/ 8 h 20"/>
              <a:gd name="T70" fmla="*/ 14 w 14"/>
              <a:gd name="T71" fmla="*/ 12 h 20"/>
              <a:gd name="T72" fmla="*/ 14 w 14"/>
              <a:gd name="T73" fmla="*/ 16 h 20"/>
              <a:gd name="T74" fmla="*/ 14 w 14"/>
              <a:gd name="T75" fmla="*/ 16 h 20"/>
              <a:gd name="T76" fmla="*/ 14 w 14"/>
              <a:gd name="T77" fmla="*/ 16 h 20"/>
              <a:gd name="T78" fmla="*/ 14 w 14"/>
              <a:gd name="T79" fmla="*/ 16 h 20"/>
              <a:gd name="T80" fmla="*/ 14 w 14"/>
              <a:gd name="T81" fmla="*/ 1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 h="20">
                <a:moveTo>
                  <a:pt x="14" y="16"/>
                </a:moveTo>
                <a:lnTo>
                  <a:pt x="14" y="16"/>
                </a:lnTo>
                <a:lnTo>
                  <a:pt x="14" y="20"/>
                </a:lnTo>
                <a:lnTo>
                  <a:pt x="14" y="20"/>
                </a:lnTo>
                <a:lnTo>
                  <a:pt x="14" y="20"/>
                </a:lnTo>
                <a:lnTo>
                  <a:pt x="14" y="20"/>
                </a:lnTo>
                <a:lnTo>
                  <a:pt x="14" y="20"/>
                </a:lnTo>
                <a:lnTo>
                  <a:pt x="14" y="20"/>
                </a:lnTo>
                <a:lnTo>
                  <a:pt x="14" y="20"/>
                </a:lnTo>
                <a:lnTo>
                  <a:pt x="14" y="20"/>
                </a:lnTo>
                <a:lnTo>
                  <a:pt x="14" y="20"/>
                </a:lnTo>
                <a:lnTo>
                  <a:pt x="14" y="20"/>
                </a:lnTo>
                <a:lnTo>
                  <a:pt x="14" y="20"/>
                </a:lnTo>
                <a:lnTo>
                  <a:pt x="10" y="20"/>
                </a:lnTo>
                <a:lnTo>
                  <a:pt x="10" y="16"/>
                </a:lnTo>
                <a:lnTo>
                  <a:pt x="6" y="16"/>
                </a:lnTo>
                <a:lnTo>
                  <a:pt x="6" y="16"/>
                </a:lnTo>
                <a:lnTo>
                  <a:pt x="2" y="16"/>
                </a:lnTo>
                <a:lnTo>
                  <a:pt x="2" y="16"/>
                </a:lnTo>
                <a:lnTo>
                  <a:pt x="2" y="12"/>
                </a:lnTo>
                <a:lnTo>
                  <a:pt x="2" y="12"/>
                </a:lnTo>
                <a:lnTo>
                  <a:pt x="2" y="12"/>
                </a:lnTo>
                <a:lnTo>
                  <a:pt x="0" y="12"/>
                </a:lnTo>
                <a:lnTo>
                  <a:pt x="0" y="12"/>
                </a:lnTo>
                <a:lnTo>
                  <a:pt x="0" y="12"/>
                </a:lnTo>
                <a:lnTo>
                  <a:pt x="0" y="12"/>
                </a:lnTo>
                <a:lnTo>
                  <a:pt x="0" y="12"/>
                </a:lnTo>
                <a:lnTo>
                  <a:pt x="0" y="12"/>
                </a:lnTo>
                <a:lnTo>
                  <a:pt x="0" y="8"/>
                </a:lnTo>
                <a:lnTo>
                  <a:pt x="0" y="8"/>
                </a:lnTo>
                <a:lnTo>
                  <a:pt x="0" y="8"/>
                </a:lnTo>
                <a:lnTo>
                  <a:pt x="0" y="8"/>
                </a:lnTo>
                <a:lnTo>
                  <a:pt x="0" y="8"/>
                </a:lnTo>
                <a:lnTo>
                  <a:pt x="0" y="4"/>
                </a:lnTo>
                <a:lnTo>
                  <a:pt x="0" y="4"/>
                </a:lnTo>
                <a:lnTo>
                  <a:pt x="0" y="4"/>
                </a:lnTo>
                <a:lnTo>
                  <a:pt x="0" y="4"/>
                </a:lnTo>
                <a:lnTo>
                  <a:pt x="0" y="4"/>
                </a:lnTo>
                <a:lnTo>
                  <a:pt x="0" y="4"/>
                </a:lnTo>
                <a:lnTo>
                  <a:pt x="0" y="4"/>
                </a:lnTo>
                <a:lnTo>
                  <a:pt x="0" y="4"/>
                </a:lnTo>
                <a:lnTo>
                  <a:pt x="0" y="4"/>
                </a:lnTo>
                <a:lnTo>
                  <a:pt x="0" y="0"/>
                </a:lnTo>
                <a:lnTo>
                  <a:pt x="0" y="0"/>
                </a:lnTo>
                <a:lnTo>
                  <a:pt x="0" y="0"/>
                </a:lnTo>
                <a:lnTo>
                  <a:pt x="0" y="0"/>
                </a:lnTo>
                <a:lnTo>
                  <a:pt x="0" y="0"/>
                </a:lnTo>
                <a:lnTo>
                  <a:pt x="0" y="0"/>
                </a:lnTo>
                <a:lnTo>
                  <a:pt x="0" y="0"/>
                </a:lnTo>
                <a:lnTo>
                  <a:pt x="0" y="0"/>
                </a:lnTo>
                <a:lnTo>
                  <a:pt x="0" y="0"/>
                </a:lnTo>
                <a:lnTo>
                  <a:pt x="0" y="0"/>
                </a:lnTo>
                <a:lnTo>
                  <a:pt x="2" y="0"/>
                </a:lnTo>
                <a:lnTo>
                  <a:pt x="2" y="0"/>
                </a:lnTo>
                <a:lnTo>
                  <a:pt x="2" y="0"/>
                </a:lnTo>
                <a:lnTo>
                  <a:pt x="2" y="0"/>
                </a:lnTo>
                <a:lnTo>
                  <a:pt x="2" y="0"/>
                </a:lnTo>
                <a:lnTo>
                  <a:pt x="2" y="0"/>
                </a:lnTo>
                <a:lnTo>
                  <a:pt x="2" y="0"/>
                </a:lnTo>
                <a:lnTo>
                  <a:pt x="6" y="4"/>
                </a:lnTo>
                <a:lnTo>
                  <a:pt x="6" y="4"/>
                </a:lnTo>
                <a:lnTo>
                  <a:pt x="6" y="4"/>
                </a:lnTo>
                <a:lnTo>
                  <a:pt x="6" y="4"/>
                </a:lnTo>
                <a:lnTo>
                  <a:pt x="6" y="4"/>
                </a:lnTo>
                <a:lnTo>
                  <a:pt x="10" y="8"/>
                </a:lnTo>
                <a:lnTo>
                  <a:pt x="10" y="8"/>
                </a:lnTo>
                <a:lnTo>
                  <a:pt x="10" y="8"/>
                </a:lnTo>
                <a:lnTo>
                  <a:pt x="10" y="8"/>
                </a:lnTo>
                <a:lnTo>
                  <a:pt x="10" y="8"/>
                </a:lnTo>
                <a:lnTo>
                  <a:pt x="10" y="8"/>
                </a:lnTo>
                <a:lnTo>
                  <a:pt x="10" y="12"/>
                </a:lnTo>
                <a:lnTo>
                  <a:pt x="14" y="12"/>
                </a:lnTo>
                <a:lnTo>
                  <a:pt x="14" y="12"/>
                </a:lnTo>
                <a:lnTo>
                  <a:pt x="14" y="16"/>
                </a:lnTo>
                <a:lnTo>
                  <a:pt x="14" y="16"/>
                </a:lnTo>
                <a:lnTo>
                  <a:pt x="14" y="16"/>
                </a:lnTo>
                <a:lnTo>
                  <a:pt x="14" y="16"/>
                </a:lnTo>
                <a:lnTo>
                  <a:pt x="14" y="16"/>
                </a:lnTo>
                <a:lnTo>
                  <a:pt x="14" y="16"/>
                </a:lnTo>
                <a:lnTo>
                  <a:pt x="14" y="16"/>
                </a:lnTo>
                <a:lnTo>
                  <a:pt x="14" y="16"/>
                </a:lnTo>
                <a:lnTo>
                  <a:pt x="14" y="16"/>
                </a:lnTo>
                <a:lnTo>
                  <a:pt x="14" y="16"/>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92" name="Freeform 199"/>
          <p:cNvSpPr>
            <a:spLocks/>
          </p:cNvSpPr>
          <p:nvPr/>
        </p:nvSpPr>
        <p:spPr bwMode="auto">
          <a:xfrm>
            <a:off x="2859881" y="2786062"/>
            <a:ext cx="9525" cy="7144"/>
          </a:xfrm>
          <a:custGeom>
            <a:avLst/>
            <a:gdLst>
              <a:gd name="T0" fmla="*/ 4 w 8"/>
              <a:gd name="T1" fmla="*/ 4 h 6"/>
              <a:gd name="T2" fmla="*/ 4 w 8"/>
              <a:gd name="T3" fmla="*/ 4 h 6"/>
              <a:gd name="T4" fmla="*/ 8 w 8"/>
              <a:gd name="T5" fmla="*/ 4 h 6"/>
              <a:gd name="T6" fmla="*/ 8 w 8"/>
              <a:gd name="T7" fmla="*/ 4 h 6"/>
              <a:gd name="T8" fmla="*/ 8 w 8"/>
              <a:gd name="T9" fmla="*/ 4 h 6"/>
              <a:gd name="T10" fmla="*/ 8 w 8"/>
              <a:gd name="T11" fmla="*/ 4 h 6"/>
              <a:gd name="T12" fmla="*/ 8 w 8"/>
              <a:gd name="T13" fmla="*/ 4 h 6"/>
              <a:gd name="T14" fmla="*/ 8 w 8"/>
              <a:gd name="T15" fmla="*/ 4 h 6"/>
              <a:gd name="T16" fmla="*/ 8 w 8"/>
              <a:gd name="T17" fmla="*/ 6 h 6"/>
              <a:gd name="T18" fmla="*/ 8 w 8"/>
              <a:gd name="T19" fmla="*/ 6 h 6"/>
              <a:gd name="T20" fmla="*/ 8 w 8"/>
              <a:gd name="T21" fmla="*/ 6 h 6"/>
              <a:gd name="T22" fmla="*/ 8 w 8"/>
              <a:gd name="T23" fmla="*/ 6 h 6"/>
              <a:gd name="T24" fmla="*/ 8 w 8"/>
              <a:gd name="T25" fmla="*/ 6 h 6"/>
              <a:gd name="T26" fmla="*/ 8 w 8"/>
              <a:gd name="T27" fmla="*/ 6 h 6"/>
              <a:gd name="T28" fmla="*/ 4 w 8"/>
              <a:gd name="T29" fmla="*/ 6 h 6"/>
              <a:gd name="T30" fmla="*/ 4 w 8"/>
              <a:gd name="T31" fmla="*/ 6 h 6"/>
              <a:gd name="T32" fmla="*/ 4 w 8"/>
              <a:gd name="T33" fmla="*/ 6 h 6"/>
              <a:gd name="T34" fmla="*/ 4 w 8"/>
              <a:gd name="T35" fmla="*/ 6 h 6"/>
              <a:gd name="T36" fmla="*/ 0 w 8"/>
              <a:gd name="T37" fmla="*/ 6 h 6"/>
              <a:gd name="T38" fmla="*/ 0 w 8"/>
              <a:gd name="T39" fmla="*/ 6 h 6"/>
              <a:gd name="T40" fmla="*/ 0 w 8"/>
              <a:gd name="T41" fmla="*/ 6 h 6"/>
              <a:gd name="T42" fmla="*/ 0 w 8"/>
              <a:gd name="T43" fmla="*/ 6 h 6"/>
              <a:gd name="T44" fmla="*/ 0 w 8"/>
              <a:gd name="T45" fmla="*/ 6 h 6"/>
              <a:gd name="T46" fmla="*/ 0 w 8"/>
              <a:gd name="T47" fmla="*/ 6 h 6"/>
              <a:gd name="T48" fmla="*/ 0 w 8"/>
              <a:gd name="T49" fmla="*/ 6 h 6"/>
              <a:gd name="T50" fmla="*/ 0 w 8"/>
              <a:gd name="T51" fmla="*/ 6 h 6"/>
              <a:gd name="T52" fmla="*/ 0 w 8"/>
              <a:gd name="T53" fmla="*/ 6 h 6"/>
              <a:gd name="T54" fmla="*/ 0 w 8"/>
              <a:gd name="T55" fmla="*/ 6 h 6"/>
              <a:gd name="T56" fmla="*/ 0 w 8"/>
              <a:gd name="T57" fmla="*/ 6 h 6"/>
              <a:gd name="T58" fmla="*/ 0 w 8"/>
              <a:gd name="T59" fmla="*/ 6 h 6"/>
              <a:gd name="T60" fmla="*/ 4 w 8"/>
              <a:gd name="T61" fmla="*/ 6 h 6"/>
              <a:gd name="T62" fmla="*/ 4 w 8"/>
              <a:gd name="T63" fmla="*/ 6 h 6"/>
              <a:gd name="T64" fmla="*/ 4 w 8"/>
              <a:gd name="T65" fmla="*/ 6 h 6"/>
              <a:gd name="T66" fmla="*/ 0 w 8"/>
              <a:gd name="T67" fmla="*/ 4 h 6"/>
              <a:gd name="T68" fmla="*/ 0 w 8"/>
              <a:gd name="T69" fmla="*/ 4 h 6"/>
              <a:gd name="T70" fmla="*/ 0 w 8"/>
              <a:gd name="T71" fmla="*/ 4 h 6"/>
              <a:gd name="T72" fmla="*/ 4 w 8"/>
              <a:gd name="T73" fmla="*/ 4 h 6"/>
              <a:gd name="T74" fmla="*/ 4 w 8"/>
              <a:gd name="T75" fmla="*/ 4 h 6"/>
              <a:gd name="T76" fmla="*/ 4 w 8"/>
              <a:gd name="T77" fmla="*/ 4 h 6"/>
              <a:gd name="T78" fmla="*/ 4 w 8"/>
              <a:gd name="T79" fmla="*/ 0 h 6"/>
              <a:gd name="T80" fmla="*/ 4 w 8"/>
              <a:gd name="T81" fmla="*/ 0 h 6"/>
              <a:gd name="T82" fmla="*/ 4 w 8"/>
              <a:gd name="T83" fmla="*/ 0 h 6"/>
              <a:gd name="T84" fmla="*/ 4 w 8"/>
              <a:gd name="T85" fmla="*/ 0 h 6"/>
              <a:gd name="T86" fmla="*/ 4 w 8"/>
              <a:gd name="T87" fmla="*/ 0 h 6"/>
              <a:gd name="T88" fmla="*/ 4 w 8"/>
              <a:gd name="T89" fmla="*/ 4 h 6"/>
              <a:gd name="T90" fmla="*/ 4 w 8"/>
              <a:gd name="T91" fmla="*/ 4 h 6"/>
              <a:gd name="T92" fmla="*/ 4 w 8"/>
              <a:gd name="T93" fmla="*/ 4 h 6"/>
              <a:gd name="T94" fmla="*/ 4 w 8"/>
              <a:gd name="T95" fmla="*/ 4 h 6"/>
              <a:gd name="T96" fmla="*/ 4 w 8"/>
              <a:gd name="T97" fmla="*/ 4 h 6"/>
              <a:gd name="T98" fmla="*/ 4 w 8"/>
              <a:gd name="T99" fmla="*/ 4 h 6"/>
              <a:gd name="T100" fmla="*/ 4 w 8"/>
              <a:gd name="T101"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 h="6">
                <a:moveTo>
                  <a:pt x="4" y="4"/>
                </a:moveTo>
                <a:lnTo>
                  <a:pt x="4" y="4"/>
                </a:lnTo>
                <a:lnTo>
                  <a:pt x="8" y="4"/>
                </a:lnTo>
                <a:lnTo>
                  <a:pt x="8" y="4"/>
                </a:lnTo>
                <a:lnTo>
                  <a:pt x="8" y="4"/>
                </a:lnTo>
                <a:lnTo>
                  <a:pt x="8" y="4"/>
                </a:lnTo>
                <a:lnTo>
                  <a:pt x="8" y="4"/>
                </a:lnTo>
                <a:lnTo>
                  <a:pt x="8" y="4"/>
                </a:lnTo>
                <a:lnTo>
                  <a:pt x="8" y="6"/>
                </a:lnTo>
                <a:lnTo>
                  <a:pt x="8" y="6"/>
                </a:lnTo>
                <a:lnTo>
                  <a:pt x="8" y="6"/>
                </a:lnTo>
                <a:lnTo>
                  <a:pt x="8" y="6"/>
                </a:lnTo>
                <a:lnTo>
                  <a:pt x="8" y="6"/>
                </a:lnTo>
                <a:lnTo>
                  <a:pt x="8" y="6"/>
                </a:lnTo>
                <a:lnTo>
                  <a:pt x="4" y="6"/>
                </a:lnTo>
                <a:lnTo>
                  <a:pt x="4" y="6"/>
                </a:lnTo>
                <a:lnTo>
                  <a:pt x="4" y="6"/>
                </a:lnTo>
                <a:lnTo>
                  <a:pt x="4" y="6"/>
                </a:lnTo>
                <a:lnTo>
                  <a:pt x="0" y="6"/>
                </a:lnTo>
                <a:lnTo>
                  <a:pt x="0" y="6"/>
                </a:lnTo>
                <a:lnTo>
                  <a:pt x="0" y="6"/>
                </a:lnTo>
                <a:lnTo>
                  <a:pt x="0" y="6"/>
                </a:lnTo>
                <a:lnTo>
                  <a:pt x="0" y="6"/>
                </a:lnTo>
                <a:lnTo>
                  <a:pt x="0" y="6"/>
                </a:lnTo>
                <a:lnTo>
                  <a:pt x="0" y="6"/>
                </a:lnTo>
                <a:lnTo>
                  <a:pt x="0" y="6"/>
                </a:lnTo>
                <a:lnTo>
                  <a:pt x="0" y="6"/>
                </a:lnTo>
                <a:lnTo>
                  <a:pt x="0" y="6"/>
                </a:lnTo>
                <a:lnTo>
                  <a:pt x="0" y="6"/>
                </a:lnTo>
                <a:lnTo>
                  <a:pt x="0" y="6"/>
                </a:lnTo>
                <a:lnTo>
                  <a:pt x="4" y="6"/>
                </a:lnTo>
                <a:lnTo>
                  <a:pt x="4" y="6"/>
                </a:lnTo>
                <a:lnTo>
                  <a:pt x="4" y="6"/>
                </a:lnTo>
                <a:lnTo>
                  <a:pt x="0" y="4"/>
                </a:lnTo>
                <a:lnTo>
                  <a:pt x="0" y="4"/>
                </a:lnTo>
                <a:lnTo>
                  <a:pt x="0" y="4"/>
                </a:lnTo>
                <a:lnTo>
                  <a:pt x="4" y="4"/>
                </a:lnTo>
                <a:lnTo>
                  <a:pt x="4" y="4"/>
                </a:lnTo>
                <a:lnTo>
                  <a:pt x="4" y="4"/>
                </a:lnTo>
                <a:lnTo>
                  <a:pt x="4" y="0"/>
                </a:lnTo>
                <a:lnTo>
                  <a:pt x="4" y="0"/>
                </a:lnTo>
                <a:lnTo>
                  <a:pt x="4" y="0"/>
                </a:lnTo>
                <a:lnTo>
                  <a:pt x="4" y="0"/>
                </a:lnTo>
                <a:lnTo>
                  <a:pt x="4" y="0"/>
                </a:lnTo>
                <a:lnTo>
                  <a:pt x="4" y="4"/>
                </a:lnTo>
                <a:lnTo>
                  <a:pt x="4" y="4"/>
                </a:lnTo>
                <a:lnTo>
                  <a:pt x="4" y="4"/>
                </a:lnTo>
                <a:lnTo>
                  <a:pt x="4" y="4"/>
                </a:lnTo>
                <a:lnTo>
                  <a:pt x="4" y="4"/>
                </a:lnTo>
                <a:lnTo>
                  <a:pt x="4" y="4"/>
                </a:lnTo>
                <a:lnTo>
                  <a:pt x="4" y="4"/>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93" name="Freeform 200"/>
          <p:cNvSpPr>
            <a:spLocks/>
          </p:cNvSpPr>
          <p:nvPr/>
        </p:nvSpPr>
        <p:spPr bwMode="auto">
          <a:xfrm>
            <a:off x="7165181" y="4421980"/>
            <a:ext cx="102394" cy="166688"/>
          </a:xfrm>
          <a:custGeom>
            <a:avLst/>
            <a:gdLst>
              <a:gd name="T0" fmla="*/ 52 w 86"/>
              <a:gd name="T1" fmla="*/ 124 h 140"/>
              <a:gd name="T2" fmla="*/ 44 w 86"/>
              <a:gd name="T3" fmla="*/ 136 h 140"/>
              <a:gd name="T4" fmla="*/ 38 w 86"/>
              <a:gd name="T5" fmla="*/ 136 h 140"/>
              <a:gd name="T6" fmla="*/ 30 w 86"/>
              <a:gd name="T7" fmla="*/ 136 h 140"/>
              <a:gd name="T8" fmla="*/ 34 w 86"/>
              <a:gd name="T9" fmla="*/ 124 h 140"/>
              <a:gd name="T10" fmla="*/ 38 w 86"/>
              <a:gd name="T11" fmla="*/ 112 h 140"/>
              <a:gd name="T12" fmla="*/ 30 w 86"/>
              <a:gd name="T13" fmla="*/ 106 h 140"/>
              <a:gd name="T14" fmla="*/ 22 w 86"/>
              <a:gd name="T15" fmla="*/ 98 h 140"/>
              <a:gd name="T16" fmla="*/ 18 w 86"/>
              <a:gd name="T17" fmla="*/ 90 h 140"/>
              <a:gd name="T18" fmla="*/ 30 w 86"/>
              <a:gd name="T19" fmla="*/ 86 h 140"/>
              <a:gd name="T20" fmla="*/ 30 w 86"/>
              <a:gd name="T21" fmla="*/ 72 h 140"/>
              <a:gd name="T22" fmla="*/ 30 w 86"/>
              <a:gd name="T23" fmla="*/ 64 h 140"/>
              <a:gd name="T24" fmla="*/ 30 w 86"/>
              <a:gd name="T25" fmla="*/ 56 h 140"/>
              <a:gd name="T26" fmla="*/ 26 w 86"/>
              <a:gd name="T27" fmla="*/ 54 h 140"/>
              <a:gd name="T28" fmla="*/ 34 w 86"/>
              <a:gd name="T29" fmla="*/ 54 h 140"/>
              <a:gd name="T30" fmla="*/ 26 w 86"/>
              <a:gd name="T31" fmla="*/ 46 h 140"/>
              <a:gd name="T32" fmla="*/ 26 w 86"/>
              <a:gd name="T33" fmla="*/ 42 h 140"/>
              <a:gd name="T34" fmla="*/ 26 w 86"/>
              <a:gd name="T35" fmla="*/ 34 h 140"/>
              <a:gd name="T36" fmla="*/ 22 w 86"/>
              <a:gd name="T37" fmla="*/ 34 h 140"/>
              <a:gd name="T38" fmla="*/ 18 w 86"/>
              <a:gd name="T39" fmla="*/ 30 h 140"/>
              <a:gd name="T40" fmla="*/ 18 w 86"/>
              <a:gd name="T41" fmla="*/ 38 h 140"/>
              <a:gd name="T42" fmla="*/ 14 w 86"/>
              <a:gd name="T43" fmla="*/ 26 h 140"/>
              <a:gd name="T44" fmla="*/ 14 w 86"/>
              <a:gd name="T45" fmla="*/ 16 h 140"/>
              <a:gd name="T46" fmla="*/ 12 w 86"/>
              <a:gd name="T47" fmla="*/ 20 h 140"/>
              <a:gd name="T48" fmla="*/ 4 w 86"/>
              <a:gd name="T49" fmla="*/ 8 h 140"/>
              <a:gd name="T50" fmla="*/ 8 w 86"/>
              <a:gd name="T51" fmla="*/ 0 h 140"/>
              <a:gd name="T52" fmla="*/ 4 w 86"/>
              <a:gd name="T53" fmla="*/ 4 h 140"/>
              <a:gd name="T54" fmla="*/ 8 w 86"/>
              <a:gd name="T55" fmla="*/ 12 h 140"/>
              <a:gd name="T56" fmla="*/ 14 w 86"/>
              <a:gd name="T57" fmla="*/ 12 h 140"/>
              <a:gd name="T58" fmla="*/ 22 w 86"/>
              <a:gd name="T59" fmla="*/ 16 h 140"/>
              <a:gd name="T60" fmla="*/ 26 w 86"/>
              <a:gd name="T61" fmla="*/ 20 h 140"/>
              <a:gd name="T62" fmla="*/ 26 w 86"/>
              <a:gd name="T63" fmla="*/ 26 h 140"/>
              <a:gd name="T64" fmla="*/ 30 w 86"/>
              <a:gd name="T65" fmla="*/ 30 h 140"/>
              <a:gd name="T66" fmla="*/ 30 w 86"/>
              <a:gd name="T67" fmla="*/ 46 h 140"/>
              <a:gd name="T68" fmla="*/ 34 w 86"/>
              <a:gd name="T69" fmla="*/ 50 h 140"/>
              <a:gd name="T70" fmla="*/ 40 w 86"/>
              <a:gd name="T71" fmla="*/ 50 h 140"/>
              <a:gd name="T72" fmla="*/ 38 w 86"/>
              <a:gd name="T73" fmla="*/ 38 h 140"/>
              <a:gd name="T74" fmla="*/ 44 w 86"/>
              <a:gd name="T75" fmla="*/ 50 h 140"/>
              <a:gd name="T76" fmla="*/ 48 w 86"/>
              <a:gd name="T77" fmla="*/ 54 h 140"/>
              <a:gd name="T78" fmla="*/ 48 w 86"/>
              <a:gd name="T79" fmla="*/ 60 h 140"/>
              <a:gd name="T80" fmla="*/ 52 w 86"/>
              <a:gd name="T81" fmla="*/ 64 h 140"/>
              <a:gd name="T82" fmla="*/ 64 w 86"/>
              <a:gd name="T83" fmla="*/ 68 h 140"/>
              <a:gd name="T84" fmla="*/ 74 w 86"/>
              <a:gd name="T85" fmla="*/ 64 h 140"/>
              <a:gd name="T86" fmla="*/ 86 w 86"/>
              <a:gd name="T87" fmla="*/ 64 h 140"/>
              <a:gd name="T88" fmla="*/ 82 w 86"/>
              <a:gd name="T89" fmla="*/ 76 h 140"/>
              <a:gd name="T90" fmla="*/ 74 w 86"/>
              <a:gd name="T91" fmla="*/ 86 h 140"/>
              <a:gd name="T92" fmla="*/ 70 w 86"/>
              <a:gd name="T93" fmla="*/ 90 h 140"/>
              <a:gd name="T94" fmla="*/ 60 w 86"/>
              <a:gd name="T95" fmla="*/ 98 h 140"/>
              <a:gd name="T96" fmla="*/ 60 w 86"/>
              <a:gd name="T97" fmla="*/ 112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 h="140">
                <a:moveTo>
                  <a:pt x="56" y="116"/>
                </a:moveTo>
                <a:lnTo>
                  <a:pt x="56" y="120"/>
                </a:lnTo>
                <a:lnTo>
                  <a:pt x="52" y="120"/>
                </a:lnTo>
                <a:lnTo>
                  <a:pt x="52" y="124"/>
                </a:lnTo>
                <a:lnTo>
                  <a:pt x="52" y="128"/>
                </a:lnTo>
                <a:lnTo>
                  <a:pt x="48" y="128"/>
                </a:lnTo>
                <a:lnTo>
                  <a:pt x="48" y="132"/>
                </a:lnTo>
                <a:lnTo>
                  <a:pt x="44" y="136"/>
                </a:lnTo>
                <a:lnTo>
                  <a:pt x="40" y="136"/>
                </a:lnTo>
                <a:lnTo>
                  <a:pt x="40" y="140"/>
                </a:lnTo>
                <a:lnTo>
                  <a:pt x="38" y="140"/>
                </a:lnTo>
                <a:lnTo>
                  <a:pt x="38" y="136"/>
                </a:lnTo>
                <a:lnTo>
                  <a:pt x="34" y="136"/>
                </a:lnTo>
                <a:lnTo>
                  <a:pt x="34" y="132"/>
                </a:lnTo>
                <a:lnTo>
                  <a:pt x="30" y="132"/>
                </a:lnTo>
                <a:lnTo>
                  <a:pt x="30" y="136"/>
                </a:lnTo>
                <a:lnTo>
                  <a:pt x="30" y="132"/>
                </a:lnTo>
                <a:lnTo>
                  <a:pt x="30" y="128"/>
                </a:lnTo>
                <a:lnTo>
                  <a:pt x="34" y="128"/>
                </a:lnTo>
                <a:lnTo>
                  <a:pt x="34" y="124"/>
                </a:lnTo>
                <a:lnTo>
                  <a:pt x="34" y="120"/>
                </a:lnTo>
                <a:lnTo>
                  <a:pt x="38" y="120"/>
                </a:lnTo>
                <a:lnTo>
                  <a:pt x="38" y="116"/>
                </a:lnTo>
                <a:lnTo>
                  <a:pt x="38" y="112"/>
                </a:lnTo>
                <a:lnTo>
                  <a:pt x="38" y="110"/>
                </a:lnTo>
                <a:lnTo>
                  <a:pt x="34" y="110"/>
                </a:lnTo>
                <a:lnTo>
                  <a:pt x="34" y="106"/>
                </a:lnTo>
                <a:lnTo>
                  <a:pt x="30" y="106"/>
                </a:lnTo>
                <a:lnTo>
                  <a:pt x="26" y="106"/>
                </a:lnTo>
                <a:lnTo>
                  <a:pt x="26" y="102"/>
                </a:lnTo>
                <a:lnTo>
                  <a:pt x="22" y="102"/>
                </a:lnTo>
                <a:lnTo>
                  <a:pt x="22" y="98"/>
                </a:lnTo>
                <a:lnTo>
                  <a:pt x="18" y="98"/>
                </a:lnTo>
                <a:lnTo>
                  <a:pt x="14" y="94"/>
                </a:lnTo>
                <a:lnTo>
                  <a:pt x="14" y="90"/>
                </a:lnTo>
                <a:lnTo>
                  <a:pt x="18" y="90"/>
                </a:lnTo>
                <a:lnTo>
                  <a:pt x="22" y="90"/>
                </a:lnTo>
                <a:lnTo>
                  <a:pt x="22" y="86"/>
                </a:lnTo>
                <a:lnTo>
                  <a:pt x="26" y="86"/>
                </a:lnTo>
                <a:lnTo>
                  <a:pt x="30" y="86"/>
                </a:lnTo>
                <a:lnTo>
                  <a:pt x="30" y="82"/>
                </a:lnTo>
                <a:lnTo>
                  <a:pt x="30" y="80"/>
                </a:lnTo>
                <a:lnTo>
                  <a:pt x="30" y="76"/>
                </a:lnTo>
                <a:lnTo>
                  <a:pt x="30" y="72"/>
                </a:lnTo>
                <a:lnTo>
                  <a:pt x="34" y="72"/>
                </a:lnTo>
                <a:lnTo>
                  <a:pt x="34" y="68"/>
                </a:lnTo>
                <a:lnTo>
                  <a:pt x="30" y="68"/>
                </a:lnTo>
                <a:lnTo>
                  <a:pt x="30" y="64"/>
                </a:lnTo>
                <a:lnTo>
                  <a:pt x="34" y="64"/>
                </a:lnTo>
                <a:lnTo>
                  <a:pt x="30" y="64"/>
                </a:lnTo>
                <a:lnTo>
                  <a:pt x="30" y="60"/>
                </a:lnTo>
                <a:lnTo>
                  <a:pt x="30" y="56"/>
                </a:lnTo>
                <a:lnTo>
                  <a:pt x="34" y="56"/>
                </a:lnTo>
                <a:lnTo>
                  <a:pt x="30" y="56"/>
                </a:lnTo>
                <a:lnTo>
                  <a:pt x="30" y="54"/>
                </a:lnTo>
                <a:lnTo>
                  <a:pt x="26" y="54"/>
                </a:lnTo>
                <a:lnTo>
                  <a:pt x="26" y="50"/>
                </a:lnTo>
                <a:lnTo>
                  <a:pt x="30" y="50"/>
                </a:lnTo>
                <a:lnTo>
                  <a:pt x="30" y="54"/>
                </a:lnTo>
                <a:lnTo>
                  <a:pt x="34" y="54"/>
                </a:lnTo>
                <a:lnTo>
                  <a:pt x="34" y="50"/>
                </a:lnTo>
                <a:lnTo>
                  <a:pt x="30" y="50"/>
                </a:lnTo>
                <a:lnTo>
                  <a:pt x="26" y="50"/>
                </a:lnTo>
                <a:lnTo>
                  <a:pt x="26" y="46"/>
                </a:lnTo>
                <a:lnTo>
                  <a:pt x="22" y="42"/>
                </a:lnTo>
                <a:lnTo>
                  <a:pt x="22" y="38"/>
                </a:lnTo>
                <a:lnTo>
                  <a:pt x="22" y="42"/>
                </a:lnTo>
                <a:lnTo>
                  <a:pt x="26" y="42"/>
                </a:lnTo>
                <a:lnTo>
                  <a:pt x="26" y="38"/>
                </a:lnTo>
                <a:lnTo>
                  <a:pt x="22" y="38"/>
                </a:lnTo>
                <a:lnTo>
                  <a:pt x="26" y="38"/>
                </a:lnTo>
                <a:lnTo>
                  <a:pt x="26" y="34"/>
                </a:lnTo>
                <a:lnTo>
                  <a:pt x="26" y="38"/>
                </a:lnTo>
                <a:lnTo>
                  <a:pt x="22" y="38"/>
                </a:lnTo>
                <a:lnTo>
                  <a:pt x="26" y="34"/>
                </a:lnTo>
                <a:lnTo>
                  <a:pt x="22" y="34"/>
                </a:lnTo>
                <a:lnTo>
                  <a:pt x="18" y="34"/>
                </a:lnTo>
                <a:lnTo>
                  <a:pt x="18" y="30"/>
                </a:lnTo>
                <a:lnTo>
                  <a:pt x="18" y="26"/>
                </a:lnTo>
                <a:lnTo>
                  <a:pt x="18" y="30"/>
                </a:lnTo>
                <a:lnTo>
                  <a:pt x="18" y="34"/>
                </a:lnTo>
                <a:lnTo>
                  <a:pt x="22" y="34"/>
                </a:lnTo>
                <a:lnTo>
                  <a:pt x="22" y="38"/>
                </a:lnTo>
                <a:lnTo>
                  <a:pt x="18" y="38"/>
                </a:lnTo>
                <a:lnTo>
                  <a:pt x="18" y="34"/>
                </a:lnTo>
                <a:lnTo>
                  <a:pt x="18" y="30"/>
                </a:lnTo>
                <a:lnTo>
                  <a:pt x="14" y="30"/>
                </a:lnTo>
                <a:lnTo>
                  <a:pt x="14" y="26"/>
                </a:lnTo>
                <a:lnTo>
                  <a:pt x="12" y="24"/>
                </a:lnTo>
                <a:lnTo>
                  <a:pt x="12" y="20"/>
                </a:lnTo>
                <a:lnTo>
                  <a:pt x="14" y="20"/>
                </a:lnTo>
                <a:lnTo>
                  <a:pt x="14" y="16"/>
                </a:lnTo>
                <a:lnTo>
                  <a:pt x="14" y="20"/>
                </a:lnTo>
                <a:lnTo>
                  <a:pt x="12" y="20"/>
                </a:lnTo>
                <a:lnTo>
                  <a:pt x="12" y="24"/>
                </a:lnTo>
                <a:lnTo>
                  <a:pt x="12" y="20"/>
                </a:lnTo>
                <a:lnTo>
                  <a:pt x="8" y="20"/>
                </a:lnTo>
                <a:lnTo>
                  <a:pt x="8" y="16"/>
                </a:lnTo>
                <a:lnTo>
                  <a:pt x="8" y="12"/>
                </a:lnTo>
                <a:lnTo>
                  <a:pt x="4" y="8"/>
                </a:lnTo>
                <a:lnTo>
                  <a:pt x="4" y="4"/>
                </a:lnTo>
                <a:lnTo>
                  <a:pt x="0" y="0"/>
                </a:lnTo>
                <a:lnTo>
                  <a:pt x="4" y="0"/>
                </a:lnTo>
                <a:lnTo>
                  <a:pt x="8" y="0"/>
                </a:lnTo>
                <a:lnTo>
                  <a:pt x="8" y="4"/>
                </a:lnTo>
                <a:lnTo>
                  <a:pt x="8" y="0"/>
                </a:lnTo>
                <a:lnTo>
                  <a:pt x="4" y="0"/>
                </a:lnTo>
                <a:lnTo>
                  <a:pt x="4" y="4"/>
                </a:lnTo>
                <a:lnTo>
                  <a:pt x="8" y="4"/>
                </a:lnTo>
                <a:lnTo>
                  <a:pt x="8" y="8"/>
                </a:lnTo>
                <a:lnTo>
                  <a:pt x="12" y="12"/>
                </a:lnTo>
                <a:lnTo>
                  <a:pt x="8" y="12"/>
                </a:lnTo>
                <a:lnTo>
                  <a:pt x="12" y="12"/>
                </a:lnTo>
                <a:lnTo>
                  <a:pt x="12" y="8"/>
                </a:lnTo>
                <a:lnTo>
                  <a:pt x="12" y="12"/>
                </a:lnTo>
                <a:lnTo>
                  <a:pt x="14" y="12"/>
                </a:lnTo>
                <a:lnTo>
                  <a:pt x="18" y="12"/>
                </a:lnTo>
                <a:lnTo>
                  <a:pt x="22" y="16"/>
                </a:lnTo>
                <a:lnTo>
                  <a:pt x="18" y="16"/>
                </a:lnTo>
                <a:lnTo>
                  <a:pt x="22" y="16"/>
                </a:lnTo>
                <a:lnTo>
                  <a:pt x="22" y="20"/>
                </a:lnTo>
                <a:lnTo>
                  <a:pt x="22" y="16"/>
                </a:lnTo>
                <a:lnTo>
                  <a:pt x="26" y="16"/>
                </a:lnTo>
                <a:lnTo>
                  <a:pt x="26" y="20"/>
                </a:lnTo>
                <a:lnTo>
                  <a:pt x="26" y="24"/>
                </a:lnTo>
                <a:lnTo>
                  <a:pt x="30" y="24"/>
                </a:lnTo>
                <a:lnTo>
                  <a:pt x="26" y="24"/>
                </a:lnTo>
                <a:lnTo>
                  <a:pt x="26" y="26"/>
                </a:lnTo>
                <a:lnTo>
                  <a:pt x="30" y="26"/>
                </a:lnTo>
                <a:lnTo>
                  <a:pt x="26" y="26"/>
                </a:lnTo>
                <a:lnTo>
                  <a:pt x="26" y="30"/>
                </a:lnTo>
                <a:lnTo>
                  <a:pt x="30" y="30"/>
                </a:lnTo>
                <a:lnTo>
                  <a:pt x="30" y="34"/>
                </a:lnTo>
                <a:lnTo>
                  <a:pt x="30" y="38"/>
                </a:lnTo>
                <a:lnTo>
                  <a:pt x="30" y="42"/>
                </a:lnTo>
                <a:lnTo>
                  <a:pt x="30" y="46"/>
                </a:lnTo>
                <a:lnTo>
                  <a:pt x="34" y="46"/>
                </a:lnTo>
                <a:lnTo>
                  <a:pt x="34" y="50"/>
                </a:lnTo>
                <a:lnTo>
                  <a:pt x="34" y="46"/>
                </a:lnTo>
                <a:lnTo>
                  <a:pt x="34" y="50"/>
                </a:lnTo>
                <a:lnTo>
                  <a:pt x="38" y="50"/>
                </a:lnTo>
                <a:lnTo>
                  <a:pt x="38" y="54"/>
                </a:lnTo>
                <a:lnTo>
                  <a:pt x="40" y="54"/>
                </a:lnTo>
                <a:lnTo>
                  <a:pt x="40" y="50"/>
                </a:lnTo>
                <a:lnTo>
                  <a:pt x="40" y="46"/>
                </a:lnTo>
                <a:lnTo>
                  <a:pt x="40" y="42"/>
                </a:lnTo>
                <a:lnTo>
                  <a:pt x="38" y="42"/>
                </a:lnTo>
                <a:lnTo>
                  <a:pt x="38" y="38"/>
                </a:lnTo>
                <a:lnTo>
                  <a:pt x="40" y="42"/>
                </a:lnTo>
                <a:lnTo>
                  <a:pt x="40" y="46"/>
                </a:lnTo>
                <a:lnTo>
                  <a:pt x="44" y="46"/>
                </a:lnTo>
                <a:lnTo>
                  <a:pt x="44" y="50"/>
                </a:lnTo>
                <a:lnTo>
                  <a:pt x="44" y="46"/>
                </a:lnTo>
                <a:lnTo>
                  <a:pt x="44" y="50"/>
                </a:lnTo>
                <a:lnTo>
                  <a:pt x="48" y="50"/>
                </a:lnTo>
                <a:lnTo>
                  <a:pt x="48" y="54"/>
                </a:lnTo>
                <a:lnTo>
                  <a:pt x="44" y="54"/>
                </a:lnTo>
                <a:lnTo>
                  <a:pt x="48" y="54"/>
                </a:lnTo>
                <a:lnTo>
                  <a:pt x="48" y="56"/>
                </a:lnTo>
                <a:lnTo>
                  <a:pt x="48" y="60"/>
                </a:lnTo>
                <a:lnTo>
                  <a:pt x="52" y="60"/>
                </a:lnTo>
                <a:lnTo>
                  <a:pt x="48" y="60"/>
                </a:lnTo>
                <a:lnTo>
                  <a:pt x="48" y="64"/>
                </a:lnTo>
                <a:lnTo>
                  <a:pt x="52" y="64"/>
                </a:lnTo>
                <a:lnTo>
                  <a:pt x="56" y="64"/>
                </a:lnTo>
                <a:lnTo>
                  <a:pt x="56" y="68"/>
                </a:lnTo>
                <a:lnTo>
                  <a:pt x="60" y="68"/>
                </a:lnTo>
                <a:lnTo>
                  <a:pt x="64" y="68"/>
                </a:lnTo>
                <a:lnTo>
                  <a:pt x="66" y="68"/>
                </a:lnTo>
                <a:lnTo>
                  <a:pt x="70" y="68"/>
                </a:lnTo>
                <a:lnTo>
                  <a:pt x="70" y="64"/>
                </a:lnTo>
                <a:lnTo>
                  <a:pt x="74" y="64"/>
                </a:lnTo>
                <a:lnTo>
                  <a:pt x="74" y="60"/>
                </a:lnTo>
                <a:lnTo>
                  <a:pt x="78" y="60"/>
                </a:lnTo>
                <a:lnTo>
                  <a:pt x="82" y="60"/>
                </a:lnTo>
                <a:lnTo>
                  <a:pt x="86" y="64"/>
                </a:lnTo>
                <a:lnTo>
                  <a:pt x="82" y="64"/>
                </a:lnTo>
                <a:lnTo>
                  <a:pt x="82" y="68"/>
                </a:lnTo>
                <a:lnTo>
                  <a:pt x="82" y="72"/>
                </a:lnTo>
                <a:lnTo>
                  <a:pt x="82" y="76"/>
                </a:lnTo>
                <a:lnTo>
                  <a:pt x="82" y="80"/>
                </a:lnTo>
                <a:lnTo>
                  <a:pt x="78" y="82"/>
                </a:lnTo>
                <a:lnTo>
                  <a:pt x="74" y="82"/>
                </a:lnTo>
                <a:lnTo>
                  <a:pt x="74" y="86"/>
                </a:lnTo>
                <a:lnTo>
                  <a:pt x="74" y="90"/>
                </a:lnTo>
                <a:lnTo>
                  <a:pt x="74" y="94"/>
                </a:lnTo>
                <a:lnTo>
                  <a:pt x="74" y="90"/>
                </a:lnTo>
                <a:lnTo>
                  <a:pt x="70" y="90"/>
                </a:lnTo>
                <a:lnTo>
                  <a:pt x="66" y="90"/>
                </a:lnTo>
                <a:lnTo>
                  <a:pt x="64" y="90"/>
                </a:lnTo>
                <a:lnTo>
                  <a:pt x="60" y="94"/>
                </a:lnTo>
                <a:lnTo>
                  <a:pt x="60" y="98"/>
                </a:lnTo>
                <a:lnTo>
                  <a:pt x="60" y="102"/>
                </a:lnTo>
                <a:lnTo>
                  <a:pt x="64" y="102"/>
                </a:lnTo>
                <a:lnTo>
                  <a:pt x="60" y="110"/>
                </a:lnTo>
                <a:lnTo>
                  <a:pt x="60" y="112"/>
                </a:lnTo>
                <a:lnTo>
                  <a:pt x="56" y="116"/>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94" name="Freeform 201"/>
          <p:cNvSpPr>
            <a:spLocks/>
          </p:cNvSpPr>
          <p:nvPr/>
        </p:nvSpPr>
        <p:spPr bwMode="auto">
          <a:xfrm>
            <a:off x="7165181" y="4421980"/>
            <a:ext cx="102394" cy="166688"/>
          </a:xfrm>
          <a:custGeom>
            <a:avLst/>
            <a:gdLst>
              <a:gd name="T0" fmla="*/ 52 w 86"/>
              <a:gd name="T1" fmla="*/ 124 h 140"/>
              <a:gd name="T2" fmla="*/ 44 w 86"/>
              <a:gd name="T3" fmla="*/ 136 h 140"/>
              <a:gd name="T4" fmla="*/ 38 w 86"/>
              <a:gd name="T5" fmla="*/ 136 h 140"/>
              <a:gd name="T6" fmla="*/ 30 w 86"/>
              <a:gd name="T7" fmla="*/ 136 h 140"/>
              <a:gd name="T8" fmla="*/ 34 w 86"/>
              <a:gd name="T9" fmla="*/ 124 h 140"/>
              <a:gd name="T10" fmla="*/ 38 w 86"/>
              <a:gd name="T11" fmla="*/ 112 h 140"/>
              <a:gd name="T12" fmla="*/ 30 w 86"/>
              <a:gd name="T13" fmla="*/ 106 h 140"/>
              <a:gd name="T14" fmla="*/ 22 w 86"/>
              <a:gd name="T15" fmla="*/ 98 h 140"/>
              <a:gd name="T16" fmla="*/ 18 w 86"/>
              <a:gd name="T17" fmla="*/ 90 h 140"/>
              <a:gd name="T18" fmla="*/ 30 w 86"/>
              <a:gd name="T19" fmla="*/ 86 h 140"/>
              <a:gd name="T20" fmla="*/ 30 w 86"/>
              <a:gd name="T21" fmla="*/ 72 h 140"/>
              <a:gd name="T22" fmla="*/ 30 w 86"/>
              <a:gd name="T23" fmla="*/ 64 h 140"/>
              <a:gd name="T24" fmla="*/ 30 w 86"/>
              <a:gd name="T25" fmla="*/ 56 h 140"/>
              <a:gd name="T26" fmla="*/ 26 w 86"/>
              <a:gd name="T27" fmla="*/ 54 h 140"/>
              <a:gd name="T28" fmla="*/ 34 w 86"/>
              <a:gd name="T29" fmla="*/ 54 h 140"/>
              <a:gd name="T30" fmla="*/ 26 w 86"/>
              <a:gd name="T31" fmla="*/ 46 h 140"/>
              <a:gd name="T32" fmla="*/ 26 w 86"/>
              <a:gd name="T33" fmla="*/ 42 h 140"/>
              <a:gd name="T34" fmla="*/ 26 w 86"/>
              <a:gd name="T35" fmla="*/ 34 h 140"/>
              <a:gd name="T36" fmla="*/ 22 w 86"/>
              <a:gd name="T37" fmla="*/ 34 h 140"/>
              <a:gd name="T38" fmla="*/ 18 w 86"/>
              <a:gd name="T39" fmla="*/ 30 h 140"/>
              <a:gd name="T40" fmla="*/ 18 w 86"/>
              <a:gd name="T41" fmla="*/ 38 h 140"/>
              <a:gd name="T42" fmla="*/ 14 w 86"/>
              <a:gd name="T43" fmla="*/ 26 h 140"/>
              <a:gd name="T44" fmla="*/ 14 w 86"/>
              <a:gd name="T45" fmla="*/ 16 h 140"/>
              <a:gd name="T46" fmla="*/ 12 w 86"/>
              <a:gd name="T47" fmla="*/ 20 h 140"/>
              <a:gd name="T48" fmla="*/ 4 w 86"/>
              <a:gd name="T49" fmla="*/ 8 h 140"/>
              <a:gd name="T50" fmla="*/ 8 w 86"/>
              <a:gd name="T51" fmla="*/ 0 h 140"/>
              <a:gd name="T52" fmla="*/ 4 w 86"/>
              <a:gd name="T53" fmla="*/ 4 h 140"/>
              <a:gd name="T54" fmla="*/ 8 w 86"/>
              <a:gd name="T55" fmla="*/ 12 h 140"/>
              <a:gd name="T56" fmla="*/ 14 w 86"/>
              <a:gd name="T57" fmla="*/ 12 h 140"/>
              <a:gd name="T58" fmla="*/ 22 w 86"/>
              <a:gd name="T59" fmla="*/ 16 h 140"/>
              <a:gd name="T60" fmla="*/ 26 w 86"/>
              <a:gd name="T61" fmla="*/ 20 h 140"/>
              <a:gd name="T62" fmla="*/ 26 w 86"/>
              <a:gd name="T63" fmla="*/ 26 h 140"/>
              <a:gd name="T64" fmla="*/ 30 w 86"/>
              <a:gd name="T65" fmla="*/ 30 h 140"/>
              <a:gd name="T66" fmla="*/ 30 w 86"/>
              <a:gd name="T67" fmla="*/ 46 h 140"/>
              <a:gd name="T68" fmla="*/ 34 w 86"/>
              <a:gd name="T69" fmla="*/ 50 h 140"/>
              <a:gd name="T70" fmla="*/ 40 w 86"/>
              <a:gd name="T71" fmla="*/ 50 h 140"/>
              <a:gd name="T72" fmla="*/ 38 w 86"/>
              <a:gd name="T73" fmla="*/ 38 h 140"/>
              <a:gd name="T74" fmla="*/ 44 w 86"/>
              <a:gd name="T75" fmla="*/ 50 h 140"/>
              <a:gd name="T76" fmla="*/ 48 w 86"/>
              <a:gd name="T77" fmla="*/ 54 h 140"/>
              <a:gd name="T78" fmla="*/ 48 w 86"/>
              <a:gd name="T79" fmla="*/ 60 h 140"/>
              <a:gd name="T80" fmla="*/ 52 w 86"/>
              <a:gd name="T81" fmla="*/ 64 h 140"/>
              <a:gd name="T82" fmla="*/ 64 w 86"/>
              <a:gd name="T83" fmla="*/ 68 h 140"/>
              <a:gd name="T84" fmla="*/ 74 w 86"/>
              <a:gd name="T85" fmla="*/ 64 h 140"/>
              <a:gd name="T86" fmla="*/ 86 w 86"/>
              <a:gd name="T87" fmla="*/ 64 h 140"/>
              <a:gd name="T88" fmla="*/ 82 w 86"/>
              <a:gd name="T89" fmla="*/ 76 h 140"/>
              <a:gd name="T90" fmla="*/ 74 w 86"/>
              <a:gd name="T91" fmla="*/ 86 h 140"/>
              <a:gd name="T92" fmla="*/ 70 w 86"/>
              <a:gd name="T93" fmla="*/ 90 h 140"/>
              <a:gd name="T94" fmla="*/ 60 w 86"/>
              <a:gd name="T95" fmla="*/ 98 h 140"/>
              <a:gd name="T96" fmla="*/ 60 w 86"/>
              <a:gd name="T97" fmla="*/ 112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 h="140">
                <a:moveTo>
                  <a:pt x="56" y="116"/>
                </a:moveTo>
                <a:lnTo>
                  <a:pt x="56" y="120"/>
                </a:lnTo>
                <a:lnTo>
                  <a:pt x="52" y="120"/>
                </a:lnTo>
                <a:lnTo>
                  <a:pt x="52" y="124"/>
                </a:lnTo>
                <a:lnTo>
                  <a:pt x="52" y="128"/>
                </a:lnTo>
                <a:lnTo>
                  <a:pt x="48" y="128"/>
                </a:lnTo>
                <a:lnTo>
                  <a:pt x="48" y="132"/>
                </a:lnTo>
                <a:lnTo>
                  <a:pt x="44" y="136"/>
                </a:lnTo>
                <a:lnTo>
                  <a:pt x="40" y="136"/>
                </a:lnTo>
                <a:lnTo>
                  <a:pt x="40" y="140"/>
                </a:lnTo>
                <a:lnTo>
                  <a:pt x="38" y="140"/>
                </a:lnTo>
                <a:lnTo>
                  <a:pt x="38" y="136"/>
                </a:lnTo>
                <a:lnTo>
                  <a:pt x="34" y="136"/>
                </a:lnTo>
                <a:lnTo>
                  <a:pt x="34" y="132"/>
                </a:lnTo>
                <a:lnTo>
                  <a:pt x="30" y="132"/>
                </a:lnTo>
                <a:lnTo>
                  <a:pt x="30" y="136"/>
                </a:lnTo>
                <a:lnTo>
                  <a:pt x="30" y="132"/>
                </a:lnTo>
                <a:lnTo>
                  <a:pt x="30" y="128"/>
                </a:lnTo>
                <a:lnTo>
                  <a:pt x="34" y="128"/>
                </a:lnTo>
                <a:lnTo>
                  <a:pt x="34" y="124"/>
                </a:lnTo>
                <a:lnTo>
                  <a:pt x="34" y="120"/>
                </a:lnTo>
                <a:lnTo>
                  <a:pt x="38" y="120"/>
                </a:lnTo>
                <a:lnTo>
                  <a:pt x="38" y="116"/>
                </a:lnTo>
                <a:lnTo>
                  <a:pt x="38" y="112"/>
                </a:lnTo>
                <a:lnTo>
                  <a:pt x="38" y="110"/>
                </a:lnTo>
                <a:lnTo>
                  <a:pt x="34" y="110"/>
                </a:lnTo>
                <a:lnTo>
                  <a:pt x="34" y="106"/>
                </a:lnTo>
                <a:lnTo>
                  <a:pt x="30" y="106"/>
                </a:lnTo>
                <a:lnTo>
                  <a:pt x="26" y="106"/>
                </a:lnTo>
                <a:lnTo>
                  <a:pt x="26" y="102"/>
                </a:lnTo>
                <a:lnTo>
                  <a:pt x="22" y="102"/>
                </a:lnTo>
                <a:lnTo>
                  <a:pt x="22" y="98"/>
                </a:lnTo>
                <a:lnTo>
                  <a:pt x="18" y="98"/>
                </a:lnTo>
                <a:lnTo>
                  <a:pt x="14" y="94"/>
                </a:lnTo>
                <a:lnTo>
                  <a:pt x="14" y="90"/>
                </a:lnTo>
                <a:lnTo>
                  <a:pt x="18" y="90"/>
                </a:lnTo>
                <a:lnTo>
                  <a:pt x="22" y="90"/>
                </a:lnTo>
                <a:lnTo>
                  <a:pt x="22" y="86"/>
                </a:lnTo>
                <a:lnTo>
                  <a:pt x="26" y="86"/>
                </a:lnTo>
                <a:lnTo>
                  <a:pt x="30" y="86"/>
                </a:lnTo>
                <a:lnTo>
                  <a:pt x="30" y="82"/>
                </a:lnTo>
                <a:lnTo>
                  <a:pt x="30" y="80"/>
                </a:lnTo>
                <a:lnTo>
                  <a:pt x="30" y="76"/>
                </a:lnTo>
                <a:lnTo>
                  <a:pt x="30" y="72"/>
                </a:lnTo>
                <a:lnTo>
                  <a:pt x="34" y="72"/>
                </a:lnTo>
                <a:lnTo>
                  <a:pt x="34" y="68"/>
                </a:lnTo>
                <a:lnTo>
                  <a:pt x="30" y="68"/>
                </a:lnTo>
                <a:lnTo>
                  <a:pt x="30" y="64"/>
                </a:lnTo>
                <a:lnTo>
                  <a:pt x="34" y="64"/>
                </a:lnTo>
                <a:lnTo>
                  <a:pt x="30" y="64"/>
                </a:lnTo>
                <a:lnTo>
                  <a:pt x="30" y="60"/>
                </a:lnTo>
                <a:lnTo>
                  <a:pt x="30" y="56"/>
                </a:lnTo>
                <a:lnTo>
                  <a:pt x="34" y="56"/>
                </a:lnTo>
                <a:lnTo>
                  <a:pt x="30" y="56"/>
                </a:lnTo>
                <a:lnTo>
                  <a:pt x="30" y="54"/>
                </a:lnTo>
                <a:lnTo>
                  <a:pt x="26" y="54"/>
                </a:lnTo>
                <a:lnTo>
                  <a:pt x="26" y="50"/>
                </a:lnTo>
                <a:lnTo>
                  <a:pt x="30" y="50"/>
                </a:lnTo>
                <a:lnTo>
                  <a:pt x="30" y="54"/>
                </a:lnTo>
                <a:lnTo>
                  <a:pt x="34" y="54"/>
                </a:lnTo>
                <a:lnTo>
                  <a:pt x="34" y="50"/>
                </a:lnTo>
                <a:lnTo>
                  <a:pt x="30" y="50"/>
                </a:lnTo>
                <a:lnTo>
                  <a:pt x="26" y="50"/>
                </a:lnTo>
                <a:lnTo>
                  <a:pt x="26" y="46"/>
                </a:lnTo>
                <a:lnTo>
                  <a:pt x="22" y="42"/>
                </a:lnTo>
                <a:lnTo>
                  <a:pt x="22" y="38"/>
                </a:lnTo>
                <a:lnTo>
                  <a:pt x="22" y="42"/>
                </a:lnTo>
                <a:lnTo>
                  <a:pt x="26" y="42"/>
                </a:lnTo>
                <a:lnTo>
                  <a:pt x="26" y="38"/>
                </a:lnTo>
                <a:lnTo>
                  <a:pt x="22" y="38"/>
                </a:lnTo>
                <a:lnTo>
                  <a:pt x="26" y="38"/>
                </a:lnTo>
                <a:lnTo>
                  <a:pt x="26" y="34"/>
                </a:lnTo>
                <a:lnTo>
                  <a:pt x="26" y="38"/>
                </a:lnTo>
                <a:lnTo>
                  <a:pt x="22" y="38"/>
                </a:lnTo>
                <a:lnTo>
                  <a:pt x="26" y="34"/>
                </a:lnTo>
                <a:lnTo>
                  <a:pt x="22" y="34"/>
                </a:lnTo>
                <a:lnTo>
                  <a:pt x="18" y="34"/>
                </a:lnTo>
                <a:lnTo>
                  <a:pt x="18" y="30"/>
                </a:lnTo>
                <a:lnTo>
                  <a:pt x="18" y="26"/>
                </a:lnTo>
                <a:lnTo>
                  <a:pt x="18" y="30"/>
                </a:lnTo>
                <a:lnTo>
                  <a:pt x="18" y="34"/>
                </a:lnTo>
                <a:lnTo>
                  <a:pt x="22" y="34"/>
                </a:lnTo>
                <a:lnTo>
                  <a:pt x="22" y="38"/>
                </a:lnTo>
                <a:lnTo>
                  <a:pt x="18" y="38"/>
                </a:lnTo>
                <a:lnTo>
                  <a:pt x="18" y="34"/>
                </a:lnTo>
                <a:lnTo>
                  <a:pt x="18" y="30"/>
                </a:lnTo>
                <a:lnTo>
                  <a:pt x="14" y="30"/>
                </a:lnTo>
                <a:lnTo>
                  <a:pt x="14" y="26"/>
                </a:lnTo>
                <a:lnTo>
                  <a:pt x="12" y="24"/>
                </a:lnTo>
                <a:lnTo>
                  <a:pt x="12" y="20"/>
                </a:lnTo>
                <a:lnTo>
                  <a:pt x="14" y="20"/>
                </a:lnTo>
                <a:lnTo>
                  <a:pt x="14" y="16"/>
                </a:lnTo>
                <a:lnTo>
                  <a:pt x="14" y="20"/>
                </a:lnTo>
                <a:lnTo>
                  <a:pt x="12" y="20"/>
                </a:lnTo>
                <a:lnTo>
                  <a:pt x="12" y="24"/>
                </a:lnTo>
                <a:lnTo>
                  <a:pt x="12" y="20"/>
                </a:lnTo>
                <a:lnTo>
                  <a:pt x="8" y="20"/>
                </a:lnTo>
                <a:lnTo>
                  <a:pt x="8" y="16"/>
                </a:lnTo>
                <a:lnTo>
                  <a:pt x="8" y="12"/>
                </a:lnTo>
                <a:lnTo>
                  <a:pt x="4" y="8"/>
                </a:lnTo>
                <a:lnTo>
                  <a:pt x="4" y="4"/>
                </a:lnTo>
                <a:lnTo>
                  <a:pt x="0" y="0"/>
                </a:lnTo>
                <a:lnTo>
                  <a:pt x="4" y="0"/>
                </a:lnTo>
                <a:lnTo>
                  <a:pt x="8" y="0"/>
                </a:lnTo>
                <a:lnTo>
                  <a:pt x="8" y="4"/>
                </a:lnTo>
                <a:lnTo>
                  <a:pt x="8" y="0"/>
                </a:lnTo>
                <a:lnTo>
                  <a:pt x="4" y="0"/>
                </a:lnTo>
                <a:lnTo>
                  <a:pt x="4" y="4"/>
                </a:lnTo>
                <a:lnTo>
                  <a:pt x="8" y="4"/>
                </a:lnTo>
                <a:lnTo>
                  <a:pt x="8" y="8"/>
                </a:lnTo>
                <a:lnTo>
                  <a:pt x="12" y="12"/>
                </a:lnTo>
                <a:lnTo>
                  <a:pt x="8" y="12"/>
                </a:lnTo>
                <a:lnTo>
                  <a:pt x="12" y="12"/>
                </a:lnTo>
                <a:lnTo>
                  <a:pt x="12" y="8"/>
                </a:lnTo>
                <a:lnTo>
                  <a:pt x="12" y="12"/>
                </a:lnTo>
                <a:lnTo>
                  <a:pt x="14" y="12"/>
                </a:lnTo>
                <a:lnTo>
                  <a:pt x="18" y="12"/>
                </a:lnTo>
                <a:lnTo>
                  <a:pt x="22" y="16"/>
                </a:lnTo>
                <a:lnTo>
                  <a:pt x="18" y="16"/>
                </a:lnTo>
                <a:lnTo>
                  <a:pt x="22" y="16"/>
                </a:lnTo>
                <a:lnTo>
                  <a:pt x="22" y="20"/>
                </a:lnTo>
                <a:lnTo>
                  <a:pt x="22" y="16"/>
                </a:lnTo>
                <a:lnTo>
                  <a:pt x="26" y="16"/>
                </a:lnTo>
                <a:lnTo>
                  <a:pt x="26" y="20"/>
                </a:lnTo>
                <a:lnTo>
                  <a:pt x="26" y="24"/>
                </a:lnTo>
                <a:lnTo>
                  <a:pt x="30" y="24"/>
                </a:lnTo>
                <a:lnTo>
                  <a:pt x="26" y="24"/>
                </a:lnTo>
                <a:lnTo>
                  <a:pt x="26" y="26"/>
                </a:lnTo>
                <a:lnTo>
                  <a:pt x="30" y="26"/>
                </a:lnTo>
                <a:lnTo>
                  <a:pt x="26" y="26"/>
                </a:lnTo>
                <a:lnTo>
                  <a:pt x="26" y="30"/>
                </a:lnTo>
                <a:lnTo>
                  <a:pt x="30" y="30"/>
                </a:lnTo>
                <a:lnTo>
                  <a:pt x="30" y="34"/>
                </a:lnTo>
                <a:lnTo>
                  <a:pt x="30" y="38"/>
                </a:lnTo>
                <a:lnTo>
                  <a:pt x="30" y="42"/>
                </a:lnTo>
                <a:lnTo>
                  <a:pt x="30" y="46"/>
                </a:lnTo>
                <a:lnTo>
                  <a:pt x="34" y="46"/>
                </a:lnTo>
                <a:lnTo>
                  <a:pt x="34" y="50"/>
                </a:lnTo>
                <a:lnTo>
                  <a:pt x="34" y="46"/>
                </a:lnTo>
                <a:lnTo>
                  <a:pt x="34" y="50"/>
                </a:lnTo>
                <a:lnTo>
                  <a:pt x="38" y="50"/>
                </a:lnTo>
                <a:lnTo>
                  <a:pt x="38" y="54"/>
                </a:lnTo>
                <a:lnTo>
                  <a:pt x="40" y="54"/>
                </a:lnTo>
                <a:lnTo>
                  <a:pt x="40" y="50"/>
                </a:lnTo>
                <a:lnTo>
                  <a:pt x="40" y="46"/>
                </a:lnTo>
                <a:lnTo>
                  <a:pt x="40" y="42"/>
                </a:lnTo>
                <a:lnTo>
                  <a:pt x="38" y="42"/>
                </a:lnTo>
                <a:lnTo>
                  <a:pt x="38" y="38"/>
                </a:lnTo>
                <a:lnTo>
                  <a:pt x="40" y="42"/>
                </a:lnTo>
                <a:lnTo>
                  <a:pt x="40" y="46"/>
                </a:lnTo>
                <a:lnTo>
                  <a:pt x="44" y="46"/>
                </a:lnTo>
                <a:lnTo>
                  <a:pt x="44" y="50"/>
                </a:lnTo>
                <a:lnTo>
                  <a:pt x="44" y="46"/>
                </a:lnTo>
                <a:lnTo>
                  <a:pt x="44" y="50"/>
                </a:lnTo>
                <a:lnTo>
                  <a:pt x="48" y="50"/>
                </a:lnTo>
                <a:lnTo>
                  <a:pt x="48" y="54"/>
                </a:lnTo>
                <a:lnTo>
                  <a:pt x="44" y="54"/>
                </a:lnTo>
                <a:lnTo>
                  <a:pt x="48" y="54"/>
                </a:lnTo>
                <a:lnTo>
                  <a:pt x="48" y="56"/>
                </a:lnTo>
                <a:lnTo>
                  <a:pt x="48" y="60"/>
                </a:lnTo>
                <a:lnTo>
                  <a:pt x="52" y="60"/>
                </a:lnTo>
                <a:lnTo>
                  <a:pt x="48" y="60"/>
                </a:lnTo>
                <a:lnTo>
                  <a:pt x="48" y="64"/>
                </a:lnTo>
                <a:lnTo>
                  <a:pt x="52" y="64"/>
                </a:lnTo>
                <a:lnTo>
                  <a:pt x="56" y="64"/>
                </a:lnTo>
                <a:lnTo>
                  <a:pt x="56" y="68"/>
                </a:lnTo>
                <a:lnTo>
                  <a:pt x="60" y="68"/>
                </a:lnTo>
                <a:lnTo>
                  <a:pt x="64" y="68"/>
                </a:lnTo>
                <a:lnTo>
                  <a:pt x="66" y="68"/>
                </a:lnTo>
                <a:lnTo>
                  <a:pt x="70" y="68"/>
                </a:lnTo>
                <a:lnTo>
                  <a:pt x="70" y="64"/>
                </a:lnTo>
                <a:lnTo>
                  <a:pt x="74" y="64"/>
                </a:lnTo>
                <a:lnTo>
                  <a:pt x="74" y="60"/>
                </a:lnTo>
                <a:lnTo>
                  <a:pt x="78" y="60"/>
                </a:lnTo>
                <a:lnTo>
                  <a:pt x="82" y="60"/>
                </a:lnTo>
                <a:lnTo>
                  <a:pt x="86" y="64"/>
                </a:lnTo>
                <a:lnTo>
                  <a:pt x="82" y="64"/>
                </a:lnTo>
                <a:lnTo>
                  <a:pt x="82" y="68"/>
                </a:lnTo>
                <a:lnTo>
                  <a:pt x="82" y="72"/>
                </a:lnTo>
                <a:lnTo>
                  <a:pt x="82" y="76"/>
                </a:lnTo>
                <a:lnTo>
                  <a:pt x="82" y="80"/>
                </a:lnTo>
                <a:lnTo>
                  <a:pt x="78" y="82"/>
                </a:lnTo>
                <a:lnTo>
                  <a:pt x="74" y="82"/>
                </a:lnTo>
                <a:lnTo>
                  <a:pt x="74" y="86"/>
                </a:lnTo>
                <a:lnTo>
                  <a:pt x="74" y="90"/>
                </a:lnTo>
                <a:lnTo>
                  <a:pt x="74" y="94"/>
                </a:lnTo>
                <a:lnTo>
                  <a:pt x="74" y="90"/>
                </a:lnTo>
                <a:lnTo>
                  <a:pt x="70" y="90"/>
                </a:lnTo>
                <a:lnTo>
                  <a:pt x="66" y="90"/>
                </a:lnTo>
                <a:lnTo>
                  <a:pt x="64" y="90"/>
                </a:lnTo>
                <a:lnTo>
                  <a:pt x="60" y="94"/>
                </a:lnTo>
                <a:lnTo>
                  <a:pt x="60" y="98"/>
                </a:lnTo>
                <a:lnTo>
                  <a:pt x="60" y="102"/>
                </a:lnTo>
                <a:lnTo>
                  <a:pt x="64" y="102"/>
                </a:lnTo>
                <a:lnTo>
                  <a:pt x="60" y="110"/>
                </a:lnTo>
                <a:lnTo>
                  <a:pt x="60" y="112"/>
                </a:lnTo>
                <a:lnTo>
                  <a:pt x="56" y="116"/>
                </a:lnTo>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95" name="Freeform 202"/>
          <p:cNvSpPr>
            <a:spLocks/>
          </p:cNvSpPr>
          <p:nvPr/>
        </p:nvSpPr>
        <p:spPr bwMode="auto">
          <a:xfrm>
            <a:off x="7062787" y="4560094"/>
            <a:ext cx="133350" cy="145256"/>
          </a:xfrm>
          <a:custGeom>
            <a:avLst/>
            <a:gdLst>
              <a:gd name="T0" fmla="*/ 12 w 112"/>
              <a:gd name="T1" fmla="*/ 96 h 122"/>
              <a:gd name="T2" fmla="*/ 12 w 112"/>
              <a:gd name="T3" fmla="*/ 90 h 122"/>
              <a:gd name="T4" fmla="*/ 16 w 112"/>
              <a:gd name="T5" fmla="*/ 90 h 122"/>
              <a:gd name="T6" fmla="*/ 16 w 112"/>
              <a:gd name="T7" fmla="*/ 82 h 122"/>
              <a:gd name="T8" fmla="*/ 22 w 112"/>
              <a:gd name="T9" fmla="*/ 74 h 122"/>
              <a:gd name="T10" fmla="*/ 34 w 112"/>
              <a:gd name="T11" fmla="*/ 70 h 122"/>
              <a:gd name="T12" fmla="*/ 36 w 112"/>
              <a:gd name="T13" fmla="*/ 64 h 122"/>
              <a:gd name="T14" fmla="*/ 44 w 112"/>
              <a:gd name="T15" fmla="*/ 60 h 122"/>
              <a:gd name="T16" fmla="*/ 52 w 112"/>
              <a:gd name="T17" fmla="*/ 52 h 122"/>
              <a:gd name="T18" fmla="*/ 60 w 112"/>
              <a:gd name="T19" fmla="*/ 50 h 122"/>
              <a:gd name="T20" fmla="*/ 66 w 112"/>
              <a:gd name="T21" fmla="*/ 38 h 122"/>
              <a:gd name="T22" fmla="*/ 70 w 112"/>
              <a:gd name="T23" fmla="*/ 28 h 122"/>
              <a:gd name="T24" fmla="*/ 78 w 112"/>
              <a:gd name="T25" fmla="*/ 24 h 122"/>
              <a:gd name="T26" fmla="*/ 78 w 112"/>
              <a:gd name="T27" fmla="*/ 8 h 122"/>
              <a:gd name="T28" fmla="*/ 86 w 112"/>
              <a:gd name="T29" fmla="*/ 4 h 122"/>
              <a:gd name="T30" fmla="*/ 86 w 112"/>
              <a:gd name="T31" fmla="*/ 4 h 122"/>
              <a:gd name="T32" fmla="*/ 94 w 112"/>
              <a:gd name="T33" fmla="*/ 12 h 122"/>
              <a:gd name="T34" fmla="*/ 100 w 112"/>
              <a:gd name="T35" fmla="*/ 12 h 122"/>
              <a:gd name="T36" fmla="*/ 104 w 112"/>
              <a:gd name="T37" fmla="*/ 12 h 122"/>
              <a:gd name="T38" fmla="*/ 104 w 112"/>
              <a:gd name="T39" fmla="*/ 16 h 122"/>
              <a:gd name="T40" fmla="*/ 108 w 112"/>
              <a:gd name="T41" fmla="*/ 16 h 122"/>
              <a:gd name="T42" fmla="*/ 108 w 112"/>
              <a:gd name="T43" fmla="*/ 12 h 122"/>
              <a:gd name="T44" fmla="*/ 104 w 112"/>
              <a:gd name="T45" fmla="*/ 16 h 122"/>
              <a:gd name="T46" fmla="*/ 108 w 112"/>
              <a:gd name="T47" fmla="*/ 16 h 122"/>
              <a:gd name="T48" fmla="*/ 108 w 112"/>
              <a:gd name="T49" fmla="*/ 20 h 122"/>
              <a:gd name="T50" fmla="*/ 108 w 112"/>
              <a:gd name="T51" fmla="*/ 24 h 122"/>
              <a:gd name="T52" fmla="*/ 104 w 112"/>
              <a:gd name="T53" fmla="*/ 30 h 122"/>
              <a:gd name="T54" fmla="*/ 100 w 112"/>
              <a:gd name="T55" fmla="*/ 40 h 122"/>
              <a:gd name="T56" fmla="*/ 96 w 112"/>
              <a:gd name="T57" fmla="*/ 50 h 122"/>
              <a:gd name="T58" fmla="*/ 90 w 112"/>
              <a:gd name="T59" fmla="*/ 56 h 122"/>
              <a:gd name="T60" fmla="*/ 94 w 112"/>
              <a:gd name="T61" fmla="*/ 64 h 122"/>
              <a:gd name="T62" fmla="*/ 90 w 112"/>
              <a:gd name="T63" fmla="*/ 64 h 122"/>
              <a:gd name="T64" fmla="*/ 86 w 112"/>
              <a:gd name="T65" fmla="*/ 64 h 122"/>
              <a:gd name="T66" fmla="*/ 78 w 112"/>
              <a:gd name="T67" fmla="*/ 68 h 122"/>
              <a:gd name="T68" fmla="*/ 70 w 112"/>
              <a:gd name="T69" fmla="*/ 70 h 122"/>
              <a:gd name="T70" fmla="*/ 66 w 112"/>
              <a:gd name="T71" fmla="*/ 78 h 122"/>
              <a:gd name="T72" fmla="*/ 66 w 112"/>
              <a:gd name="T73" fmla="*/ 90 h 122"/>
              <a:gd name="T74" fmla="*/ 60 w 112"/>
              <a:gd name="T75" fmla="*/ 96 h 122"/>
              <a:gd name="T76" fmla="*/ 56 w 112"/>
              <a:gd name="T77" fmla="*/ 104 h 122"/>
              <a:gd name="T78" fmla="*/ 60 w 112"/>
              <a:gd name="T79" fmla="*/ 104 h 122"/>
              <a:gd name="T80" fmla="*/ 52 w 112"/>
              <a:gd name="T81" fmla="*/ 108 h 122"/>
              <a:gd name="T82" fmla="*/ 48 w 112"/>
              <a:gd name="T83" fmla="*/ 120 h 122"/>
              <a:gd name="T84" fmla="*/ 36 w 112"/>
              <a:gd name="T85" fmla="*/ 122 h 122"/>
              <a:gd name="T86" fmla="*/ 30 w 112"/>
              <a:gd name="T87" fmla="*/ 120 h 122"/>
              <a:gd name="T88" fmla="*/ 26 w 112"/>
              <a:gd name="T89" fmla="*/ 120 h 122"/>
              <a:gd name="T90" fmla="*/ 26 w 112"/>
              <a:gd name="T91" fmla="*/ 120 h 122"/>
              <a:gd name="T92" fmla="*/ 22 w 112"/>
              <a:gd name="T93" fmla="*/ 116 h 122"/>
              <a:gd name="T94" fmla="*/ 12 w 112"/>
              <a:gd name="T95" fmla="*/ 112 h 122"/>
              <a:gd name="T96" fmla="*/ 4 w 112"/>
              <a:gd name="T97" fmla="*/ 116 h 122"/>
              <a:gd name="T98" fmla="*/ 4 w 112"/>
              <a:gd name="T99" fmla="*/ 112 h 122"/>
              <a:gd name="T100" fmla="*/ 4 w 112"/>
              <a:gd name="T101" fmla="*/ 108 h 122"/>
              <a:gd name="T102" fmla="*/ 0 w 112"/>
              <a:gd name="T103" fmla="*/ 108 h 122"/>
              <a:gd name="T104" fmla="*/ 8 w 112"/>
              <a:gd name="T105" fmla="*/ 104 h 122"/>
              <a:gd name="T106" fmla="*/ 8 w 112"/>
              <a:gd name="T107" fmla="*/ 100 h 122"/>
              <a:gd name="T108" fmla="*/ 4 w 112"/>
              <a:gd name="T109" fmla="*/ 94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2" h="122">
                <a:moveTo>
                  <a:pt x="12" y="96"/>
                </a:moveTo>
                <a:lnTo>
                  <a:pt x="8" y="96"/>
                </a:lnTo>
                <a:lnTo>
                  <a:pt x="12" y="96"/>
                </a:lnTo>
                <a:lnTo>
                  <a:pt x="8" y="94"/>
                </a:lnTo>
                <a:lnTo>
                  <a:pt x="8" y="90"/>
                </a:lnTo>
                <a:lnTo>
                  <a:pt x="12" y="90"/>
                </a:lnTo>
                <a:lnTo>
                  <a:pt x="12" y="86"/>
                </a:lnTo>
                <a:lnTo>
                  <a:pt x="12" y="90"/>
                </a:lnTo>
                <a:lnTo>
                  <a:pt x="16" y="90"/>
                </a:lnTo>
                <a:lnTo>
                  <a:pt x="16" y="86"/>
                </a:lnTo>
                <a:lnTo>
                  <a:pt x="12" y="86"/>
                </a:lnTo>
                <a:lnTo>
                  <a:pt x="16" y="82"/>
                </a:lnTo>
                <a:lnTo>
                  <a:pt x="20" y="82"/>
                </a:lnTo>
                <a:lnTo>
                  <a:pt x="20" y="78"/>
                </a:lnTo>
                <a:lnTo>
                  <a:pt x="22" y="74"/>
                </a:lnTo>
                <a:lnTo>
                  <a:pt x="26" y="70"/>
                </a:lnTo>
                <a:lnTo>
                  <a:pt x="30" y="70"/>
                </a:lnTo>
                <a:lnTo>
                  <a:pt x="34" y="70"/>
                </a:lnTo>
                <a:lnTo>
                  <a:pt x="34" y="68"/>
                </a:lnTo>
                <a:lnTo>
                  <a:pt x="36" y="68"/>
                </a:lnTo>
                <a:lnTo>
                  <a:pt x="36" y="64"/>
                </a:lnTo>
                <a:lnTo>
                  <a:pt x="40" y="64"/>
                </a:lnTo>
                <a:lnTo>
                  <a:pt x="44" y="64"/>
                </a:lnTo>
                <a:lnTo>
                  <a:pt x="44" y="60"/>
                </a:lnTo>
                <a:lnTo>
                  <a:pt x="48" y="56"/>
                </a:lnTo>
                <a:lnTo>
                  <a:pt x="52" y="56"/>
                </a:lnTo>
                <a:lnTo>
                  <a:pt x="52" y="52"/>
                </a:lnTo>
                <a:lnTo>
                  <a:pt x="56" y="52"/>
                </a:lnTo>
                <a:lnTo>
                  <a:pt x="56" y="50"/>
                </a:lnTo>
                <a:lnTo>
                  <a:pt x="60" y="50"/>
                </a:lnTo>
                <a:lnTo>
                  <a:pt x="64" y="40"/>
                </a:lnTo>
                <a:lnTo>
                  <a:pt x="66" y="40"/>
                </a:lnTo>
                <a:lnTo>
                  <a:pt x="66" y="38"/>
                </a:lnTo>
                <a:lnTo>
                  <a:pt x="66" y="34"/>
                </a:lnTo>
                <a:lnTo>
                  <a:pt x="66" y="30"/>
                </a:lnTo>
                <a:lnTo>
                  <a:pt x="70" y="28"/>
                </a:lnTo>
                <a:lnTo>
                  <a:pt x="74" y="28"/>
                </a:lnTo>
                <a:lnTo>
                  <a:pt x="74" y="24"/>
                </a:lnTo>
                <a:lnTo>
                  <a:pt x="78" y="24"/>
                </a:lnTo>
                <a:lnTo>
                  <a:pt x="78" y="20"/>
                </a:lnTo>
                <a:lnTo>
                  <a:pt x="78" y="16"/>
                </a:lnTo>
                <a:lnTo>
                  <a:pt x="78" y="8"/>
                </a:lnTo>
                <a:lnTo>
                  <a:pt x="82" y="8"/>
                </a:lnTo>
                <a:lnTo>
                  <a:pt x="82" y="4"/>
                </a:lnTo>
                <a:lnTo>
                  <a:pt x="86" y="4"/>
                </a:lnTo>
                <a:lnTo>
                  <a:pt x="86" y="0"/>
                </a:lnTo>
                <a:lnTo>
                  <a:pt x="90" y="0"/>
                </a:lnTo>
                <a:lnTo>
                  <a:pt x="86" y="4"/>
                </a:lnTo>
                <a:lnTo>
                  <a:pt x="90" y="8"/>
                </a:lnTo>
                <a:lnTo>
                  <a:pt x="94" y="8"/>
                </a:lnTo>
                <a:lnTo>
                  <a:pt x="94" y="12"/>
                </a:lnTo>
                <a:lnTo>
                  <a:pt x="94" y="16"/>
                </a:lnTo>
                <a:lnTo>
                  <a:pt x="96" y="16"/>
                </a:lnTo>
                <a:lnTo>
                  <a:pt x="100" y="12"/>
                </a:lnTo>
                <a:lnTo>
                  <a:pt x="104" y="12"/>
                </a:lnTo>
                <a:lnTo>
                  <a:pt x="104" y="8"/>
                </a:lnTo>
                <a:lnTo>
                  <a:pt x="104" y="12"/>
                </a:lnTo>
                <a:lnTo>
                  <a:pt x="100" y="12"/>
                </a:lnTo>
                <a:lnTo>
                  <a:pt x="104" y="12"/>
                </a:lnTo>
                <a:lnTo>
                  <a:pt x="104" y="16"/>
                </a:lnTo>
                <a:lnTo>
                  <a:pt x="100" y="16"/>
                </a:lnTo>
                <a:lnTo>
                  <a:pt x="104" y="16"/>
                </a:lnTo>
                <a:lnTo>
                  <a:pt x="108" y="16"/>
                </a:lnTo>
                <a:lnTo>
                  <a:pt x="104" y="16"/>
                </a:lnTo>
                <a:lnTo>
                  <a:pt x="104" y="12"/>
                </a:lnTo>
                <a:lnTo>
                  <a:pt x="108" y="12"/>
                </a:lnTo>
                <a:lnTo>
                  <a:pt x="112" y="12"/>
                </a:lnTo>
                <a:lnTo>
                  <a:pt x="108" y="16"/>
                </a:lnTo>
                <a:lnTo>
                  <a:pt x="104" y="16"/>
                </a:lnTo>
                <a:lnTo>
                  <a:pt x="108" y="16"/>
                </a:lnTo>
                <a:lnTo>
                  <a:pt x="112" y="16"/>
                </a:lnTo>
                <a:lnTo>
                  <a:pt x="108" y="16"/>
                </a:lnTo>
                <a:lnTo>
                  <a:pt x="108" y="20"/>
                </a:lnTo>
                <a:lnTo>
                  <a:pt x="104" y="20"/>
                </a:lnTo>
                <a:lnTo>
                  <a:pt x="108" y="20"/>
                </a:lnTo>
                <a:lnTo>
                  <a:pt x="108" y="24"/>
                </a:lnTo>
                <a:lnTo>
                  <a:pt x="108" y="20"/>
                </a:lnTo>
                <a:lnTo>
                  <a:pt x="108" y="24"/>
                </a:lnTo>
                <a:lnTo>
                  <a:pt x="108" y="28"/>
                </a:lnTo>
                <a:lnTo>
                  <a:pt x="108" y="30"/>
                </a:lnTo>
                <a:lnTo>
                  <a:pt x="104" y="30"/>
                </a:lnTo>
                <a:lnTo>
                  <a:pt x="104" y="34"/>
                </a:lnTo>
                <a:lnTo>
                  <a:pt x="104" y="38"/>
                </a:lnTo>
                <a:lnTo>
                  <a:pt x="100" y="40"/>
                </a:lnTo>
                <a:lnTo>
                  <a:pt x="96" y="40"/>
                </a:lnTo>
                <a:lnTo>
                  <a:pt x="96" y="46"/>
                </a:lnTo>
                <a:lnTo>
                  <a:pt x="96" y="50"/>
                </a:lnTo>
                <a:lnTo>
                  <a:pt x="94" y="52"/>
                </a:lnTo>
                <a:lnTo>
                  <a:pt x="90" y="52"/>
                </a:lnTo>
                <a:lnTo>
                  <a:pt x="90" y="56"/>
                </a:lnTo>
                <a:lnTo>
                  <a:pt x="86" y="56"/>
                </a:lnTo>
                <a:lnTo>
                  <a:pt x="90" y="64"/>
                </a:lnTo>
                <a:lnTo>
                  <a:pt x="94" y="64"/>
                </a:lnTo>
                <a:lnTo>
                  <a:pt x="94" y="68"/>
                </a:lnTo>
                <a:lnTo>
                  <a:pt x="90" y="68"/>
                </a:lnTo>
                <a:lnTo>
                  <a:pt x="90" y="64"/>
                </a:lnTo>
                <a:lnTo>
                  <a:pt x="90" y="68"/>
                </a:lnTo>
                <a:lnTo>
                  <a:pt x="86" y="68"/>
                </a:lnTo>
                <a:lnTo>
                  <a:pt x="86" y="64"/>
                </a:lnTo>
                <a:lnTo>
                  <a:pt x="82" y="64"/>
                </a:lnTo>
                <a:lnTo>
                  <a:pt x="82" y="68"/>
                </a:lnTo>
                <a:lnTo>
                  <a:pt x="78" y="68"/>
                </a:lnTo>
                <a:lnTo>
                  <a:pt x="78" y="70"/>
                </a:lnTo>
                <a:lnTo>
                  <a:pt x="74" y="70"/>
                </a:lnTo>
                <a:lnTo>
                  <a:pt x="70" y="70"/>
                </a:lnTo>
                <a:lnTo>
                  <a:pt x="70" y="74"/>
                </a:lnTo>
                <a:lnTo>
                  <a:pt x="66" y="74"/>
                </a:lnTo>
                <a:lnTo>
                  <a:pt x="66" y="78"/>
                </a:lnTo>
                <a:lnTo>
                  <a:pt x="66" y="82"/>
                </a:lnTo>
                <a:lnTo>
                  <a:pt x="66" y="86"/>
                </a:lnTo>
                <a:lnTo>
                  <a:pt x="66" y="90"/>
                </a:lnTo>
                <a:lnTo>
                  <a:pt x="64" y="90"/>
                </a:lnTo>
                <a:lnTo>
                  <a:pt x="64" y="94"/>
                </a:lnTo>
                <a:lnTo>
                  <a:pt x="60" y="96"/>
                </a:lnTo>
                <a:lnTo>
                  <a:pt x="60" y="100"/>
                </a:lnTo>
                <a:lnTo>
                  <a:pt x="60" y="104"/>
                </a:lnTo>
                <a:lnTo>
                  <a:pt x="56" y="104"/>
                </a:lnTo>
                <a:lnTo>
                  <a:pt x="56" y="108"/>
                </a:lnTo>
                <a:lnTo>
                  <a:pt x="60" y="108"/>
                </a:lnTo>
                <a:lnTo>
                  <a:pt x="60" y="104"/>
                </a:lnTo>
                <a:lnTo>
                  <a:pt x="60" y="108"/>
                </a:lnTo>
                <a:lnTo>
                  <a:pt x="56" y="108"/>
                </a:lnTo>
                <a:lnTo>
                  <a:pt x="52" y="108"/>
                </a:lnTo>
                <a:lnTo>
                  <a:pt x="52" y="112"/>
                </a:lnTo>
                <a:lnTo>
                  <a:pt x="48" y="116"/>
                </a:lnTo>
                <a:lnTo>
                  <a:pt x="48" y="120"/>
                </a:lnTo>
                <a:lnTo>
                  <a:pt x="44" y="120"/>
                </a:lnTo>
                <a:lnTo>
                  <a:pt x="40" y="122"/>
                </a:lnTo>
                <a:lnTo>
                  <a:pt x="36" y="122"/>
                </a:lnTo>
                <a:lnTo>
                  <a:pt x="34" y="122"/>
                </a:lnTo>
                <a:lnTo>
                  <a:pt x="34" y="120"/>
                </a:lnTo>
                <a:lnTo>
                  <a:pt x="30" y="120"/>
                </a:lnTo>
                <a:lnTo>
                  <a:pt x="30" y="122"/>
                </a:lnTo>
                <a:lnTo>
                  <a:pt x="26" y="122"/>
                </a:lnTo>
                <a:lnTo>
                  <a:pt x="26" y="120"/>
                </a:lnTo>
                <a:lnTo>
                  <a:pt x="30" y="122"/>
                </a:lnTo>
                <a:lnTo>
                  <a:pt x="30" y="120"/>
                </a:lnTo>
                <a:lnTo>
                  <a:pt x="26" y="120"/>
                </a:lnTo>
                <a:lnTo>
                  <a:pt x="26" y="122"/>
                </a:lnTo>
                <a:lnTo>
                  <a:pt x="26" y="120"/>
                </a:lnTo>
                <a:lnTo>
                  <a:pt x="22" y="116"/>
                </a:lnTo>
                <a:lnTo>
                  <a:pt x="20" y="116"/>
                </a:lnTo>
                <a:lnTo>
                  <a:pt x="16" y="112"/>
                </a:lnTo>
                <a:lnTo>
                  <a:pt x="12" y="112"/>
                </a:lnTo>
                <a:lnTo>
                  <a:pt x="12" y="116"/>
                </a:lnTo>
                <a:lnTo>
                  <a:pt x="8" y="116"/>
                </a:lnTo>
                <a:lnTo>
                  <a:pt x="4" y="116"/>
                </a:lnTo>
                <a:lnTo>
                  <a:pt x="4" y="112"/>
                </a:lnTo>
                <a:lnTo>
                  <a:pt x="0" y="112"/>
                </a:lnTo>
                <a:lnTo>
                  <a:pt x="4" y="112"/>
                </a:lnTo>
                <a:lnTo>
                  <a:pt x="4" y="108"/>
                </a:lnTo>
                <a:lnTo>
                  <a:pt x="8" y="108"/>
                </a:lnTo>
                <a:lnTo>
                  <a:pt x="4" y="108"/>
                </a:lnTo>
                <a:lnTo>
                  <a:pt x="4" y="112"/>
                </a:lnTo>
                <a:lnTo>
                  <a:pt x="0" y="112"/>
                </a:lnTo>
                <a:lnTo>
                  <a:pt x="0" y="108"/>
                </a:lnTo>
                <a:lnTo>
                  <a:pt x="0" y="104"/>
                </a:lnTo>
                <a:lnTo>
                  <a:pt x="4" y="104"/>
                </a:lnTo>
                <a:lnTo>
                  <a:pt x="8" y="104"/>
                </a:lnTo>
                <a:lnTo>
                  <a:pt x="4" y="104"/>
                </a:lnTo>
                <a:lnTo>
                  <a:pt x="4" y="100"/>
                </a:lnTo>
                <a:lnTo>
                  <a:pt x="8" y="100"/>
                </a:lnTo>
                <a:lnTo>
                  <a:pt x="4" y="100"/>
                </a:lnTo>
                <a:lnTo>
                  <a:pt x="4" y="96"/>
                </a:lnTo>
                <a:lnTo>
                  <a:pt x="4" y="94"/>
                </a:lnTo>
                <a:lnTo>
                  <a:pt x="8" y="96"/>
                </a:lnTo>
                <a:lnTo>
                  <a:pt x="12" y="96"/>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96" name="Freeform 203"/>
          <p:cNvSpPr>
            <a:spLocks/>
          </p:cNvSpPr>
          <p:nvPr/>
        </p:nvSpPr>
        <p:spPr bwMode="auto">
          <a:xfrm>
            <a:off x="7062787" y="4560094"/>
            <a:ext cx="133350" cy="145256"/>
          </a:xfrm>
          <a:custGeom>
            <a:avLst/>
            <a:gdLst>
              <a:gd name="T0" fmla="*/ 12 w 112"/>
              <a:gd name="T1" fmla="*/ 96 h 122"/>
              <a:gd name="T2" fmla="*/ 12 w 112"/>
              <a:gd name="T3" fmla="*/ 90 h 122"/>
              <a:gd name="T4" fmla="*/ 16 w 112"/>
              <a:gd name="T5" fmla="*/ 90 h 122"/>
              <a:gd name="T6" fmla="*/ 16 w 112"/>
              <a:gd name="T7" fmla="*/ 82 h 122"/>
              <a:gd name="T8" fmla="*/ 22 w 112"/>
              <a:gd name="T9" fmla="*/ 74 h 122"/>
              <a:gd name="T10" fmla="*/ 34 w 112"/>
              <a:gd name="T11" fmla="*/ 70 h 122"/>
              <a:gd name="T12" fmla="*/ 36 w 112"/>
              <a:gd name="T13" fmla="*/ 64 h 122"/>
              <a:gd name="T14" fmla="*/ 44 w 112"/>
              <a:gd name="T15" fmla="*/ 60 h 122"/>
              <a:gd name="T16" fmla="*/ 52 w 112"/>
              <a:gd name="T17" fmla="*/ 52 h 122"/>
              <a:gd name="T18" fmla="*/ 60 w 112"/>
              <a:gd name="T19" fmla="*/ 50 h 122"/>
              <a:gd name="T20" fmla="*/ 66 w 112"/>
              <a:gd name="T21" fmla="*/ 38 h 122"/>
              <a:gd name="T22" fmla="*/ 70 w 112"/>
              <a:gd name="T23" fmla="*/ 28 h 122"/>
              <a:gd name="T24" fmla="*/ 78 w 112"/>
              <a:gd name="T25" fmla="*/ 24 h 122"/>
              <a:gd name="T26" fmla="*/ 78 w 112"/>
              <a:gd name="T27" fmla="*/ 8 h 122"/>
              <a:gd name="T28" fmla="*/ 86 w 112"/>
              <a:gd name="T29" fmla="*/ 4 h 122"/>
              <a:gd name="T30" fmla="*/ 86 w 112"/>
              <a:gd name="T31" fmla="*/ 4 h 122"/>
              <a:gd name="T32" fmla="*/ 94 w 112"/>
              <a:gd name="T33" fmla="*/ 12 h 122"/>
              <a:gd name="T34" fmla="*/ 100 w 112"/>
              <a:gd name="T35" fmla="*/ 12 h 122"/>
              <a:gd name="T36" fmla="*/ 104 w 112"/>
              <a:gd name="T37" fmla="*/ 12 h 122"/>
              <a:gd name="T38" fmla="*/ 104 w 112"/>
              <a:gd name="T39" fmla="*/ 16 h 122"/>
              <a:gd name="T40" fmla="*/ 108 w 112"/>
              <a:gd name="T41" fmla="*/ 16 h 122"/>
              <a:gd name="T42" fmla="*/ 108 w 112"/>
              <a:gd name="T43" fmla="*/ 12 h 122"/>
              <a:gd name="T44" fmla="*/ 104 w 112"/>
              <a:gd name="T45" fmla="*/ 16 h 122"/>
              <a:gd name="T46" fmla="*/ 108 w 112"/>
              <a:gd name="T47" fmla="*/ 16 h 122"/>
              <a:gd name="T48" fmla="*/ 108 w 112"/>
              <a:gd name="T49" fmla="*/ 20 h 122"/>
              <a:gd name="T50" fmla="*/ 108 w 112"/>
              <a:gd name="T51" fmla="*/ 24 h 122"/>
              <a:gd name="T52" fmla="*/ 104 w 112"/>
              <a:gd name="T53" fmla="*/ 30 h 122"/>
              <a:gd name="T54" fmla="*/ 100 w 112"/>
              <a:gd name="T55" fmla="*/ 40 h 122"/>
              <a:gd name="T56" fmla="*/ 96 w 112"/>
              <a:gd name="T57" fmla="*/ 50 h 122"/>
              <a:gd name="T58" fmla="*/ 90 w 112"/>
              <a:gd name="T59" fmla="*/ 56 h 122"/>
              <a:gd name="T60" fmla="*/ 94 w 112"/>
              <a:gd name="T61" fmla="*/ 64 h 122"/>
              <a:gd name="T62" fmla="*/ 90 w 112"/>
              <a:gd name="T63" fmla="*/ 64 h 122"/>
              <a:gd name="T64" fmla="*/ 86 w 112"/>
              <a:gd name="T65" fmla="*/ 64 h 122"/>
              <a:gd name="T66" fmla="*/ 78 w 112"/>
              <a:gd name="T67" fmla="*/ 68 h 122"/>
              <a:gd name="T68" fmla="*/ 70 w 112"/>
              <a:gd name="T69" fmla="*/ 70 h 122"/>
              <a:gd name="T70" fmla="*/ 66 w 112"/>
              <a:gd name="T71" fmla="*/ 78 h 122"/>
              <a:gd name="T72" fmla="*/ 66 w 112"/>
              <a:gd name="T73" fmla="*/ 90 h 122"/>
              <a:gd name="T74" fmla="*/ 60 w 112"/>
              <a:gd name="T75" fmla="*/ 96 h 122"/>
              <a:gd name="T76" fmla="*/ 56 w 112"/>
              <a:gd name="T77" fmla="*/ 104 h 122"/>
              <a:gd name="T78" fmla="*/ 60 w 112"/>
              <a:gd name="T79" fmla="*/ 104 h 122"/>
              <a:gd name="T80" fmla="*/ 52 w 112"/>
              <a:gd name="T81" fmla="*/ 108 h 122"/>
              <a:gd name="T82" fmla="*/ 48 w 112"/>
              <a:gd name="T83" fmla="*/ 120 h 122"/>
              <a:gd name="T84" fmla="*/ 36 w 112"/>
              <a:gd name="T85" fmla="*/ 122 h 122"/>
              <a:gd name="T86" fmla="*/ 30 w 112"/>
              <a:gd name="T87" fmla="*/ 120 h 122"/>
              <a:gd name="T88" fmla="*/ 26 w 112"/>
              <a:gd name="T89" fmla="*/ 120 h 122"/>
              <a:gd name="T90" fmla="*/ 26 w 112"/>
              <a:gd name="T91" fmla="*/ 120 h 122"/>
              <a:gd name="T92" fmla="*/ 22 w 112"/>
              <a:gd name="T93" fmla="*/ 116 h 122"/>
              <a:gd name="T94" fmla="*/ 12 w 112"/>
              <a:gd name="T95" fmla="*/ 112 h 122"/>
              <a:gd name="T96" fmla="*/ 4 w 112"/>
              <a:gd name="T97" fmla="*/ 116 h 122"/>
              <a:gd name="T98" fmla="*/ 4 w 112"/>
              <a:gd name="T99" fmla="*/ 112 h 122"/>
              <a:gd name="T100" fmla="*/ 4 w 112"/>
              <a:gd name="T101" fmla="*/ 108 h 122"/>
              <a:gd name="T102" fmla="*/ 0 w 112"/>
              <a:gd name="T103" fmla="*/ 108 h 122"/>
              <a:gd name="T104" fmla="*/ 8 w 112"/>
              <a:gd name="T105" fmla="*/ 104 h 122"/>
              <a:gd name="T106" fmla="*/ 8 w 112"/>
              <a:gd name="T107" fmla="*/ 100 h 122"/>
              <a:gd name="T108" fmla="*/ 4 w 112"/>
              <a:gd name="T109" fmla="*/ 94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2" h="122">
                <a:moveTo>
                  <a:pt x="12" y="96"/>
                </a:moveTo>
                <a:lnTo>
                  <a:pt x="8" y="96"/>
                </a:lnTo>
                <a:lnTo>
                  <a:pt x="12" y="96"/>
                </a:lnTo>
                <a:lnTo>
                  <a:pt x="8" y="94"/>
                </a:lnTo>
                <a:lnTo>
                  <a:pt x="8" y="90"/>
                </a:lnTo>
                <a:lnTo>
                  <a:pt x="12" y="90"/>
                </a:lnTo>
                <a:lnTo>
                  <a:pt x="12" y="86"/>
                </a:lnTo>
                <a:lnTo>
                  <a:pt x="12" y="90"/>
                </a:lnTo>
                <a:lnTo>
                  <a:pt x="16" y="90"/>
                </a:lnTo>
                <a:lnTo>
                  <a:pt x="16" y="86"/>
                </a:lnTo>
                <a:lnTo>
                  <a:pt x="12" y="86"/>
                </a:lnTo>
                <a:lnTo>
                  <a:pt x="16" y="82"/>
                </a:lnTo>
                <a:lnTo>
                  <a:pt x="20" y="82"/>
                </a:lnTo>
                <a:lnTo>
                  <a:pt x="20" y="78"/>
                </a:lnTo>
                <a:lnTo>
                  <a:pt x="22" y="74"/>
                </a:lnTo>
                <a:lnTo>
                  <a:pt x="26" y="70"/>
                </a:lnTo>
                <a:lnTo>
                  <a:pt x="30" y="70"/>
                </a:lnTo>
                <a:lnTo>
                  <a:pt x="34" y="70"/>
                </a:lnTo>
                <a:lnTo>
                  <a:pt x="34" y="68"/>
                </a:lnTo>
                <a:lnTo>
                  <a:pt x="36" y="68"/>
                </a:lnTo>
                <a:lnTo>
                  <a:pt x="36" y="64"/>
                </a:lnTo>
                <a:lnTo>
                  <a:pt x="40" y="64"/>
                </a:lnTo>
                <a:lnTo>
                  <a:pt x="44" y="64"/>
                </a:lnTo>
                <a:lnTo>
                  <a:pt x="44" y="60"/>
                </a:lnTo>
                <a:lnTo>
                  <a:pt x="48" y="56"/>
                </a:lnTo>
                <a:lnTo>
                  <a:pt x="52" y="56"/>
                </a:lnTo>
                <a:lnTo>
                  <a:pt x="52" y="52"/>
                </a:lnTo>
                <a:lnTo>
                  <a:pt x="56" y="52"/>
                </a:lnTo>
                <a:lnTo>
                  <a:pt x="56" y="50"/>
                </a:lnTo>
                <a:lnTo>
                  <a:pt x="60" y="50"/>
                </a:lnTo>
                <a:lnTo>
                  <a:pt x="64" y="40"/>
                </a:lnTo>
                <a:lnTo>
                  <a:pt x="66" y="40"/>
                </a:lnTo>
                <a:lnTo>
                  <a:pt x="66" y="38"/>
                </a:lnTo>
                <a:lnTo>
                  <a:pt x="66" y="34"/>
                </a:lnTo>
                <a:lnTo>
                  <a:pt x="66" y="30"/>
                </a:lnTo>
                <a:lnTo>
                  <a:pt x="70" y="28"/>
                </a:lnTo>
                <a:lnTo>
                  <a:pt x="74" y="28"/>
                </a:lnTo>
                <a:lnTo>
                  <a:pt x="74" y="24"/>
                </a:lnTo>
                <a:lnTo>
                  <a:pt x="78" y="24"/>
                </a:lnTo>
                <a:lnTo>
                  <a:pt x="78" y="20"/>
                </a:lnTo>
                <a:lnTo>
                  <a:pt x="78" y="16"/>
                </a:lnTo>
                <a:lnTo>
                  <a:pt x="78" y="8"/>
                </a:lnTo>
                <a:lnTo>
                  <a:pt x="82" y="8"/>
                </a:lnTo>
                <a:lnTo>
                  <a:pt x="82" y="4"/>
                </a:lnTo>
                <a:lnTo>
                  <a:pt x="86" y="4"/>
                </a:lnTo>
                <a:lnTo>
                  <a:pt x="86" y="0"/>
                </a:lnTo>
                <a:lnTo>
                  <a:pt x="90" y="0"/>
                </a:lnTo>
                <a:lnTo>
                  <a:pt x="86" y="4"/>
                </a:lnTo>
                <a:lnTo>
                  <a:pt x="90" y="8"/>
                </a:lnTo>
                <a:lnTo>
                  <a:pt x="94" y="8"/>
                </a:lnTo>
                <a:lnTo>
                  <a:pt x="94" y="12"/>
                </a:lnTo>
                <a:lnTo>
                  <a:pt x="94" y="16"/>
                </a:lnTo>
                <a:lnTo>
                  <a:pt x="96" y="16"/>
                </a:lnTo>
                <a:lnTo>
                  <a:pt x="100" y="12"/>
                </a:lnTo>
                <a:lnTo>
                  <a:pt x="104" y="12"/>
                </a:lnTo>
                <a:lnTo>
                  <a:pt x="104" y="8"/>
                </a:lnTo>
                <a:lnTo>
                  <a:pt x="104" y="12"/>
                </a:lnTo>
                <a:lnTo>
                  <a:pt x="100" y="12"/>
                </a:lnTo>
                <a:lnTo>
                  <a:pt x="104" y="12"/>
                </a:lnTo>
                <a:lnTo>
                  <a:pt x="104" y="16"/>
                </a:lnTo>
                <a:lnTo>
                  <a:pt x="100" y="16"/>
                </a:lnTo>
                <a:lnTo>
                  <a:pt x="104" y="16"/>
                </a:lnTo>
                <a:lnTo>
                  <a:pt x="108" y="16"/>
                </a:lnTo>
                <a:lnTo>
                  <a:pt x="104" y="16"/>
                </a:lnTo>
                <a:lnTo>
                  <a:pt x="104" y="12"/>
                </a:lnTo>
                <a:lnTo>
                  <a:pt x="108" y="12"/>
                </a:lnTo>
                <a:lnTo>
                  <a:pt x="112" y="12"/>
                </a:lnTo>
                <a:lnTo>
                  <a:pt x="108" y="16"/>
                </a:lnTo>
                <a:lnTo>
                  <a:pt x="104" y="16"/>
                </a:lnTo>
                <a:lnTo>
                  <a:pt x="108" y="16"/>
                </a:lnTo>
                <a:lnTo>
                  <a:pt x="112" y="16"/>
                </a:lnTo>
                <a:lnTo>
                  <a:pt x="108" y="16"/>
                </a:lnTo>
                <a:lnTo>
                  <a:pt x="108" y="20"/>
                </a:lnTo>
                <a:lnTo>
                  <a:pt x="104" y="20"/>
                </a:lnTo>
                <a:lnTo>
                  <a:pt x="108" y="20"/>
                </a:lnTo>
                <a:lnTo>
                  <a:pt x="108" y="24"/>
                </a:lnTo>
                <a:lnTo>
                  <a:pt x="108" y="20"/>
                </a:lnTo>
                <a:lnTo>
                  <a:pt x="108" y="24"/>
                </a:lnTo>
                <a:lnTo>
                  <a:pt x="108" y="28"/>
                </a:lnTo>
                <a:lnTo>
                  <a:pt x="108" y="30"/>
                </a:lnTo>
                <a:lnTo>
                  <a:pt x="104" y="30"/>
                </a:lnTo>
                <a:lnTo>
                  <a:pt x="104" y="34"/>
                </a:lnTo>
                <a:lnTo>
                  <a:pt x="104" y="38"/>
                </a:lnTo>
                <a:lnTo>
                  <a:pt x="100" y="40"/>
                </a:lnTo>
                <a:lnTo>
                  <a:pt x="96" y="40"/>
                </a:lnTo>
                <a:lnTo>
                  <a:pt x="96" y="46"/>
                </a:lnTo>
                <a:lnTo>
                  <a:pt x="96" y="50"/>
                </a:lnTo>
                <a:lnTo>
                  <a:pt x="94" y="52"/>
                </a:lnTo>
                <a:lnTo>
                  <a:pt x="90" y="52"/>
                </a:lnTo>
                <a:lnTo>
                  <a:pt x="90" y="56"/>
                </a:lnTo>
                <a:lnTo>
                  <a:pt x="86" y="56"/>
                </a:lnTo>
                <a:lnTo>
                  <a:pt x="90" y="64"/>
                </a:lnTo>
                <a:lnTo>
                  <a:pt x="94" y="64"/>
                </a:lnTo>
                <a:lnTo>
                  <a:pt x="94" y="68"/>
                </a:lnTo>
                <a:lnTo>
                  <a:pt x="90" y="68"/>
                </a:lnTo>
                <a:lnTo>
                  <a:pt x="90" y="64"/>
                </a:lnTo>
                <a:lnTo>
                  <a:pt x="90" y="68"/>
                </a:lnTo>
                <a:lnTo>
                  <a:pt x="86" y="68"/>
                </a:lnTo>
                <a:lnTo>
                  <a:pt x="86" y="64"/>
                </a:lnTo>
                <a:lnTo>
                  <a:pt x="82" y="64"/>
                </a:lnTo>
                <a:lnTo>
                  <a:pt x="82" y="68"/>
                </a:lnTo>
                <a:lnTo>
                  <a:pt x="78" y="68"/>
                </a:lnTo>
                <a:lnTo>
                  <a:pt x="78" y="70"/>
                </a:lnTo>
                <a:lnTo>
                  <a:pt x="74" y="70"/>
                </a:lnTo>
                <a:lnTo>
                  <a:pt x="70" y="70"/>
                </a:lnTo>
                <a:lnTo>
                  <a:pt x="70" y="74"/>
                </a:lnTo>
                <a:lnTo>
                  <a:pt x="66" y="74"/>
                </a:lnTo>
                <a:lnTo>
                  <a:pt x="66" y="78"/>
                </a:lnTo>
                <a:lnTo>
                  <a:pt x="66" y="82"/>
                </a:lnTo>
                <a:lnTo>
                  <a:pt x="66" y="86"/>
                </a:lnTo>
                <a:lnTo>
                  <a:pt x="66" y="90"/>
                </a:lnTo>
                <a:lnTo>
                  <a:pt x="64" y="90"/>
                </a:lnTo>
                <a:lnTo>
                  <a:pt x="64" y="94"/>
                </a:lnTo>
                <a:lnTo>
                  <a:pt x="60" y="96"/>
                </a:lnTo>
                <a:lnTo>
                  <a:pt x="60" y="100"/>
                </a:lnTo>
                <a:lnTo>
                  <a:pt x="60" y="104"/>
                </a:lnTo>
                <a:lnTo>
                  <a:pt x="56" y="104"/>
                </a:lnTo>
                <a:lnTo>
                  <a:pt x="56" y="108"/>
                </a:lnTo>
                <a:lnTo>
                  <a:pt x="60" y="108"/>
                </a:lnTo>
                <a:lnTo>
                  <a:pt x="60" y="104"/>
                </a:lnTo>
                <a:lnTo>
                  <a:pt x="60" y="108"/>
                </a:lnTo>
                <a:lnTo>
                  <a:pt x="56" y="108"/>
                </a:lnTo>
                <a:lnTo>
                  <a:pt x="52" y="108"/>
                </a:lnTo>
                <a:lnTo>
                  <a:pt x="52" y="112"/>
                </a:lnTo>
                <a:lnTo>
                  <a:pt x="48" y="116"/>
                </a:lnTo>
                <a:lnTo>
                  <a:pt x="48" y="120"/>
                </a:lnTo>
                <a:lnTo>
                  <a:pt x="44" y="120"/>
                </a:lnTo>
                <a:lnTo>
                  <a:pt x="40" y="122"/>
                </a:lnTo>
                <a:lnTo>
                  <a:pt x="36" y="122"/>
                </a:lnTo>
                <a:lnTo>
                  <a:pt x="34" y="122"/>
                </a:lnTo>
                <a:lnTo>
                  <a:pt x="34" y="120"/>
                </a:lnTo>
                <a:lnTo>
                  <a:pt x="30" y="120"/>
                </a:lnTo>
                <a:lnTo>
                  <a:pt x="30" y="122"/>
                </a:lnTo>
                <a:lnTo>
                  <a:pt x="26" y="122"/>
                </a:lnTo>
                <a:lnTo>
                  <a:pt x="26" y="120"/>
                </a:lnTo>
                <a:lnTo>
                  <a:pt x="30" y="122"/>
                </a:lnTo>
                <a:lnTo>
                  <a:pt x="30" y="120"/>
                </a:lnTo>
                <a:lnTo>
                  <a:pt x="26" y="120"/>
                </a:lnTo>
                <a:lnTo>
                  <a:pt x="26" y="122"/>
                </a:lnTo>
                <a:lnTo>
                  <a:pt x="26" y="120"/>
                </a:lnTo>
                <a:lnTo>
                  <a:pt x="22" y="116"/>
                </a:lnTo>
                <a:lnTo>
                  <a:pt x="20" y="116"/>
                </a:lnTo>
                <a:lnTo>
                  <a:pt x="16" y="112"/>
                </a:lnTo>
                <a:lnTo>
                  <a:pt x="12" y="112"/>
                </a:lnTo>
                <a:lnTo>
                  <a:pt x="12" y="116"/>
                </a:lnTo>
                <a:lnTo>
                  <a:pt x="8" y="116"/>
                </a:lnTo>
                <a:lnTo>
                  <a:pt x="4" y="116"/>
                </a:lnTo>
                <a:lnTo>
                  <a:pt x="4" y="112"/>
                </a:lnTo>
                <a:lnTo>
                  <a:pt x="0" y="112"/>
                </a:lnTo>
                <a:lnTo>
                  <a:pt x="4" y="112"/>
                </a:lnTo>
                <a:lnTo>
                  <a:pt x="4" y="108"/>
                </a:lnTo>
                <a:lnTo>
                  <a:pt x="8" y="108"/>
                </a:lnTo>
                <a:lnTo>
                  <a:pt x="4" y="108"/>
                </a:lnTo>
                <a:lnTo>
                  <a:pt x="4" y="112"/>
                </a:lnTo>
                <a:lnTo>
                  <a:pt x="0" y="112"/>
                </a:lnTo>
                <a:lnTo>
                  <a:pt x="0" y="108"/>
                </a:lnTo>
                <a:lnTo>
                  <a:pt x="0" y="104"/>
                </a:lnTo>
                <a:lnTo>
                  <a:pt x="4" y="104"/>
                </a:lnTo>
                <a:lnTo>
                  <a:pt x="8" y="104"/>
                </a:lnTo>
                <a:lnTo>
                  <a:pt x="4" y="104"/>
                </a:lnTo>
                <a:lnTo>
                  <a:pt x="4" y="100"/>
                </a:lnTo>
                <a:lnTo>
                  <a:pt x="8" y="100"/>
                </a:lnTo>
                <a:lnTo>
                  <a:pt x="4" y="100"/>
                </a:lnTo>
                <a:lnTo>
                  <a:pt x="4" y="96"/>
                </a:lnTo>
                <a:lnTo>
                  <a:pt x="4" y="94"/>
                </a:lnTo>
                <a:lnTo>
                  <a:pt x="8" y="96"/>
                </a:lnTo>
                <a:lnTo>
                  <a:pt x="12" y="96"/>
                </a:lnTo>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97" name="Freeform 204"/>
          <p:cNvSpPr>
            <a:spLocks noEditPoints="1"/>
          </p:cNvSpPr>
          <p:nvPr/>
        </p:nvSpPr>
        <p:spPr bwMode="auto">
          <a:xfrm>
            <a:off x="6893718" y="3840956"/>
            <a:ext cx="161925" cy="88106"/>
          </a:xfrm>
          <a:custGeom>
            <a:avLst/>
            <a:gdLst>
              <a:gd name="T0" fmla="*/ 6 w 136"/>
              <a:gd name="T1" fmla="*/ 8 h 74"/>
              <a:gd name="T2" fmla="*/ 8 w 136"/>
              <a:gd name="T3" fmla="*/ 4 h 74"/>
              <a:gd name="T4" fmla="*/ 14 w 136"/>
              <a:gd name="T5" fmla="*/ 10 h 74"/>
              <a:gd name="T6" fmla="*/ 14 w 136"/>
              <a:gd name="T7" fmla="*/ 12 h 74"/>
              <a:gd name="T8" fmla="*/ 48 w 136"/>
              <a:gd name="T9" fmla="*/ 26 h 74"/>
              <a:gd name="T10" fmla="*/ 30 w 136"/>
              <a:gd name="T11" fmla="*/ 12 h 74"/>
              <a:gd name="T12" fmla="*/ 48 w 136"/>
              <a:gd name="T13" fmla="*/ 26 h 74"/>
              <a:gd name="T14" fmla="*/ 48 w 136"/>
              <a:gd name="T15" fmla="*/ 26 h 74"/>
              <a:gd name="T16" fmla="*/ 0 w 136"/>
              <a:gd name="T17" fmla="*/ 14 h 74"/>
              <a:gd name="T18" fmla="*/ 2 w 136"/>
              <a:gd name="T19" fmla="*/ 18 h 74"/>
              <a:gd name="T20" fmla="*/ 2 w 136"/>
              <a:gd name="T21" fmla="*/ 18 h 74"/>
              <a:gd name="T22" fmla="*/ 6 w 136"/>
              <a:gd name="T23" fmla="*/ 20 h 74"/>
              <a:gd name="T24" fmla="*/ 10 w 136"/>
              <a:gd name="T25" fmla="*/ 16 h 74"/>
              <a:gd name="T26" fmla="*/ 10 w 136"/>
              <a:gd name="T27" fmla="*/ 22 h 74"/>
              <a:gd name="T28" fmla="*/ 18 w 136"/>
              <a:gd name="T29" fmla="*/ 28 h 74"/>
              <a:gd name="T30" fmla="*/ 12 w 136"/>
              <a:gd name="T31" fmla="*/ 22 h 74"/>
              <a:gd name="T32" fmla="*/ 18 w 136"/>
              <a:gd name="T33" fmla="*/ 22 h 74"/>
              <a:gd name="T34" fmla="*/ 18 w 136"/>
              <a:gd name="T35" fmla="*/ 28 h 74"/>
              <a:gd name="T36" fmla="*/ 18 w 136"/>
              <a:gd name="T37" fmla="*/ 28 h 74"/>
              <a:gd name="T38" fmla="*/ 12 w 136"/>
              <a:gd name="T39" fmla="*/ 28 h 74"/>
              <a:gd name="T40" fmla="*/ 12 w 136"/>
              <a:gd name="T41" fmla="*/ 28 h 74"/>
              <a:gd name="T42" fmla="*/ 12 w 136"/>
              <a:gd name="T43" fmla="*/ 28 h 74"/>
              <a:gd name="T44" fmla="*/ 20 w 136"/>
              <a:gd name="T45" fmla="*/ 28 h 74"/>
              <a:gd name="T46" fmla="*/ 22 w 136"/>
              <a:gd name="T47" fmla="*/ 28 h 74"/>
              <a:gd name="T48" fmla="*/ 22 w 136"/>
              <a:gd name="T49" fmla="*/ 28 h 74"/>
              <a:gd name="T50" fmla="*/ 132 w 136"/>
              <a:gd name="T51" fmla="*/ 56 h 74"/>
              <a:gd name="T52" fmla="*/ 134 w 136"/>
              <a:gd name="T53" fmla="*/ 60 h 74"/>
              <a:gd name="T54" fmla="*/ 134 w 136"/>
              <a:gd name="T55" fmla="*/ 60 h 74"/>
              <a:gd name="T56" fmla="*/ 48 w 136"/>
              <a:gd name="T57" fmla="*/ 68 h 74"/>
              <a:gd name="T58" fmla="*/ 58 w 136"/>
              <a:gd name="T59" fmla="*/ 74 h 74"/>
              <a:gd name="T60" fmla="*/ 58 w 136"/>
              <a:gd name="T61" fmla="*/ 74 h 74"/>
              <a:gd name="T62" fmla="*/ 70 w 136"/>
              <a:gd name="T63" fmla="*/ 42 h 74"/>
              <a:gd name="T64" fmla="*/ 58 w 136"/>
              <a:gd name="T65" fmla="*/ 22 h 74"/>
              <a:gd name="T66" fmla="*/ 64 w 136"/>
              <a:gd name="T67" fmla="*/ 28 h 74"/>
              <a:gd name="T68" fmla="*/ 68 w 136"/>
              <a:gd name="T69" fmla="*/ 34 h 74"/>
              <a:gd name="T70" fmla="*/ 68 w 136"/>
              <a:gd name="T71" fmla="*/ 34 h 74"/>
              <a:gd name="T72" fmla="*/ 60 w 136"/>
              <a:gd name="T73" fmla="*/ 46 h 74"/>
              <a:gd name="T74" fmla="*/ 44 w 136"/>
              <a:gd name="T75" fmla="*/ 38 h 74"/>
              <a:gd name="T76" fmla="*/ 62 w 136"/>
              <a:gd name="T77" fmla="*/ 46 h 74"/>
              <a:gd name="T78" fmla="*/ 62 w 136"/>
              <a:gd name="T79" fmla="*/ 46 h 74"/>
              <a:gd name="T80" fmla="*/ 84 w 136"/>
              <a:gd name="T81" fmla="*/ 60 h 74"/>
              <a:gd name="T82" fmla="*/ 68 w 136"/>
              <a:gd name="T83" fmla="*/ 50 h 74"/>
              <a:gd name="T84" fmla="*/ 84 w 136"/>
              <a:gd name="T85" fmla="*/ 56 h 74"/>
              <a:gd name="T86" fmla="*/ 84 w 136"/>
              <a:gd name="T87" fmla="*/ 56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6" h="74">
                <a:moveTo>
                  <a:pt x="14" y="12"/>
                </a:moveTo>
                <a:lnTo>
                  <a:pt x="6" y="8"/>
                </a:lnTo>
                <a:lnTo>
                  <a:pt x="0" y="0"/>
                </a:lnTo>
                <a:lnTo>
                  <a:pt x="8" y="4"/>
                </a:lnTo>
                <a:lnTo>
                  <a:pt x="10" y="6"/>
                </a:lnTo>
                <a:lnTo>
                  <a:pt x="14" y="10"/>
                </a:lnTo>
                <a:lnTo>
                  <a:pt x="14" y="12"/>
                </a:lnTo>
                <a:lnTo>
                  <a:pt x="14" y="12"/>
                </a:lnTo>
                <a:lnTo>
                  <a:pt x="14" y="12"/>
                </a:lnTo>
                <a:close/>
                <a:moveTo>
                  <a:pt x="48" y="26"/>
                </a:moveTo>
                <a:lnTo>
                  <a:pt x="34" y="18"/>
                </a:lnTo>
                <a:lnTo>
                  <a:pt x="30" y="12"/>
                </a:lnTo>
                <a:lnTo>
                  <a:pt x="48" y="22"/>
                </a:lnTo>
                <a:lnTo>
                  <a:pt x="48" y="26"/>
                </a:lnTo>
                <a:lnTo>
                  <a:pt x="48" y="26"/>
                </a:lnTo>
                <a:lnTo>
                  <a:pt x="48" y="26"/>
                </a:lnTo>
                <a:close/>
                <a:moveTo>
                  <a:pt x="2" y="18"/>
                </a:moveTo>
                <a:lnTo>
                  <a:pt x="0" y="14"/>
                </a:lnTo>
                <a:lnTo>
                  <a:pt x="6" y="16"/>
                </a:lnTo>
                <a:lnTo>
                  <a:pt x="2" y="18"/>
                </a:lnTo>
                <a:lnTo>
                  <a:pt x="2" y="18"/>
                </a:lnTo>
                <a:lnTo>
                  <a:pt x="2" y="18"/>
                </a:lnTo>
                <a:close/>
                <a:moveTo>
                  <a:pt x="10" y="22"/>
                </a:moveTo>
                <a:lnTo>
                  <a:pt x="6" y="20"/>
                </a:lnTo>
                <a:lnTo>
                  <a:pt x="8" y="16"/>
                </a:lnTo>
                <a:lnTo>
                  <a:pt x="10" y="16"/>
                </a:lnTo>
                <a:lnTo>
                  <a:pt x="10" y="22"/>
                </a:lnTo>
                <a:lnTo>
                  <a:pt x="10" y="22"/>
                </a:lnTo>
                <a:lnTo>
                  <a:pt x="10" y="22"/>
                </a:lnTo>
                <a:close/>
                <a:moveTo>
                  <a:pt x="18" y="28"/>
                </a:moveTo>
                <a:lnTo>
                  <a:pt x="14" y="22"/>
                </a:lnTo>
                <a:lnTo>
                  <a:pt x="12" y="22"/>
                </a:lnTo>
                <a:lnTo>
                  <a:pt x="12" y="18"/>
                </a:lnTo>
                <a:lnTo>
                  <a:pt x="18" y="22"/>
                </a:lnTo>
                <a:lnTo>
                  <a:pt x="20" y="26"/>
                </a:lnTo>
                <a:lnTo>
                  <a:pt x="18" y="28"/>
                </a:lnTo>
                <a:lnTo>
                  <a:pt x="18" y="28"/>
                </a:lnTo>
                <a:lnTo>
                  <a:pt x="18" y="28"/>
                </a:lnTo>
                <a:close/>
                <a:moveTo>
                  <a:pt x="12" y="28"/>
                </a:moveTo>
                <a:lnTo>
                  <a:pt x="12" y="28"/>
                </a:lnTo>
                <a:lnTo>
                  <a:pt x="12" y="24"/>
                </a:lnTo>
                <a:lnTo>
                  <a:pt x="12" y="28"/>
                </a:lnTo>
                <a:lnTo>
                  <a:pt x="12" y="28"/>
                </a:lnTo>
                <a:lnTo>
                  <a:pt x="12" y="28"/>
                </a:lnTo>
                <a:close/>
                <a:moveTo>
                  <a:pt x="22" y="28"/>
                </a:moveTo>
                <a:lnTo>
                  <a:pt x="20" y="28"/>
                </a:lnTo>
                <a:lnTo>
                  <a:pt x="24" y="26"/>
                </a:lnTo>
                <a:lnTo>
                  <a:pt x="22" y="28"/>
                </a:lnTo>
                <a:lnTo>
                  <a:pt x="22" y="28"/>
                </a:lnTo>
                <a:lnTo>
                  <a:pt x="22" y="28"/>
                </a:lnTo>
                <a:close/>
                <a:moveTo>
                  <a:pt x="134" y="60"/>
                </a:moveTo>
                <a:lnTo>
                  <a:pt x="132" y="56"/>
                </a:lnTo>
                <a:lnTo>
                  <a:pt x="136" y="56"/>
                </a:lnTo>
                <a:lnTo>
                  <a:pt x="134" y="60"/>
                </a:lnTo>
                <a:lnTo>
                  <a:pt x="134" y="60"/>
                </a:lnTo>
                <a:lnTo>
                  <a:pt x="134" y="60"/>
                </a:lnTo>
                <a:close/>
                <a:moveTo>
                  <a:pt x="58" y="74"/>
                </a:moveTo>
                <a:lnTo>
                  <a:pt x="48" y="68"/>
                </a:lnTo>
                <a:lnTo>
                  <a:pt x="56" y="72"/>
                </a:lnTo>
                <a:lnTo>
                  <a:pt x="58" y="74"/>
                </a:lnTo>
                <a:lnTo>
                  <a:pt x="58" y="74"/>
                </a:lnTo>
                <a:lnTo>
                  <a:pt x="58" y="74"/>
                </a:lnTo>
                <a:close/>
                <a:moveTo>
                  <a:pt x="68" y="34"/>
                </a:moveTo>
                <a:lnTo>
                  <a:pt x="70" y="42"/>
                </a:lnTo>
                <a:lnTo>
                  <a:pt x="62" y="34"/>
                </a:lnTo>
                <a:lnTo>
                  <a:pt x="58" y="22"/>
                </a:lnTo>
                <a:lnTo>
                  <a:pt x="62" y="24"/>
                </a:lnTo>
                <a:lnTo>
                  <a:pt x="64" y="28"/>
                </a:lnTo>
                <a:lnTo>
                  <a:pt x="64" y="30"/>
                </a:lnTo>
                <a:lnTo>
                  <a:pt x="68" y="34"/>
                </a:lnTo>
                <a:lnTo>
                  <a:pt x="68" y="34"/>
                </a:lnTo>
                <a:lnTo>
                  <a:pt x="68" y="34"/>
                </a:lnTo>
                <a:close/>
                <a:moveTo>
                  <a:pt x="62" y="46"/>
                </a:moveTo>
                <a:lnTo>
                  <a:pt x="60" y="46"/>
                </a:lnTo>
                <a:lnTo>
                  <a:pt x="48" y="44"/>
                </a:lnTo>
                <a:lnTo>
                  <a:pt x="44" y="38"/>
                </a:lnTo>
                <a:lnTo>
                  <a:pt x="56" y="40"/>
                </a:lnTo>
                <a:lnTo>
                  <a:pt x="62" y="46"/>
                </a:lnTo>
                <a:lnTo>
                  <a:pt x="62" y="46"/>
                </a:lnTo>
                <a:lnTo>
                  <a:pt x="62" y="46"/>
                </a:lnTo>
                <a:close/>
                <a:moveTo>
                  <a:pt x="84" y="56"/>
                </a:moveTo>
                <a:lnTo>
                  <a:pt x="84" y="60"/>
                </a:lnTo>
                <a:lnTo>
                  <a:pt x="76" y="56"/>
                </a:lnTo>
                <a:lnTo>
                  <a:pt x="68" y="50"/>
                </a:lnTo>
                <a:lnTo>
                  <a:pt x="80" y="54"/>
                </a:lnTo>
                <a:lnTo>
                  <a:pt x="84" y="56"/>
                </a:lnTo>
                <a:lnTo>
                  <a:pt x="84" y="56"/>
                </a:lnTo>
                <a:lnTo>
                  <a:pt x="84" y="56"/>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98" name="Freeform 205"/>
          <p:cNvSpPr>
            <a:spLocks noEditPoints="1"/>
          </p:cNvSpPr>
          <p:nvPr/>
        </p:nvSpPr>
        <p:spPr bwMode="auto">
          <a:xfrm>
            <a:off x="7246144" y="4002880"/>
            <a:ext cx="45244" cy="52388"/>
          </a:xfrm>
          <a:custGeom>
            <a:avLst/>
            <a:gdLst>
              <a:gd name="T0" fmla="*/ 38 w 38"/>
              <a:gd name="T1" fmla="*/ 0 h 44"/>
              <a:gd name="T2" fmla="*/ 30 w 38"/>
              <a:gd name="T3" fmla="*/ 8 h 44"/>
              <a:gd name="T4" fmla="*/ 36 w 38"/>
              <a:gd name="T5" fmla="*/ 4 h 44"/>
              <a:gd name="T6" fmla="*/ 36 w 38"/>
              <a:gd name="T7" fmla="*/ 8 h 44"/>
              <a:gd name="T8" fmla="*/ 28 w 38"/>
              <a:gd name="T9" fmla="*/ 8 h 44"/>
              <a:gd name="T10" fmla="*/ 28 w 38"/>
              <a:gd name="T11" fmla="*/ 8 h 44"/>
              <a:gd name="T12" fmla="*/ 20 w 38"/>
              <a:gd name="T13" fmla="*/ 14 h 44"/>
              <a:gd name="T14" fmla="*/ 16 w 38"/>
              <a:gd name="T15" fmla="*/ 8 h 44"/>
              <a:gd name="T16" fmla="*/ 22 w 38"/>
              <a:gd name="T17" fmla="*/ 4 h 44"/>
              <a:gd name="T18" fmla="*/ 38 w 38"/>
              <a:gd name="T19" fmla="*/ 0 h 44"/>
              <a:gd name="T20" fmla="*/ 38 w 38"/>
              <a:gd name="T21" fmla="*/ 0 h 44"/>
              <a:gd name="T22" fmla="*/ 38 w 38"/>
              <a:gd name="T23" fmla="*/ 0 h 44"/>
              <a:gd name="T24" fmla="*/ 38 w 38"/>
              <a:gd name="T25" fmla="*/ 0 h 44"/>
              <a:gd name="T26" fmla="*/ 2 w 38"/>
              <a:gd name="T27" fmla="*/ 30 h 44"/>
              <a:gd name="T28" fmla="*/ 0 w 38"/>
              <a:gd name="T29" fmla="*/ 26 h 44"/>
              <a:gd name="T30" fmla="*/ 4 w 38"/>
              <a:gd name="T31" fmla="*/ 20 h 44"/>
              <a:gd name="T32" fmla="*/ 12 w 38"/>
              <a:gd name="T33" fmla="*/ 16 h 44"/>
              <a:gd name="T34" fmla="*/ 16 w 38"/>
              <a:gd name="T35" fmla="*/ 22 h 44"/>
              <a:gd name="T36" fmla="*/ 18 w 38"/>
              <a:gd name="T37" fmla="*/ 28 h 44"/>
              <a:gd name="T38" fmla="*/ 16 w 38"/>
              <a:gd name="T39" fmla="*/ 28 h 44"/>
              <a:gd name="T40" fmla="*/ 10 w 38"/>
              <a:gd name="T41" fmla="*/ 32 h 44"/>
              <a:gd name="T42" fmla="*/ 2 w 38"/>
              <a:gd name="T43" fmla="*/ 30 h 44"/>
              <a:gd name="T44" fmla="*/ 2 w 38"/>
              <a:gd name="T45" fmla="*/ 30 h 44"/>
              <a:gd name="T46" fmla="*/ 2 w 38"/>
              <a:gd name="T47" fmla="*/ 30 h 44"/>
              <a:gd name="T48" fmla="*/ 10 w 38"/>
              <a:gd name="T49" fmla="*/ 44 h 44"/>
              <a:gd name="T50" fmla="*/ 10 w 38"/>
              <a:gd name="T51" fmla="*/ 44 h 44"/>
              <a:gd name="T52" fmla="*/ 10 w 38"/>
              <a:gd name="T53" fmla="*/ 42 h 44"/>
              <a:gd name="T54" fmla="*/ 16 w 38"/>
              <a:gd name="T55" fmla="*/ 42 h 44"/>
              <a:gd name="T56" fmla="*/ 10 w 38"/>
              <a:gd name="T57" fmla="*/ 44 h 44"/>
              <a:gd name="T58" fmla="*/ 10 w 38"/>
              <a:gd name="T59" fmla="*/ 44 h 44"/>
              <a:gd name="T60" fmla="*/ 10 w 38"/>
              <a:gd name="T61"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 h="44">
                <a:moveTo>
                  <a:pt x="38" y="0"/>
                </a:moveTo>
                <a:lnTo>
                  <a:pt x="30" y="8"/>
                </a:lnTo>
                <a:lnTo>
                  <a:pt x="36" y="4"/>
                </a:lnTo>
                <a:lnTo>
                  <a:pt x="36" y="8"/>
                </a:lnTo>
                <a:lnTo>
                  <a:pt x="28" y="8"/>
                </a:lnTo>
                <a:lnTo>
                  <a:pt x="28" y="8"/>
                </a:lnTo>
                <a:lnTo>
                  <a:pt x="20" y="14"/>
                </a:lnTo>
                <a:lnTo>
                  <a:pt x="16" y="8"/>
                </a:lnTo>
                <a:lnTo>
                  <a:pt x="22" y="4"/>
                </a:lnTo>
                <a:lnTo>
                  <a:pt x="38" y="0"/>
                </a:lnTo>
                <a:lnTo>
                  <a:pt x="38" y="0"/>
                </a:lnTo>
                <a:lnTo>
                  <a:pt x="38" y="0"/>
                </a:lnTo>
                <a:lnTo>
                  <a:pt x="38" y="0"/>
                </a:lnTo>
                <a:close/>
                <a:moveTo>
                  <a:pt x="2" y="30"/>
                </a:moveTo>
                <a:lnTo>
                  <a:pt x="0" y="26"/>
                </a:lnTo>
                <a:lnTo>
                  <a:pt x="4" y="20"/>
                </a:lnTo>
                <a:lnTo>
                  <a:pt x="12" y="16"/>
                </a:lnTo>
                <a:lnTo>
                  <a:pt x="16" y="22"/>
                </a:lnTo>
                <a:lnTo>
                  <a:pt x="18" y="28"/>
                </a:lnTo>
                <a:lnTo>
                  <a:pt x="16" y="28"/>
                </a:lnTo>
                <a:lnTo>
                  <a:pt x="10" y="32"/>
                </a:lnTo>
                <a:lnTo>
                  <a:pt x="2" y="30"/>
                </a:lnTo>
                <a:lnTo>
                  <a:pt x="2" y="30"/>
                </a:lnTo>
                <a:lnTo>
                  <a:pt x="2" y="30"/>
                </a:lnTo>
                <a:close/>
                <a:moveTo>
                  <a:pt x="10" y="44"/>
                </a:moveTo>
                <a:lnTo>
                  <a:pt x="10" y="44"/>
                </a:lnTo>
                <a:lnTo>
                  <a:pt x="10" y="42"/>
                </a:lnTo>
                <a:lnTo>
                  <a:pt x="16" y="42"/>
                </a:lnTo>
                <a:lnTo>
                  <a:pt x="10" y="44"/>
                </a:lnTo>
                <a:lnTo>
                  <a:pt x="10" y="44"/>
                </a:lnTo>
                <a:lnTo>
                  <a:pt x="10" y="44"/>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99" name="Freeform 206"/>
          <p:cNvSpPr>
            <a:spLocks noEditPoints="1"/>
          </p:cNvSpPr>
          <p:nvPr/>
        </p:nvSpPr>
        <p:spPr bwMode="auto">
          <a:xfrm>
            <a:off x="7062788" y="3976687"/>
            <a:ext cx="50006" cy="88106"/>
          </a:xfrm>
          <a:custGeom>
            <a:avLst/>
            <a:gdLst>
              <a:gd name="T0" fmla="*/ 8 w 42"/>
              <a:gd name="T1" fmla="*/ 6 h 74"/>
              <a:gd name="T2" fmla="*/ 12 w 42"/>
              <a:gd name="T3" fmla="*/ 12 h 74"/>
              <a:gd name="T4" fmla="*/ 4 w 42"/>
              <a:gd name="T5" fmla="*/ 14 h 74"/>
              <a:gd name="T6" fmla="*/ 0 w 42"/>
              <a:gd name="T7" fmla="*/ 0 h 74"/>
              <a:gd name="T8" fmla="*/ 6 w 42"/>
              <a:gd name="T9" fmla="*/ 6 h 74"/>
              <a:gd name="T10" fmla="*/ 6 w 42"/>
              <a:gd name="T11" fmla="*/ 4 h 74"/>
              <a:gd name="T12" fmla="*/ 8 w 42"/>
              <a:gd name="T13" fmla="*/ 6 h 74"/>
              <a:gd name="T14" fmla="*/ 8 w 42"/>
              <a:gd name="T15" fmla="*/ 6 h 74"/>
              <a:gd name="T16" fmla="*/ 8 w 42"/>
              <a:gd name="T17" fmla="*/ 6 h 74"/>
              <a:gd name="T18" fmla="*/ 28 w 42"/>
              <a:gd name="T19" fmla="*/ 48 h 74"/>
              <a:gd name="T20" fmla="*/ 24 w 42"/>
              <a:gd name="T21" fmla="*/ 44 h 74"/>
              <a:gd name="T22" fmla="*/ 26 w 42"/>
              <a:gd name="T23" fmla="*/ 42 h 74"/>
              <a:gd name="T24" fmla="*/ 30 w 42"/>
              <a:gd name="T25" fmla="*/ 44 h 74"/>
              <a:gd name="T26" fmla="*/ 28 w 42"/>
              <a:gd name="T27" fmla="*/ 48 h 74"/>
              <a:gd name="T28" fmla="*/ 28 w 42"/>
              <a:gd name="T29" fmla="*/ 48 h 74"/>
              <a:gd name="T30" fmla="*/ 28 w 42"/>
              <a:gd name="T31" fmla="*/ 48 h 74"/>
              <a:gd name="T32" fmla="*/ 40 w 42"/>
              <a:gd name="T33" fmla="*/ 64 h 74"/>
              <a:gd name="T34" fmla="*/ 36 w 42"/>
              <a:gd name="T35" fmla="*/ 62 h 74"/>
              <a:gd name="T36" fmla="*/ 36 w 42"/>
              <a:gd name="T37" fmla="*/ 60 h 74"/>
              <a:gd name="T38" fmla="*/ 40 w 42"/>
              <a:gd name="T39" fmla="*/ 62 h 74"/>
              <a:gd name="T40" fmla="*/ 40 w 42"/>
              <a:gd name="T41" fmla="*/ 64 h 74"/>
              <a:gd name="T42" fmla="*/ 40 w 42"/>
              <a:gd name="T43" fmla="*/ 64 h 74"/>
              <a:gd name="T44" fmla="*/ 40 w 42"/>
              <a:gd name="T45" fmla="*/ 64 h 74"/>
              <a:gd name="T46" fmla="*/ 42 w 42"/>
              <a:gd name="T47" fmla="*/ 74 h 74"/>
              <a:gd name="T48" fmla="*/ 40 w 42"/>
              <a:gd name="T49" fmla="*/ 72 h 74"/>
              <a:gd name="T50" fmla="*/ 40 w 42"/>
              <a:gd name="T51" fmla="*/ 70 h 74"/>
              <a:gd name="T52" fmla="*/ 42 w 42"/>
              <a:gd name="T53" fmla="*/ 72 h 74"/>
              <a:gd name="T54" fmla="*/ 42 w 42"/>
              <a:gd name="T55" fmla="*/ 74 h 74"/>
              <a:gd name="T56" fmla="*/ 42 w 42"/>
              <a:gd name="T57" fmla="*/ 74 h 74"/>
              <a:gd name="T58" fmla="*/ 42 w 42"/>
              <a:gd name="T59" fmla="*/ 74 h 74"/>
              <a:gd name="T60" fmla="*/ 18 w 42"/>
              <a:gd name="T61" fmla="*/ 12 h 74"/>
              <a:gd name="T62" fmla="*/ 18 w 42"/>
              <a:gd name="T63" fmla="*/ 12 h 74"/>
              <a:gd name="T64" fmla="*/ 22 w 42"/>
              <a:gd name="T65" fmla="*/ 10 h 74"/>
              <a:gd name="T66" fmla="*/ 18 w 42"/>
              <a:gd name="T67" fmla="*/ 12 h 74"/>
              <a:gd name="T68" fmla="*/ 18 w 42"/>
              <a:gd name="T69" fmla="*/ 12 h 74"/>
              <a:gd name="T70" fmla="*/ 18 w 42"/>
              <a:gd name="T71" fmla="*/ 12 h 74"/>
              <a:gd name="T72" fmla="*/ 14 w 42"/>
              <a:gd name="T73" fmla="*/ 28 h 74"/>
              <a:gd name="T74" fmla="*/ 12 w 42"/>
              <a:gd name="T75" fmla="*/ 22 h 74"/>
              <a:gd name="T76" fmla="*/ 10 w 42"/>
              <a:gd name="T77" fmla="*/ 20 h 74"/>
              <a:gd name="T78" fmla="*/ 12 w 42"/>
              <a:gd name="T79" fmla="*/ 18 h 74"/>
              <a:gd name="T80" fmla="*/ 18 w 42"/>
              <a:gd name="T81" fmla="*/ 26 h 74"/>
              <a:gd name="T82" fmla="*/ 14 w 42"/>
              <a:gd name="T83" fmla="*/ 28 h 74"/>
              <a:gd name="T84" fmla="*/ 14 w 42"/>
              <a:gd name="T85" fmla="*/ 28 h 74"/>
              <a:gd name="T86" fmla="*/ 14 w 42"/>
              <a:gd name="T87" fmla="*/ 28 h 74"/>
              <a:gd name="T88" fmla="*/ 24 w 42"/>
              <a:gd name="T89" fmla="*/ 24 h 74"/>
              <a:gd name="T90" fmla="*/ 20 w 42"/>
              <a:gd name="T91" fmla="*/ 24 h 74"/>
              <a:gd name="T92" fmla="*/ 24 w 42"/>
              <a:gd name="T93" fmla="*/ 20 h 74"/>
              <a:gd name="T94" fmla="*/ 26 w 42"/>
              <a:gd name="T95" fmla="*/ 24 h 74"/>
              <a:gd name="T96" fmla="*/ 24 w 42"/>
              <a:gd name="T97" fmla="*/ 24 h 74"/>
              <a:gd name="T98" fmla="*/ 24 w 42"/>
              <a:gd name="T99" fmla="*/ 24 h 74"/>
              <a:gd name="T100" fmla="*/ 24 w 42"/>
              <a:gd name="T101" fmla="*/ 24 h 74"/>
              <a:gd name="T102" fmla="*/ 28 w 42"/>
              <a:gd name="T103" fmla="*/ 32 h 74"/>
              <a:gd name="T104" fmla="*/ 24 w 42"/>
              <a:gd name="T105" fmla="*/ 30 h 74"/>
              <a:gd name="T106" fmla="*/ 24 w 42"/>
              <a:gd name="T107" fmla="*/ 28 h 74"/>
              <a:gd name="T108" fmla="*/ 28 w 42"/>
              <a:gd name="T109" fmla="*/ 32 h 74"/>
              <a:gd name="T110" fmla="*/ 28 w 42"/>
              <a:gd name="T111" fmla="*/ 32 h 74"/>
              <a:gd name="T112" fmla="*/ 28 w 42"/>
              <a:gd name="T113" fmla="*/ 3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2" h="74">
                <a:moveTo>
                  <a:pt x="8" y="6"/>
                </a:moveTo>
                <a:lnTo>
                  <a:pt x="12" y="12"/>
                </a:lnTo>
                <a:lnTo>
                  <a:pt x="4" y="14"/>
                </a:lnTo>
                <a:lnTo>
                  <a:pt x="0" y="0"/>
                </a:lnTo>
                <a:lnTo>
                  <a:pt x="6" y="6"/>
                </a:lnTo>
                <a:lnTo>
                  <a:pt x="6" y="4"/>
                </a:lnTo>
                <a:lnTo>
                  <a:pt x="8" y="6"/>
                </a:lnTo>
                <a:lnTo>
                  <a:pt x="8" y="6"/>
                </a:lnTo>
                <a:lnTo>
                  <a:pt x="8" y="6"/>
                </a:lnTo>
                <a:close/>
                <a:moveTo>
                  <a:pt x="28" y="48"/>
                </a:moveTo>
                <a:lnTo>
                  <a:pt x="24" y="44"/>
                </a:lnTo>
                <a:lnTo>
                  <a:pt x="26" y="42"/>
                </a:lnTo>
                <a:lnTo>
                  <a:pt x="30" y="44"/>
                </a:lnTo>
                <a:lnTo>
                  <a:pt x="28" y="48"/>
                </a:lnTo>
                <a:lnTo>
                  <a:pt x="28" y="48"/>
                </a:lnTo>
                <a:lnTo>
                  <a:pt x="28" y="48"/>
                </a:lnTo>
                <a:close/>
                <a:moveTo>
                  <a:pt x="40" y="64"/>
                </a:moveTo>
                <a:lnTo>
                  <a:pt x="36" y="62"/>
                </a:lnTo>
                <a:lnTo>
                  <a:pt x="36" y="60"/>
                </a:lnTo>
                <a:lnTo>
                  <a:pt x="40" y="62"/>
                </a:lnTo>
                <a:lnTo>
                  <a:pt x="40" y="64"/>
                </a:lnTo>
                <a:lnTo>
                  <a:pt x="40" y="64"/>
                </a:lnTo>
                <a:lnTo>
                  <a:pt x="40" y="64"/>
                </a:lnTo>
                <a:close/>
                <a:moveTo>
                  <a:pt x="42" y="74"/>
                </a:moveTo>
                <a:lnTo>
                  <a:pt x="40" y="72"/>
                </a:lnTo>
                <a:lnTo>
                  <a:pt x="40" y="70"/>
                </a:lnTo>
                <a:lnTo>
                  <a:pt x="42" y="72"/>
                </a:lnTo>
                <a:lnTo>
                  <a:pt x="42" y="74"/>
                </a:lnTo>
                <a:lnTo>
                  <a:pt x="42" y="74"/>
                </a:lnTo>
                <a:lnTo>
                  <a:pt x="42" y="74"/>
                </a:lnTo>
                <a:close/>
                <a:moveTo>
                  <a:pt x="18" y="12"/>
                </a:moveTo>
                <a:lnTo>
                  <a:pt x="18" y="12"/>
                </a:lnTo>
                <a:lnTo>
                  <a:pt x="22" y="10"/>
                </a:lnTo>
                <a:lnTo>
                  <a:pt x="18" y="12"/>
                </a:lnTo>
                <a:lnTo>
                  <a:pt x="18" y="12"/>
                </a:lnTo>
                <a:lnTo>
                  <a:pt x="18" y="12"/>
                </a:lnTo>
                <a:close/>
                <a:moveTo>
                  <a:pt x="14" y="28"/>
                </a:moveTo>
                <a:lnTo>
                  <a:pt x="12" y="22"/>
                </a:lnTo>
                <a:lnTo>
                  <a:pt x="10" y="20"/>
                </a:lnTo>
                <a:lnTo>
                  <a:pt x="12" y="18"/>
                </a:lnTo>
                <a:lnTo>
                  <a:pt x="18" y="26"/>
                </a:lnTo>
                <a:lnTo>
                  <a:pt x="14" y="28"/>
                </a:lnTo>
                <a:lnTo>
                  <a:pt x="14" y="28"/>
                </a:lnTo>
                <a:lnTo>
                  <a:pt x="14" y="28"/>
                </a:lnTo>
                <a:close/>
                <a:moveTo>
                  <a:pt x="24" y="24"/>
                </a:moveTo>
                <a:lnTo>
                  <a:pt x="20" y="24"/>
                </a:lnTo>
                <a:lnTo>
                  <a:pt x="24" y="20"/>
                </a:lnTo>
                <a:lnTo>
                  <a:pt x="26" y="24"/>
                </a:lnTo>
                <a:lnTo>
                  <a:pt x="24" y="24"/>
                </a:lnTo>
                <a:lnTo>
                  <a:pt x="24" y="24"/>
                </a:lnTo>
                <a:lnTo>
                  <a:pt x="24" y="24"/>
                </a:lnTo>
                <a:close/>
                <a:moveTo>
                  <a:pt x="28" y="32"/>
                </a:moveTo>
                <a:lnTo>
                  <a:pt x="24" y="30"/>
                </a:lnTo>
                <a:lnTo>
                  <a:pt x="24" y="28"/>
                </a:lnTo>
                <a:lnTo>
                  <a:pt x="28" y="32"/>
                </a:lnTo>
                <a:lnTo>
                  <a:pt x="28" y="32"/>
                </a:lnTo>
                <a:lnTo>
                  <a:pt x="28" y="32"/>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00" name="Freeform 207"/>
          <p:cNvSpPr>
            <a:spLocks noEditPoints="1"/>
          </p:cNvSpPr>
          <p:nvPr/>
        </p:nvSpPr>
        <p:spPr bwMode="auto">
          <a:xfrm>
            <a:off x="7019924" y="4071937"/>
            <a:ext cx="71438" cy="40481"/>
          </a:xfrm>
          <a:custGeom>
            <a:avLst/>
            <a:gdLst>
              <a:gd name="T0" fmla="*/ 22 w 60"/>
              <a:gd name="T1" fmla="*/ 14 h 34"/>
              <a:gd name="T2" fmla="*/ 42 w 60"/>
              <a:gd name="T3" fmla="*/ 30 h 34"/>
              <a:gd name="T4" fmla="*/ 42 w 60"/>
              <a:gd name="T5" fmla="*/ 34 h 34"/>
              <a:gd name="T6" fmla="*/ 36 w 60"/>
              <a:gd name="T7" fmla="*/ 34 h 34"/>
              <a:gd name="T8" fmla="*/ 30 w 60"/>
              <a:gd name="T9" fmla="*/ 28 h 34"/>
              <a:gd name="T10" fmla="*/ 18 w 60"/>
              <a:gd name="T11" fmla="*/ 22 h 34"/>
              <a:gd name="T12" fmla="*/ 6 w 60"/>
              <a:gd name="T13" fmla="*/ 10 h 34"/>
              <a:gd name="T14" fmla="*/ 0 w 60"/>
              <a:gd name="T15" fmla="*/ 0 h 34"/>
              <a:gd name="T16" fmla="*/ 18 w 60"/>
              <a:gd name="T17" fmla="*/ 10 h 34"/>
              <a:gd name="T18" fmla="*/ 22 w 60"/>
              <a:gd name="T19" fmla="*/ 14 h 34"/>
              <a:gd name="T20" fmla="*/ 22 w 60"/>
              <a:gd name="T21" fmla="*/ 14 h 34"/>
              <a:gd name="T22" fmla="*/ 22 w 60"/>
              <a:gd name="T23" fmla="*/ 14 h 34"/>
              <a:gd name="T24" fmla="*/ 48 w 60"/>
              <a:gd name="T25" fmla="*/ 16 h 34"/>
              <a:gd name="T26" fmla="*/ 44 w 60"/>
              <a:gd name="T27" fmla="*/ 12 h 34"/>
              <a:gd name="T28" fmla="*/ 46 w 60"/>
              <a:gd name="T29" fmla="*/ 12 h 34"/>
              <a:gd name="T30" fmla="*/ 44 w 60"/>
              <a:gd name="T31" fmla="*/ 8 h 34"/>
              <a:gd name="T32" fmla="*/ 48 w 60"/>
              <a:gd name="T33" fmla="*/ 8 h 34"/>
              <a:gd name="T34" fmla="*/ 48 w 60"/>
              <a:gd name="T35" fmla="*/ 12 h 34"/>
              <a:gd name="T36" fmla="*/ 50 w 60"/>
              <a:gd name="T37" fmla="*/ 14 h 34"/>
              <a:gd name="T38" fmla="*/ 48 w 60"/>
              <a:gd name="T39" fmla="*/ 16 h 34"/>
              <a:gd name="T40" fmla="*/ 48 w 60"/>
              <a:gd name="T41" fmla="*/ 16 h 34"/>
              <a:gd name="T42" fmla="*/ 48 w 60"/>
              <a:gd name="T43" fmla="*/ 16 h 34"/>
              <a:gd name="T44" fmla="*/ 58 w 60"/>
              <a:gd name="T45" fmla="*/ 24 h 34"/>
              <a:gd name="T46" fmla="*/ 54 w 60"/>
              <a:gd name="T47" fmla="*/ 18 h 34"/>
              <a:gd name="T48" fmla="*/ 60 w 60"/>
              <a:gd name="T49" fmla="*/ 20 h 34"/>
              <a:gd name="T50" fmla="*/ 60 w 60"/>
              <a:gd name="T51" fmla="*/ 24 h 34"/>
              <a:gd name="T52" fmla="*/ 58 w 60"/>
              <a:gd name="T53" fmla="*/ 24 h 34"/>
              <a:gd name="T54" fmla="*/ 58 w 60"/>
              <a:gd name="T55" fmla="*/ 24 h 34"/>
              <a:gd name="T56" fmla="*/ 58 w 60"/>
              <a:gd name="T57" fmla="*/ 2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 h="34">
                <a:moveTo>
                  <a:pt x="22" y="14"/>
                </a:moveTo>
                <a:lnTo>
                  <a:pt x="42" y="30"/>
                </a:lnTo>
                <a:lnTo>
                  <a:pt x="42" y="34"/>
                </a:lnTo>
                <a:lnTo>
                  <a:pt x="36" y="34"/>
                </a:lnTo>
                <a:lnTo>
                  <a:pt x="30" y="28"/>
                </a:lnTo>
                <a:lnTo>
                  <a:pt x="18" y="22"/>
                </a:lnTo>
                <a:lnTo>
                  <a:pt x="6" y="10"/>
                </a:lnTo>
                <a:lnTo>
                  <a:pt x="0" y="0"/>
                </a:lnTo>
                <a:lnTo>
                  <a:pt x="18" y="10"/>
                </a:lnTo>
                <a:lnTo>
                  <a:pt x="22" y="14"/>
                </a:lnTo>
                <a:lnTo>
                  <a:pt x="22" y="14"/>
                </a:lnTo>
                <a:lnTo>
                  <a:pt x="22" y="14"/>
                </a:lnTo>
                <a:close/>
                <a:moveTo>
                  <a:pt x="48" y="16"/>
                </a:moveTo>
                <a:lnTo>
                  <a:pt x="44" y="12"/>
                </a:lnTo>
                <a:lnTo>
                  <a:pt x="46" y="12"/>
                </a:lnTo>
                <a:lnTo>
                  <a:pt x="44" y="8"/>
                </a:lnTo>
                <a:lnTo>
                  <a:pt x="48" y="8"/>
                </a:lnTo>
                <a:lnTo>
                  <a:pt x="48" y="12"/>
                </a:lnTo>
                <a:lnTo>
                  <a:pt x="50" y="14"/>
                </a:lnTo>
                <a:lnTo>
                  <a:pt x="48" y="16"/>
                </a:lnTo>
                <a:lnTo>
                  <a:pt x="48" y="16"/>
                </a:lnTo>
                <a:lnTo>
                  <a:pt x="48" y="16"/>
                </a:lnTo>
                <a:close/>
                <a:moveTo>
                  <a:pt x="58" y="24"/>
                </a:moveTo>
                <a:lnTo>
                  <a:pt x="54" y="18"/>
                </a:lnTo>
                <a:lnTo>
                  <a:pt x="60" y="20"/>
                </a:lnTo>
                <a:lnTo>
                  <a:pt x="60" y="24"/>
                </a:lnTo>
                <a:lnTo>
                  <a:pt x="58" y="24"/>
                </a:lnTo>
                <a:lnTo>
                  <a:pt x="58" y="24"/>
                </a:lnTo>
                <a:lnTo>
                  <a:pt x="58" y="24"/>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01" name="Freeform 208"/>
          <p:cNvSpPr>
            <a:spLocks/>
          </p:cNvSpPr>
          <p:nvPr/>
        </p:nvSpPr>
        <p:spPr bwMode="auto">
          <a:xfrm>
            <a:off x="1295400" y="3124200"/>
            <a:ext cx="2381" cy="2381"/>
          </a:xfrm>
          <a:custGeom>
            <a:avLst/>
            <a:gdLst>
              <a:gd name="T0" fmla="*/ 0 w 2"/>
              <a:gd name="T1" fmla="*/ 0 h 2"/>
              <a:gd name="T2" fmla="*/ 2 w 2"/>
              <a:gd name="T3" fmla="*/ 0 h 2"/>
              <a:gd name="T4" fmla="*/ 2 w 2"/>
              <a:gd name="T5" fmla="*/ 2 h 2"/>
              <a:gd name="T6" fmla="*/ 0 w 2"/>
              <a:gd name="T7" fmla="*/ 2 h 2"/>
              <a:gd name="T8" fmla="*/ 0 w 2"/>
              <a:gd name="T9" fmla="*/ 0 h 2"/>
              <a:gd name="T10" fmla="*/ 0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0" y="0"/>
                </a:moveTo>
                <a:lnTo>
                  <a:pt x="2" y="0"/>
                </a:lnTo>
                <a:lnTo>
                  <a:pt x="2" y="2"/>
                </a:lnTo>
                <a:lnTo>
                  <a:pt x="0" y="2"/>
                </a:lnTo>
                <a:lnTo>
                  <a:pt x="0" y="0"/>
                </a:lnTo>
                <a:lnTo>
                  <a:pt x="0" y="0"/>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02" name="Freeform 209"/>
          <p:cNvSpPr>
            <a:spLocks/>
          </p:cNvSpPr>
          <p:nvPr/>
        </p:nvSpPr>
        <p:spPr bwMode="auto">
          <a:xfrm>
            <a:off x="6060281" y="3910012"/>
            <a:ext cx="2381" cy="2381"/>
          </a:xfrm>
          <a:custGeom>
            <a:avLst/>
            <a:gdLst>
              <a:gd name="T0" fmla="*/ 2 w 2"/>
              <a:gd name="T1" fmla="*/ 0 h 2"/>
              <a:gd name="T2" fmla="*/ 2 w 2"/>
              <a:gd name="T3" fmla="*/ 2 h 2"/>
              <a:gd name="T4" fmla="*/ 2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2"/>
                </a:lnTo>
                <a:lnTo>
                  <a:pt x="2" y="2"/>
                </a:lnTo>
                <a:lnTo>
                  <a:pt x="0" y="2"/>
                </a:lnTo>
                <a:lnTo>
                  <a:pt x="2" y="0"/>
                </a:lnTo>
                <a:lnTo>
                  <a:pt x="2" y="0"/>
                </a:lnTo>
                <a:lnTo>
                  <a:pt x="2" y="0"/>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03" name="Freeform 210"/>
          <p:cNvSpPr>
            <a:spLocks/>
          </p:cNvSpPr>
          <p:nvPr/>
        </p:nvSpPr>
        <p:spPr bwMode="auto">
          <a:xfrm>
            <a:off x="6731793" y="3390899"/>
            <a:ext cx="4763" cy="9525"/>
          </a:xfrm>
          <a:custGeom>
            <a:avLst/>
            <a:gdLst>
              <a:gd name="T0" fmla="*/ 0 w 4"/>
              <a:gd name="T1" fmla="*/ 8 h 8"/>
              <a:gd name="T2" fmla="*/ 0 w 4"/>
              <a:gd name="T3" fmla="*/ 6 h 8"/>
              <a:gd name="T4" fmla="*/ 4 w 4"/>
              <a:gd name="T5" fmla="*/ 0 h 8"/>
              <a:gd name="T6" fmla="*/ 0 w 4"/>
              <a:gd name="T7" fmla="*/ 8 h 8"/>
              <a:gd name="T8" fmla="*/ 0 w 4"/>
              <a:gd name="T9" fmla="*/ 8 h 8"/>
              <a:gd name="T10" fmla="*/ 0 w 4"/>
              <a:gd name="T11" fmla="*/ 8 h 8"/>
            </a:gdLst>
            <a:ahLst/>
            <a:cxnLst>
              <a:cxn ang="0">
                <a:pos x="T0" y="T1"/>
              </a:cxn>
              <a:cxn ang="0">
                <a:pos x="T2" y="T3"/>
              </a:cxn>
              <a:cxn ang="0">
                <a:pos x="T4" y="T5"/>
              </a:cxn>
              <a:cxn ang="0">
                <a:pos x="T6" y="T7"/>
              </a:cxn>
              <a:cxn ang="0">
                <a:pos x="T8" y="T9"/>
              </a:cxn>
              <a:cxn ang="0">
                <a:pos x="T10" y="T11"/>
              </a:cxn>
            </a:cxnLst>
            <a:rect l="0" t="0" r="r" b="b"/>
            <a:pathLst>
              <a:path w="4" h="8">
                <a:moveTo>
                  <a:pt x="0" y="8"/>
                </a:moveTo>
                <a:lnTo>
                  <a:pt x="0" y="6"/>
                </a:lnTo>
                <a:lnTo>
                  <a:pt x="4" y="0"/>
                </a:lnTo>
                <a:lnTo>
                  <a:pt x="0" y="8"/>
                </a:lnTo>
                <a:lnTo>
                  <a:pt x="0" y="8"/>
                </a:lnTo>
                <a:lnTo>
                  <a:pt x="0" y="8"/>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04" name="Freeform 211"/>
          <p:cNvSpPr>
            <a:spLocks/>
          </p:cNvSpPr>
          <p:nvPr/>
        </p:nvSpPr>
        <p:spPr bwMode="auto">
          <a:xfrm>
            <a:off x="6748463" y="3364705"/>
            <a:ext cx="2381" cy="4763"/>
          </a:xfrm>
          <a:custGeom>
            <a:avLst/>
            <a:gdLst>
              <a:gd name="T0" fmla="*/ 2 w 2"/>
              <a:gd name="T1" fmla="*/ 0 h 4"/>
              <a:gd name="T2" fmla="*/ 2 w 2"/>
              <a:gd name="T3" fmla="*/ 4 h 4"/>
              <a:gd name="T4" fmla="*/ 0 w 2"/>
              <a:gd name="T5" fmla="*/ 2 h 4"/>
              <a:gd name="T6" fmla="*/ 2 w 2"/>
              <a:gd name="T7" fmla="*/ 0 h 4"/>
              <a:gd name="T8" fmla="*/ 2 w 2"/>
              <a:gd name="T9" fmla="*/ 0 h 4"/>
              <a:gd name="T10" fmla="*/ 2 w 2"/>
              <a:gd name="T11" fmla="*/ 0 h 4"/>
            </a:gdLst>
            <a:ahLst/>
            <a:cxnLst>
              <a:cxn ang="0">
                <a:pos x="T0" y="T1"/>
              </a:cxn>
              <a:cxn ang="0">
                <a:pos x="T2" y="T3"/>
              </a:cxn>
              <a:cxn ang="0">
                <a:pos x="T4" y="T5"/>
              </a:cxn>
              <a:cxn ang="0">
                <a:pos x="T6" y="T7"/>
              </a:cxn>
              <a:cxn ang="0">
                <a:pos x="T8" y="T9"/>
              </a:cxn>
              <a:cxn ang="0">
                <a:pos x="T10" y="T11"/>
              </a:cxn>
            </a:cxnLst>
            <a:rect l="0" t="0" r="r" b="b"/>
            <a:pathLst>
              <a:path w="2" h="4">
                <a:moveTo>
                  <a:pt x="2" y="0"/>
                </a:moveTo>
                <a:lnTo>
                  <a:pt x="2" y="4"/>
                </a:lnTo>
                <a:lnTo>
                  <a:pt x="0" y="2"/>
                </a:lnTo>
                <a:lnTo>
                  <a:pt x="2" y="0"/>
                </a:lnTo>
                <a:lnTo>
                  <a:pt x="2" y="0"/>
                </a:lnTo>
                <a:lnTo>
                  <a:pt x="2" y="0"/>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05" name="Freeform 212"/>
          <p:cNvSpPr>
            <a:spLocks/>
          </p:cNvSpPr>
          <p:nvPr/>
        </p:nvSpPr>
        <p:spPr bwMode="auto">
          <a:xfrm>
            <a:off x="6548438" y="3536156"/>
            <a:ext cx="2381" cy="2381"/>
          </a:xfrm>
          <a:custGeom>
            <a:avLst/>
            <a:gdLst>
              <a:gd name="T0" fmla="*/ 2 w 2"/>
              <a:gd name="T1" fmla="*/ 0 h 2"/>
              <a:gd name="T2" fmla="*/ 0 w 2"/>
              <a:gd name="T3" fmla="*/ 2 h 2"/>
              <a:gd name="T4" fmla="*/ 0 w 2"/>
              <a:gd name="T5" fmla="*/ 2 h 2"/>
              <a:gd name="T6" fmla="*/ 0 w 2"/>
              <a:gd name="T7" fmla="*/ 0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0" y="2"/>
                </a:lnTo>
                <a:lnTo>
                  <a:pt x="0" y="2"/>
                </a:lnTo>
                <a:lnTo>
                  <a:pt x="0" y="0"/>
                </a:lnTo>
                <a:lnTo>
                  <a:pt x="2" y="0"/>
                </a:lnTo>
                <a:lnTo>
                  <a:pt x="2" y="0"/>
                </a:lnTo>
                <a:lnTo>
                  <a:pt x="2" y="0"/>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06" name="Freeform 214"/>
          <p:cNvSpPr>
            <a:spLocks/>
          </p:cNvSpPr>
          <p:nvPr/>
        </p:nvSpPr>
        <p:spPr bwMode="auto">
          <a:xfrm>
            <a:off x="6927056" y="3521869"/>
            <a:ext cx="2381" cy="2381"/>
          </a:xfrm>
          <a:custGeom>
            <a:avLst/>
            <a:gdLst>
              <a:gd name="T0" fmla="*/ 0 w 2"/>
              <a:gd name="T1" fmla="*/ 2 h 2"/>
              <a:gd name="T2" fmla="*/ 0 w 2"/>
              <a:gd name="T3" fmla="*/ 0 h 2"/>
              <a:gd name="T4" fmla="*/ 2 w 2"/>
              <a:gd name="T5" fmla="*/ 0 h 2"/>
              <a:gd name="T6" fmla="*/ 0 w 2"/>
              <a:gd name="T7" fmla="*/ 2 h 2"/>
              <a:gd name="T8" fmla="*/ 0 w 2"/>
              <a:gd name="T9" fmla="*/ 2 h 2"/>
              <a:gd name="T10" fmla="*/ 0 w 2"/>
              <a:gd name="T11" fmla="*/ 2 h 2"/>
            </a:gdLst>
            <a:ahLst/>
            <a:cxnLst>
              <a:cxn ang="0">
                <a:pos x="T0" y="T1"/>
              </a:cxn>
              <a:cxn ang="0">
                <a:pos x="T2" y="T3"/>
              </a:cxn>
              <a:cxn ang="0">
                <a:pos x="T4" y="T5"/>
              </a:cxn>
              <a:cxn ang="0">
                <a:pos x="T6" y="T7"/>
              </a:cxn>
              <a:cxn ang="0">
                <a:pos x="T8" y="T9"/>
              </a:cxn>
              <a:cxn ang="0">
                <a:pos x="T10" y="T11"/>
              </a:cxn>
            </a:cxnLst>
            <a:rect l="0" t="0" r="r" b="b"/>
            <a:pathLst>
              <a:path w="2" h="2">
                <a:moveTo>
                  <a:pt x="0" y="2"/>
                </a:moveTo>
                <a:lnTo>
                  <a:pt x="0" y="0"/>
                </a:lnTo>
                <a:lnTo>
                  <a:pt x="2" y="0"/>
                </a:lnTo>
                <a:lnTo>
                  <a:pt x="0" y="2"/>
                </a:lnTo>
                <a:lnTo>
                  <a:pt x="0" y="2"/>
                </a:lnTo>
                <a:lnTo>
                  <a:pt x="0" y="2"/>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07" name="Freeform 215"/>
          <p:cNvSpPr>
            <a:spLocks noEditPoints="1"/>
          </p:cNvSpPr>
          <p:nvPr/>
        </p:nvSpPr>
        <p:spPr bwMode="auto">
          <a:xfrm>
            <a:off x="3217068" y="4826793"/>
            <a:ext cx="57150" cy="28575"/>
          </a:xfrm>
          <a:custGeom>
            <a:avLst/>
            <a:gdLst>
              <a:gd name="T0" fmla="*/ 30 w 48"/>
              <a:gd name="T1" fmla="*/ 12 h 24"/>
              <a:gd name="T2" fmla="*/ 26 w 48"/>
              <a:gd name="T3" fmla="*/ 6 h 24"/>
              <a:gd name="T4" fmla="*/ 30 w 48"/>
              <a:gd name="T5" fmla="*/ 0 h 24"/>
              <a:gd name="T6" fmla="*/ 38 w 48"/>
              <a:gd name="T7" fmla="*/ 0 h 24"/>
              <a:gd name="T8" fmla="*/ 38 w 48"/>
              <a:gd name="T9" fmla="*/ 2 h 24"/>
              <a:gd name="T10" fmla="*/ 36 w 48"/>
              <a:gd name="T11" fmla="*/ 2 h 24"/>
              <a:gd name="T12" fmla="*/ 40 w 48"/>
              <a:gd name="T13" fmla="*/ 8 h 24"/>
              <a:gd name="T14" fmla="*/ 40 w 48"/>
              <a:gd name="T15" fmla="*/ 2 h 24"/>
              <a:gd name="T16" fmla="*/ 44 w 48"/>
              <a:gd name="T17" fmla="*/ 2 h 24"/>
              <a:gd name="T18" fmla="*/ 46 w 48"/>
              <a:gd name="T19" fmla="*/ 6 h 24"/>
              <a:gd name="T20" fmla="*/ 42 w 48"/>
              <a:gd name="T21" fmla="*/ 6 h 24"/>
              <a:gd name="T22" fmla="*/ 48 w 48"/>
              <a:gd name="T23" fmla="*/ 8 h 24"/>
              <a:gd name="T24" fmla="*/ 38 w 48"/>
              <a:gd name="T25" fmla="*/ 14 h 24"/>
              <a:gd name="T26" fmla="*/ 30 w 48"/>
              <a:gd name="T27" fmla="*/ 12 h 24"/>
              <a:gd name="T28" fmla="*/ 34 w 48"/>
              <a:gd name="T29" fmla="*/ 18 h 24"/>
              <a:gd name="T30" fmla="*/ 26 w 48"/>
              <a:gd name="T31" fmla="*/ 16 h 24"/>
              <a:gd name="T32" fmla="*/ 28 w 48"/>
              <a:gd name="T33" fmla="*/ 20 h 24"/>
              <a:gd name="T34" fmla="*/ 24 w 48"/>
              <a:gd name="T35" fmla="*/ 20 h 24"/>
              <a:gd name="T36" fmla="*/ 24 w 48"/>
              <a:gd name="T37" fmla="*/ 24 h 24"/>
              <a:gd name="T38" fmla="*/ 20 w 48"/>
              <a:gd name="T39" fmla="*/ 18 h 24"/>
              <a:gd name="T40" fmla="*/ 26 w 48"/>
              <a:gd name="T41" fmla="*/ 8 h 24"/>
              <a:gd name="T42" fmla="*/ 30 w 48"/>
              <a:gd name="T43" fmla="*/ 12 h 24"/>
              <a:gd name="T44" fmla="*/ 30 w 48"/>
              <a:gd name="T45" fmla="*/ 12 h 24"/>
              <a:gd name="T46" fmla="*/ 30 w 48"/>
              <a:gd name="T47" fmla="*/ 12 h 24"/>
              <a:gd name="T48" fmla="*/ 10 w 48"/>
              <a:gd name="T49" fmla="*/ 12 h 24"/>
              <a:gd name="T50" fmla="*/ 14 w 48"/>
              <a:gd name="T51" fmla="*/ 8 h 24"/>
              <a:gd name="T52" fmla="*/ 6 w 48"/>
              <a:gd name="T53" fmla="*/ 8 h 24"/>
              <a:gd name="T54" fmla="*/ 14 w 48"/>
              <a:gd name="T55" fmla="*/ 8 h 24"/>
              <a:gd name="T56" fmla="*/ 6 w 48"/>
              <a:gd name="T57" fmla="*/ 2 h 24"/>
              <a:gd name="T58" fmla="*/ 14 w 48"/>
              <a:gd name="T59" fmla="*/ 4 h 24"/>
              <a:gd name="T60" fmla="*/ 14 w 48"/>
              <a:gd name="T61" fmla="*/ 2 h 24"/>
              <a:gd name="T62" fmla="*/ 26 w 48"/>
              <a:gd name="T63" fmla="*/ 2 h 24"/>
              <a:gd name="T64" fmla="*/ 10 w 48"/>
              <a:gd name="T65" fmla="*/ 20 h 24"/>
              <a:gd name="T66" fmla="*/ 6 w 48"/>
              <a:gd name="T67" fmla="*/ 22 h 24"/>
              <a:gd name="T68" fmla="*/ 2 w 48"/>
              <a:gd name="T69" fmla="*/ 18 h 24"/>
              <a:gd name="T70" fmla="*/ 8 w 48"/>
              <a:gd name="T71" fmla="*/ 14 h 24"/>
              <a:gd name="T72" fmla="*/ 8 w 48"/>
              <a:gd name="T73" fmla="*/ 10 h 24"/>
              <a:gd name="T74" fmla="*/ 10 w 48"/>
              <a:gd name="T75" fmla="*/ 12 h 24"/>
              <a:gd name="T76" fmla="*/ 10 w 48"/>
              <a:gd name="T77" fmla="*/ 12 h 24"/>
              <a:gd name="T78" fmla="*/ 10 w 48"/>
              <a:gd name="T79" fmla="*/ 12 h 24"/>
              <a:gd name="T80" fmla="*/ 2 w 48"/>
              <a:gd name="T81" fmla="*/ 14 h 24"/>
              <a:gd name="T82" fmla="*/ 0 w 48"/>
              <a:gd name="T83" fmla="*/ 12 h 24"/>
              <a:gd name="T84" fmla="*/ 4 w 48"/>
              <a:gd name="T85" fmla="*/ 12 h 24"/>
              <a:gd name="T86" fmla="*/ 2 w 48"/>
              <a:gd name="T87" fmla="*/ 14 h 24"/>
              <a:gd name="T88" fmla="*/ 2 w 48"/>
              <a:gd name="T89" fmla="*/ 14 h 24"/>
              <a:gd name="T90" fmla="*/ 2 w 48"/>
              <a:gd name="T91" fmla="*/ 1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8" h="24">
                <a:moveTo>
                  <a:pt x="30" y="12"/>
                </a:moveTo>
                <a:lnTo>
                  <a:pt x="26" y="6"/>
                </a:lnTo>
                <a:lnTo>
                  <a:pt x="30" y="0"/>
                </a:lnTo>
                <a:lnTo>
                  <a:pt x="38" y="0"/>
                </a:lnTo>
                <a:lnTo>
                  <a:pt x="38" y="2"/>
                </a:lnTo>
                <a:lnTo>
                  <a:pt x="36" y="2"/>
                </a:lnTo>
                <a:lnTo>
                  <a:pt x="40" y="8"/>
                </a:lnTo>
                <a:lnTo>
                  <a:pt x="40" y="2"/>
                </a:lnTo>
                <a:lnTo>
                  <a:pt x="44" y="2"/>
                </a:lnTo>
                <a:lnTo>
                  <a:pt x="46" y="6"/>
                </a:lnTo>
                <a:lnTo>
                  <a:pt x="42" y="6"/>
                </a:lnTo>
                <a:lnTo>
                  <a:pt x="48" y="8"/>
                </a:lnTo>
                <a:lnTo>
                  <a:pt x="38" y="14"/>
                </a:lnTo>
                <a:lnTo>
                  <a:pt x="30" y="12"/>
                </a:lnTo>
                <a:lnTo>
                  <a:pt x="34" y="18"/>
                </a:lnTo>
                <a:lnTo>
                  <a:pt x="26" y="16"/>
                </a:lnTo>
                <a:lnTo>
                  <a:pt x="28" y="20"/>
                </a:lnTo>
                <a:lnTo>
                  <a:pt x="24" y="20"/>
                </a:lnTo>
                <a:lnTo>
                  <a:pt x="24" y="24"/>
                </a:lnTo>
                <a:lnTo>
                  <a:pt x="20" y="18"/>
                </a:lnTo>
                <a:lnTo>
                  <a:pt x="26" y="8"/>
                </a:lnTo>
                <a:lnTo>
                  <a:pt x="30" y="12"/>
                </a:lnTo>
                <a:lnTo>
                  <a:pt x="30" y="12"/>
                </a:lnTo>
                <a:lnTo>
                  <a:pt x="30" y="12"/>
                </a:lnTo>
                <a:close/>
                <a:moveTo>
                  <a:pt x="10" y="12"/>
                </a:moveTo>
                <a:lnTo>
                  <a:pt x="14" y="8"/>
                </a:lnTo>
                <a:lnTo>
                  <a:pt x="6" y="8"/>
                </a:lnTo>
                <a:lnTo>
                  <a:pt x="14" y="8"/>
                </a:lnTo>
                <a:lnTo>
                  <a:pt x="6" y="2"/>
                </a:lnTo>
                <a:lnTo>
                  <a:pt x="14" y="4"/>
                </a:lnTo>
                <a:lnTo>
                  <a:pt x="14" y="2"/>
                </a:lnTo>
                <a:lnTo>
                  <a:pt x="26" y="2"/>
                </a:lnTo>
                <a:lnTo>
                  <a:pt x="10" y="20"/>
                </a:lnTo>
                <a:lnTo>
                  <a:pt x="6" y="22"/>
                </a:lnTo>
                <a:lnTo>
                  <a:pt x="2" y="18"/>
                </a:lnTo>
                <a:lnTo>
                  <a:pt x="8" y="14"/>
                </a:lnTo>
                <a:lnTo>
                  <a:pt x="8" y="10"/>
                </a:lnTo>
                <a:lnTo>
                  <a:pt x="10" y="12"/>
                </a:lnTo>
                <a:lnTo>
                  <a:pt x="10" y="12"/>
                </a:lnTo>
                <a:lnTo>
                  <a:pt x="10" y="12"/>
                </a:lnTo>
                <a:close/>
                <a:moveTo>
                  <a:pt x="2" y="14"/>
                </a:moveTo>
                <a:lnTo>
                  <a:pt x="0" y="12"/>
                </a:lnTo>
                <a:lnTo>
                  <a:pt x="4" y="12"/>
                </a:lnTo>
                <a:lnTo>
                  <a:pt x="2" y="14"/>
                </a:lnTo>
                <a:lnTo>
                  <a:pt x="2" y="14"/>
                </a:lnTo>
                <a:lnTo>
                  <a:pt x="2" y="14"/>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08" name="Freeform 216"/>
          <p:cNvSpPr>
            <a:spLocks/>
          </p:cNvSpPr>
          <p:nvPr/>
        </p:nvSpPr>
        <p:spPr bwMode="auto">
          <a:xfrm>
            <a:off x="3178969" y="3009899"/>
            <a:ext cx="2381" cy="4763"/>
          </a:xfrm>
          <a:custGeom>
            <a:avLst/>
            <a:gdLst>
              <a:gd name="T0" fmla="*/ 2 w 2"/>
              <a:gd name="T1" fmla="*/ 0 h 4"/>
              <a:gd name="T2" fmla="*/ 2 w 2"/>
              <a:gd name="T3" fmla="*/ 2 h 4"/>
              <a:gd name="T4" fmla="*/ 0 w 2"/>
              <a:gd name="T5" fmla="*/ 4 h 4"/>
              <a:gd name="T6" fmla="*/ 2 w 2"/>
              <a:gd name="T7" fmla="*/ 0 h 4"/>
              <a:gd name="T8" fmla="*/ 2 w 2"/>
              <a:gd name="T9" fmla="*/ 0 h 4"/>
              <a:gd name="T10" fmla="*/ 2 w 2"/>
              <a:gd name="T11" fmla="*/ 0 h 4"/>
              <a:gd name="T12" fmla="*/ 2 w 2"/>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 h="4">
                <a:moveTo>
                  <a:pt x="2" y="0"/>
                </a:moveTo>
                <a:lnTo>
                  <a:pt x="2" y="2"/>
                </a:lnTo>
                <a:lnTo>
                  <a:pt x="0" y="4"/>
                </a:lnTo>
                <a:lnTo>
                  <a:pt x="2" y="0"/>
                </a:lnTo>
                <a:lnTo>
                  <a:pt x="2" y="0"/>
                </a:lnTo>
                <a:lnTo>
                  <a:pt x="2" y="0"/>
                </a:lnTo>
                <a:lnTo>
                  <a:pt x="2" y="0"/>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09" name="Freeform 217"/>
          <p:cNvSpPr>
            <a:spLocks/>
          </p:cNvSpPr>
          <p:nvPr/>
        </p:nvSpPr>
        <p:spPr bwMode="auto">
          <a:xfrm>
            <a:off x="4474369" y="3402806"/>
            <a:ext cx="40481" cy="40481"/>
          </a:xfrm>
          <a:custGeom>
            <a:avLst/>
            <a:gdLst>
              <a:gd name="T0" fmla="*/ 4 w 34"/>
              <a:gd name="T1" fmla="*/ 8 h 34"/>
              <a:gd name="T2" fmla="*/ 4 w 34"/>
              <a:gd name="T3" fmla="*/ 8 h 34"/>
              <a:gd name="T4" fmla="*/ 0 w 34"/>
              <a:gd name="T5" fmla="*/ 8 h 34"/>
              <a:gd name="T6" fmla="*/ 4 w 34"/>
              <a:gd name="T7" fmla="*/ 4 h 34"/>
              <a:gd name="T8" fmla="*/ 8 w 34"/>
              <a:gd name="T9" fmla="*/ 0 h 34"/>
              <a:gd name="T10" fmla="*/ 12 w 34"/>
              <a:gd name="T11" fmla="*/ 0 h 34"/>
              <a:gd name="T12" fmla="*/ 12 w 34"/>
              <a:gd name="T13" fmla="*/ 4 h 34"/>
              <a:gd name="T14" fmla="*/ 16 w 34"/>
              <a:gd name="T15" fmla="*/ 4 h 34"/>
              <a:gd name="T16" fmla="*/ 18 w 34"/>
              <a:gd name="T17" fmla="*/ 8 h 34"/>
              <a:gd name="T18" fmla="*/ 18 w 34"/>
              <a:gd name="T19" fmla="*/ 8 h 34"/>
              <a:gd name="T20" fmla="*/ 18 w 34"/>
              <a:gd name="T21" fmla="*/ 8 h 34"/>
              <a:gd name="T22" fmla="*/ 18 w 34"/>
              <a:gd name="T23" fmla="*/ 12 h 34"/>
              <a:gd name="T24" fmla="*/ 18 w 34"/>
              <a:gd name="T25" fmla="*/ 16 h 34"/>
              <a:gd name="T26" fmla="*/ 18 w 34"/>
              <a:gd name="T27" fmla="*/ 16 h 34"/>
              <a:gd name="T28" fmla="*/ 22 w 34"/>
              <a:gd name="T29" fmla="*/ 16 h 34"/>
              <a:gd name="T30" fmla="*/ 22 w 34"/>
              <a:gd name="T31" fmla="*/ 16 h 34"/>
              <a:gd name="T32" fmla="*/ 26 w 34"/>
              <a:gd name="T33" fmla="*/ 16 h 34"/>
              <a:gd name="T34" fmla="*/ 30 w 34"/>
              <a:gd name="T35" fmla="*/ 20 h 34"/>
              <a:gd name="T36" fmla="*/ 34 w 34"/>
              <a:gd name="T37" fmla="*/ 20 h 34"/>
              <a:gd name="T38" fmla="*/ 34 w 34"/>
              <a:gd name="T39" fmla="*/ 20 h 34"/>
              <a:gd name="T40" fmla="*/ 34 w 34"/>
              <a:gd name="T41" fmla="*/ 20 h 34"/>
              <a:gd name="T42" fmla="*/ 34 w 34"/>
              <a:gd name="T43" fmla="*/ 22 h 34"/>
              <a:gd name="T44" fmla="*/ 34 w 34"/>
              <a:gd name="T45" fmla="*/ 22 h 34"/>
              <a:gd name="T46" fmla="*/ 34 w 34"/>
              <a:gd name="T47" fmla="*/ 22 h 34"/>
              <a:gd name="T48" fmla="*/ 34 w 34"/>
              <a:gd name="T49" fmla="*/ 22 h 34"/>
              <a:gd name="T50" fmla="*/ 30 w 34"/>
              <a:gd name="T51" fmla="*/ 26 h 34"/>
              <a:gd name="T52" fmla="*/ 30 w 34"/>
              <a:gd name="T53" fmla="*/ 26 h 34"/>
              <a:gd name="T54" fmla="*/ 26 w 34"/>
              <a:gd name="T55" fmla="*/ 26 h 34"/>
              <a:gd name="T56" fmla="*/ 22 w 34"/>
              <a:gd name="T57" fmla="*/ 26 h 34"/>
              <a:gd name="T58" fmla="*/ 22 w 34"/>
              <a:gd name="T59" fmla="*/ 26 h 34"/>
              <a:gd name="T60" fmla="*/ 22 w 34"/>
              <a:gd name="T61" fmla="*/ 26 h 34"/>
              <a:gd name="T62" fmla="*/ 22 w 34"/>
              <a:gd name="T63" fmla="*/ 26 h 34"/>
              <a:gd name="T64" fmla="*/ 22 w 34"/>
              <a:gd name="T65" fmla="*/ 30 h 34"/>
              <a:gd name="T66" fmla="*/ 22 w 34"/>
              <a:gd name="T67" fmla="*/ 30 h 34"/>
              <a:gd name="T68" fmla="*/ 18 w 34"/>
              <a:gd name="T69" fmla="*/ 30 h 34"/>
              <a:gd name="T70" fmla="*/ 18 w 34"/>
              <a:gd name="T71" fmla="*/ 30 h 34"/>
              <a:gd name="T72" fmla="*/ 18 w 34"/>
              <a:gd name="T73" fmla="*/ 30 h 34"/>
              <a:gd name="T74" fmla="*/ 18 w 34"/>
              <a:gd name="T75" fmla="*/ 34 h 34"/>
              <a:gd name="T76" fmla="*/ 18 w 34"/>
              <a:gd name="T77" fmla="*/ 34 h 34"/>
              <a:gd name="T78" fmla="*/ 18 w 34"/>
              <a:gd name="T79" fmla="*/ 34 h 34"/>
              <a:gd name="T80" fmla="*/ 18 w 34"/>
              <a:gd name="T81" fmla="*/ 34 h 34"/>
              <a:gd name="T82" fmla="*/ 18 w 34"/>
              <a:gd name="T83" fmla="*/ 34 h 34"/>
              <a:gd name="T84" fmla="*/ 16 w 34"/>
              <a:gd name="T85" fmla="*/ 34 h 34"/>
              <a:gd name="T86" fmla="*/ 16 w 34"/>
              <a:gd name="T87" fmla="*/ 34 h 34"/>
              <a:gd name="T88" fmla="*/ 16 w 34"/>
              <a:gd name="T89" fmla="*/ 30 h 34"/>
              <a:gd name="T90" fmla="*/ 12 w 34"/>
              <a:gd name="T91" fmla="*/ 22 h 34"/>
              <a:gd name="T92" fmla="*/ 8 w 34"/>
              <a:gd name="T93" fmla="*/ 20 h 34"/>
              <a:gd name="T94" fmla="*/ 8 w 34"/>
              <a:gd name="T95" fmla="*/ 20 h 34"/>
              <a:gd name="T96" fmla="*/ 8 w 34"/>
              <a:gd name="T97" fmla="*/ 20 h 34"/>
              <a:gd name="T98" fmla="*/ 8 w 34"/>
              <a:gd name="T99" fmla="*/ 1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4" h="34">
                <a:moveTo>
                  <a:pt x="8" y="12"/>
                </a:moveTo>
                <a:lnTo>
                  <a:pt x="8" y="12"/>
                </a:lnTo>
                <a:lnTo>
                  <a:pt x="4" y="12"/>
                </a:lnTo>
                <a:lnTo>
                  <a:pt x="4" y="8"/>
                </a:lnTo>
                <a:lnTo>
                  <a:pt x="4" y="8"/>
                </a:lnTo>
                <a:lnTo>
                  <a:pt x="4" y="8"/>
                </a:lnTo>
                <a:lnTo>
                  <a:pt x="4" y="8"/>
                </a:lnTo>
                <a:lnTo>
                  <a:pt x="4" y="8"/>
                </a:lnTo>
                <a:lnTo>
                  <a:pt x="4" y="8"/>
                </a:lnTo>
                <a:lnTo>
                  <a:pt x="4" y="8"/>
                </a:lnTo>
                <a:lnTo>
                  <a:pt x="4" y="8"/>
                </a:lnTo>
                <a:lnTo>
                  <a:pt x="0" y="8"/>
                </a:lnTo>
                <a:lnTo>
                  <a:pt x="0" y="4"/>
                </a:lnTo>
                <a:lnTo>
                  <a:pt x="0" y="4"/>
                </a:lnTo>
                <a:lnTo>
                  <a:pt x="4" y="4"/>
                </a:lnTo>
                <a:lnTo>
                  <a:pt x="4" y="4"/>
                </a:lnTo>
                <a:lnTo>
                  <a:pt x="4" y="4"/>
                </a:lnTo>
                <a:lnTo>
                  <a:pt x="4" y="4"/>
                </a:lnTo>
                <a:lnTo>
                  <a:pt x="8" y="4"/>
                </a:lnTo>
                <a:lnTo>
                  <a:pt x="8" y="0"/>
                </a:lnTo>
                <a:lnTo>
                  <a:pt x="8" y="0"/>
                </a:lnTo>
                <a:lnTo>
                  <a:pt x="8" y="0"/>
                </a:lnTo>
                <a:lnTo>
                  <a:pt x="12" y="0"/>
                </a:lnTo>
                <a:lnTo>
                  <a:pt x="12" y="0"/>
                </a:lnTo>
                <a:lnTo>
                  <a:pt x="12" y="0"/>
                </a:lnTo>
                <a:lnTo>
                  <a:pt x="12" y="0"/>
                </a:lnTo>
                <a:lnTo>
                  <a:pt x="12" y="0"/>
                </a:lnTo>
                <a:lnTo>
                  <a:pt x="12" y="4"/>
                </a:lnTo>
                <a:lnTo>
                  <a:pt x="16" y="4"/>
                </a:lnTo>
                <a:lnTo>
                  <a:pt x="16" y="4"/>
                </a:lnTo>
                <a:lnTo>
                  <a:pt x="16" y="4"/>
                </a:lnTo>
                <a:lnTo>
                  <a:pt x="16" y="4"/>
                </a:lnTo>
                <a:lnTo>
                  <a:pt x="16" y="4"/>
                </a:lnTo>
                <a:lnTo>
                  <a:pt x="16" y="4"/>
                </a:lnTo>
                <a:lnTo>
                  <a:pt x="16" y="4"/>
                </a:lnTo>
                <a:lnTo>
                  <a:pt x="18" y="8"/>
                </a:lnTo>
                <a:lnTo>
                  <a:pt x="18" y="8"/>
                </a:lnTo>
                <a:lnTo>
                  <a:pt x="18" y="8"/>
                </a:lnTo>
                <a:lnTo>
                  <a:pt x="18" y="8"/>
                </a:lnTo>
                <a:lnTo>
                  <a:pt x="18" y="8"/>
                </a:lnTo>
                <a:lnTo>
                  <a:pt x="18" y="8"/>
                </a:lnTo>
                <a:lnTo>
                  <a:pt x="18" y="8"/>
                </a:lnTo>
                <a:lnTo>
                  <a:pt x="18" y="8"/>
                </a:lnTo>
                <a:lnTo>
                  <a:pt x="18" y="8"/>
                </a:lnTo>
                <a:lnTo>
                  <a:pt x="18" y="8"/>
                </a:lnTo>
                <a:lnTo>
                  <a:pt x="18" y="12"/>
                </a:lnTo>
                <a:lnTo>
                  <a:pt x="18" y="12"/>
                </a:lnTo>
                <a:lnTo>
                  <a:pt x="18" y="12"/>
                </a:lnTo>
                <a:lnTo>
                  <a:pt x="18" y="12"/>
                </a:lnTo>
                <a:lnTo>
                  <a:pt x="18" y="16"/>
                </a:lnTo>
                <a:lnTo>
                  <a:pt x="18" y="16"/>
                </a:lnTo>
                <a:lnTo>
                  <a:pt x="18" y="16"/>
                </a:lnTo>
                <a:lnTo>
                  <a:pt x="18" y="16"/>
                </a:lnTo>
                <a:lnTo>
                  <a:pt x="18" y="16"/>
                </a:lnTo>
                <a:lnTo>
                  <a:pt x="18" y="16"/>
                </a:lnTo>
                <a:lnTo>
                  <a:pt x="18" y="16"/>
                </a:lnTo>
                <a:lnTo>
                  <a:pt x="22" y="16"/>
                </a:lnTo>
                <a:lnTo>
                  <a:pt x="22" y="16"/>
                </a:lnTo>
                <a:lnTo>
                  <a:pt x="22" y="16"/>
                </a:lnTo>
                <a:lnTo>
                  <a:pt x="22" y="16"/>
                </a:lnTo>
                <a:lnTo>
                  <a:pt x="22" y="16"/>
                </a:lnTo>
                <a:lnTo>
                  <a:pt x="22" y="16"/>
                </a:lnTo>
                <a:lnTo>
                  <a:pt x="22" y="16"/>
                </a:lnTo>
                <a:lnTo>
                  <a:pt x="22" y="16"/>
                </a:lnTo>
                <a:lnTo>
                  <a:pt x="26" y="16"/>
                </a:lnTo>
                <a:lnTo>
                  <a:pt x="26" y="16"/>
                </a:lnTo>
                <a:lnTo>
                  <a:pt x="26" y="16"/>
                </a:lnTo>
                <a:lnTo>
                  <a:pt x="26" y="16"/>
                </a:lnTo>
                <a:lnTo>
                  <a:pt x="26" y="16"/>
                </a:lnTo>
                <a:lnTo>
                  <a:pt x="30" y="16"/>
                </a:lnTo>
                <a:lnTo>
                  <a:pt x="30" y="16"/>
                </a:lnTo>
                <a:lnTo>
                  <a:pt x="30" y="20"/>
                </a:lnTo>
                <a:lnTo>
                  <a:pt x="30" y="20"/>
                </a:lnTo>
                <a:lnTo>
                  <a:pt x="30" y="20"/>
                </a:lnTo>
                <a:lnTo>
                  <a:pt x="30" y="20"/>
                </a:lnTo>
                <a:lnTo>
                  <a:pt x="34" y="20"/>
                </a:lnTo>
                <a:lnTo>
                  <a:pt x="34" y="20"/>
                </a:lnTo>
                <a:lnTo>
                  <a:pt x="34" y="20"/>
                </a:lnTo>
                <a:lnTo>
                  <a:pt x="34" y="20"/>
                </a:lnTo>
                <a:lnTo>
                  <a:pt x="34" y="20"/>
                </a:lnTo>
                <a:lnTo>
                  <a:pt x="34" y="20"/>
                </a:lnTo>
                <a:lnTo>
                  <a:pt x="34" y="20"/>
                </a:lnTo>
                <a:lnTo>
                  <a:pt x="34" y="20"/>
                </a:lnTo>
                <a:lnTo>
                  <a:pt x="34" y="20"/>
                </a:lnTo>
                <a:lnTo>
                  <a:pt x="34" y="20"/>
                </a:lnTo>
                <a:lnTo>
                  <a:pt x="34" y="20"/>
                </a:lnTo>
                <a:lnTo>
                  <a:pt x="34" y="22"/>
                </a:lnTo>
                <a:lnTo>
                  <a:pt x="34" y="22"/>
                </a:lnTo>
                <a:lnTo>
                  <a:pt x="34" y="22"/>
                </a:lnTo>
                <a:lnTo>
                  <a:pt x="34" y="22"/>
                </a:lnTo>
                <a:lnTo>
                  <a:pt x="34" y="22"/>
                </a:lnTo>
                <a:lnTo>
                  <a:pt x="34" y="22"/>
                </a:lnTo>
                <a:lnTo>
                  <a:pt x="34" y="22"/>
                </a:lnTo>
                <a:lnTo>
                  <a:pt x="34" y="22"/>
                </a:lnTo>
                <a:lnTo>
                  <a:pt x="34" y="22"/>
                </a:lnTo>
                <a:lnTo>
                  <a:pt x="34" y="22"/>
                </a:lnTo>
                <a:lnTo>
                  <a:pt x="34" y="22"/>
                </a:lnTo>
                <a:lnTo>
                  <a:pt x="34" y="22"/>
                </a:lnTo>
                <a:lnTo>
                  <a:pt x="34" y="22"/>
                </a:lnTo>
                <a:lnTo>
                  <a:pt x="34" y="22"/>
                </a:lnTo>
                <a:lnTo>
                  <a:pt x="34" y="26"/>
                </a:lnTo>
                <a:lnTo>
                  <a:pt x="30" y="26"/>
                </a:lnTo>
                <a:lnTo>
                  <a:pt x="30" y="26"/>
                </a:lnTo>
                <a:lnTo>
                  <a:pt x="30" y="26"/>
                </a:lnTo>
                <a:lnTo>
                  <a:pt x="30" y="26"/>
                </a:lnTo>
                <a:lnTo>
                  <a:pt x="30" y="26"/>
                </a:lnTo>
                <a:lnTo>
                  <a:pt x="30" y="26"/>
                </a:lnTo>
                <a:lnTo>
                  <a:pt x="30" y="26"/>
                </a:lnTo>
                <a:lnTo>
                  <a:pt x="30" y="26"/>
                </a:lnTo>
                <a:lnTo>
                  <a:pt x="26" y="26"/>
                </a:lnTo>
                <a:lnTo>
                  <a:pt x="26" y="26"/>
                </a:lnTo>
                <a:lnTo>
                  <a:pt x="26" y="26"/>
                </a:lnTo>
                <a:lnTo>
                  <a:pt x="26" y="26"/>
                </a:lnTo>
                <a:lnTo>
                  <a:pt x="26" y="26"/>
                </a:lnTo>
                <a:lnTo>
                  <a:pt x="22" y="26"/>
                </a:lnTo>
                <a:lnTo>
                  <a:pt x="22" y="26"/>
                </a:lnTo>
                <a:lnTo>
                  <a:pt x="22" y="26"/>
                </a:lnTo>
                <a:lnTo>
                  <a:pt x="22" y="26"/>
                </a:lnTo>
                <a:lnTo>
                  <a:pt x="22" y="26"/>
                </a:lnTo>
                <a:lnTo>
                  <a:pt x="22" y="26"/>
                </a:lnTo>
                <a:lnTo>
                  <a:pt x="22" y="26"/>
                </a:lnTo>
                <a:lnTo>
                  <a:pt x="22" y="26"/>
                </a:lnTo>
                <a:lnTo>
                  <a:pt x="22" y="26"/>
                </a:lnTo>
                <a:lnTo>
                  <a:pt x="22" y="26"/>
                </a:lnTo>
                <a:lnTo>
                  <a:pt x="22" y="26"/>
                </a:lnTo>
                <a:lnTo>
                  <a:pt x="22" y="26"/>
                </a:lnTo>
                <a:lnTo>
                  <a:pt x="22" y="26"/>
                </a:lnTo>
                <a:lnTo>
                  <a:pt x="22" y="26"/>
                </a:lnTo>
                <a:lnTo>
                  <a:pt x="22" y="26"/>
                </a:lnTo>
                <a:lnTo>
                  <a:pt x="22" y="30"/>
                </a:lnTo>
                <a:lnTo>
                  <a:pt x="22" y="30"/>
                </a:lnTo>
                <a:lnTo>
                  <a:pt x="22" y="30"/>
                </a:lnTo>
                <a:lnTo>
                  <a:pt x="22" y="30"/>
                </a:lnTo>
                <a:lnTo>
                  <a:pt x="22" y="30"/>
                </a:lnTo>
                <a:lnTo>
                  <a:pt x="22" y="30"/>
                </a:lnTo>
                <a:lnTo>
                  <a:pt x="22" y="30"/>
                </a:lnTo>
                <a:lnTo>
                  <a:pt x="22" y="30"/>
                </a:lnTo>
                <a:lnTo>
                  <a:pt x="22" y="30"/>
                </a:lnTo>
                <a:lnTo>
                  <a:pt x="22" y="30"/>
                </a:lnTo>
                <a:lnTo>
                  <a:pt x="18" y="30"/>
                </a:lnTo>
                <a:lnTo>
                  <a:pt x="18" y="30"/>
                </a:lnTo>
                <a:lnTo>
                  <a:pt x="18" y="30"/>
                </a:lnTo>
                <a:lnTo>
                  <a:pt x="18" y="30"/>
                </a:lnTo>
                <a:lnTo>
                  <a:pt x="18" y="30"/>
                </a:lnTo>
                <a:lnTo>
                  <a:pt x="18" y="30"/>
                </a:lnTo>
                <a:lnTo>
                  <a:pt x="18" y="30"/>
                </a:lnTo>
                <a:lnTo>
                  <a:pt x="18" y="30"/>
                </a:lnTo>
                <a:lnTo>
                  <a:pt x="18" y="30"/>
                </a:lnTo>
                <a:lnTo>
                  <a:pt x="18" y="30"/>
                </a:lnTo>
                <a:lnTo>
                  <a:pt x="18" y="30"/>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6" y="34"/>
                </a:lnTo>
                <a:lnTo>
                  <a:pt x="16" y="34"/>
                </a:lnTo>
                <a:lnTo>
                  <a:pt x="16" y="34"/>
                </a:lnTo>
                <a:lnTo>
                  <a:pt x="16" y="34"/>
                </a:lnTo>
                <a:lnTo>
                  <a:pt x="16" y="34"/>
                </a:lnTo>
                <a:lnTo>
                  <a:pt x="16" y="34"/>
                </a:lnTo>
                <a:lnTo>
                  <a:pt x="16" y="30"/>
                </a:lnTo>
                <a:lnTo>
                  <a:pt x="16" y="30"/>
                </a:lnTo>
                <a:lnTo>
                  <a:pt x="16" y="30"/>
                </a:lnTo>
                <a:lnTo>
                  <a:pt x="16" y="30"/>
                </a:lnTo>
                <a:lnTo>
                  <a:pt x="16" y="26"/>
                </a:lnTo>
                <a:lnTo>
                  <a:pt x="12" y="26"/>
                </a:lnTo>
                <a:lnTo>
                  <a:pt x="12" y="22"/>
                </a:lnTo>
                <a:lnTo>
                  <a:pt x="12" y="22"/>
                </a:lnTo>
                <a:lnTo>
                  <a:pt x="12" y="22"/>
                </a:lnTo>
                <a:lnTo>
                  <a:pt x="12" y="22"/>
                </a:lnTo>
                <a:lnTo>
                  <a:pt x="8" y="22"/>
                </a:lnTo>
                <a:lnTo>
                  <a:pt x="8" y="20"/>
                </a:lnTo>
                <a:lnTo>
                  <a:pt x="8" y="20"/>
                </a:lnTo>
                <a:lnTo>
                  <a:pt x="8" y="20"/>
                </a:lnTo>
                <a:lnTo>
                  <a:pt x="8" y="20"/>
                </a:lnTo>
                <a:lnTo>
                  <a:pt x="8" y="20"/>
                </a:lnTo>
                <a:lnTo>
                  <a:pt x="8" y="20"/>
                </a:lnTo>
                <a:lnTo>
                  <a:pt x="8" y="20"/>
                </a:lnTo>
                <a:lnTo>
                  <a:pt x="8" y="20"/>
                </a:lnTo>
                <a:lnTo>
                  <a:pt x="8" y="20"/>
                </a:lnTo>
                <a:lnTo>
                  <a:pt x="8" y="16"/>
                </a:lnTo>
                <a:lnTo>
                  <a:pt x="8" y="12"/>
                </a:lnTo>
                <a:lnTo>
                  <a:pt x="8" y="12"/>
                </a:lnTo>
                <a:lnTo>
                  <a:pt x="8" y="12"/>
                </a:lnTo>
                <a:lnTo>
                  <a:pt x="8" y="12"/>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10" name="Freeform 218"/>
          <p:cNvSpPr>
            <a:spLocks/>
          </p:cNvSpPr>
          <p:nvPr/>
        </p:nvSpPr>
        <p:spPr bwMode="auto">
          <a:xfrm>
            <a:off x="4791074" y="3693318"/>
            <a:ext cx="52388" cy="66675"/>
          </a:xfrm>
          <a:custGeom>
            <a:avLst/>
            <a:gdLst>
              <a:gd name="T0" fmla="*/ 24 w 44"/>
              <a:gd name="T1" fmla="*/ 0 h 56"/>
              <a:gd name="T2" fmla="*/ 28 w 44"/>
              <a:gd name="T3" fmla="*/ 0 h 56"/>
              <a:gd name="T4" fmla="*/ 32 w 44"/>
              <a:gd name="T5" fmla="*/ 4 h 56"/>
              <a:gd name="T6" fmla="*/ 32 w 44"/>
              <a:gd name="T7" fmla="*/ 4 h 56"/>
              <a:gd name="T8" fmla="*/ 36 w 44"/>
              <a:gd name="T9" fmla="*/ 6 h 56"/>
              <a:gd name="T10" fmla="*/ 36 w 44"/>
              <a:gd name="T11" fmla="*/ 6 h 56"/>
              <a:gd name="T12" fmla="*/ 40 w 44"/>
              <a:gd name="T13" fmla="*/ 10 h 56"/>
              <a:gd name="T14" fmla="*/ 36 w 44"/>
              <a:gd name="T15" fmla="*/ 6 h 56"/>
              <a:gd name="T16" fmla="*/ 44 w 44"/>
              <a:gd name="T17" fmla="*/ 6 h 56"/>
              <a:gd name="T18" fmla="*/ 40 w 44"/>
              <a:gd name="T19" fmla="*/ 10 h 56"/>
              <a:gd name="T20" fmla="*/ 36 w 44"/>
              <a:gd name="T21" fmla="*/ 14 h 56"/>
              <a:gd name="T22" fmla="*/ 32 w 44"/>
              <a:gd name="T23" fmla="*/ 14 h 56"/>
              <a:gd name="T24" fmla="*/ 36 w 44"/>
              <a:gd name="T25" fmla="*/ 22 h 56"/>
              <a:gd name="T26" fmla="*/ 32 w 44"/>
              <a:gd name="T27" fmla="*/ 26 h 56"/>
              <a:gd name="T28" fmla="*/ 32 w 44"/>
              <a:gd name="T29" fmla="*/ 30 h 56"/>
              <a:gd name="T30" fmla="*/ 28 w 44"/>
              <a:gd name="T31" fmla="*/ 30 h 56"/>
              <a:gd name="T32" fmla="*/ 28 w 44"/>
              <a:gd name="T33" fmla="*/ 36 h 56"/>
              <a:gd name="T34" fmla="*/ 22 w 44"/>
              <a:gd name="T35" fmla="*/ 36 h 56"/>
              <a:gd name="T36" fmla="*/ 24 w 44"/>
              <a:gd name="T37" fmla="*/ 40 h 56"/>
              <a:gd name="T38" fmla="*/ 24 w 44"/>
              <a:gd name="T39" fmla="*/ 40 h 56"/>
              <a:gd name="T40" fmla="*/ 28 w 44"/>
              <a:gd name="T41" fmla="*/ 40 h 56"/>
              <a:gd name="T42" fmla="*/ 24 w 44"/>
              <a:gd name="T43" fmla="*/ 44 h 56"/>
              <a:gd name="T44" fmla="*/ 22 w 44"/>
              <a:gd name="T45" fmla="*/ 48 h 56"/>
              <a:gd name="T46" fmla="*/ 18 w 44"/>
              <a:gd name="T47" fmla="*/ 44 h 56"/>
              <a:gd name="T48" fmla="*/ 18 w 44"/>
              <a:gd name="T49" fmla="*/ 52 h 56"/>
              <a:gd name="T50" fmla="*/ 14 w 44"/>
              <a:gd name="T51" fmla="*/ 56 h 56"/>
              <a:gd name="T52" fmla="*/ 18 w 44"/>
              <a:gd name="T53" fmla="*/ 52 h 56"/>
              <a:gd name="T54" fmla="*/ 14 w 44"/>
              <a:gd name="T55" fmla="*/ 48 h 56"/>
              <a:gd name="T56" fmla="*/ 14 w 44"/>
              <a:gd name="T57" fmla="*/ 48 h 56"/>
              <a:gd name="T58" fmla="*/ 10 w 44"/>
              <a:gd name="T59" fmla="*/ 44 h 56"/>
              <a:gd name="T60" fmla="*/ 6 w 44"/>
              <a:gd name="T61" fmla="*/ 48 h 56"/>
              <a:gd name="T62" fmla="*/ 2 w 44"/>
              <a:gd name="T63" fmla="*/ 52 h 56"/>
              <a:gd name="T64" fmla="*/ 2 w 44"/>
              <a:gd name="T65" fmla="*/ 48 h 56"/>
              <a:gd name="T66" fmla="*/ 0 w 44"/>
              <a:gd name="T67" fmla="*/ 44 h 56"/>
              <a:gd name="T68" fmla="*/ 0 w 44"/>
              <a:gd name="T69" fmla="*/ 36 h 56"/>
              <a:gd name="T70" fmla="*/ 0 w 44"/>
              <a:gd name="T71" fmla="*/ 30 h 56"/>
              <a:gd name="T72" fmla="*/ 2 w 44"/>
              <a:gd name="T73" fmla="*/ 26 h 56"/>
              <a:gd name="T74" fmla="*/ 0 w 44"/>
              <a:gd name="T75" fmla="*/ 18 h 56"/>
              <a:gd name="T76" fmla="*/ 2 w 44"/>
              <a:gd name="T77" fmla="*/ 10 h 56"/>
              <a:gd name="T78" fmla="*/ 6 w 44"/>
              <a:gd name="T79" fmla="*/ 6 h 56"/>
              <a:gd name="T80" fmla="*/ 10 w 44"/>
              <a:gd name="T81" fmla="*/ 4 h 56"/>
              <a:gd name="T82" fmla="*/ 14 w 44"/>
              <a:gd name="T83" fmla="*/ 0 h 56"/>
              <a:gd name="T84" fmla="*/ 18 w 44"/>
              <a:gd name="T85" fmla="*/ 4 h 56"/>
              <a:gd name="T86" fmla="*/ 22 w 44"/>
              <a:gd name="T87" fmla="*/ 0 h 56"/>
              <a:gd name="T88" fmla="*/ 22 w 44"/>
              <a:gd name="T89"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4" h="56">
                <a:moveTo>
                  <a:pt x="22" y="0"/>
                </a:moveTo>
                <a:lnTo>
                  <a:pt x="24" y="0"/>
                </a:lnTo>
                <a:lnTo>
                  <a:pt x="24" y="4"/>
                </a:lnTo>
                <a:lnTo>
                  <a:pt x="28" y="0"/>
                </a:lnTo>
                <a:lnTo>
                  <a:pt x="28" y="4"/>
                </a:lnTo>
                <a:lnTo>
                  <a:pt x="32" y="4"/>
                </a:lnTo>
                <a:lnTo>
                  <a:pt x="32" y="0"/>
                </a:lnTo>
                <a:lnTo>
                  <a:pt x="32" y="4"/>
                </a:lnTo>
                <a:lnTo>
                  <a:pt x="32" y="6"/>
                </a:lnTo>
                <a:lnTo>
                  <a:pt x="36" y="6"/>
                </a:lnTo>
                <a:lnTo>
                  <a:pt x="32" y="6"/>
                </a:lnTo>
                <a:lnTo>
                  <a:pt x="36" y="6"/>
                </a:lnTo>
                <a:lnTo>
                  <a:pt x="36" y="10"/>
                </a:lnTo>
                <a:lnTo>
                  <a:pt x="40" y="10"/>
                </a:lnTo>
                <a:lnTo>
                  <a:pt x="36" y="10"/>
                </a:lnTo>
                <a:lnTo>
                  <a:pt x="36" y="6"/>
                </a:lnTo>
                <a:lnTo>
                  <a:pt x="40" y="6"/>
                </a:lnTo>
                <a:lnTo>
                  <a:pt x="44" y="6"/>
                </a:lnTo>
                <a:lnTo>
                  <a:pt x="44" y="10"/>
                </a:lnTo>
                <a:lnTo>
                  <a:pt x="40" y="10"/>
                </a:lnTo>
                <a:lnTo>
                  <a:pt x="40" y="14"/>
                </a:lnTo>
                <a:lnTo>
                  <a:pt x="36" y="14"/>
                </a:lnTo>
                <a:lnTo>
                  <a:pt x="36" y="10"/>
                </a:lnTo>
                <a:lnTo>
                  <a:pt x="32" y="14"/>
                </a:lnTo>
                <a:lnTo>
                  <a:pt x="32" y="18"/>
                </a:lnTo>
                <a:lnTo>
                  <a:pt x="36" y="22"/>
                </a:lnTo>
                <a:lnTo>
                  <a:pt x="32" y="22"/>
                </a:lnTo>
                <a:lnTo>
                  <a:pt x="32" y="26"/>
                </a:lnTo>
                <a:lnTo>
                  <a:pt x="28" y="30"/>
                </a:lnTo>
                <a:lnTo>
                  <a:pt x="32" y="30"/>
                </a:lnTo>
                <a:lnTo>
                  <a:pt x="32" y="32"/>
                </a:lnTo>
                <a:lnTo>
                  <a:pt x="28" y="30"/>
                </a:lnTo>
                <a:lnTo>
                  <a:pt x="28" y="32"/>
                </a:lnTo>
                <a:lnTo>
                  <a:pt x="28" y="36"/>
                </a:lnTo>
                <a:lnTo>
                  <a:pt x="24" y="36"/>
                </a:lnTo>
                <a:lnTo>
                  <a:pt x="22" y="36"/>
                </a:lnTo>
                <a:lnTo>
                  <a:pt x="24" y="36"/>
                </a:lnTo>
                <a:lnTo>
                  <a:pt x="24" y="40"/>
                </a:lnTo>
                <a:lnTo>
                  <a:pt x="22" y="40"/>
                </a:lnTo>
                <a:lnTo>
                  <a:pt x="24" y="40"/>
                </a:lnTo>
                <a:lnTo>
                  <a:pt x="28" y="44"/>
                </a:lnTo>
                <a:lnTo>
                  <a:pt x="28" y="40"/>
                </a:lnTo>
                <a:lnTo>
                  <a:pt x="28" y="44"/>
                </a:lnTo>
                <a:lnTo>
                  <a:pt x="24" y="44"/>
                </a:lnTo>
                <a:lnTo>
                  <a:pt x="24" y="48"/>
                </a:lnTo>
                <a:lnTo>
                  <a:pt x="22" y="48"/>
                </a:lnTo>
                <a:lnTo>
                  <a:pt x="22" y="44"/>
                </a:lnTo>
                <a:lnTo>
                  <a:pt x="18" y="44"/>
                </a:lnTo>
                <a:lnTo>
                  <a:pt x="18" y="48"/>
                </a:lnTo>
                <a:lnTo>
                  <a:pt x="18" y="52"/>
                </a:lnTo>
                <a:lnTo>
                  <a:pt x="18" y="56"/>
                </a:lnTo>
                <a:lnTo>
                  <a:pt x="14" y="56"/>
                </a:lnTo>
                <a:lnTo>
                  <a:pt x="18" y="56"/>
                </a:lnTo>
                <a:lnTo>
                  <a:pt x="18" y="52"/>
                </a:lnTo>
                <a:lnTo>
                  <a:pt x="18" y="48"/>
                </a:lnTo>
                <a:lnTo>
                  <a:pt x="14" y="48"/>
                </a:lnTo>
                <a:lnTo>
                  <a:pt x="14" y="44"/>
                </a:lnTo>
                <a:lnTo>
                  <a:pt x="14" y="48"/>
                </a:lnTo>
                <a:lnTo>
                  <a:pt x="10" y="48"/>
                </a:lnTo>
                <a:lnTo>
                  <a:pt x="10" y="44"/>
                </a:lnTo>
                <a:lnTo>
                  <a:pt x="6" y="44"/>
                </a:lnTo>
                <a:lnTo>
                  <a:pt x="6" y="48"/>
                </a:lnTo>
                <a:lnTo>
                  <a:pt x="2" y="48"/>
                </a:lnTo>
                <a:lnTo>
                  <a:pt x="2" y="52"/>
                </a:lnTo>
                <a:lnTo>
                  <a:pt x="0" y="48"/>
                </a:lnTo>
                <a:lnTo>
                  <a:pt x="2" y="48"/>
                </a:lnTo>
                <a:lnTo>
                  <a:pt x="2" y="44"/>
                </a:lnTo>
                <a:lnTo>
                  <a:pt x="0" y="44"/>
                </a:lnTo>
                <a:lnTo>
                  <a:pt x="0" y="40"/>
                </a:lnTo>
                <a:lnTo>
                  <a:pt x="0" y="36"/>
                </a:lnTo>
                <a:lnTo>
                  <a:pt x="0" y="32"/>
                </a:lnTo>
                <a:lnTo>
                  <a:pt x="0" y="30"/>
                </a:lnTo>
                <a:lnTo>
                  <a:pt x="2" y="30"/>
                </a:lnTo>
                <a:lnTo>
                  <a:pt x="2" y="26"/>
                </a:lnTo>
                <a:lnTo>
                  <a:pt x="2" y="22"/>
                </a:lnTo>
                <a:lnTo>
                  <a:pt x="0" y="18"/>
                </a:lnTo>
                <a:lnTo>
                  <a:pt x="2" y="14"/>
                </a:lnTo>
                <a:lnTo>
                  <a:pt x="2" y="10"/>
                </a:lnTo>
                <a:lnTo>
                  <a:pt x="2" y="6"/>
                </a:lnTo>
                <a:lnTo>
                  <a:pt x="6" y="6"/>
                </a:lnTo>
                <a:lnTo>
                  <a:pt x="10" y="6"/>
                </a:lnTo>
                <a:lnTo>
                  <a:pt x="10" y="4"/>
                </a:lnTo>
                <a:lnTo>
                  <a:pt x="14" y="4"/>
                </a:lnTo>
                <a:lnTo>
                  <a:pt x="14" y="0"/>
                </a:lnTo>
                <a:lnTo>
                  <a:pt x="14" y="4"/>
                </a:lnTo>
                <a:lnTo>
                  <a:pt x="18" y="4"/>
                </a:lnTo>
                <a:lnTo>
                  <a:pt x="22" y="4"/>
                </a:lnTo>
                <a:lnTo>
                  <a:pt x="22" y="0"/>
                </a:lnTo>
                <a:lnTo>
                  <a:pt x="22" y="0"/>
                </a:lnTo>
                <a:lnTo>
                  <a:pt x="22" y="0"/>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11" name="Freeform 219"/>
          <p:cNvSpPr>
            <a:spLocks/>
          </p:cNvSpPr>
          <p:nvPr/>
        </p:nvSpPr>
        <p:spPr bwMode="auto">
          <a:xfrm>
            <a:off x="4757737" y="2302668"/>
            <a:ext cx="54769" cy="52388"/>
          </a:xfrm>
          <a:custGeom>
            <a:avLst/>
            <a:gdLst>
              <a:gd name="T0" fmla="*/ 18 w 46"/>
              <a:gd name="T1" fmla="*/ 40 h 44"/>
              <a:gd name="T2" fmla="*/ 18 w 46"/>
              <a:gd name="T3" fmla="*/ 40 h 44"/>
              <a:gd name="T4" fmla="*/ 18 w 46"/>
              <a:gd name="T5" fmla="*/ 36 h 44"/>
              <a:gd name="T6" fmla="*/ 16 w 46"/>
              <a:gd name="T7" fmla="*/ 32 h 44"/>
              <a:gd name="T8" fmla="*/ 16 w 46"/>
              <a:gd name="T9" fmla="*/ 32 h 44"/>
              <a:gd name="T10" fmla="*/ 12 w 46"/>
              <a:gd name="T11" fmla="*/ 30 h 44"/>
              <a:gd name="T12" fmla="*/ 12 w 46"/>
              <a:gd name="T13" fmla="*/ 26 h 44"/>
              <a:gd name="T14" fmla="*/ 12 w 46"/>
              <a:gd name="T15" fmla="*/ 26 h 44"/>
              <a:gd name="T16" fmla="*/ 8 w 46"/>
              <a:gd name="T17" fmla="*/ 18 h 44"/>
              <a:gd name="T18" fmla="*/ 4 w 46"/>
              <a:gd name="T19" fmla="*/ 14 h 44"/>
              <a:gd name="T20" fmla="*/ 0 w 46"/>
              <a:gd name="T21" fmla="*/ 14 h 44"/>
              <a:gd name="T22" fmla="*/ 4 w 46"/>
              <a:gd name="T23" fmla="*/ 14 h 44"/>
              <a:gd name="T24" fmla="*/ 4 w 46"/>
              <a:gd name="T25" fmla="*/ 14 h 44"/>
              <a:gd name="T26" fmla="*/ 0 w 46"/>
              <a:gd name="T27" fmla="*/ 14 h 44"/>
              <a:gd name="T28" fmla="*/ 4 w 46"/>
              <a:gd name="T29" fmla="*/ 10 h 44"/>
              <a:gd name="T30" fmla="*/ 8 w 46"/>
              <a:gd name="T31" fmla="*/ 10 h 44"/>
              <a:gd name="T32" fmla="*/ 8 w 46"/>
              <a:gd name="T33" fmla="*/ 10 h 44"/>
              <a:gd name="T34" fmla="*/ 8 w 46"/>
              <a:gd name="T35" fmla="*/ 6 h 44"/>
              <a:gd name="T36" fmla="*/ 12 w 46"/>
              <a:gd name="T37" fmla="*/ 6 h 44"/>
              <a:gd name="T38" fmla="*/ 16 w 46"/>
              <a:gd name="T39" fmla="*/ 2 h 44"/>
              <a:gd name="T40" fmla="*/ 16 w 46"/>
              <a:gd name="T41" fmla="*/ 2 h 44"/>
              <a:gd name="T42" fmla="*/ 18 w 46"/>
              <a:gd name="T43" fmla="*/ 2 h 44"/>
              <a:gd name="T44" fmla="*/ 18 w 46"/>
              <a:gd name="T45" fmla="*/ 2 h 44"/>
              <a:gd name="T46" fmla="*/ 18 w 46"/>
              <a:gd name="T47" fmla="*/ 2 h 44"/>
              <a:gd name="T48" fmla="*/ 18 w 46"/>
              <a:gd name="T49" fmla="*/ 6 h 44"/>
              <a:gd name="T50" fmla="*/ 18 w 46"/>
              <a:gd name="T51" fmla="*/ 2 h 44"/>
              <a:gd name="T52" fmla="*/ 22 w 46"/>
              <a:gd name="T53" fmla="*/ 2 h 44"/>
              <a:gd name="T54" fmla="*/ 26 w 46"/>
              <a:gd name="T55" fmla="*/ 6 h 44"/>
              <a:gd name="T56" fmla="*/ 26 w 46"/>
              <a:gd name="T57" fmla="*/ 10 h 44"/>
              <a:gd name="T58" fmla="*/ 26 w 46"/>
              <a:gd name="T59" fmla="*/ 10 h 44"/>
              <a:gd name="T60" fmla="*/ 30 w 46"/>
              <a:gd name="T61" fmla="*/ 14 h 44"/>
              <a:gd name="T62" fmla="*/ 38 w 46"/>
              <a:gd name="T63" fmla="*/ 14 h 44"/>
              <a:gd name="T64" fmla="*/ 42 w 46"/>
              <a:gd name="T65" fmla="*/ 18 h 44"/>
              <a:gd name="T66" fmla="*/ 42 w 46"/>
              <a:gd name="T67" fmla="*/ 18 h 44"/>
              <a:gd name="T68" fmla="*/ 42 w 46"/>
              <a:gd name="T69" fmla="*/ 22 h 44"/>
              <a:gd name="T70" fmla="*/ 46 w 46"/>
              <a:gd name="T71" fmla="*/ 22 h 44"/>
              <a:gd name="T72" fmla="*/ 42 w 46"/>
              <a:gd name="T73" fmla="*/ 26 h 44"/>
              <a:gd name="T74" fmla="*/ 46 w 46"/>
              <a:gd name="T75" fmla="*/ 26 h 44"/>
              <a:gd name="T76" fmla="*/ 46 w 46"/>
              <a:gd name="T77" fmla="*/ 30 h 44"/>
              <a:gd name="T78" fmla="*/ 46 w 46"/>
              <a:gd name="T79" fmla="*/ 30 h 44"/>
              <a:gd name="T80" fmla="*/ 42 w 46"/>
              <a:gd name="T81" fmla="*/ 30 h 44"/>
              <a:gd name="T82" fmla="*/ 42 w 46"/>
              <a:gd name="T83" fmla="*/ 30 h 44"/>
              <a:gd name="T84" fmla="*/ 42 w 46"/>
              <a:gd name="T85" fmla="*/ 32 h 44"/>
              <a:gd name="T86" fmla="*/ 42 w 46"/>
              <a:gd name="T87" fmla="*/ 32 h 44"/>
              <a:gd name="T88" fmla="*/ 42 w 46"/>
              <a:gd name="T89" fmla="*/ 36 h 44"/>
              <a:gd name="T90" fmla="*/ 38 w 46"/>
              <a:gd name="T91" fmla="*/ 40 h 44"/>
              <a:gd name="T92" fmla="*/ 34 w 46"/>
              <a:gd name="T93" fmla="*/ 36 h 44"/>
              <a:gd name="T94" fmla="*/ 34 w 46"/>
              <a:gd name="T95" fmla="*/ 36 h 44"/>
              <a:gd name="T96" fmla="*/ 26 w 46"/>
              <a:gd name="T97" fmla="*/ 36 h 44"/>
              <a:gd name="T98" fmla="*/ 26 w 46"/>
              <a:gd name="T99" fmla="*/ 40 h 44"/>
              <a:gd name="T100" fmla="*/ 26 w 46"/>
              <a:gd name="T101" fmla="*/ 40 h 44"/>
              <a:gd name="T102" fmla="*/ 26 w 46"/>
              <a:gd name="T103" fmla="*/ 44 h 44"/>
              <a:gd name="T104" fmla="*/ 22 w 46"/>
              <a:gd name="T105" fmla="*/ 44 h 44"/>
              <a:gd name="T106" fmla="*/ 18 w 46"/>
              <a:gd name="T107" fmla="*/ 44 h 44"/>
              <a:gd name="T108" fmla="*/ 18 w 46"/>
              <a:gd name="T10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6" h="44">
                <a:moveTo>
                  <a:pt x="18" y="44"/>
                </a:moveTo>
                <a:lnTo>
                  <a:pt x="18" y="44"/>
                </a:lnTo>
                <a:lnTo>
                  <a:pt x="18" y="44"/>
                </a:lnTo>
                <a:lnTo>
                  <a:pt x="18" y="40"/>
                </a:lnTo>
                <a:lnTo>
                  <a:pt x="18" y="40"/>
                </a:lnTo>
                <a:lnTo>
                  <a:pt x="18" y="40"/>
                </a:lnTo>
                <a:lnTo>
                  <a:pt x="18" y="40"/>
                </a:lnTo>
                <a:lnTo>
                  <a:pt x="18" y="40"/>
                </a:lnTo>
                <a:lnTo>
                  <a:pt x="18" y="36"/>
                </a:lnTo>
                <a:lnTo>
                  <a:pt x="18" y="36"/>
                </a:lnTo>
                <a:lnTo>
                  <a:pt x="18" y="36"/>
                </a:lnTo>
                <a:lnTo>
                  <a:pt x="18" y="36"/>
                </a:lnTo>
                <a:lnTo>
                  <a:pt x="18" y="36"/>
                </a:lnTo>
                <a:lnTo>
                  <a:pt x="18" y="36"/>
                </a:lnTo>
                <a:lnTo>
                  <a:pt x="18" y="36"/>
                </a:lnTo>
                <a:lnTo>
                  <a:pt x="16" y="32"/>
                </a:lnTo>
                <a:lnTo>
                  <a:pt x="16" y="32"/>
                </a:lnTo>
                <a:lnTo>
                  <a:pt x="16" y="32"/>
                </a:lnTo>
                <a:lnTo>
                  <a:pt x="16" y="32"/>
                </a:lnTo>
                <a:lnTo>
                  <a:pt x="16" y="32"/>
                </a:lnTo>
                <a:lnTo>
                  <a:pt x="16" y="30"/>
                </a:lnTo>
                <a:lnTo>
                  <a:pt x="12" y="30"/>
                </a:lnTo>
                <a:lnTo>
                  <a:pt x="12" y="30"/>
                </a:lnTo>
                <a:lnTo>
                  <a:pt x="12" y="30"/>
                </a:lnTo>
                <a:lnTo>
                  <a:pt x="12" y="30"/>
                </a:lnTo>
                <a:lnTo>
                  <a:pt x="12" y="30"/>
                </a:lnTo>
                <a:lnTo>
                  <a:pt x="12" y="26"/>
                </a:lnTo>
                <a:lnTo>
                  <a:pt x="12" y="26"/>
                </a:lnTo>
                <a:lnTo>
                  <a:pt x="12" y="26"/>
                </a:lnTo>
                <a:lnTo>
                  <a:pt x="12" y="26"/>
                </a:lnTo>
                <a:lnTo>
                  <a:pt x="12" y="26"/>
                </a:lnTo>
                <a:lnTo>
                  <a:pt x="12" y="26"/>
                </a:lnTo>
                <a:lnTo>
                  <a:pt x="12" y="22"/>
                </a:lnTo>
                <a:lnTo>
                  <a:pt x="12" y="22"/>
                </a:lnTo>
                <a:lnTo>
                  <a:pt x="8" y="22"/>
                </a:lnTo>
                <a:lnTo>
                  <a:pt x="8" y="18"/>
                </a:lnTo>
                <a:lnTo>
                  <a:pt x="4" y="18"/>
                </a:lnTo>
                <a:lnTo>
                  <a:pt x="4" y="18"/>
                </a:lnTo>
                <a:lnTo>
                  <a:pt x="4" y="14"/>
                </a:lnTo>
                <a:lnTo>
                  <a:pt x="4" y="14"/>
                </a:lnTo>
                <a:lnTo>
                  <a:pt x="0" y="14"/>
                </a:lnTo>
                <a:lnTo>
                  <a:pt x="0" y="14"/>
                </a:lnTo>
                <a:lnTo>
                  <a:pt x="0" y="14"/>
                </a:lnTo>
                <a:lnTo>
                  <a:pt x="0" y="14"/>
                </a:lnTo>
                <a:lnTo>
                  <a:pt x="0" y="14"/>
                </a:lnTo>
                <a:lnTo>
                  <a:pt x="4" y="14"/>
                </a:lnTo>
                <a:lnTo>
                  <a:pt x="4" y="14"/>
                </a:lnTo>
                <a:lnTo>
                  <a:pt x="4" y="14"/>
                </a:lnTo>
                <a:lnTo>
                  <a:pt x="4" y="14"/>
                </a:lnTo>
                <a:lnTo>
                  <a:pt x="4" y="14"/>
                </a:lnTo>
                <a:lnTo>
                  <a:pt x="4" y="14"/>
                </a:lnTo>
                <a:lnTo>
                  <a:pt x="4" y="14"/>
                </a:lnTo>
                <a:lnTo>
                  <a:pt x="4" y="14"/>
                </a:lnTo>
                <a:lnTo>
                  <a:pt x="4" y="14"/>
                </a:lnTo>
                <a:lnTo>
                  <a:pt x="0" y="14"/>
                </a:lnTo>
                <a:lnTo>
                  <a:pt x="0" y="14"/>
                </a:lnTo>
                <a:lnTo>
                  <a:pt x="0" y="14"/>
                </a:lnTo>
                <a:lnTo>
                  <a:pt x="0" y="10"/>
                </a:lnTo>
                <a:lnTo>
                  <a:pt x="0" y="10"/>
                </a:lnTo>
                <a:lnTo>
                  <a:pt x="4" y="10"/>
                </a:lnTo>
                <a:lnTo>
                  <a:pt x="4" y="14"/>
                </a:lnTo>
                <a:lnTo>
                  <a:pt x="4" y="14"/>
                </a:lnTo>
                <a:lnTo>
                  <a:pt x="8" y="10"/>
                </a:lnTo>
                <a:lnTo>
                  <a:pt x="8" y="10"/>
                </a:lnTo>
                <a:lnTo>
                  <a:pt x="8" y="10"/>
                </a:lnTo>
                <a:lnTo>
                  <a:pt x="8" y="10"/>
                </a:lnTo>
                <a:lnTo>
                  <a:pt x="8" y="10"/>
                </a:lnTo>
                <a:lnTo>
                  <a:pt x="8" y="10"/>
                </a:lnTo>
                <a:lnTo>
                  <a:pt x="8" y="10"/>
                </a:lnTo>
                <a:lnTo>
                  <a:pt x="8" y="6"/>
                </a:lnTo>
                <a:lnTo>
                  <a:pt x="8" y="6"/>
                </a:lnTo>
                <a:lnTo>
                  <a:pt x="8" y="6"/>
                </a:lnTo>
                <a:lnTo>
                  <a:pt x="8" y="6"/>
                </a:lnTo>
                <a:lnTo>
                  <a:pt x="8" y="6"/>
                </a:lnTo>
                <a:lnTo>
                  <a:pt x="12" y="6"/>
                </a:lnTo>
                <a:lnTo>
                  <a:pt x="12" y="6"/>
                </a:lnTo>
                <a:lnTo>
                  <a:pt x="12" y="6"/>
                </a:lnTo>
                <a:lnTo>
                  <a:pt x="12" y="6"/>
                </a:lnTo>
                <a:lnTo>
                  <a:pt x="12" y="6"/>
                </a:lnTo>
                <a:lnTo>
                  <a:pt x="16" y="2"/>
                </a:lnTo>
                <a:lnTo>
                  <a:pt x="16" y="2"/>
                </a:lnTo>
                <a:lnTo>
                  <a:pt x="16" y="0"/>
                </a:lnTo>
                <a:lnTo>
                  <a:pt x="16" y="0"/>
                </a:lnTo>
                <a:lnTo>
                  <a:pt x="16" y="2"/>
                </a:lnTo>
                <a:lnTo>
                  <a:pt x="16" y="2"/>
                </a:lnTo>
                <a:lnTo>
                  <a:pt x="16" y="2"/>
                </a:lnTo>
                <a:lnTo>
                  <a:pt x="16" y="2"/>
                </a:lnTo>
                <a:lnTo>
                  <a:pt x="18" y="2"/>
                </a:lnTo>
                <a:lnTo>
                  <a:pt x="18" y="2"/>
                </a:lnTo>
                <a:lnTo>
                  <a:pt x="18" y="2"/>
                </a:lnTo>
                <a:lnTo>
                  <a:pt x="18" y="2"/>
                </a:lnTo>
                <a:lnTo>
                  <a:pt x="18" y="2"/>
                </a:lnTo>
                <a:lnTo>
                  <a:pt x="18" y="2"/>
                </a:lnTo>
                <a:lnTo>
                  <a:pt x="18" y="2"/>
                </a:lnTo>
                <a:lnTo>
                  <a:pt x="18" y="2"/>
                </a:lnTo>
                <a:lnTo>
                  <a:pt x="18" y="2"/>
                </a:lnTo>
                <a:lnTo>
                  <a:pt x="18" y="2"/>
                </a:lnTo>
                <a:lnTo>
                  <a:pt x="18" y="6"/>
                </a:lnTo>
                <a:lnTo>
                  <a:pt x="18" y="6"/>
                </a:lnTo>
                <a:lnTo>
                  <a:pt x="18" y="6"/>
                </a:lnTo>
                <a:lnTo>
                  <a:pt x="18" y="2"/>
                </a:lnTo>
                <a:lnTo>
                  <a:pt x="18" y="2"/>
                </a:lnTo>
                <a:lnTo>
                  <a:pt x="18" y="2"/>
                </a:lnTo>
                <a:lnTo>
                  <a:pt x="18" y="2"/>
                </a:lnTo>
                <a:lnTo>
                  <a:pt x="22" y="2"/>
                </a:lnTo>
                <a:lnTo>
                  <a:pt x="22" y="2"/>
                </a:lnTo>
                <a:lnTo>
                  <a:pt x="22" y="2"/>
                </a:lnTo>
                <a:lnTo>
                  <a:pt x="22" y="2"/>
                </a:lnTo>
                <a:lnTo>
                  <a:pt x="22" y="6"/>
                </a:lnTo>
                <a:lnTo>
                  <a:pt x="26" y="6"/>
                </a:lnTo>
                <a:lnTo>
                  <a:pt x="26" y="6"/>
                </a:lnTo>
                <a:lnTo>
                  <a:pt x="26" y="6"/>
                </a:lnTo>
                <a:lnTo>
                  <a:pt x="26" y="6"/>
                </a:lnTo>
                <a:lnTo>
                  <a:pt x="26" y="6"/>
                </a:lnTo>
                <a:lnTo>
                  <a:pt x="26" y="10"/>
                </a:lnTo>
                <a:lnTo>
                  <a:pt x="26" y="10"/>
                </a:lnTo>
                <a:lnTo>
                  <a:pt x="26" y="10"/>
                </a:lnTo>
                <a:lnTo>
                  <a:pt x="26" y="10"/>
                </a:lnTo>
                <a:lnTo>
                  <a:pt x="26" y="10"/>
                </a:lnTo>
                <a:lnTo>
                  <a:pt x="26" y="10"/>
                </a:lnTo>
                <a:lnTo>
                  <a:pt x="26" y="10"/>
                </a:lnTo>
                <a:lnTo>
                  <a:pt x="30" y="10"/>
                </a:lnTo>
                <a:lnTo>
                  <a:pt x="30" y="10"/>
                </a:lnTo>
                <a:lnTo>
                  <a:pt x="30" y="14"/>
                </a:lnTo>
                <a:lnTo>
                  <a:pt x="34" y="14"/>
                </a:lnTo>
                <a:lnTo>
                  <a:pt x="34" y="14"/>
                </a:lnTo>
                <a:lnTo>
                  <a:pt x="38" y="14"/>
                </a:lnTo>
                <a:lnTo>
                  <a:pt x="38" y="14"/>
                </a:lnTo>
                <a:lnTo>
                  <a:pt x="38" y="14"/>
                </a:lnTo>
                <a:lnTo>
                  <a:pt x="38" y="18"/>
                </a:lnTo>
                <a:lnTo>
                  <a:pt x="42" y="18"/>
                </a:lnTo>
                <a:lnTo>
                  <a:pt x="42" y="18"/>
                </a:lnTo>
                <a:lnTo>
                  <a:pt x="42" y="18"/>
                </a:lnTo>
                <a:lnTo>
                  <a:pt x="42" y="18"/>
                </a:lnTo>
                <a:lnTo>
                  <a:pt x="42" y="18"/>
                </a:lnTo>
                <a:lnTo>
                  <a:pt x="42" y="18"/>
                </a:lnTo>
                <a:lnTo>
                  <a:pt x="42" y="18"/>
                </a:lnTo>
                <a:lnTo>
                  <a:pt x="42" y="18"/>
                </a:lnTo>
                <a:lnTo>
                  <a:pt x="42" y="22"/>
                </a:lnTo>
                <a:lnTo>
                  <a:pt x="42" y="22"/>
                </a:lnTo>
                <a:lnTo>
                  <a:pt x="42" y="22"/>
                </a:lnTo>
                <a:lnTo>
                  <a:pt x="46" y="22"/>
                </a:lnTo>
                <a:lnTo>
                  <a:pt x="46" y="22"/>
                </a:lnTo>
                <a:lnTo>
                  <a:pt x="46" y="22"/>
                </a:lnTo>
                <a:lnTo>
                  <a:pt x="46" y="22"/>
                </a:lnTo>
                <a:lnTo>
                  <a:pt x="46" y="26"/>
                </a:lnTo>
                <a:lnTo>
                  <a:pt x="42" y="26"/>
                </a:lnTo>
                <a:lnTo>
                  <a:pt x="42" y="26"/>
                </a:lnTo>
                <a:lnTo>
                  <a:pt x="46" y="26"/>
                </a:lnTo>
                <a:lnTo>
                  <a:pt x="46" y="26"/>
                </a:lnTo>
                <a:lnTo>
                  <a:pt x="46" y="26"/>
                </a:lnTo>
                <a:lnTo>
                  <a:pt x="46" y="26"/>
                </a:lnTo>
                <a:lnTo>
                  <a:pt x="46" y="26"/>
                </a:lnTo>
                <a:lnTo>
                  <a:pt x="46" y="26"/>
                </a:lnTo>
                <a:lnTo>
                  <a:pt x="46" y="26"/>
                </a:lnTo>
                <a:lnTo>
                  <a:pt x="46" y="30"/>
                </a:lnTo>
                <a:lnTo>
                  <a:pt x="46" y="30"/>
                </a:lnTo>
                <a:lnTo>
                  <a:pt x="46" y="30"/>
                </a:lnTo>
                <a:lnTo>
                  <a:pt x="46" y="30"/>
                </a:lnTo>
                <a:lnTo>
                  <a:pt x="46" y="30"/>
                </a:lnTo>
                <a:lnTo>
                  <a:pt x="42" y="32"/>
                </a:lnTo>
                <a:lnTo>
                  <a:pt x="42" y="30"/>
                </a:lnTo>
                <a:lnTo>
                  <a:pt x="42" y="30"/>
                </a:lnTo>
                <a:lnTo>
                  <a:pt x="42" y="30"/>
                </a:lnTo>
                <a:lnTo>
                  <a:pt x="42" y="30"/>
                </a:lnTo>
                <a:lnTo>
                  <a:pt x="42" y="30"/>
                </a:lnTo>
                <a:lnTo>
                  <a:pt x="42" y="30"/>
                </a:lnTo>
                <a:lnTo>
                  <a:pt x="42" y="30"/>
                </a:lnTo>
                <a:lnTo>
                  <a:pt x="42" y="30"/>
                </a:lnTo>
                <a:lnTo>
                  <a:pt x="42" y="30"/>
                </a:lnTo>
                <a:lnTo>
                  <a:pt x="42" y="32"/>
                </a:lnTo>
                <a:lnTo>
                  <a:pt x="42" y="32"/>
                </a:lnTo>
                <a:lnTo>
                  <a:pt x="42" y="32"/>
                </a:lnTo>
                <a:lnTo>
                  <a:pt x="42" y="32"/>
                </a:lnTo>
                <a:lnTo>
                  <a:pt x="42" y="32"/>
                </a:lnTo>
                <a:lnTo>
                  <a:pt x="42" y="32"/>
                </a:lnTo>
                <a:lnTo>
                  <a:pt x="42" y="36"/>
                </a:lnTo>
                <a:lnTo>
                  <a:pt x="42" y="36"/>
                </a:lnTo>
                <a:lnTo>
                  <a:pt x="42" y="36"/>
                </a:lnTo>
                <a:lnTo>
                  <a:pt x="42" y="36"/>
                </a:lnTo>
                <a:lnTo>
                  <a:pt x="38" y="36"/>
                </a:lnTo>
                <a:lnTo>
                  <a:pt x="38" y="36"/>
                </a:lnTo>
                <a:lnTo>
                  <a:pt x="38" y="40"/>
                </a:lnTo>
                <a:lnTo>
                  <a:pt x="38" y="40"/>
                </a:lnTo>
                <a:lnTo>
                  <a:pt x="38" y="40"/>
                </a:lnTo>
                <a:lnTo>
                  <a:pt x="34" y="40"/>
                </a:lnTo>
                <a:lnTo>
                  <a:pt x="34" y="40"/>
                </a:lnTo>
                <a:lnTo>
                  <a:pt x="34" y="36"/>
                </a:lnTo>
                <a:lnTo>
                  <a:pt x="34" y="36"/>
                </a:lnTo>
                <a:lnTo>
                  <a:pt x="34" y="36"/>
                </a:lnTo>
                <a:lnTo>
                  <a:pt x="34" y="36"/>
                </a:lnTo>
                <a:lnTo>
                  <a:pt x="34" y="36"/>
                </a:lnTo>
                <a:lnTo>
                  <a:pt x="30" y="36"/>
                </a:lnTo>
                <a:lnTo>
                  <a:pt x="30" y="36"/>
                </a:lnTo>
                <a:lnTo>
                  <a:pt x="30" y="36"/>
                </a:lnTo>
                <a:lnTo>
                  <a:pt x="26" y="36"/>
                </a:lnTo>
                <a:lnTo>
                  <a:pt x="26" y="36"/>
                </a:lnTo>
                <a:lnTo>
                  <a:pt x="26" y="36"/>
                </a:lnTo>
                <a:lnTo>
                  <a:pt x="26" y="40"/>
                </a:lnTo>
                <a:lnTo>
                  <a:pt x="26" y="40"/>
                </a:lnTo>
                <a:lnTo>
                  <a:pt x="26" y="40"/>
                </a:lnTo>
                <a:lnTo>
                  <a:pt x="26" y="40"/>
                </a:lnTo>
                <a:lnTo>
                  <a:pt x="26" y="40"/>
                </a:lnTo>
                <a:lnTo>
                  <a:pt x="26" y="40"/>
                </a:lnTo>
                <a:lnTo>
                  <a:pt x="26" y="44"/>
                </a:lnTo>
                <a:lnTo>
                  <a:pt x="26" y="44"/>
                </a:lnTo>
                <a:lnTo>
                  <a:pt x="26" y="44"/>
                </a:lnTo>
                <a:lnTo>
                  <a:pt x="26" y="44"/>
                </a:lnTo>
                <a:lnTo>
                  <a:pt x="26" y="44"/>
                </a:lnTo>
                <a:lnTo>
                  <a:pt x="22" y="44"/>
                </a:lnTo>
                <a:lnTo>
                  <a:pt x="22" y="44"/>
                </a:lnTo>
                <a:lnTo>
                  <a:pt x="22" y="44"/>
                </a:lnTo>
                <a:lnTo>
                  <a:pt x="22" y="44"/>
                </a:lnTo>
                <a:lnTo>
                  <a:pt x="18" y="44"/>
                </a:lnTo>
                <a:lnTo>
                  <a:pt x="18" y="44"/>
                </a:lnTo>
                <a:lnTo>
                  <a:pt x="18" y="44"/>
                </a:lnTo>
                <a:lnTo>
                  <a:pt x="18" y="44"/>
                </a:lnTo>
                <a:lnTo>
                  <a:pt x="18" y="44"/>
                </a:lnTo>
                <a:lnTo>
                  <a:pt x="18" y="44"/>
                </a:lnTo>
                <a:lnTo>
                  <a:pt x="18" y="44"/>
                </a:lnTo>
                <a:lnTo>
                  <a:pt x="18" y="44"/>
                </a:lnTo>
                <a:close/>
              </a:path>
            </a:pathLst>
          </a:custGeom>
          <a:solidFill>
            <a:srgbClr val="A0DCFF"/>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12" name="Freeform 220"/>
          <p:cNvSpPr>
            <a:spLocks/>
          </p:cNvSpPr>
          <p:nvPr/>
        </p:nvSpPr>
        <p:spPr bwMode="auto">
          <a:xfrm>
            <a:off x="5043488" y="2683668"/>
            <a:ext cx="135731" cy="245269"/>
          </a:xfrm>
          <a:custGeom>
            <a:avLst/>
            <a:gdLst>
              <a:gd name="T0" fmla="*/ 36 w 114"/>
              <a:gd name="T1" fmla="*/ 146 h 206"/>
              <a:gd name="T2" fmla="*/ 48 w 114"/>
              <a:gd name="T3" fmla="*/ 134 h 206"/>
              <a:gd name="T4" fmla="*/ 44 w 114"/>
              <a:gd name="T5" fmla="*/ 130 h 206"/>
              <a:gd name="T6" fmla="*/ 36 w 114"/>
              <a:gd name="T7" fmla="*/ 120 h 206"/>
              <a:gd name="T8" fmla="*/ 30 w 114"/>
              <a:gd name="T9" fmla="*/ 108 h 206"/>
              <a:gd name="T10" fmla="*/ 22 w 114"/>
              <a:gd name="T11" fmla="*/ 94 h 206"/>
              <a:gd name="T12" fmla="*/ 14 w 114"/>
              <a:gd name="T13" fmla="*/ 82 h 206"/>
              <a:gd name="T14" fmla="*/ 10 w 114"/>
              <a:gd name="T15" fmla="*/ 76 h 206"/>
              <a:gd name="T16" fmla="*/ 10 w 114"/>
              <a:gd name="T17" fmla="*/ 64 h 206"/>
              <a:gd name="T18" fmla="*/ 10 w 114"/>
              <a:gd name="T19" fmla="*/ 68 h 206"/>
              <a:gd name="T20" fmla="*/ 2 w 114"/>
              <a:gd name="T21" fmla="*/ 52 h 206"/>
              <a:gd name="T22" fmla="*/ 6 w 114"/>
              <a:gd name="T23" fmla="*/ 46 h 206"/>
              <a:gd name="T24" fmla="*/ 10 w 114"/>
              <a:gd name="T25" fmla="*/ 30 h 206"/>
              <a:gd name="T26" fmla="*/ 14 w 114"/>
              <a:gd name="T27" fmla="*/ 26 h 206"/>
              <a:gd name="T28" fmla="*/ 30 w 114"/>
              <a:gd name="T29" fmla="*/ 24 h 206"/>
              <a:gd name="T30" fmla="*/ 36 w 114"/>
              <a:gd name="T31" fmla="*/ 16 h 206"/>
              <a:gd name="T32" fmla="*/ 44 w 114"/>
              <a:gd name="T33" fmla="*/ 12 h 206"/>
              <a:gd name="T34" fmla="*/ 60 w 114"/>
              <a:gd name="T35" fmla="*/ 4 h 206"/>
              <a:gd name="T36" fmla="*/ 70 w 114"/>
              <a:gd name="T37" fmla="*/ 4 h 206"/>
              <a:gd name="T38" fmla="*/ 84 w 114"/>
              <a:gd name="T39" fmla="*/ 4 h 206"/>
              <a:gd name="T40" fmla="*/ 92 w 114"/>
              <a:gd name="T41" fmla="*/ 16 h 206"/>
              <a:gd name="T42" fmla="*/ 88 w 114"/>
              <a:gd name="T43" fmla="*/ 34 h 206"/>
              <a:gd name="T44" fmla="*/ 76 w 114"/>
              <a:gd name="T45" fmla="*/ 34 h 206"/>
              <a:gd name="T46" fmla="*/ 62 w 114"/>
              <a:gd name="T47" fmla="*/ 38 h 206"/>
              <a:gd name="T48" fmla="*/ 62 w 114"/>
              <a:gd name="T49" fmla="*/ 50 h 206"/>
              <a:gd name="T50" fmla="*/ 62 w 114"/>
              <a:gd name="T51" fmla="*/ 52 h 206"/>
              <a:gd name="T52" fmla="*/ 52 w 114"/>
              <a:gd name="T53" fmla="*/ 56 h 206"/>
              <a:gd name="T54" fmla="*/ 62 w 114"/>
              <a:gd name="T55" fmla="*/ 68 h 206"/>
              <a:gd name="T56" fmla="*/ 74 w 114"/>
              <a:gd name="T57" fmla="*/ 82 h 206"/>
              <a:gd name="T58" fmla="*/ 84 w 114"/>
              <a:gd name="T59" fmla="*/ 86 h 206"/>
              <a:gd name="T60" fmla="*/ 80 w 114"/>
              <a:gd name="T61" fmla="*/ 100 h 206"/>
              <a:gd name="T62" fmla="*/ 80 w 114"/>
              <a:gd name="T63" fmla="*/ 112 h 206"/>
              <a:gd name="T64" fmla="*/ 84 w 114"/>
              <a:gd name="T65" fmla="*/ 112 h 206"/>
              <a:gd name="T66" fmla="*/ 88 w 114"/>
              <a:gd name="T67" fmla="*/ 100 h 206"/>
              <a:gd name="T68" fmla="*/ 104 w 114"/>
              <a:gd name="T69" fmla="*/ 104 h 206"/>
              <a:gd name="T70" fmla="*/ 110 w 114"/>
              <a:gd name="T71" fmla="*/ 116 h 206"/>
              <a:gd name="T72" fmla="*/ 106 w 114"/>
              <a:gd name="T73" fmla="*/ 126 h 206"/>
              <a:gd name="T74" fmla="*/ 100 w 114"/>
              <a:gd name="T75" fmla="*/ 122 h 206"/>
              <a:gd name="T76" fmla="*/ 88 w 114"/>
              <a:gd name="T77" fmla="*/ 122 h 206"/>
              <a:gd name="T78" fmla="*/ 88 w 114"/>
              <a:gd name="T79" fmla="*/ 126 h 206"/>
              <a:gd name="T80" fmla="*/ 84 w 114"/>
              <a:gd name="T81" fmla="*/ 142 h 206"/>
              <a:gd name="T82" fmla="*/ 88 w 114"/>
              <a:gd name="T83" fmla="*/ 142 h 206"/>
              <a:gd name="T84" fmla="*/ 100 w 114"/>
              <a:gd name="T85" fmla="*/ 146 h 206"/>
              <a:gd name="T86" fmla="*/ 92 w 114"/>
              <a:gd name="T87" fmla="*/ 150 h 206"/>
              <a:gd name="T88" fmla="*/ 100 w 114"/>
              <a:gd name="T89" fmla="*/ 156 h 206"/>
              <a:gd name="T90" fmla="*/ 100 w 114"/>
              <a:gd name="T91" fmla="*/ 172 h 206"/>
              <a:gd name="T92" fmla="*/ 104 w 114"/>
              <a:gd name="T93" fmla="*/ 190 h 206"/>
              <a:gd name="T94" fmla="*/ 96 w 114"/>
              <a:gd name="T95" fmla="*/ 202 h 206"/>
              <a:gd name="T96" fmla="*/ 100 w 114"/>
              <a:gd name="T97" fmla="*/ 198 h 206"/>
              <a:gd name="T98" fmla="*/ 80 w 114"/>
              <a:gd name="T99" fmla="*/ 202 h 206"/>
              <a:gd name="T100" fmla="*/ 66 w 114"/>
              <a:gd name="T101" fmla="*/ 202 h 206"/>
              <a:gd name="T102" fmla="*/ 52 w 114"/>
              <a:gd name="T103" fmla="*/ 190 h 206"/>
              <a:gd name="T104" fmla="*/ 32 w 114"/>
              <a:gd name="T105" fmla="*/ 186 h 206"/>
              <a:gd name="T106" fmla="*/ 30 w 114"/>
              <a:gd name="T107" fmla="*/ 164 h 206"/>
              <a:gd name="T108" fmla="*/ 32 w 114"/>
              <a:gd name="T109" fmla="*/ 160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4" h="206">
                <a:moveTo>
                  <a:pt x="36" y="156"/>
                </a:moveTo>
                <a:lnTo>
                  <a:pt x="36" y="152"/>
                </a:lnTo>
                <a:lnTo>
                  <a:pt x="40" y="152"/>
                </a:lnTo>
                <a:lnTo>
                  <a:pt x="36" y="150"/>
                </a:lnTo>
                <a:lnTo>
                  <a:pt x="36" y="146"/>
                </a:lnTo>
                <a:lnTo>
                  <a:pt x="40" y="142"/>
                </a:lnTo>
                <a:lnTo>
                  <a:pt x="40" y="138"/>
                </a:lnTo>
                <a:lnTo>
                  <a:pt x="40" y="134"/>
                </a:lnTo>
                <a:lnTo>
                  <a:pt x="44" y="134"/>
                </a:lnTo>
                <a:lnTo>
                  <a:pt x="48" y="134"/>
                </a:lnTo>
                <a:lnTo>
                  <a:pt x="52" y="134"/>
                </a:lnTo>
                <a:lnTo>
                  <a:pt x="52" y="130"/>
                </a:lnTo>
                <a:lnTo>
                  <a:pt x="48" y="126"/>
                </a:lnTo>
                <a:lnTo>
                  <a:pt x="44" y="126"/>
                </a:lnTo>
                <a:lnTo>
                  <a:pt x="44" y="130"/>
                </a:lnTo>
                <a:lnTo>
                  <a:pt x="44" y="126"/>
                </a:lnTo>
                <a:lnTo>
                  <a:pt x="40" y="126"/>
                </a:lnTo>
                <a:lnTo>
                  <a:pt x="40" y="122"/>
                </a:lnTo>
                <a:lnTo>
                  <a:pt x="36" y="122"/>
                </a:lnTo>
                <a:lnTo>
                  <a:pt x="36" y="120"/>
                </a:lnTo>
                <a:lnTo>
                  <a:pt x="36" y="116"/>
                </a:lnTo>
                <a:lnTo>
                  <a:pt x="32" y="116"/>
                </a:lnTo>
                <a:lnTo>
                  <a:pt x="32" y="112"/>
                </a:lnTo>
                <a:lnTo>
                  <a:pt x="32" y="108"/>
                </a:lnTo>
                <a:lnTo>
                  <a:pt x="30" y="108"/>
                </a:lnTo>
                <a:lnTo>
                  <a:pt x="30" y="104"/>
                </a:lnTo>
                <a:lnTo>
                  <a:pt x="26" y="104"/>
                </a:lnTo>
                <a:lnTo>
                  <a:pt x="26" y="100"/>
                </a:lnTo>
                <a:lnTo>
                  <a:pt x="22" y="100"/>
                </a:lnTo>
                <a:lnTo>
                  <a:pt x="22" y="94"/>
                </a:lnTo>
                <a:lnTo>
                  <a:pt x="18" y="94"/>
                </a:lnTo>
                <a:lnTo>
                  <a:pt x="18" y="90"/>
                </a:lnTo>
                <a:lnTo>
                  <a:pt x="14" y="90"/>
                </a:lnTo>
                <a:lnTo>
                  <a:pt x="14" y="86"/>
                </a:lnTo>
                <a:lnTo>
                  <a:pt x="14" y="82"/>
                </a:lnTo>
                <a:lnTo>
                  <a:pt x="10" y="82"/>
                </a:lnTo>
                <a:lnTo>
                  <a:pt x="10" y="80"/>
                </a:lnTo>
                <a:lnTo>
                  <a:pt x="10" y="76"/>
                </a:lnTo>
                <a:lnTo>
                  <a:pt x="14" y="76"/>
                </a:lnTo>
                <a:lnTo>
                  <a:pt x="10" y="76"/>
                </a:lnTo>
                <a:lnTo>
                  <a:pt x="10" y="72"/>
                </a:lnTo>
                <a:lnTo>
                  <a:pt x="10" y="68"/>
                </a:lnTo>
                <a:lnTo>
                  <a:pt x="14" y="68"/>
                </a:lnTo>
                <a:lnTo>
                  <a:pt x="14" y="64"/>
                </a:lnTo>
                <a:lnTo>
                  <a:pt x="10" y="64"/>
                </a:lnTo>
                <a:lnTo>
                  <a:pt x="10" y="68"/>
                </a:lnTo>
                <a:lnTo>
                  <a:pt x="10" y="72"/>
                </a:lnTo>
                <a:lnTo>
                  <a:pt x="10" y="68"/>
                </a:lnTo>
                <a:lnTo>
                  <a:pt x="10" y="72"/>
                </a:lnTo>
                <a:lnTo>
                  <a:pt x="10" y="68"/>
                </a:lnTo>
                <a:lnTo>
                  <a:pt x="10" y="64"/>
                </a:lnTo>
                <a:lnTo>
                  <a:pt x="10" y="60"/>
                </a:lnTo>
                <a:lnTo>
                  <a:pt x="6" y="60"/>
                </a:lnTo>
                <a:lnTo>
                  <a:pt x="6" y="56"/>
                </a:lnTo>
                <a:lnTo>
                  <a:pt x="2" y="52"/>
                </a:lnTo>
                <a:lnTo>
                  <a:pt x="0" y="52"/>
                </a:lnTo>
                <a:lnTo>
                  <a:pt x="0" y="50"/>
                </a:lnTo>
                <a:lnTo>
                  <a:pt x="2" y="50"/>
                </a:lnTo>
                <a:lnTo>
                  <a:pt x="2" y="46"/>
                </a:lnTo>
                <a:lnTo>
                  <a:pt x="6" y="46"/>
                </a:lnTo>
                <a:lnTo>
                  <a:pt x="6" y="42"/>
                </a:lnTo>
                <a:lnTo>
                  <a:pt x="10" y="38"/>
                </a:lnTo>
                <a:lnTo>
                  <a:pt x="10" y="34"/>
                </a:lnTo>
                <a:lnTo>
                  <a:pt x="14" y="30"/>
                </a:lnTo>
                <a:lnTo>
                  <a:pt x="10" y="30"/>
                </a:lnTo>
                <a:lnTo>
                  <a:pt x="10" y="26"/>
                </a:lnTo>
                <a:lnTo>
                  <a:pt x="14" y="30"/>
                </a:lnTo>
                <a:lnTo>
                  <a:pt x="14" y="26"/>
                </a:lnTo>
                <a:lnTo>
                  <a:pt x="10" y="26"/>
                </a:lnTo>
                <a:lnTo>
                  <a:pt x="14" y="26"/>
                </a:lnTo>
                <a:lnTo>
                  <a:pt x="18" y="30"/>
                </a:lnTo>
                <a:lnTo>
                  <a:pt x="18" y="26"/>
                </a:lnTo>
                <a:lnTo>
                  <a:pt x="22" y="26"/>
                </a:lnTo>
                <a:lnTo>
                  <a:pt x="26" y="24"/>
                </a:lnTo>
                <a:lnTo>
                  <a:pt x="30" y="24"/>
                </a:lnTo>
                <a:lnTo>
                  <a:pt x="30" y="26"/>
                </a:lnTo>
                <a:lnTo>
                  <a:pt x="30" y="24"/>
                </a:lnTo>
                <a:lnTo>
                  <a:pt x="30" y="20"/>
                </a:lnTo>
                <a:lnTo>
                  <a:pt x="32" y="20"/>
                </a:lnTo>
                <a:lnTo>
                  <a:pt x="36" y="16"/>
                </a:lnTo>
                <a:lnTo>
                  <a:pt x="36" y="12"/>
                </a:lnTo>
                <a:lnTo>
                  <a:pt x="36" y="16"/>
                </a:lnTo>
                <a:lnTo>
                  <a:pt x="36" y="12"/>
                </a:lnTo>
                <a:lnTo>
                  <a:pt x="40" y="12"/>
                </a:lnTo>
                <a:lnTo>
                  <a:pt x="44" y="12"/>
                </a:lnTo>
                <a:lnTo>
                  <a:pt x="48" y="8"/>
                </a:lnTo>
                <a:lnTo>
                  <a:pt x="52" y="8"/>
                </a:lnTo>
                <a:lnTo>
                  <a:pt x="52" y="4"/>
                </a:lnTo>
                <a:lnTo>
                  <a:pt x="56" y="4"/>
                </a:lnTo>
                <a:lnTo>
                  <a:pt x="60" y="4"/>
                </a:lnTo>
                <a:lnTo>
                  <a:pt x="60" y="0"/>
                </a:lnTo>
                <a:lnTo>
                  <a:pt x="62" y="0"/>
                </a:lnTo>
                <a:lnTo>
                  <a:pt x="66" y="0"/>
                </a:lnTo>
                <a:lnTo>
                  <a:pt x="70" y="0"/>
                </a:lnTo>
                <a:lnTo>
                  <a:pt x="70" y="4"/>
                </a:lnTo>
                <a:lnTo>
                  <a:pt x="74" y="4"/>
                </a:lnTo>
                <a:lnTo>
                  <a:pt x="76" y="4"/>
                </a:lnTo>
                <a:lnTo>
                  <a:pt x="80" y="4"/>
                </a:lnTo>
                <a:lnTo>
                  <a:pt x="80" y="0"/>
                </a:lnTo>
                <a:lnTo>
                  <a:pt x="84" y="4"/>
                </a:lnTo>
                <a:lnTo>
                  <a:pt x="88" y="4"/>
                </a:lnTo>
                <a:lnTo>
                  <a:pt x="92" y="4"/>
                </a:lnTo>
                <a:lnTo>
                  <a:pt x="92" y="8"/>
                </a:lnTo>
                <a:lnTo>
                  <a:pt x="88" y="12"/>
                </a:lnTo>
                <a:lnTo>
                  <a:pt x="92" y="16"/>
                </a:lnTo>
                <a:lnTo>
                  <a:pt x="92" y="20"/>
                </a:lnTo>
                <a:lnTo>
                  <a:pt x="88" y="24"/>
                </a:lnTo>
                <a:lnTo>
                  <a:pt x="88" y="26"/>
                </a:lnTo>
                <a:lnTo>
                  <a:pt x="84" y="30"/>
                </a:lnTo>
                <a:lnTo>
                  <a:pt x="88" y="34"/>
                </a:lnTo>
                <a:lnTo>
                  <a:pt x="92" y="34"/>
                </a:lnTo>
                <a:lnTo>
                  <a:pt x="88" y="34"/>
                </a:lnTo>
                <a:lnTo>
                  <a:pt x="84" y="34"/>
                </a:lnTo>
                <a:lnTo>
                  <a:pt x="80" y="34"/>
                </a:lnTo>
                <a:lnTo>
                  <a:pt x="76" y="34"/>
                </a:lnTo>
                <a:lnTo>
                  <a:pt x="74" y="34"/>
                </a:lnTo>
                <a:lnTo>
                  <a:pt x="70" y="34"/>
                </a:lnTo>
                <a:lnTo>
                  <a:pt x="66" y="34"/>
                </a:lnTo>
                <a:lnTo>
                  <a:pt x="66" y="38"/>
                </a:lnTo>
                <a:lnTo>
                  <a:pt x="62" y="38"/>
                </a:lnTo>
                <a:lnTo>
                  <a:pt x="62" y="42"/>
                </a:lnTo>
                <a:lnTo>
                  <a:pt x="60" y="42"/>
                </a:lnTo>
                <a:lnTo>
                  <a:pt x="60" y="46"/>
                </a:lnTo>
                <a:lnTo>
                  <a:pt x="62" y="46"/>
                </a:lnTo>
                <a:lnTo>
                  <a:pt x="62" y="50"/>
                </a:lnTo>
                <a:lnTo>
                  <a:pt x="66" y="50"/>
                </a:lnTo>
                <a:lnTo>
                  <a:pt x="70" y="50"/>
                </a:lnTo>
                <a:lnTo>
                  <a:pt x="70" y="52"/>
                </a:lnTo>
                <a:lnTo>
                  <a:pt x="66" y="52"/>
                </a:lnTo>
                <a:lnTo>
                  <a:pt x="62" y="52"/>
                </a:lnTo>
                <a:lnTo>
                  <a:pt x="60" y="50"/>
                </a:lnTo>
                <a:lnTo>
                  <a:pt x="56" y="50"/>
                </a:lnTo>
                <a:lnTo>
                  <a:pt x="52" y="50"/>
                </a:lnTo>
                <a:lnTo>
                  <a:pt x="52" y="52"/>
                </a:lnTo>
                <a:lnTo>
                  <a:pt x="52" y="56"/>
                </a:lnTo>
                <a:lnTo>
                  <a:pt x="56" y="56"/>
                </a:lnTo>
                <a:lnTo>
                  <a:pt x="60" y="56"/>
                </a:lnTo>
                <a:lnTo>
                  <a:pt x="60" y="60"/>
                </a:lnTo>
                <a:lnTo>
                  <a:pt x="62" y="64"/>
                </a:lnTo>
                <a:lnTo>
                  <a:pt x="62" y="68"/>
                </a:lnTo>
                <a:lnTo>
                  <a:pt x="66" y="72"/>
                </a:lnTo>
                <a:lnTo>
                  <a:pt x="66" y="76"/>
                </a:lnTo>
                <a:lnTo>
                  <a:pt x="66" y="80"/>
                </a:lnTo>
                <a:lnTo>
                  <a:pt x="70" y="80"/>
                </a:lnTo>
                <a:lnTo>
                  <a:pt x="74" y="82"/>
                </a:lnTo>
                <a:lnTo>
                  <a:pt x="74" y="86"/>
                </a:lnTo>
                <a:lnTo>
                  <a:pt x="74" y="82"/>
                </a:lnTo>
                <a:lnTo>
                  <a:pt x="76" y="82"/>
                </a:lnTo>
                <a:lnTo>
                  <a:pt x="80" y="86"/>
                </a:lnTo>
                <a:lnTo>
                  <a:pt x="84" y="86"/>
                </a:lnTo>
                <a:lnTo>
                  <a:pt x="84" y="90"/>
                </a:lnTo>
                <a:lnTo>
                  <a:pt x="84" y="94"/>
                </a:lnTo>
                <a:lnTo>
                  <a:pt x="80" y="94"/>
                </a:lnTo>
                <a:lnTo>
                  <a:pt x="80" y="96"/>
                </a:lnTo>
                <a:lnTo>
                  <a:pt x="80" y="100"/>
                </a:lnTo>
                <a:lnTo>
                  <a:pt x="80" y="104"/>
                </a:lnTo>
                <a:lnTo>
                  <a:pt x="80" y="108"/>
                </a:lnTo>
                <a:lnTo>
                  <a:pt x="84" y="108"/>
                </a:lnTo>
                <a:lnTo>
                  <a:pt x="80" y="108"/>
                </a:lnTo>
                <a:lnTo>
                  <a:pt x="80" y="112"/>
                </a:lnTo>
                <a:lnTo>
                  <a:pt x="84" y="112"/>
                </a:lnTo>
                <a:lnTo>
                  <a:pt x="84" y="116"/>
                </a:lnTo>
                <a:lnTo>
                  <a:pt x="88" y="120"/>
                </a:lnTo>
                <a:lnTo>
                  <a:pt x="88" y="116"/>
                </a:lnTo>
                <a:lnTo>
                  <a:pt x="84" y="112"/>
                </a:lnTo>
                <a:lnTo>
                  <a:pt x="88" y="112"/>
                </a:lnTo>
                <a:lnTo>
                  <a:pt x="88" y="108"/>
                </a:lnTo>
                <a:lnTo>
                  <a:pt x="84" y="108"/>
                </a:lnTo>
                <a:lnTo>
                  <a:pt x="88" y="104"/>
                </a:lnTo>
                <a:lnTo>
                  <a:pt x="88" y="100"/>
                </a:lnTo>
                <a:lnTo>
                  <a:pt x="92" y="100"/>
                </a:lnTo>
                <a:lnTo>
                  <a:pt x="96" y="96"/>
                </a:lnTo>
                <a:lnTo>
                  <a:pt x="100" y="96"/>
                </a:lnTo>
                <a:lnTo>
                  <a:pt x="104" y="100"/>
                </a:lnTo>
                <a:lnTo>
                  <a:pt x="104" y="104"/>
                </a:lnTo>
                <a:lnTo>
                  <a:pt x="104" y="108"/>
                </a:lnTo>
                <a:lnTo>
                  <a:pt x="104" y="112"/>
                </a:lnTo>
                <a:lnTo>
                  <a:pt x="106" y="112"/>
                </a:lnTo>
                <a:lnTo>
                  <a:pt x="106" y="116"/>
                </a:lnTo>
                <a:lnTo>
                  <a:pt x="110" y="116"/>
                </a:lnTo>
                <a:lnTo>
                  <a:pt x="114" y="120"/>
                </a:lnTo>
                <a:lnTo>
                  <a:pt x="114" y="122"/>
                </a:lnTo>
                <a:lnTo>
                  <a:pt x="110" y="122"/>
                </a:lnTo>
                <a:lnTo>
                  <a:pt x="106" y="122"/>
                </a:lnTo>
                <a:lnTo>
                  <a:pt x="106" y="126"/>
                </a:lnTo>
                <a:lnTo>
                  <a:pt x="110" y="126"/>
                </a:lnTo>
                <a:lnTo>
                  <a:pt x="106" y="126"/>
                </a:lnTo>
                <a:lnTo>
                  <a:pt x="104" y="126"/>
                </a:lnTo>
                <a:lnTo>
                  <a:pt x="100" y="126"/>
                </a:lnTo>
                <a:lnTo>
                  <a:pt x="100" y="122"/>
                </a:lnTo>
                <a:lnTo>
                  <a:pt x="96" y="122"/>
                </a:lnTo>
                <a:lnTo>
                  <a:pt x="96" y="126"/>
                </a:lnTo>
                <a:lnTo>
                  <a:pt x="96" y="122"/>
                </a:lnTo>
                <a:lnTo>
                  <a:pt x="92" y="122"/>
                </a:lnTo>
                <a:lnTo>
                  <a:pt x="88" y="122"/>
                </a:lnTo>
                <a:lnTo>
                  <a:pt x="88" y="120"/>
                </a:lnTo>
                <a:lnTo>
                  <a:pt x="88" y="122"/>
                </a:lnTo>
                <a:lnTo>
                  <a:pt x="88" y="126"/>
                </a:lnTo>
                <a:lnTo>
                  <a:pt x="84" y="126"/>
                </a:lnTo>
                <a:lnTo>
                  <a:pt x="88" y="126"/>
                </a:lnTo>
                <a:lnTo>
                  <a:pt x="84" y="126"/>
                </a:lnTo>
                <a:lnTo>
                  <a:pt x="84" y="130"/>
                </a:lnTo>
                <a:lnTo>
                  <a:pt x="84" y="134"/>
                </a:lnTo>
                <a:lnTo>
                  <a:pt x="84" y="138"/>
                </a:lnTo>
                <a:lnTo>
                  <a:pt x="84" y="142"/>
                </a:lnTo>
                <a:lnTo>
                  <a:pt x="88" y="142"/>
                </a:lnTo>
                <a:lnTo>
                  <a:pt x="88" y="146"/>
                </a:lnTo>
                <a:lnTo>
                  <a:pt x="88" y="142"/>
                </a:lnTo>
                <a:lnTo>
                  <a:pt x="88" y="138"/>
                </a:lnTo>
                <a:lnTo>
                  <a:pt x="88" y="142"/>
                </a:lnTo>
                <a:lnTo>
                  <a:pt x="92" y="142"/>
                </a:lnTo>
                <a:lnTo>
                  <a:pt x="96" y="138"/>
                </a:lnTo>
                <a:lnTo>
                  <a:pt x="96" y="142"/>
                </a:lnTo>
                <a:lnTo>
                  <a:pt x="96" y="146"/>
                </a:lnTo>
                <a:lnTo>
                  <a:pt x="100" y="146"/>
                </a:lnTo>
                <a:lnTo>
                  <a:pt x="100" y="150"/>
                </a:lnTo>
                <a:lnTo>
                  <a:pt x="96" y="150"/>
                </a:lnTo>
                <a:lnTo>
                  <a:pt x="92" y="150"/>
                </a:lnTo>
                <a:lnTo>
                  <a:pt x="92" y="146"/>
                </a:lnTo>
                <a:lnTo>
                  <a:pt x="92" y="150"/>
                </a:lnTo>
                <a:lnTo>
                  <a:pt x="92" y="152"/>
                </a:lnTo>
                <a:lnTo>
                  <a:pt x="92" y="156"/>
                </a:lnTo>
                <a:lnTo>
                  <a:pt x="92" y="152"/>
                </a:lnTo>
                <a:lnTo>
                  <a:pt x="96" y="152"/>
                </a:lnTo>
                <a:lnTo>
                  <a:pt x="100" y="156"/>
                </a:lnTo>
                <a:lnTo>
                  <a:pt x="104" y="160"/>
                </a:lnTo>
                <a:lnTo>
                  <a:pt x="104" y="164"/>
                </a:lnTo>
                <a:lnTo>
                  <a:pt x="100" y="164"/>
                </a:lnTo>
                <a:lnTo>
                  <a:pt x="100" y="168"/>
                </a:lnTo>
                <a:lnTo>
                  <a:pt x="100" y="172"/>
                </a:lnTo>
                <a:lnTo>
                  <a:pt x="100" y="176"/>
                </a:lnTo>
                <a:lnTo>
                  <a:pt x="100" y="178"/>
                </a:lnTo>
                <a:lnTo>
                  <a:pt x="100" y="182"/>
                </a:lnTo>
                <a:lnTo>
                  <a:pt x="100" y="186"/>
                </a:lnTo>
                <a:lnTo>
                  <a:pt x="104" y="190"/>
                </a:lnTo>
                <a:lnTo>
                  <a:pt x="104" y="194"/>
                </a:lnTo>
                <a:lnTo>
                  <a:pt x="104" y="198"/>
                </a:lnTo>
                <a:lnTo>
                  <a:pt x="104" y="202"/>
                </a:lnTo>
                <a:lnTo>
                  <a:pt x="100" y="202"/>
                </a:lnTo>
                <a:lnTo>
                  <a:pt x="96" y="202"/>
                </a:lnTo>
                <a:lnTo>
                  <a:pt x="100" y="198"/>
                </a:lnTo>
                <a:lnTo>
                  <a:pt x="100" y="202"/>
                </a:lnTo>
                <a:lnTo>
                  <a:pt x="100" y="198"/>
                </a:lnTo>
                <a:lnTo>
                  <a:pt x="104" y="198"/>
                </a:lnTo>
                <a:lnTo>
                  <a:pt x="100" y="198"/>
                </a:lnTo>
                <a:lnTo>
                  <a:pt x="96" y="198"/>
                </a:lnTo>
                <a:lnTo>
                  <a:pt x="92" y="202"/>
                </a:lnTo>
                <a:lnTo>
                  <a:pt x="88" y="202"/>
                </a:lnTo>
                <a:lnTo>
                  <a:pt x="84" y="202"/>
                </a:lnTo>
                <a:lnTo>
                  <a:pt x="80" y="202"/>
                </a:lnTo>
                <a:lnTo>
                  <a:pt x="76" y="206"/>
                </a:lnTo>
                <a:lnTo>
                  <a:pt x="74" y="206"/>
                </a:lnTo>
                <a:lnTo>
                  <a:pt x="70" y="206"/>
                </a:lnTo>
                <a:lnTo>
                  <a:pt x="66" y="206"/>
                </a:lnTo>
                <a:lnTo>
                  <a:pt x="66" y="202"/>
                </a:lnTo>
                <a:lnTo>
                  <a:pt x="62" y="202"/>
                </a:lnTo>
                <a:lnTo>
                  <a:pt x="60" y="202"/>
                </a:lnTo>
                <a:lnTo>
                  <a:pt x="56" y="198"/>
                </a:lnTo>
                <a:lnTo>
                  <a:pt x="52" y="194"/>
                </a:lnTo>
                <a:lnTo>
                  <a:pt x="52" y="190"/>
                </a:lnTo>
                <a:lnTo>
                  <a:pt x="48" y="190"/>
                </a:lnTo>
                <a:lnTo>
                  <a:pt x="44" y="190"/>
                </a:lnTo>
                <a:lnTo>
                  <a:pt x="40" y="186"/>
                </a:lnTo>
                <a:lnTo>
                  <a:pt x="36" y="186"/>
                </a:lnTo>
                <a:lnTo>
                  <a:pt x="32" y="186"/>
                </a:lnTo>
                <a:lnTo>
                  <a:pt x="32" y="182"/>
                </a:lnTo>
                <a:lnTo>
                  <a:pt x="32" y="178"/>
                </a:lnTo>
                <a:lnTo>
                  <a:pt x="30" y="172"/>
                </a:lnTo>
                <a:lnTo>
                  <a:pt x="30" y="168"/>
                </a:lnTo>
                <a:lnTo>
                  <a:pt x="30" y="164"/>
                </a:lnTo>
                <a:lnTo>
                  <a:pt x="32" y="160"/>
                </a:lnTo>
                <a:lnTo>
                  <a:pt x="32" y="156"/>
                </a:lnTo>
                <a:lnTo>
                  <a:pt x="36" y="156"/>
                </a:lnTo>
                <a:lnTo>
                  <a:pt x="32" y="156"/>
                </a:lnTo>
                <a:lnTo>
                  <a:pt x="32" y="160"/>
                </a:lnTo>
                <a:lnTo>
                  <a:pt x="36" y="160"/>
                </a:lnTo>
                <a:lnTo>
                  <a:pt x="36" y="156"/>
                </a:lnTo>
                <a:lnTo>
                  <a:pt x="36" y="156"/>
                </a:lnTo>
                <a:lnTo>
                  <a:pt x="36" y="156"/>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13" name="Freeform 221"/>
          <p:cNvSpPr>
            <a:spLocks/>
          </p:cNvSpPr>
          <p:nvPr/>
        </p:nvSpPr>
        <p:spPr bwMode="auto">
          <a:xfrm>
            <a:off x="5238749" y="2688431"/>
            <a:ext cx="61913" cy="85725"/>
          </a:xfrm>
          <a:custGeom>
            <a:avLst/>
            <a:gdLst>
              <a:gd name="T0" fmla="*/ 40 w 52"/>
              <a:gd name="T1" fmla="*/ 20 h 72"/>
              <a:gd name="T2" fmla="*/ 36 w 52"/>
              <a:gd name="T3" fmla="*/ 22 h 72"/>
              <a:gd name="T4" fmla="*/ 40 w 52"/>
              <a:gd name="T5" fmla="*/ 26 h 72"/>
              <a:gd name="T6" fmla="*/ 44 w 52"/>
              <a:gd name="T7" fmla="*/ 22 h 72"/>
              <a:gd name="T8" fmla="*/ 40 w 52"/>
              <a:gd name="T9" fmla="*/ 26 h 72"/>
              <a:gd name="T10" fmla="*/ 44 w 52"/>
              <a:gd name="T11" fmla="*/ 34 h 72"/>
              <a:gd name="T12" fmla="*/ 52 w 52"/>
              <a:gd name="T13" fmla="*/ 34 h 72"/>
              <a:gd name="T14" fmla="*/ 48 w 52"/>
              <a:gd name="T15" fmla="*/ 38 h 72"/>
              <a:gd name="T16" fmla="*/ 48 w 52"/>
              <a:gd name="T17" fmla="*/ 42 h 72"/>
              <a:gd name="T18" fmla="*/ 44 w 52"/>
              <a:gd name="T19" fmla="*/ 46 h 72"/>
              <a:gd name="T20" fmla="*/ 40 w 52"/>
              <a:gd name="T21" fmla="*/ 50 h 72"/>
              <a:gd name="T22" fmla="*/ 40 w 52"/>
              <a:gd name="T23" fmla="*/ 50 h 72"/>
              <a:gd name="T24" fmla="*/ 40 w 52"/>
              <a:gd name="T25" fmla="*/ 56 h 72"/>
              <a:gd name="T26" fmla="*/ 36 w 52"/>
              <a:gd name="T27" fmla="*/ 52 h 72"/>
              <a:gd name="T28" fmla="*/ 32 w 52"/>
              <a:gd name="T29" fmla="*/ 56 h 72"/>
              <a:gd name="T30" fmla="*/ 36 w 52"/>
              <a:gd name="T31" fmla="*/ 60 h 72"/>
              <a:gd name="T32" fmla="*/ 40 w 52"/>
              <a:gd name="T33" fmla="*/ 64 h 72"/>
              <a:gd name="T34" fmla="*/ 32 w 52"/>
              <a:gd name="T35" fmla="*/ 68 h 72"/>
              <a:gd name="T36" fmla="*/ 28 w 52"/>
              <a:gd name="T37" fmla="*/ 64 h 72"/>
              <a:gd name="T38" fmla="*/ 26 w 52"/>
              <a:gd name="T39" fmla="*/ 68 h 72"/>
              <a:gd name="T40" fmla="*/ 22 w 52"/>
              <a:gd name="T41" fmla="*/ 72 h 72"/>
              <a:gd name="T42" fmla="*/ 18 w 52"/>
              <a:gd name="T43" fmla="*/ 68 h 72"/>
              <a:gd name="T44" fmla="*/ 18 w 52"/>
              <a:gd name="T45" fmla="*/ 64 h 72"/>
              <a:gd name="T46" fmla="*/ 14 w 52"/>
              <a:gd name="T47" fmla="*/ 60 h 72"/>
              <a:gd name="T48" fmla="*/ 10 w 52"/>
              <a:gd name="T49" fmla="*/ 64 h 72"/>
              <a:gd name="T50" fmla="*/ 6 w 52"/>
              <a:gd name="T51" fmla="*/ 60 h 72"/>
              <a:gd name="T52" fmla="*/ 6 w 52"/>
              <a:gd name="T53" fmla="*/ 60 h 72"/>
              <a:gd name="T54" fmla="*/ 10 w 52"/>
              <a:gd name="T55" fmla="*/ 64 h 72"/>
              <a:gd name="T56" fmla="*/ 4 w 52"/>
              <a:gd name="T57" fmla="*/ 64 h 72"/>
              <a:gd name="T58" fmla="*/ 0 w 52"/>
              <a:gd name="T59" fmla="*/ 60 h 72"/>
              <a:gd name="T60" fmla="*/ 0 w 52"/>
              <a:gd name="T61" fmla="*/ 52 h 72"/>
              <a:gd name="T62" fmla="*/ 0 w 52"/>
              <a:gd name="T63" fmla="*/ 46 h 72"/>
              <a:gd name="T64" fmla="*/ 0 w 52"/>
              <a:gd name="T65" fmla="*/ 38 h 72"/>
              <a:gd name="T66" fmla="*/ 4 w 52"/>
              <a:gd name="T67" fmla="*/ 30 h 72"/>
              <a:gd name="T68" fmla="*/ 4 w 52"/>
              <a:gd name="T69" fmla="*/ 22 h 72"/>
              <a:gd name="T70" fmla="*/ 6 w 52"/>
              <a:gd name="T71" fmla="*/ 20 h 72"/>
              <a:gd name="T72" fmla="*/ 14 w 52"/>
              <a:gd name="T73" fmla="*/ 20 h 72"/>
              <a:gd name="T74" fmla="*/ 14 w 52"/>
              <a:gd name="T75" fmla="*/ 20 h 72"/>
              <a:gd name="T76" fmla="*/ 14 w 52"/>
              <a:gd name="T77" fmla="*/ 20 h 72"/>
              <a:gd name="T78" fmla="*/ 18 w 52"/>
              <a:gd name="T79" fmla="*/ 22 h 72"/>
              <a:gd name="T80" fmla="*/ 18 w 52"/>
              <a:gd name="T81" fmla="*/ 16 h 72"/>
              <a:gd name="T82" fmla="*/ 22 w 52"/>
              <a:gd name="T83" fmla="*/ 12 h 72"/>
              <a:gd name="T84" fmla="*/ 26 w 52"/>
              <a:gd name="T85" fmla="*/ 16 h 72"/>
              <a:gd name="T86" fmla="*/ 22 w 52"/>
              <a:gd name="T87" fmla="*/ 12 h 72"/>
              <a:gd name="T88" fmla="*/ 22 w 52"/>
              <a:gd name="T89" fmla="*/ 4 h 72"/>
              <a:gd name="T90" fmla="*/ 28 w 52"/>
              <a:gd name="T91" fmla="*/ 4 h 72"/>
              <a:gd name="T92" fmla="*/ 32 w 52"/>
              <a:gd name="T93" fmla="*/ 4 h 72"/>
              <a:gd name="T94" fmla="*/ 32 w 52"/>
              <a:gd name="T95" fmla="*/ 0 h 72"/>
              <a:gd name="T96" fmla="*/ 36 w 52"/>
              <a:gd name="T97" fmla="*/ 4 h 72"/>
              <a:gd name="T98" fmla="*/ 40 w 52"/>
              <a:gd name="T99" fmla="*/ 8 h 72"/>
              <a:gd name="T100" fmla="*/ 44 w 52"/>
              <a:gd name="T101" fmla="*/ 4 h 72"/>
              <a:gd name="T102" fmla="*/ 48 w 52"/>
              <a:gd name="T103" fmla="*/ 0 h 72"/>
              <a:gd name="T104" fmla="*/ 48 w 52"/>
              <a:gd name="T105" fmla="*/ 8 h 72"/>
              <a:gd name="T106" fmla="*/ 40 w 52"/>
              <a:gd name="T107" fmla="*/ 12 h 72"/>
              <a:gd name="T108" fmla="*/ 36 w 52"/>
              <a:gd name="T109" fmla="*/ 16 h 72"/>
              <a:gd name="T110" fmla="*/ 36 w 52"/>
              <a:gd name="T111" fmla="*/ 16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2" h="72">
                <a:moveTo>
                  <a:pt x="36" y="16"/>
                </a:moveTo>
                <a:lnTo>
                  <a:pt x="40" y="20"/>
                </a:lnTo>
                <a:lnTo>
                  <a:pt x="40" y="22"/>
                </a:lnTo>
                <a:lnTo>
                  <a:pt x="36" y="22"/>
                </a:lnTo>
                <a:lnTo>
                  <a:pt x="36" y="26"/>
                </a:lnTo>
                <a:lnTo>
                  <a:pt x="40" y="26"/>
                </a:lnTo>
                <a:lnTo>
                  <a:pt x="40" y="22"/>
                </a:lnTo>
                <a:lnTo>
                  <a:pt x="44" y="22"/>
                </a:lnTo>
                <a:lnTo>
                  <a:pt x="44" y="26"/>
                </a:lnTo>
                <a:lnTo>
                  <a:pt x="40" y="26"/>
                </a:lnTo>
                <a:lnTo>
                  <a:pt x="44" y="30"/>
                </a:lnTo>
                <a:lnTo>
                  <a:pt x="44" y="34"/>
                </a:lnTo>
                <a:lnTo>
                  <a:pt x="48" y="34"/>
                </a:lnTo>
                <a:lnTo>
                  <a:pt x="52" y="34"/>
                </a:lnTo>
                <a:lnTo>
                  <a:pt x="48" y="34"/>
                </a:lnTo>
                <a:lnTo>
                  <a:pt x="48" y="38"/>
                </a:lnTo>
                <a:lnTo>
                  <a:pt x="52" y="38"/>
                </a:lnTo>
                <a:lnTo>
                  <a:pt x="48" y="42"/>
                </a:lnTo>
                <a:lnTo>
                  <a:pt x="44" y="42"/>
                </a:lnTo>
                <a:lnTo>
                  <a:pt x="44" y="46"/>
                </a:lnTo>
                <a:lnTo>
                  <a:pt x="40" y="46"/>
                </a:lnTo>
                <a:lnTo>
                  <a:pt x="40" y="50"/>
                </a:lnTo>
                <a:lnTo>
                  <a:pt x="40" y="52"/>
                </a:lnTo>
                <a:lnTo>
                  <a:pt x="40" y="50"/>
                </a:lnTo>
                <a:lnTo>
                  <a:pt x="40" y="52"/>
                </a:lnTo>
                <a:lnTo>
                  <a:pt x="40" y="56"/>
                </a:lnTo>
                <a:lnTo>
                  <a:pt x="40" y="52"/>
                </a:lnTo>
                <a:lnTo>
                  <a:pt x="36" y="52"/>
                </a:lnTo>
                <a:lnTo>
                  <a:pt x="36" y="56"/>
                </a:lnTo>
                <a:lnTo>
                  <a:pt x="32" y="56"/>
                </a:lnTo>
                <a:lnTo>
                  <a:pt x="32" y="60"/>
                </a:lnTo>
                <a:lnTo>
                  <a:pt x="36" y="60"/>
                </a:lnTo>
                <a:lnTo>
                  <a:pt x="40" y="60"/>
                </a:lnTo>
                <a:lnTo>
                  <a:pt x="40" y="64"/>
                </a:lnTo>
                <a:lnTo>
                  <a:pt x="36" y="64"/>
                </a:lnTo>
                <a:lnTo>
                  <a:pt x="32" y="68"/>
                </a:lnTo>
                <a:lnTo>
                  <a:pt x="32" y="64"/>
                </a:lnTo>
                <a:lnTo>
                  <a:pt x="28" y="64"/>
                </a:lnTo>
                <a:lnTo>
                  <a:pt x="28" y="68"/>
                </a:lnTo>
                <a:lnTo>
                  <a:pt x="26" y="68"/>
                </a:lnTo>
                <a:lnTo>
                  <a:pt x="22" y="68"/>
                </a:lnTo>
                <a:lnTo>
                  <a:pt x="22" y="72"/>
                </a:lnTo>
                <a:lnTo>
                  <a:pt x="22" y="68"/>
                </a:lnTo>
                <a:lnTo>
                  <a:pt x="18" y="68"/>
                </a:lnTo>
                <a:lnTo>
                  <a:pt x="22" y="64"/>
                </a:lnTo>
                <a:lnTo>
                  <a:pt x="18" y="64"/>
                </a:lnTo>
                <a:lnTo>
                  <a:pt x="14" y="64"/>
                </a:lnTo>
                <a:lnTo>
                  <a:pt x="14" y="60"/>
                </a:lnTo>
                <a:lnTo>
                  <a:pt x="14" y="64"/>
                </a:lnTo>
                <a:lnTo>
                  <a:pt x="10" y="64"/>
                </a:lnTo>
                <a:lnTo>
                  <a:pt x="10" y="60"/>
                </a:lnTo>
                <a:lnTo>
                  <a:pt x="6" y="60"/>
                </a:lnTo>
                <a:lnTo>
                  <a:pt x="10" y="60"/>
                </a:lnTo>
                <a:lnTo>
                  <a:pt x="6" y="60"/>
                </a:lnTo>
                <a:lnTo>
                  <a:pt x="10" y="60"/>
                </a:lnTo>
                <a:lnTo>
                  <a:pt x="10" y="64"/>
                </a:lnTo>
                <a:lnTo>
                  <a:pt x="6" y="64"/>
                </a:lnTo>
                <a:lnTo>
                  <a:pt x="4" y="64"/>
                </a:lnTo>
                <a:lnTo>
                  <a:pt x="0" y="64"/>
                </a:lnTo>
                <a:lnTo>
                  <a:pt x="0" y="60"/>
                </a:lnTo>
                <a:lnTo>
                  <a:pt x="4" y="56"/>
                </a:lnTo>
                <a:lnTo>
                  <a:pt x="0" y="52"/>
                </a:lnTo>
                <a:lnTo>
                  <a:pt x="0" y="50"/>
                </a:lnTo>
                <a:lnTo>
                  <a:pt x="0" y="46"/>
                </a:lnTo>
                <a:lnTo>
                  <a:pt x="0" y="42"/>
                </a:lnTo>
                <a:lnTo>
                  <a:pt x="0" y="38"/>
                </a:lnTo>
                <a:lnTo>
                  <a:pt x="0" y="34"/>
                </a:lnTo>
                <a:lnTo>
                  <a:pt x="4" y="30"/>
                </a:lnTo>
                <a:lnTo>
                  <a:pt x="4" y="26"/>
                </a:lnTo>
                <a:lnTo>
                  <a:pt x="4" y="22"/>
                </a:lnTo>
                <a:lnTo>
                  <a:pt x="6" y="22"/>
                </a:lnTo>
                <a:lnTo>
                  <a:pt x="6" y="20"/>
                </a:lnTo>
                <a:lnTo>
                  <a:pt x="10" y="20"/>
                </a:lnTo>
                <a:lnTo>
                  <a:pt x="14" y="20"/>
                </a:lnTo>
                <a:lnTo>
                  <a:pt x="14" y="16"/>
                </a:lnTo>
                <a:lnTo>
                  <a:pt x="14" y="20"/>
                </a:lnTo>
                <a:lnTo>
                  <a:pt x="18" y="20"/>
                </a:lnTo>
                <a:lnTo>
                  <a:pt x="14" y="20"/>
                </a:lnTo>
                <a:lnTo>
                  <a:pt x="14" y="22"/>
                </a:lnTo>
                <a:lnTo>
                  <a:pt x="18" y="22"/>
                </a:lnTo>
                <a:lnTo>
                  <a:pt x="18" y="20"/>
                </a:lnTo>
                <a:lnTo>
                  <a:pt x="18" y="16"/>
                </a:lnTo>
                <a:lnTo>
                  <a:pt x="18" y="12"/>
                </a:lnTo>
                <a:lnTo>
                  <a:pt x="22" y="12"/>
                </a:lnTo>
                <a:lnTo>
                  <a:pt x="22" y="16"/>
                </a:lnTo>
                <a:lnTo>
                  <a:pt x="26" y="16"/>
                </a:lnTo>
                <a:lnTo>
                  <a:pt x="26" y="12"/>
                </a:lnTo>
                <a:lnTo>
                  <a:pt x="22" y="12"/>
                </a:lnTo>
                <a:lnTo>
                  <a:pt x="22" y="8"/>
                </a:lnTo>
                <a:lnTo>
                  <a:pt x="22" y="4"/>
                </a:lnTo>
                <a:lnTo>
                  <a:pt x="26" y="4"/>
                </a:lnTo>
                <a:lnTo>
                  <a:pt x="28" y="4"/>
                </a:lnTo>
                <a:lnTo>
                  <a:pt x="32" y="8"/>
                </a:lnTo>
                <a:lnTo>
                  <a:pt x="32" y="4"/>
                </a:lnTo>
                <a:lnTo>
                  <a:pt x="28" y="4"/>
                </a:lnTo>
                <a:lnTo>
                  <a:pt x="32" y="0"/>
                </a:lnTo>
                <a:lnTo>
                  <a:pt x="36" y="0"/>
                </a:lnTo>
                <a:lnTo>
                  <a:pt x="36" y="4"/>
                </a:lnTo>
                <a:lnTo>
                  <a:pt x="36" y="8"/>
                </a:lnTo>
                <a:lnTo>
                  <a:pt x="40" y="8"/>
                </a:lnTo>
                <a:lnTo>
                  <a:pt x="40" y="4"/>
                </a:lnTo>
                <a:lnTo>
                  <a:pt x="44" y="4"/>
                </a:lnTo>
                <a:lnTo>
                  <a:pt x="44" y="0"/>
                </a:lnTo>
                <a:lnTo>
                  <a:pt x="48" y="0"/>
                </a:lnTo>
                <a:lnTo>
                  <a:pt x="48" y="4"/>
                </a:lnTo>
                <a:lnTo>
                  <a:pt x="48" y="8"/>
                </a:lnTo>
                <a:lnTo>
                  <a:pt x="44" y="12"/>
                </a:lnTo>
                <a:lnTo>
                  <a:pt x="40" y="12"/>
                </a:lnTo>
                <a:lnTo>
                  <a:pt x="40" y="16"/>
                </a:lnTo>
                <a:lnTo>
                  <a:pt x="36" y="16"/>
                </a:lnTo>
                <a:lnTo>
                  <a:pt x="36" y="16"/>
                </a:lnTo>
                <a:lnTo>
                  <a:pt x="36" y="16"/>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14" name="Freeform 222"/>
          <p:cNvSpPr>
            <a:spLocks noEditPoints="1"/>
          </p:cNvSpPr>
          <p:nvPr/>
        </p:nvSpPr>
        <p:spPr bwMode="auto">
          <a:xfrm>
            <a:off x="2705100" y="2636043"/>
            <a:ext cx="133350" cy="61913"/>
          </a:xfrm>
          <a:custGeom>
            <a:avLst/>
            <a:gdLst>
              <a:gd name="T0" fmla="*/ 100 w 112"/>
              <a:gd name="T1" fmla="*/ 52 h 52"/>
              <a:gd name="T2" fmla="*/ 96 w 112"/>
              <a:gd name="T3" fmla="*/ 48 h 52"/>
              <a:gd name="T4" fmla="*/ 86 w 112"/>
              <a:gd name="T5" fmla="*/ 48 h 52"/>
              <a:gd name="T6" fmla="*/ 74 w 112"/>
              <a:gd name="T7" fmla="*/ 52 h 52"/>
              <a:gd name="T8" fmla="*/ 66 w 112"/>
              <a:gd name="T9" fmla="*/ 48 h 52"/>
              <a:gd name="T10" fmla="*/ 58 w 112"/>
              <a:gd name="T11" fmla="*/ 44 h 52"/>
              <a:gd name="T12" fmla="*/ 56 w 112"/>
              <a:gd name="T13" fmla="*/ 40 h 52"/>
              <a:gd name="T14" fmla="*/ 52 w 112"/>
              <a:gd name="T15" fmla="*/ 48 h 52"/>
              <a:gd name="T16" fmla="*/ 52 w 112"/>
              <a:gd name="T17" fmla="*/ 38 h 52"/>
              <a:gd name="T18" fmla="*/ 44 w 112"/>
              <a:gd name="T19" fmla="*/ 40 h 52"/>
              <a:gd name="T20" fmla="*/ 34 w 112"/>
              <a:gd name="T21" fmla="*/ 44 h 52"/>
              <a:gd name="T22" fmla="*/ 26 w 112"/>
              <a:gd name="T23" fmla="*/ 52 h 52"/>
              <a:gd name="T24" fmla="*/ 18 w 112"/>
              <a:gd name="T25" fmla="*/ 44 h 52"/>
              <a:gd name="T26" fmla="*/ 18 w 112"/>
              <a:gd name="T27" fmla="*/ 40 h 52"/>
              <a:gd name="T28" fmla="*/ 12 w 112"/>
              <a:gd name="T29" fmla="*/ 44 h 52"/>
              <a:gd name="T30" fmla="*/ 4 w 112"/>
              <a:gd name="T31" fmla="*/ 48 h 52"/>
              <a:gd name="T32" fmla="*/ 4 w 112"/>
              <a:gd name="T33" fmla="*/ 44 h 52"/>
              <a:gd name="T34" fmla="*/ 12 w 112"/>
              <a:gd name="T35" fmla="*/ 38 h 52"/>
              <a:gd name="T36" fmla="*/ 18 w 112"/>
              <a:gd name="T37" fmla="*/ 30 h 52"/>
              <a:gd name="T38" fmla="*/ 30 w 112"/>
              <a:gd name="T39" fmla="*/ 26 h 52"/>
              <a:gd name="T40" fmla="*/ 42 w 112"/>
              <a:gd name="T41" fmla="*/ 18 h 52"/>
              <a:gd name="T42" fmla="*/ 44 w 112"/>
              <a:gd name="T43" fmla="*/ 10 h 52"/>
              <a:gd name="T44" fmla="*/ 44 w 112"/>
              <a:gd name="T45" fmla="*/ 14 h 52"/>
              <a:gd name="T46" fmla="*/ 52 w 112"/>
              <a:gd name="T47" fmla="*/ 10 h 52"/>
              <a:gd name="T48" fmla="*/ 56 w 112"/>
              <a:gd name="T49" fmla="*/ 4 h 52"/>
              <a:gd name="T50" fmla="*/ 52 w 112"/>
              <a:gd name="T51" fmla="*/ 10 h 52"/>
              <a:gd name="T52" fmla="*/ 56 w 112"/>
              <a:gd name="T53" fmla="*/ 6 h 52"/>
              <a:gd name="T54" fmla="*/ 56 w 112"/>
              <a:gd name="T55" fmla="*/ 4 h 52"/>
              <a:gd name="T56" fmla="*/ 58 w 112"/>
              <a:gd name="T57" fmla="*/ 4 h 52"/>
              <a:gd name="T58" fmla="*/ 70 w 112"/>
              <a:gd name="T59" fmla="*/ 6 h 52"/>
              <a:gd name="T60" fmla="*/ 78 w 112"/>
              <a:gd name="T61" fmla="*/ 6 h 52"/>
              <a:gd name="T62" fmla="*/ 86 w 112"/>
              <a:gd name="T63" fmla="*/ 10 h 52"/>
              <a:gd name="T64" fmla="*/ 88 w 112"/>
              <a:gd name="T65" fmla="*/ 18 h 52"/>
              <a:gd name="T66" fmla="*/ 96 w 112"/>
              <a:gd name="T67" fmla="*/ 22 h 52"/>
              <a:gd name="T68" fmla="*/ 104 w 112"/>
              <a:gd name="T69" fmla="*/ 26 h 52"/>
              <a:gd name="T70" fmla="*/ 104 w 112"/>
              <a:gd name="T71" fmla="*/ 34 h 52"/>
              <a:gd name="T72" fmla="*/ 104 w 112"/>
              <a:gd name="T73" fmla="*/ 38 h 52"/>
              <a:gd name="T74" fmla="*/ 112 w 112"/>
              <a:gd name="T75" fmla="*/ 44 h 52"/>
              <a:gd name="T76" fmla="*/ 112 w 112"/>
              <a:gd name="T77" fmla="*/ 48 h 52"/>
              <a:gd name="T78" fmla="*/ 108 w 112"/>
              <a:gd name="T79" fmla="*/ 52 h 52"/>
              <a:gd name="T80" fmla="*/ 48 w 112"/>
              <a:gd name="T81" fmla="*/ 18 h 52"/>
              <a:gd name="T82" fmla="*/ 42 w 112"/>
              <a:gd name="T83" fmla="*/ 26 h 52"/>
              <a:gd name="T84" fmla="*/ 48 w 112"/>
              <a:gd name="T85" fmla="*/ 22 h 52"/>
              <a:gd name="T86" fmla="*/ 52 w 112"/>
              <a:gd name="T87" fmla="*/ 18 h 52"/>
              <a:gd name="T88" fmla="*/ 52 w 112"/>
              <a:gd name="T89" fmla="*/ 40 h 52"/>
              <a:gd name="T90" fmla="*/ 52 w 112"/>
              <a:gd name="T91" fmla="*/ 40 h 52"/>
              <a:gd name="T92" fmla="*/ 58 w 112"/>
              <a:gd name="T93" fmla="*/ 38 h 52"/>
              <a:gd name="T94" fmla="*/ 58 w 112"/>
              <a:gd name="T95" fmla="*/ 34 h 52"/>
              <a:gd name="T96" fmla="*/ 52 w 112"/>
              <a:gd name="T97" fmla="*/ 3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2" h="52">
                <a:moveTo>
                  <a:pt x="108" y="52"/>
                </a:moveTo>
                <a:lnTo>
                  <a:pt x="104" y="52"/>
                </a:lnTo>
                <a:lnTo>
                  <a:pt x="100" y="52"/>
                </a:lnTo>
                <a:lnTo>
                  <a:pt x="100" y="48"/>
                </a:lnTo>
                <a:lnTo>
                  <a:pt x="100" y="44"/>
                </a:lnTo>
                <a:lnTo>
                  <a:pt x="96" y="48"/>
                </a:lnTo>
                <a:lnTo>
                  <a:pt x="92" y="48"/>
                </a:lnTo>
                <a:lnTo>
                  <a:pt x="88" y="48"/>
                </a:lnTo>
                <a:lnTo>
                  <a:pt x="86" y="48"/>
                </a:lnTo>
                <a:lnTo>
                  <a:pt x="82" y="52"/>
                </a:lnTo>
                <a:lnTo>
                  <a:pt x="78" y="52"/>
                </a:lnTo>
                <a:lnTo>
                  <a:pt x="74" y="52"/>
                </a:lnTo>
                <a:lnTo>
                  <a:pt x="70" y="52"/>
                </a:lnTo>
                <a:lnTo>
                  <a:pt x="66" y="52"/>
                </a:lnTo>
                <a:lnTo>
                  <a:pt x="66" y="48"/>
                </a:lnTo>
                <a:lnTo>
                  <a:pt x="66" y="44"/>
                </a:lnTo>
                <a:lnTo>
                  <a:pt x="62" y="44"/>
                </a:lnTo>
                <a:lnTo>
                  <a:pt x="58" y="44"/>
                </a:lnTo>
                <a:lnTo>
                  <a:pt x="56" y="44"/>
                </a:lnTo>
                <a:lnTo>
                  <a:pt x="58" y="40"/>
                </a:lnTo>
                <a:lnTo>
                  <a:pt x="56" y="40"/>
                </a:lnTo>
                <a:lnTo>
                  <a:pt x="56" y="44"/>
                </a:lnTo>
                <a:lnTo>
                  <a:pt x="52" y="44"/>
                </a:lnTo>
                <a:lnTo>
                  <a:pt x="52" y="48"/>
                </a:lnTo>
                <a:lnTo>
                  <a:pt x="52" y="44"/>
                </a:lnTo>
                <a:lnTo>
                  <a:pt x="52" y="40"/>
                </a:lnTo>
                <a:lnTo>
                  <a:pt x="52" y="38"/>
                </a:lnTo>
                <a:lnTo>
                  <a:pt x="48" y="38"/>
                </a:lnTo>
                <a:lnTo>
                  <a:pt x="48" y="40"/>
                </a:lnTo>
                <a:lnTo>
                  <a:pt x="44" y="40"/>
                </a:lnTo>
                <a:lnTo>
                  <a:pt x="42" y="44"/>
                </a:lnTo>
                <a:lnTo>
                  <a:pt x="38" y="44"/>
                </a:lnTo>
                <a:lnTo>
                  <a:pt x="34" y="44"/>
                </a:lnTo>
                <a:lnTo>
                  <a:pt x="34" y="48"/>
                </a:lnTo>
                <a:lnTo>
                  <a:pt x="30" y="48"/>
                </a:lnTo>
                <a:lnTo>
                  <a:pt x="26" y="52"/>
                </a:lnTo>
                <a:lnTo>
                  <a:pt x="22" y="48"/>
                </a:lnTo>
                <a:lnTo>
                  <a:pt x="18" y="48"/>
                </a:lnTo>
                <a:lnTo>
                  <a:pt x="18" y="44"/>
                </a:lnTo>
                <a:lnTo>
                  <a:pt x="22" y="44"/>
                </a:lnTo>
                <a:lnTo>
                  <a:pt x="18" y="44"/>
                </a:lnTo>
                <a:lnTo>
                  <a:pt x="18" y="40"/>
                </a:lnTo>
                <a:lnTo>
                  <a:pt x="18" y="44"/>
                </a:lnTo>
                <a:lnTo>
                  <a:pt x="14" y="44"/>
                </a:lnTo>
                <a:lnTo>
                  <a:pt x="12" y="44"/>
                </a:lnTo>
                <a:lnTo>
                  <a:pt x="12" y="48"/>
                </a:lnTo>
                <a:lnTo>
                  <a:pt x="8" y="48"/>
                </a:lnTo>
                <a:lnTo>
                  <a:pt x="4" y="48"/>
                </a:lnTo>
                <a:lnTo>
                  <a:pt x="0" y="48"/>
                </a:lnTo>
                <a:lnTo>
                  <a:pt x="0" y="44"/>
                </a:lnTo>
                <a:lnTo>
                  <a:pt x="4" y="44"/>
                </a:lnTo>
                <a:lnTo>
                  <a:pt x="8" y="44"/>
                </a:lnTo>
                <a:lnTo>
                  <a:pt x="8" y="40"/>
                </a:lnTo>
                <a:lnTo>
                  <a:pt x="12" y="38"/>
                </a:lnTo>
                <a:lnTo>
                  <a:pt x="14" y="38"/>
                </a:lnTo>
                <a:lnTo>
                  <a:pt x="14" y="34"/>
                </a:lnTo>
                <a:lnTo>
                  <a:pt x="18" y="30"/>
                </a:lnTo>
                <a:lnTo>
                  <a:pt x="22" y="30"/>
                </a:lnTo>
                <a:lnTo>
                  <a:pt x="26" y="26"/>
                </a:lnTo>
                <a:lnTo>
                  <a:pt x="30" y="26"/>
                </a:lnTo>
                <a:lnTo>
                  <a:pt x="34" y="22"/>
                </a:lnTo>
                <a:lnTo>
                  <a:pt x="38" y="22"/>
                </a:lnTo>
                <a:lnTo>
                  <a:pt x="42" y="18"/>
                </a:lnTo>
                <a:lnTo>
                  <a:pt x="42" y="14"/>
                </a:lnTo>
                <a:lnTo>
                  <a:pt x="42" y="10"/>
                </a:lnTo>
                <a:lnTo>
                  <a:pt x="44" y="10"/>
                </a:lnTo>
                <a:lnTo>
                  <a:pt x="48" y="10"/>
                </a:lnTo>
                <a:lnTo>
                  <a:pt x="48" y="14"/>
                </a:lnTo>
                <a:lnTo>
                  <a:pt x="44" y="14"/>
                </a:lnTo>
                <a:lnTo>
                  <a:pt x="48" y="14"/>
                </a:lnTo>
                <a:lnTo>
                  <a:pt x="48" y="10"/>
                </a:lnTo>
                <a:lnTo>
                  <a:pt x="52" y="10"/>
                </a:lnTo>
                <a:lnTo>
                  <a:pt x="52" y="6"/>
                </a:lnTo>
                <a:lnTo>
                  <a:pt x="52" y="4"/>
                </a:lnTo>
                <a:lnTo>
                  <a:pt x="56" y="4"/>
                </a:lnTo>
                <a:lnTo>
                  <a:pt x="56" y="6"/>
                </a:lnTo>
                <a:lnTo>
                  <a:pt x="52" y="6"/>
                </a:lnTo>
                <a:lnTo>
                  <a:pt x="52" y="10"/>
                </a:lnTo>
                <a:lnTo>
                  <a:pt x="56" y="6"/>
                </a:lnTo>
                <a:lnTo>
                  <a:pt x="56" y="10"/>
                </a:lnTo>
                <a:lnTo>
                  <a:pt x="56" y="6"/>
                </a:lnTo>
                <a:lnTo>
                  <a:pt x="58" y="6"/>
                </a:lnTo>
                <a:lnTo>
                  <a:pt x="58" y="4"/>
                </a:lnTo>
                <a:lnTo>
                  <a:pt x="56" y="4"/>
                </a:lnTo>
                <a:lnTo>
                  <a:pt x="56" y="0"/>
                </a:lnTo>
                <a:lnTo>
                  <a:pt x="58" y="0"/>
                </a:lnTo>
                <a:lnTo>
                  <a:pt x="58" y="4"/>
                </a:lnTo>
                <a:lnTo>
                  <a:pt x="62" y="4"/>
                </a:lnTo>
                <a:lnTo>
                  <a:pt x="66" y="4"/>
                </a:lnTo>
                <a:lnTo>
                  <a:pt x="70" y="6"/>
                </a:lnTo>
                <a:lnTo>
                  <a:pt x="74" y="4"/>
                </a:lnTo>
                <a:lnTo>
                  <a:pt x="74" y="6"/>
                </a:lnTo>
                <a:lnTo>
                  <a:pt x="78" y="6"/>
                </a:lnTo>
                <a:lnTo>
                  <a:pt x="78" y="4"/>
                </a:lnTo>
                <a:lnTo>
                  <a:pt x="82" y="6"/>
                </a:lnTo>
                <a:lnTo>
                  <a:pt x="86" y="10"/>
                </a:lnTo>
                <a:lnTo>
                  <a:pt x="86" y="14"/>
                </a:lnTo>
                <a:lnTo>
                  <a:pt x="86" y="18"/>
                </a:lnTo>
                <a:lnTo>
                  <a:pt x="88" y="18"/>
                </a:lnTo>
                <a:lnTo>
                  <a:pt x="88" y="22"/>
                </a:lnTo>
                <a:lnTo>
                  <a:pt x="92" y="22"/>
                </a:lnTo>
                <a:lnTo>
                  <a:pt x="96" y="22"/>
                </a:lnTo>
                <a:lnTo>
                  <a:pt x="100" y="22"/>
                </a:lnTo>
                <a:lnTo>
                  <a:pt x="104" y="22"/>
                </a:lnTo>
                <a:lnTo>
                  <a:pt x="104" y="26"/>
                </a:lnTo>
                <a:lnTo>
                  <a:pt x="100" y="30"/>
                </a:lnTo>
                <a:lnTo>
                  <a:pt x="104" y="30"/>
                </a:lnTo>
                <a:lnTo>
                  <a:pt x="104" y="34"/>
                </a:lnTo>
                <a:lnTo>
                  <a:pt x="108" y="34"/>
                </a:lnTo>
                <a:lnTo>
                  <a:pt x="108" y="38"/>
                </a:lnTo>
                <a:lnTo>
                  <a:pt x="104" y="38"/>
                </a:lnTo>
                <a:lnTo>
                  <a:pt x="104" y="40"/>
                </a:lnTo>
                <a:lnTo>
                  <a:pt x="108" y="44"/>
                </a:lnTo>
                <a:lnTo>
                  <a:pt x="112" y="44"/>
                </a:lnTo>
                <a:lnTo>
                  <a:pt x="108" y="44"/>
                </a:lnTo>
                <a:lnTo>
                  <a:pt x="108" y="48"/>
                </a:lnTo>
                <a:lnTo>
                  <a:pt x="112" y="48"/>
                </a:lnTo>
                <a:lnTo>
                  <a:pt x="108" y="48"/>
                </a:lnTo>
                <a:lnTo>
                  <a:pt x="108" y="52"/>
                </a:lnTo>
                <a:lnTo>
                  <a:pt x="108" y="52"/>
                </a:lnTo>
                <a:lnTo>
                  <a:pt x="108" y="52"/>
                </a:lnTo>
                <a:close/>
                <a:moveTo>
                  <a:pt x="52" y="18"/>
                </a:moveTo>
                <a:lnTo>
                  <a:pt x="48" y="18"/>
                </a:lnTo>
                <a:lnTo>
                  <a:pt x="44" y="22"/>
                </a:lnTo>
                <a:lnTo>
                  <a:pt x="42" y="22"/>
                </a:lnTo>
                <a:lnTo>
                  <a:pt x="42" y="26"/>
                </a:lnTo>
                <a:lnTo>
                  <a:pt x="44" y="26"/>
                </a:lnTo>
                <a:lnTo>
                  <a:pt x="44" y="22"/>
                </a:lnTo>
                <a:lnTo>
                  <a:pt x="48" y="22"/>
                </a:lnTo>
                <a:lnTo>
                  <a:pt x="52" y="22"/>
                </a:lnTo>
                <a:lnTo>
                  <a:pt x="52" y="18"/>
                </a:lnTo>
                <a:lnTo>
                  <a:pt x="52" y="18"/>
                </a:lnTo>
                <a:lnTo>
                  <a:pt x="52" y="18"/>
                </a:lnTo>
                <a:close/>
                <a:moveTo>
                  <a:pt x="52" y="38"/>
                </a:moveTo>
                <a:lnTo>
                  <a:pt x="52" y="40"/>
                </a:lnTo>
                <a:lnTo>
                  <a:pt x="52" y="38"/>
                </a:lnTo>
                <a:lnTo>
                  <a:pt x="56" y="38"/>
                </a:lnTo>
                <a:lnTo>
                  <a:pt x="52" y="40"/>
                </a:lnTo>
                <a:lnTo>
                  <a:pt x="56" y="40"/>
                </a:lnTo>
                <a:lnTo>
                  <a:pt x="56" y="38"/>
                </a:lnTo>
                <a:lnTo>
                  <a:pt x="58" y="38"/>
                </a:lnTo>
                <a:lnTo>
                  <a:pt x="58" y="34"/>
                </a:lnTo>
                <a:lnTo>
                  <a:pt x="62" y="34"/>
                </a:lnTo>
                <a:lnTo>
                  <a:pt x="58" y="34"/>
                </a:lnTo>
                <a:lnTo>
                  <a:pt x="56" y="34"/>
                </a:lnTo>
                <a:lnTo>
                  <a:pt x="52" y="34"/>
                </a:lnTo>
                <a:lnTo>
                  <a:pt x="52" y="38"/>
                </a:lnTo>
                <a:lnTo>
                  <a:pt x="52" y="38"/>
                </a:lnTo>
                <a:lnTo>
                  <a:pt x="52" y="38"/>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15" name="Freeform 223"/>
          <p:cNvSpPr>
            <a:spLocks noEditPoints="1"/>
          </p:cNvSpPr>
          <p:nvPr/>
        </p:nvSpPr>
        <p:spPr bwMode="auto">
          <a:xfrm>
            <a:off x="2774156" y="2705100"/>
            <a:ext cx="54769" cy="107156"/>
          </a:xfrm>
          <a:custGeom>
            <a:avLst/>
            <a:gdLst>
              <a:gd name="T0" fmla="*/ 46 w 46"/>
              <a:gd name="T1" fmla="*/ 8 h 90"/>
              <a:gd name="T2" fmla="*/ 46 w 46"/>
              <a:gd name="T3" fmla="*/ 8 h 90"/>
              <a:gd name="T4" fmla="*/ 42 w 46"/>
              <a:gd name="T5" fmla="*/ 12 h 90"/>
              <a:gd name="T6" fmla="*/ 42 w 46"/>
              <a:gd name="T7" fmla="*/ 16 h 90"/>
              <a:gd name="T8" fmla="*/ 46 w 46"/>
              <a:gd name="T9" fmla="*/ 16 h 90"/>
              <a:gd name="T10" fmla="*/ 42 w 46"/>
              <a:gd name="T11" fmla="*/ 16 h 90"/>
              <a:gd name="T12" fmla="*/ 38 w 46"/>
              <a:gd name="T13" fmla="*/ 20 h 90"/>
              <a:gd name="T14" fmla="*/ 34 w 46"/>
              <a:gd name="T15" fmla="*/ 28 h 90"/>
              <a:gd name="T16" fmla="*/ 34 w 46"/>
              <a:gd name="T17" fmla="*/ 28 h 90"/>
              <a:gd name="T18" fmla="*/ 38 w 46"/>
              <a:gd name="T19" fmla="*/ 24 h 90"/>
              <a:gd name="T20" fmla="*/ 34 w 46"/>
              <a:gd name="T21" fmla="*/ 28 h 90"/>
              <a:gd name="T22" fmla="*/ 34 w 46"/>
              <a:gd name="T23" fmla="*/ 24 h 90"/>
              <a:gd name="T24" fmla="*/ 34 w 46"/>
              <a:gd name="T25" fmla="*/ 20 h 90"/>
              <a:gd name="T26" fmla="*/ 34 w 46"/>
              <a:gd name="T27" fmla="*/ 24 h 90"/>
              <a:gd name="T28" fmla="*/ 30 w 46"/>
              <a:gd name="T29" fmla="*/ 24 h 90"/>
              <a:gd name="T30" fmla="*/ 26 w 46"/>
              <a:gd name="T31" fmla="*/ 28 h 90"/>
              <a:gd name="T32" fmla="*/ 26 w 46"/>
              <a:gd name="T33" fmla="*/ 30 h 90"/>
              <a:gd name="T34" fmla="*/ 24 w 46"/>
              <a:gd name="T35" fmla="*/ 42 h 90"/>
              <a:gd name="T36" fmla="*/ 24 w 46"/>
              <a:gd name="T37" fmla="*/ 50 h 90"/>
              <a:gd name="T38" fmla="*/ 24 w 46"/>
              <a:gd name="T39" fmla="*/ 50 h 90"/>
              <a:gd name="T40" fmla="*/ 26 w 46"/>
              <a:gd name="T41" fmla="*/ 64 h 90"/>
              <a:gd name="T42" fmla="*/ 26 w 46"/>
              <a:gd name="T43" fmla="*/ 76 h 90"/>
              <a:gd name="T44" fmla="*/ 20 w 46"/>
              <a:gd name="T45" fmla="*/ 82 h 90"/>
              <a:gd name="T46" fmla="*/ 12 w 46"/>
              <a:gd name="T47" fmla="*/ 90 h 90"/>
              <a:gd name="T48" fmla="*/ 8 w 46"/>
              <a:gd name="T49" fmla="*/ 90 h 90"/>
              <a:gd name="T50" fmla="*/ 4 w 46"/>
              <a:gd name="T51" fmla="*/ 82 h 90"/>
              <a:gd name="T52" fmla="*/ 4 w 46"/>
              <a:gd name="T53" fmla="*/ 76 h 90"/>
              <a:gd name="T54" fmla="*/ 4 w 46"/>
              <a:gd name="T55" fmla="*/ 68 h 90"/>
              <a:gd name="T56" fmla="*/ 4 w 46"/>
              <a:gd name="T57" fmla="*/ 62 h 90"/>
              <a:gd name="T58" fmla="*/ 4 w 46"/>
              <a:gd name="T59" fmla="*/ 58 h 90"/>
              <a:gd name="T60" fmla="*/ 4 w 46"/>
              <a:gd name="T61" fmla="*/ 54 h 90"/>
              <a:gd name="T62" fmla="*/ 4 w 46"/>
              <a:gd name="T63" fmla="*/ 46 h 90"/>
              <a:gd name="T64" fmla="*/ 8 w 46"/>
              <a:gd name="T65" fmla="*/ 42 h 90"/>
              <a:gd name="T66" fmla="*/ 8 w 46"/>
              <a:gd name="T67" fmla="*/ 38 h 90"/>
              <a:gd name="T68" fmla="*/ 8 w 46"/>
              <a:gd name="T69" fmla="*/ 34 h 90"/>
              <a:gd name="T70" fmla="*/ 8 w 46"/>
              <a:gd name="T71" fmla="*/ 30 h 90"/>
              <a:gd name="T72" fmla="*/ 4 w 46"/>
              <a:gd name="T73" fmla="*/ 28 h 90"/>
              <a:gd name="T74" fmla="*/ 0 w 46"/>
              <a:gd name="T75" fmla="*/ 34 h 90"/>
              <a:gd name="T76" fmla="*/ 4 w 46"/>
              <a:gd name="T77" fmla="*/ 24 h 90"/>
              <a:gd name="T78" fmla="*/ 4 w 46"/>
              <a:gd name="T79" fmla="*/ 24 h 90"/>
              <a:gd name="T80" fmla="*/ 12 w 46"/>
              <a:gd name="T81" fmla="*/ 16 h 90"/>
              <a:gd name="T82" fmla="*/ 16 w 46"/>
              <a:gd name="T83" fmla="*/ 4 h 90"/>
              <a:gd name="T84" fmla="*/ 16 w 46"/>
              <a:gd name="T85" fmla="*/ 8 h 90"/>
              <a:gd name="T86" fmla="*/ 24 w 46"/>
              <a:gd name="T87" fmla="*/ 4 h 90"/>
              <a:gd name="T88" fmla="*/ 20 w 46"/>
              <a:gd name="T89" fmla="*/ 8 h 90"/>
              <a:gd name="T90" fmla="*/ 20 w 46"/>
              <a:gd name="T91" fmla="*/ 12 h 90"/>
              <a:gd name="T92" fmla="*/ 20 w 46"/>
              <a:gd name="T93" fmla="*/ 8 h 90"/>
              <a:gd name="T94" fmla="*/ 24 w 46"/>
              <a:gd name="T95" fmla="*/ 4 h 90"/>
              <a:gd name="T96" fmla="*/ 34 w 46"/>
              <a:gd name="T97" fmla="*/ 4 h 90"/>
              <a:gd name="T98" fmla="*/ 34 w 46"/>
              <a:gd name="T99" fmla="*/ 0 h 90"/>
              <a:gd name="T100" fmla="*/ 42 w 46"/>
              <a:gd name="T101" fmla="*/ 4 h 90"/>
              <a:gd name="T102" fmla="*/ 46 w 46"/>
              <a:gd name="T103" fmla="*/ 8 h 90"/>
              <a:gd name="T104" fmla="*/ 12 w 46"/>
              <a:gd name="T105" fmla="*/ 20 h 90"/>
              <a:gd name="T106" fmla="*/ 8 w 46"/>
              <a:gd name="T107" fmla="*/ 24 h 90"/>
              <a:gd name="T108" fmla="*/ 12 w 46"/>
              <a:gd name="T109" fmla="*/ 28 h 90"/>
              <a:gd name="T110" fmla="*/ 12 w 46"/>
              <a:gd name="T111" fmla="*/ 24 h 90"/>
              <a:gd name="T112" fmla="*/ 16 w 46"/>
              <a:gd name="T113" fmla="*/ 2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6" h="90">
                <a:moveTo>
                  <a:pt x="46" y="8"/>
                </a:moveTo>
                <a:lnTo>
                  <a:pt x="46" y="8"/>
                </a:lnTo>
                <a:lnTo>
                  <a:pt x="46" y="8"/>
                </a:lnTo>
                <a:lnTo>
                  <a:pt x="46" y="8"/>
                </a:lnTo>
                <a:lnTo>
                  <a:pt x="46" y="8"/>
                </a:lnTo>
                <a:lnTo>
                  <a:pt x="46" y="8"/>
                </a:lnTo>
                <a:lnTo>
                  <a:pt x="46" y="8"/>
                </a:lnTo>
                <a:lnTo>
                  <a:pt x="46" y="8"/>
                </a:lnTo>
                <a:lnTo>
                  <a:pt x="42" y="8"/>
                </a:lnTo>
                <a:lnTo>
                  <a:pt x="42" y="8"/>
                </a:lnTo>
                <a:lnTo>
                  <a:pt x="46" y="8"/>
                </a:lnTo>
                <a:lnTo>
                  <a:pt x="46" y="8"/>
                </a:lnTo>
                <a:lnTo>
                  <a:pt x="46" y="8"/>
                </a:lnTo>
                <a:lnTo>
                  <a:pt x="46" y="8"/>
                </a:lnTo>
                <a:lnTo>
                  <a:pt x="46" y="8"/>
                </a:lnTo>
                <a:lnTo>
                  <a:pt x="46" y="8"/>
                </a:lnTo>
                <a:lnTo>
                  <a:pt x="46" y="8"/>
                </a:lnTo>
                <a:lnTo>
                  <a:pt x="42" y="8"/>
                </a:lnTo>
                <a:lnTo>
                  <a:pt x="42" y="8"/>
                </a:lnTo>
                <a:lnTo>
                  <a:pt x="42" y="12"/>
                </a:lnTo>
                <a:lnTo>
                  <a:pt x="42" y="12"/>
                </a:lnTo>
                <a:lnTo>
                  <a:pt x="42" y="12"/>
                </a:lnTo>
                <a:lnTo>
                  <a:pt x="42" y="12"/>
                </a:lnTo>
                <a:lnTo>
                  <a:pt x="42" y="12"/>
                </a:lnTo>
                <a:lnTo>
                  <a:pt x="42" y="12"/>
                </a:lnTo>
                <a:lnTo>
                  <a:pt x="42" y="12"/>
                </a:lnTo>
                <a:lnTo>
                  <a:pt x="42" y="12"/>
                </a:lnTo>
                <a:lnTo>
                  <a:pt x="42" y="12"/>
                </a:lnTo>
                <a:lnTo>
                  <a:pt x="42" y="16"/>
                </a:lnTo>
                <a:lnTo>
                  <a:pt x="42" y="16"/>
                </a:lnTo>
                <a:lnTo>
                  <a:pt x="42" y="16"/>
                </a:lnTo>
                <a:lnTo>
                  <a:pt x="42" y="16"/>
                </a:lnTo>
                <a:lnTo>
                  <a:pt x="42" y="16"/>
                </a:lnTo>
                <a:lnTo>
                  <a:pt x="46" y="16"/>
                </a:lnTo>
                <a:lnTo>
                  <a:pt x="46" y="16"/>
                </a:lnTo>
                <a:lnTo>
                  <a:pt x="46" y="16"/>
                </a:lnTo>
                <a:lnTo>
                  <a:pt x="46" y="16"/>
                </a:lnTo>
                <a:lnTo>
                  <a:pt x="46" y="16"/>
                </a:lnTo>
                <a:lnTo>
                  <a:pt x="46" y="16"/>
                </a:lnTo>
                <a:lnTo>
                  <a:pt x="46" y="16"/>
                </a:lnTo>
                <a:lnTo>
                  <a:pt x="42" y="16"/>
                </a:lnTo>
                <a:lnTo>
                  <a:pt x="42" y="16"/>
                </a:lnTo>
                <a:lnTo>
                  <a:pt x="42" y="16"/>
                </a:lnTo>
                <a:lnTo>
                  <a:pt x="42" y="16"/>
                </a:lnTo>
                <a:lnTo>
                  <a:pt x="42" y="16"/>
                </a:lnTo>
                <a:lnTo>
                  <a:pt x="42" y="16"/>
                </a:lnTo>
                <a:lnTo>
                  <a:pt x="42" y="16"/>
                </a:lnTo>
                <a:lnTo>
                  <a:pt x="42" y="16"/>
                </a:lnTo>
                <a:lnTo>
                  <a:pt x="38" y="16"/>
                </a:lnTo>
                <a:lnTo>
                  <a:pt x="38" y="16"/>
                </a:lnTo>
                <a:lnTo>
                  <a:pt x="38" y="20"/>
                </a:lnTo>
                <a:lnTo>
                  <a:pt x="38" y="20"/>
                </a:lnTo>
                <a:lnTo>
                  <a:pt x="38" y="20"/>
                </a:lnTo>
                <a:lnTo>
                  <a:pt x="38" y="20"/>
                </a:lnTo>
                <a:lnTo>
                  <a:pt x="38" y="20"/>
                </a:lnTo>
                <a:lnTo>
                  <a:pt x="38" y="20"/>
                </a:lnTo>
                <a:lnTo>
                  <a:pt x="38" y="20"/>
                </a:lnTo>
                <a:lnTo>
                  <a:pt x="38" y="24"/>
                </a:lnTo>
                <a:lnTo>
                  <a:pt x="38" y="24"/>
                </a:lnTo>
                <a:lnTo>
                  <a:pt x="38" y="24"/>
                </a:lnTo>
                <a:lnTo>
                  <a:pt x="38" y="24"/>
                </a:lnTo>
                <a:lnTo>
                  <a:pt x="38" y="24"/>
                </a:lnTo>
                <a:lnTo>
                  <a:pt x="38" y="24"/>
                </a:lnTo>
                <a:lnTo>
                  <a:pt x="34" y="28"/>
                </a:lnTo>
                <a:lnTo>
                  <a:pt x="34" y="28"/>
                </a:lnTo>
                <a:lnTo>
                  <a:pt x="34" y="28"/>
                </a:lnTo>
                <a:lnTo>
                  <a:pt x="34" y="28"/>
                </a:lnTo>
                <a:lnTo>
                  <a:pt x="34" y="28"/>
                </a:lnTo>
                <a:lnTo>
                  <a:pt x="34" y="28"/>
                </a:lnTo>
                <a:lnTo>
                  <a:pt x="34" y="28"/>
                </a:lnTo>
                <a:lnTo>
                  <a:pt x="34" y="28"/>
                </a:lnTo>
                <a:lnTo>
                  <a:pt x="34" y="28"/>
                </a:lnTo>
                <a:lnTo>
                  <a:pt x="34" y="28"/>
                </a:lnTo>
                <a:lnTo>
                  <a:pt x="38" y="28"/>
                </a:lnTo>
                <a:lnTo>
                  <a:pt x="38" y="24"/>
                </a:lnTo>
                <a:lnTo>
                  <a:pt x="38" y="24"/>
                </a:lnTo>
                <a:lnTo>
                  <a:pt x="38" y="24"/>
                </a:lnTo>
                <a:lnTo>
                  <a:pt x="38" y="24"/>
                </a:lnTo>
                <a:lnTo>
                  <a:pt x="38" y="24"/>
                </a:lnTo>
                <a:lnTo>
                  <a:pt x="38" y="24"/>
                </a:lnTo>
                <a:lnTo>
                  <a:pt x="34" y="24"/>
                </a:lnTo>
                <a:lnTo>
                  <a:pt x="34" y="24"/>
                </a:lnTo>
                <a:lnTo>
                  <a:pt x="34" y="28"/>
                </a:lnTo>
                <a:lnTo>
                  <a:pt x="34" y="28"/>
                </a:lnTo>
                <a:lnTo>
                  <a:pt x="34" y="28"/>
                </a:lnTo>
                <a:lnTo>
                  <a:pt x="34" y="28"/>
                </a:lnTo>
                <a:lnTo>
                  <a:pt x="34" y="28"/>
                </a:lnTo>
                <a:lnTo>
                  <a:pt x="34" y="28"/>
                </a:lnTo>
                <a:lnTo>
                  <a:pt x="34" y="28"/>
                </a:lnTo>
                <a:lnTo>
                  <a:pt x="34" y="28"/>
                </a:lnTo>
                <a:lnTo>
                  <a:pt x="34" y="28"/>
                </a:lnTo>
                <a:lnTo>
                  <a:pt x="34" y="28"/>
                </a:lnTo>
                <a:lnTo>
                  <a:pt x="34" y="28"/>
                </a:lnTo>
                <a:lnTo>
                  <a:pt x="34" y="28"/>
                </a:lnTo>
                <a:lnTo>
                  <a:pt x="34" y="24"/>
                </a:lnTo>
                <a:lnTo>
                  <a:pt x="34" y="24"/>
                </a:lnTo>
                <a:lnTo>
                  <a:pt x="34" y="24"/>
                </a:lnTo>
                <a:lnTo>
                  <a:pt x="34" y="24"/>
                </a:lnTo>
                <a:lnTo>
                  <a:pt x="34" y="24"/>
                </a:lnTo>
                <a:lnTo>
                  <a:pt x="34" y="20"/>
                </a:lnTo>
                <a:lnTo>
                  <a:pt x="34" y="20"/>
                </a:lnTo>
                <a:lnTo>
                  <a:pt x="34" y="20"/>
                </a:lnTo>
                <a:lnTo>
                  <a:pt x="34" y="20"/>
                </a:lnTo>
                <a:lnTo>
                  <a:pt x="34" y="20"/>
                </a:lnTo>
                <a:lnTo>
                  <a:pt x="34" y="20"/>
                </a:lnTo>
                <a:lnTo>
                  <a:pt x="34" y="20"/>
                </a:lnTo>
                <a:lnTo>
                  <a:pt x="34" y="20"/>
                </a:lnTo>
                <a:lnTo>
                  <a:pt x="34" y="20"/>
                </a:lnTo>
                <a:lnTo>
                  <a:pt x="34" y="20"/>
                </a:lnTo>
                <a:lnTo>
                  <a:pt x="34" y="24"/>
                </a:lnTo>
                <a:lnTo>
                  <a:pt x="34" y="24"/>
                </a:lnTo>
                <a:lnTo>
                  <a:pt x="34" y="24"/>
                </a:lnTo>
                <a:lnTo>
                  <a:pt x="30" y="24"/>
                </a:lnTo>
                <a:lnTo>
                  <a:pt x="30" y="24"/>
                </a:lnTo>
                <a:lnTo>
                  <a:pt x="30" y="24"/>
                </a:lnTo>
                <a:lnTo>
                  <a:pt x="30" y="24"/>
                </a:lnTo>
                <a:lnTo>
                  <a:pt x="30" y="24"/>
                </a:lnTo>
                <a:lnTo>
                  <a:pt x="30" y="24"/>
                </a:lnTo>
                <a:lnTo>
                  <a:pt x="30" y="24"/>
                </a:lnTo>
                <a:lnTo>
                  <a:pt x="30" y="24"/>
                </a:lnTo>
                <a:lnTo>
                  <a:pt x="30" y="24"/>
                </a:lnTo>
                <a:lnTo>
                  <a:pt x="26" y="24"/>
                </a:lnTo>
                <a:lnTo>
                  <a:pt x="26" y="28"/>
                </a:lnTo>
                <a:lnTo>
                  <a:pt x="26" y="28"/>
                </a:lnTo>
                <a:lnTo>
                  <a:pt x="26" y="28"/>
                </a:lnTo>
                <a:lnTo>
                  <a:pt x="26" y="28"/>
                </a:lnTo>
                <a:lnTo>
                  <a:pt x="26" y="28"/>
                </a:lnTo>
                <a:lnTo>
                  <a:pt x="26" y="28"/>
                </a:lnTo>
                <a:lnTo>
                  <a:pt x="26" y="28"/>
                </a:lnTo>
                <a:lnTo>
                  <a:pt x="26" y="28"/>
                </a:lnTo>
                <a:lnTo>
                  <a:pt x="26" y="28"/>
                </a:lnTo>
                <a:lnTo>
                  <a:pt x="26" y="30"/>
                </a:lnTo>
                <a:lnTo>
                  <a:pt x="26" y="30"/>
                </a:lnTo>
                <a:lnTo>
                  <a:pt x="26" y="30"/>
                </a:lnTo>
                <a:lnTo>
                  <a:pt x="26" y="30"/>
                </a:lnTo>
                <a:lnTo>
                  <a:pt x="26" y="30"/>
                </a:lnTo>
                <a:lnTo>
                  <a:pt x="26" y="30"/>
                </a:lnTo>
                <a:lnTo>
                  <a:pt x="26" y="34"/>
                </a:lnTo>
                <a:lnTo>
                  <a:pt x="26" y="34"/>
                </a:lnTo>
                <a:lnTo>
                  <a:pt x="26" y="34"/>
                </a:lnTo>
                <a:lnTo>
                  <a:pt x="26" y="38"/>
                </a:lnTo>
                <a:lnTo>
                  <a:pt x="24" y="38"/>
                </a:lnTo>
                <a:lnTo>
                  <a:pt x="24" y="42"/>
                </a:lnTo>
                <a:lnTo>
                  <a:pt x="24" y="42"/>
                </a:lnTo>
                <a:lnTo>
                  <a:pt x="24" y="42"/>
                </a:lnTo>
                <a:lnTo>
                  <a:pt x="24" y="42"/>
                </a:lnTo>
                <a:lnTo>
                  <a:pt x="24" y="42"/>
                </a:lnTo>
                <a:lnTo>
                  <a:pt x="24" y="42"/>
                </a:lnTo>
                <a:lnTo>
                  <a:pt x="24" y="42"/>
                </a:lnTo>
                <a:lnTo>
                  <a:pt x="24" y="46"/>
                </a:lnTo>
                <a:lnTo>
                  <a:pt x="24" y="46"/>
                </a:lnTo>
                <a:lnTo>
                  <a:pt x="24" y="50"/>
                </a:lnTo>
                <a:lnTo>
                  <a:pt x="24" y="50"/>
                </a:lnTo>
                <a:lnTo>
                  <a:pt x="24" y="50"/>
                </a:lnTo>
                <a:lnTo>
                  <a:pt x="24" y="50"/>
                </a:lnTo>
                <a:lnTo>
                  <a:pt x="24" y="50"/>
                </a:lnTo>
                <a:lnTo>
                  <a:pt x="24" y="50"/>
                </a:lnTo>
                <a:lnTo>
                  <a:pt x="24" y="50"/>
                </a:lnTo>
                <a:lnTo>
                  <a:pt x="24" y="50"/>
                </a:lnTo>
                <a:lnTo>
                  <a:pt x="24" y="50"/>
                </a:lnTo>
                <a:lnTo>
                  <a:pt x="24" y="50"/>
                </a:lnTo>
                <a:lnTo>
                  <a:pt x="24" y="54"/>
                </a:lnTo>
                <a:lnTo>
                  <a:pt x="24" y="58"/>
                </a:lnTo>
                <a:lnTo>
                  <a:pt x="24" y="58"/>
                </a:lnTo>
                <a:lnTo>
                  <a:pt x="24" y="58"/>
                </a:lnTo>
                <a:lnTo>
                  <a:pt x="24" y="62"/>
                </a:lnTo>
                <a:lnTo>
                  <a:pt x="26" y="64"/>
                </a:lnTo>
                <a:lnTo>
                  <a:pt x="26" y="64"/>
                </a:lnTo>
                <a:lnTo>
                  <a:pt x="26" y="68"/>
                </a:lnTo>
                <a:lnTo>
                  <a:pt x="26" y="68"/>
                </a:lnTo>
                <a:lnTo>
                  <a:pt x="26" y="68"/>
                </a:lnTo>
                <a:lnTo>
                  <a:pt x="26" y="72"/>
                </a:lnTo>
                <a:lnTo>
                  <a:pt x="26" y="72"/>
                </a:lnTo>
                <a:lnTo>
                  <a:pt x="26" y="72"/>
                </a:lnTo>
                <a:lnTo>
                  <a:pt x="26" y="76"/>
                </a:lnTo>
                <a:lnTo>
                  <a:pt x="26" y="76"/>
                </a:lnTo>
                <a:lnTo>
                  <a:pt x="24" y="76"/>
                </a:lnTo>
                <a:lnTo>
                  <a:pt x="24" y="76"/>
                </a:lnTo>
                <a:lnTo>
                  <a:pt x="24" y="78"/>
                </a:lnTo>
                <a:lnTo>
                  <a:pt x="24" y="78"/>
                </a:lnTo>
                <a:lnTo>
                  <a:pt x="24" y="82"/>
                </a:lnTo>
                <a:lnTo>
                  <a:pt x="24" y="82"/>
                </a:lnTo>
                <a:lnTo>
                  <a:pt x="20" y="82"/>
                </a:lnTo>
                <a:lnTo>
                  <a:pt x="20" y="82"/>
                </a:lnTo>
                <a:lnTo>
                  <a:pt x="20" y="82"/>
                </a:lnTo>
                <a:lnTo>
                  <a:pt x="20" y="86"/>
                </a:lnTo>
                <a:lnTo>
                  <a:pt x="20" y="86"/>
                </a:lnTo>
                <a:lnTo>
                  <a:pt x="20" y="86"/>
                </a:lnTo>
                <a:lnTo>
                  <a:pt x="20" y="86"/>
                </a:lnTo>
                <a:lnTo>
                  <a:pt x="16" y="90"/>
                </a:lnTo>
                <a:lnTo>
                  <a:pt x="16" y="90"/>
                </a:lnTo>
                <a:lnTo>
                  <a:pt x="12" y="90"/>
                </a:lnTo>
                <a:lnTo>
                  <a:pt x="12" y="90"/>
                </a:lnTo>
                <a:lnTo>
                  <a:pt x="12" y="90"/>
                </a:lnTo>
                <a:lnTo>
                  <a:pt x="12" y="90"/>
                </a:lnTo>
                <a:lnTo>
                  <a:pt x="12" y="90"/>
                </a:lnTo>
                <a:lnTo>
                  <a:pt x="8" y="90"/>
                </a:lnTo>
                <a:lnTo>
                  <a:pt x="8" y="90"/>
                </a:lnTo>
                <a:lnTo>
                  <a:pt x="8" y="90"/>
                </a:lnTo>
                <a:lnTo>
                  <a:pt x="8" y="90"/>
                </a:lnTo>
                <a:lnTo>
                  <a:pt x="8" y="86"/>
                </a:lnTo>
                <a:lnTo>
                  <a:pt x="8" y="86"/>
                </a:lnTo>
                <a:lnTo>
                  <a:pt x="8" y="86"/>
                </a:lnTo>
                <a:lnTo>
                  <a:pt x="4" y="82"/>
                </a:lnTo>
                <a:lnTo>
                  <a:pt x="4" y="82"/>
                </a:lnTo>
                <a:lnTo>
                  <a:pt x="4" y="82"/>
                </a:lnTo>
                <a:lnTo>
                  <a:pt x="4" y="82"/>
                </a:lnTo>
                <a:lnTo>
                  <a:pt x="4" y="82"/>
                </a:lnTo>
                <a:lnTo>
                  <a:pt x="4" y="82"/>
                </a:lnTo>
                <a:lnTo>
                  <a:pt x="4" y="78"/>
                </a:lnTo>
                <a:lnTo>
                  <a:pt x="4" y="78"/>
                </a:lnTo>
                <a:lnTo>
                  <a:pt x="4" y="78"/>
                </a:lnTo>
                <a:lnTo>
                  <a:pt x="4" y="76"/>
                </a:lnTo>
                <a:lnTo>
                  <a:pt x="4" y="76"/>
                </a:lnTo>
                <a:lnTo>
                  <a:pt x="4" y="76"/>
                </a:lnTo>
                <a:lnTo>
                  <a:pt x="4" y="76"/>
                </a:lnTo>
                <a:lnTo>
                  <a:pt x="4" y="76"/>
                </a:lnTo>
                <a:lnTo>
                  <a:pt x="4" y="76"/>
                </a:lnTo>
                <a:lnTo>
                  <a:pt x="4" y="72"/>
                </a:lnTo>
                <a:lnTo>
                  <a:pt x="4" y="72"/>
                </a:lnTo>
                <a:lnTo>
                  <a:pt x="4" y="72"/>
                </a:lnTo>
                <a:lnTo>
                  <a:pt x="4" y="72"/>
                </a:lnTo>
                <a:lnTo>
                  <a:pt x="4" y="72"/>
                </a:lnTo>
                <a:lnTo>
                  <a:pt x="4" y="68"/>
                </a:lnTo>
                <a:lnTo>
                  <a:pt x="4" y="68"/>
                </a:lnTo>
                <a:lnTo>
                  <a:pt x="4" y="68"/>
                </a:lnTo>
                <a:lnTo>
                  <a:pt x="4" y="68"/>
                </a:lnTo>
                <a:lnTo>
                  <a:pt x="4" y="68"/>
                </a:lnTo>
                <a:lnTo>
                  <a:pt x="4" y="68"/>
                </a:lnTo>
                <a:lnTo>
                  <a:pt x="4" y="64"/>
                </a:lnTo>
                <a:lnTo>
                  <a:pt x="4" y="62"/>
                </a:lnTo>
                <a:lnTo>
                  <a:pt x="4" y="62"/>
                </a:lnTo>
                <a:lnTo>
                  <a:pt x="4" y="62"/>
                </a:lnTo>
                <a:lnTo>
                  <a:pt x="0" y="62"/>
                </a:lnTo>
                <a:lnTo>
                  <a:pt x="0" y="62"/>
                </a:lnTo>
                <a:lnTo>
                  <a:pt x="0" y="62"/>
                </a:lnTo>
                <a:lnTo>
                  <a:pt x="0" y="58"/>
                </a:lnTo>
                <a:lnTo>
                  <a:pt x="0" y="58"/>
                </a:lnTo>
                <a:lnTo>
                  <a:pt x="4" y="58"/>
                </a:lnTo>
                <a:lnTo>
                  <a:pt x="4" y="58"/>
                </a:lnTo>
                <a:lnTo>
                  <a:pt x="4" y="58"/>
                </a:lnTo>
                <a:lnTo>
                  <a:pt x="4" y="58"/>
                </a:lnTo>
                <a:lnTo>
                  <a:pt x="4" y="54"/>
                </a:lnTo>
                <a:lnTo>
                  <a:pt x="4" y="54"/>
                </a:lnTo>
                <a:lnTo>
                  <a:pt x="4" y="54"/>
                </a:lnTo>
                <a:lnTo>
                  <a:pt x="4" y="54"/>
                </a:lnTo>
                <a:lnTo>
                  <a:pt x="4" y="54"/>
                </a:lnTo>
                <a:lnTo>
                  <a:pt x="4" y="54"/>
                </a:lnTo>
                <a:lnTo>
                  <a:pt x="4" y="54"/>
                </a:lnTo>
                <a:lnTo>
                  <a:pt x="4" y="54"/>
                </a:lnTo>
                <a:lnTo>
                  <a:pt x="4" y="50"/>
                </a:lnTo>
                <a:lnTo>
                  <a:pt x="4" y="50"/>
                </a:lnTo>
                <a:lnTo>
                  <a:pt x="4" y="50"/>
                </a:lnTo>
                <a:lnTo>
                  <a:pt x="4" y="50"/>
                </a:lnTo>
                <a:lnTo>
                  <a:pt x="4" y="46"/>
                </a:lnTo>
                <a:lnTo>
                  <a:pt x="4" y="46"/>
                </a:lnTo>
                <a:lnTo>
                  <a:pt x="4" y="46"/>
                </a:lnTo>
                <a:lnTo>
                  <a:pt x="4" y="46"/>
                </a:lnTo>
                <a:lnTo>
                  <a:pt x="4" y="42"/>
                </a:lnTo>
                <a:lnTo>
                  <a:pt x="4" y="42"/>
                </a:lnTo>
                <a:lnTo>
                  <a:pt x="4" y="42"/>
                </a:lnTo>
                <a:lnTo>
                  <a:pt x="4" y="42"/>
                </a:lnTo>
                <a:lnTo>
                  <a:pt x="8" y="42"/>
                </a:lnTo>
                <a:lnTo>
                  <a:pt x="8" y="42"/>
                </a:lnTo>
                <a:lnTo>
                  <a:pt x="8" y="42"/>
                </a:lnTo>
                <a:lnTo>
                  <a:pt x="8" y="42"/>
                </a:lnTo>
                <a:lnTo>
                  <a:pt x="8" y="38"/>
                </a:lnTo>
                <a:lnTo>
                  <a:pt x="8" y="38"/>
                </a:lnTo>
                <a:lnTo>
                  <a:pt x="8" y="38"/>
                </a:lnTo>
                <a:lnTo>
                  <a:pt x="8" y="38"/>
                </a:lnTo>
                <a:lnTo>
                  <a:pt x="8" y="38"/>
                </a:lnTo>
                <a:lnTo>
                  <a:pt x="8" y="38"/>
                </a:lnTo>
                <a:lnTo>
                  <a:pt x="8" y="38"/>
                </a:lnTo>
                <a:lnTo>
                  <a:pt x="8" y="38"/>
                </a:lnTo>
                <a:lnTo>
                  <a:pt x="8" y="38"/>
                </a:lnTo>
                <a:lnTo>
                  <a:pt x="8" y="38"/>
                </a:lnTo>
                <a:lnTo>
                  <a:pt x="8" y="38"/>
                </a:lnTo>
                <a:lnTo>
                  <a:pt x="8" y="34"/>
                </a:lnTo>
                <a:lnTo>
                  <a:pt x="8" y="34"/>
                </a:lnTo>
                <a:lnTo>
                  <a:pt x="8" y="34"/>
                </a:lnTo>
                <a:lnTo>
                  <a:pt x="8" y="34"/>
                </a:lnTo>
                <a:lnTo>
                  <a:pt x="8" y="34"/>
                </a:lnTo>
                <a:lnTo>
                  <a:pt x="8" y="30"/>
                </a:lnTo>
                <a:lnTo>
                  <a:pt x="8" y="30"/>
                </a:lnTo>
                <a:lnTo>
                  <a:pt x="8" y="30"/>
                </a:lnTo>
                <a:lnTo>
                  <a:pt x="8" y="30"/>
                </a:lnTo>
                <a:lnTo>
                  <a:pt x="8" y="30"/>
                </a:lnTo>
                <a:lnTo>
                  <a:pt x="8" y="30"/>
                </a:lnTo>
                <a:lnTo>
                  <a:pt x="12" y="28"/>
                </a:lnTo>
                <a:lnTo>
                  <a:pt x="12" y="28"/>
                </a:lnTo>
                <a:lnTo>
                  <a:pt x="12" y="28"/>
                </a:lnTo>
                <a:lnTo>
                  <a:pt x="8" y="28"/>
                </a:lnTo>
                <a:lnTo>
                  <a:pt x="8" y="28"/>
                </a:lnTo>
                <a:lnTo>
                  <a:pt x="8" y="28"/>
                </a:lnTo>
                <a:lnTo>
                  <a:pt x="4" y="28"/>
                </a:lnTo>
                <a:lnTo>
                  <a:pt x="4" y="28"/>
                </a:lnTo>
                <a:lnTo>
                  <a:pt x="4" y="28"/>
                </a:lnTo>
                <a:lnTo>
                  <a:pt x="4" y="28"/>
                </a:lnTo>
                <a:lnTo>
                  <a:pt x="4" y="30"/>
                </a:lnTo>
                <a:lnTo>
                  <a:pt x="4" y="30"/>
                </a:lnTo>
                <a:lnTo>
                  <a:pt x="4" y="30"/>
                </a:lnTo>
                <a:lnTo>
                  <a:pt x="0" y="34"/>
                </a:lnTo>
                <a:lnTo>
                  <a:pt x="0" y="34"/>
                </a:lnTo>
                <a:lnTo>
                  <a:pt x="0" y="34"/>
                </a:lnTo>
                <a:lnTo>
                  <a:pt x="0" y="34"/>
                </a:lnTo>
                <a:lnTo>
                  <a:pt x="0" y="34"/>
                </a:lnTo>
                <a:lnTo>
                  <a:pt x="0" y="30"/>
                </a:lnTo>
                <a:lnTo>
                  <a:pt x="0" y="30"/>
                </a:lnTo>
                <a:lnTo>
                  <a:pt x="0" y="30"/>
                </a:lnTo>
                <a:lnTo>
                  <a:pt x="0" y="28"/>
                </a:lnTo>
                <a:lnTo>
                  <a:pt x="4" y="28"/>
                </a:lnTo>
                <a:lnTo>
                  <a:pt x="4" y="24"/>
                </a:lnTo>
                <a:lnTo>
                  <a:pt x="4" y="24"/>
                </a:lnTo>
                <a:lnTo>
                  <a:pt x="4" y="24"/>
                </a:lnTo>
                <a:lnTo>
                  <a:pt x="4" y="24"/>
                </a:lnTo>
                <a:lnTo>
                  <a:pt x="4" y="24"/>
                </a:lnTo>
                <a:lnTo>
                  <a:pt x="4" y="24"/>
                </a:lnTo>
                <a:lnTo>
                  <a:pt x="4" y="24"/>
                </a:lnTo>
                <a:lnTo>
                  <a:pt x="4" y="24"/>
                </a:lnTo>
                <a:lnTo>
                  <a:pt x="4" y="24"/>
                </a:lnTo>
                <a:lnTo>
                  <a:pt x="8" y="20"/>
                </a:lnTo>
                <a:lnTo>
                  <a:pt x="8" y="20"/>
                </a:lnTo>
                <a:lnTo>
                  <a:pt x="8" y="20"/>
                </a:lnTo>
                <a:lnTo>
                  <a:pt x="8" y="20"/>
                </a:lnTo>
                <a:lnTo>
                  <a:pt x="8" y="20"/>
                </a:lnTo>
                <a:lnTo>
                  <a:pt x="8" y="20"/>
                </a:lnTo>
                <a:lnTo>
                  <a:pt x="8" y="16"/>
                </a:lnTo>
                <a:lnTo>
                  <a:pt x="12" y="16"/>
                </a:lnTo>
                <a:lnTo>
                  <a:pt x="12" y="16"/>
                </a:lnTo>
                <a:lnTo>
                  <a:pt x="12" y="8"/>
                </a:lnTo>
                <a:lnTo>
                  <a:pt x="16" y="4"/>
                </a:lnTo>
                <a:lnTo>
                  <a:pt x="16" y="4"/>
                </a:lnTo>
                <a:lnTo>
                  <a:pt x="16" y="4"/>
                </a:lnTo>
                <a:lnTo>
                  <a:pt x="16" y="4"/>
                </a:lnTo>
                <a:lnTo>
                  <a:pt x="16" y="4"/>
                </a:lnTo>
                <a:lnTo>
                  <a:pt x="16" y="4"/>
                </a:lnTo>
                <a:lnTo>
                  <a:pt x="16" y="4"/>
                </a:lnTo>
                <a:lnTo>
                  <a:pt x="16" y="4"/>
                </a:lnTo>
                <a:lnTo>
                  <a:pt x="16" y="4"/>
                </a:lnTo>
                <a:lnTo>
                  <a:pt x="16" y="8"/>
                </a:lnTo>
                <a:lnTo>
                  <a:pt x="16" y="8"/>
                </a:lnTo>
                <a:lnTo>
                  <a:pt x="16" y="8"/>
                </a:lnTo>
                <a:lnTo>
                  <a:pt x="16" y="8"/>
                </a:lnTo>
                <a:lnTo>
                  <a:pt x="16" y="8"/>
                </a:lnTo>
                <a:lnTo>
                  <a:pt x="16" y="8"/>
                </a:lnTo>
                <a:lnTo>
                  <a:pt x="16" y="8"/>
                </a:lnTo>
                <a:lnTo>
                  <a:pt x="16" y="8"/>
                </a:lnTo>
                <a:lnTo>
                  <a:pt x="20" y="8"/>
                </a:lnTo>
                <a:lnTo>
                  <a:pt x="20" y="4"/>
                </a:lnTo>
                <a:lnTo>
                  <a:pt x="20" y="4"/>
                </a:lnTo>
                <a:lnTo>
                  <a:pt x="20" y="4"/>
                </a:lnTo>
                <a:lnTo>
                  <a:pt x="24" y="4"/>
                </a:lnTo>
                <a:lnTo>
                  <a:pt x="24" y="4"/>
                </a:lnTo>
                <a:lnTo>
                  <a:pt x="24" y="4"/>
                </a:lnTo>
                <a:lnTo>
                  <a:pt x="24" y="8"/>
                </a:lnTo>
                <a:lnTo>
                  <a:pt x="24" y="8"/>
                </a:lnTo>
                <a:lnTo>
                  <a:pt x="20" y="8"/>
                </a:lnTo>
                <a:lnTo>
                  <a:pt x="20" y="8"/>
                </a:lnTo>
                <a:lnTo>
                  <a:pt x="20" y="8"/>
                </a:lnTo>
                <a:lnTo>
                  <a:pt x="20" y="8"/>
                </a:lnTo>
                <a:lnTo>
                  <a:pt x="20" y="8"/>
                </a:lnTo>
                <a:lnTo>
                  <a:pt x="20" y="12"/>
                </a:lnTo>
                <a:lnTo>
                  <a:pt x="20" y="12"/>
                </a:lnTo>
                <a:lnTo>
                  <a:pt x="20" y="12"/>
                </a:lnTo>
                <a:lnTo>
                  <a:pt x="20" y="12"/>
                </a:lnTo>
                <a:lnTo>
                  <a:pt x="20" y="12"/>
                </a:lnTo>
                <a:lnTo>
                  <a:pt x="20" y="12"/>
                </a:lnTo>
                <a:lnTo>
                  <a:pt x="20" y="12"/>
                </a:lnTo>
                <a:lnTo>
                  <a:pt x="20" y="12"/>
                </a:lnTo>
                <a:lnTo>
                  <a:pt x="20" y="12"/>
                </a:lnTo>
                <a:lnTo>
                  <a:pt x="20" y="12"/>
                </a:lnTo>
                <a:lnTo>
                  <a:pt x="20" y="12"/>
                </a:lnTo>
                <a:lnTo>
                  <a:pt x="20" y="12"/>
                </a:lnTo>
                <a:lnTo>
                  <a:pt x="20" y="8"/>
                </a:lnTo>
                <a:lnTo>
                  <a:pt x="20" y="8"/>
                </a:lnTo>
                <a:lnTo>
                  <a:pt x="20" y="8"/>
                </a:lnTo>
                <a:lnTo>
                  <a:pt x="24" y="8"/>
                </a:lnTo>
                <a:lnTo>
                  <a:pt x="24" y="8"/>
                </a:lnTo>
                <a:lnTo>
                  <a:pt x="24" y="8"/>
                </a:lnTo>
                <a:lnTo>
                  <a:pt x="24" y="8"/>
                </a:lnTo>
                <a:lnTo>
                  <a:pt x="24" y="8"/>
                </a:lnTo>
                <a:lnTo>
                  <a:pt x="24" y="4"/>
                </a:lnTo>
                <a:lnTo>
                  <a:pt x="24" y="4"/>
                </a:lnTo>
                <a:lnTo>
                  <a:pt x="24" y="4"/>
                </a:lnTo>
                <a:lnTo>
                  <a:pt x="26" y="4"/>
                </a:lnTo>
                <a:lnTo>
                  <a:pt x="26" y="4"/>
                </a:lnTo>
                <a:lnTo>
                  <a:pt x="26" y="4"/>
                </a:lnTo>
                <a:lnTo>
                  <a:pt x="26" y="4"/>
                </a:lnTo>
                <a:lnTo>
                  <a:pt x="26" y="4"/>
                </a:lnTo>
                <a:lnTo>
                  <a:pt x="30" y="4"/>
                </a:lnTo>
                <a:lnTo>
                  <a:pt x="34" y="4"/>
                </a:lnTo>
                <a:lnTo>
                  <a:pt x="34" y="4"/>
                </a:lnTo>
                <a:lnTo>
                  <a:pt x="34" y="4"/>
                </a:lnTo>
                <a:lnTo>
                  <a:pt x="34" y="4"/>
                </a:lnTo>
                <a:lnTo>
                  <a:pt x="34" y="4"/>
                </a:lnTo>
                <a:lnTo>
                  <a:pt x="34" y="4"/>
                </a:lnTo>
                <a:lnTo>
                  <a:pt x="34" y="4"/>
                </a:lnTo>
                <a:lnTo>
                  <a:pt x="34" y="4"/>
                </a:lnTo>
                <a:lnTo>
                  <a:pt x="34" y="0"/>
                </a:lnTo>
                <a:lnTo>
                  <a:pt x="34" y="0"/>
                </a:lnTo>
                <a:lnTo>
                  <a:pt x="34" y="0"/>
                </a:lnTo>
                <a:lnTo>
                  <a:pt x="34" y="0"/>
                </a:lnTo>
                <a:lnTo>
                  <a:pt x="38" y="0"/>
                </a:lnTo>
                <a:lnTo>
                  <a:pt x="38" y="0"/>
                </a:lnTo>
                <a:lnTo>
                  <a:pt x="42" y="0"/>
                </a:lnTo>
                <a:lnTo>
                  <a:pt x="42" y="0"/>
                </a:lnTo>
                <a:lnTo>
                  <a:pt x="42" y="4"/>
                </a:lnTo>
                <a:lnTo>
                  <a:pt x="42" y="4"/>
                </a:lnTo>
                <a:lnTo>
                  <a:pt x="46" y="4"/>
                </a:lnTo>
                <a:lnTo>
                  <a:pt x="46" y="4"/>
                </a:lnTo>
                <a:lnTo>
                  <a:pt x="46" y="4"/>
                </a:lnTo>
                <a:lnTo>
                  <a:pt x="46" y="4"/>
                </a:lnTo>
                <a:lnTo>
                  <a:pt x="46" y="4"/>
                </a:lnTo>
                <a:lnTo>
                  <a:pt x="46" y="8"/>
                </a:lnTo>
                <a:lnTo>
                  <a:pt x="46" y="8"/>
                </a:lnTo>
                <a:lnTo>
                  <a:pt x="46" y="8"/>
                </a:lnTo>
                <a:close/>
                <a:moveTo>
                  <a:pt x="16" y="20"/>
                </a:moveTo>
                <a:lnTo>
                  <a:pt x="16" y="20"/>
                </a:lnTo>
                <a:lnTo>
                  <a:pt x="16" y="20"/>
                </a:lnTo>
                <a:lnTo>
                  <a:pt x="16" y="16"/>
                </a:lnTo>
                <a:lnTo>
                  <a:pt x="16" y="16"/>
                </a:lnTo>
                <a:lnTo>
                  <a:pt x="16" y="16"/>
                </a:lnTo>
                <a:lnTo>
                  <a:pt x="12" y="20"/>
                </a:lnTo>
                <a:lnTo>
                  <a:pt x="12" y="20"/>
                </a:lnTo>
                <a:lnTo>
                  <a:pt x="12" y="20"/>
                </a:lnTo>
                <a:lnTo>
                  <a:pt x="12" y="20"/>
                </a:lnTo>
                <a:lnTo>
                  <a:pt x="12" y="20"/>
                </a:lnTo>
                <a:lnTo>
                  <a:pt x="12" y="20"/>
                </a:lnTo>
                <a:lnTo>
                  <a:pt x="12" y="20"/>
                </a:lnTo>
                <a:lnTo>
                  <a:pt x="12" y="20"/>
                </a:lnTo>
                <a:lnTo>
                  <a:pt x="12" y="20"/>
                </a:lnTo>
                <a:lnTo>
                  <a:pt x="8" y="24"/>
                </a:lnTo>
                <a:lnTo>
                  <a:pt x="8" y="24"/>
                </a:lnTo>
                <a:lnTo>
                  <a:pt x="8" y="28"/>
                </a:lnTo>
                <a:lnTo>
                  <a:pt x="8" y="28"/>
                </a:lnTo>
                <a:lnTo>
                  <a:pt x="8" y="28"/>
                </a:lnTo>
                <a:lnTo>
                  <a:pt x="8" y="28"/>
                </a:lnTo>
                <a:lnTo>
                  <a:pt x="8" y="28"/>
                </a:lnTo>
                <a:lnTo>
                  <a:pt x="12" y="28"/>
                </a:lnTo>
                <a:lnTo>
                  <a:pt x="12" y="28"/>
                </a:lnTo>
                <a:lnTo>
                  <a:pt x="12" y="28"/>
                </a:lnTo>
                <a:lnTo>
                  <a:pt x="12" y="28"/>
                </a:lnTo>
                <a:lnTo>
                  <a:pt x="12" y="28"/>
                </a:lnTo>
                <a:lnTo>
                  <a:pt x="12" y="28"/>
                </a:lnTo>
                <a:lnTo>
                  <a:pt x="12" y="24"/>
                </a:lnTo>
                <a:lnTo>
                  <a:pt x="12" y="24"/>
                </a:lnTo>
                <a:lnTo>
                  <a:pt x="12" y="24"/>
                </a:lnTo>
                <a:lnTo>
                  <a:pt x="12" y="24"/>
                </a:lnTo>
                <a:lnTo>
                  <a:pt x="12" y="24"/>
                </a:lnTo>
                <a:lnTo>
                  <a:pt x="12" y="24"/>
                </a:lnTo>
                <a:lnTo>
                  <a:pt x="12" y="24"/>
                </a:lnTo>
                <a:lnTo>
                  <a:pt x="12" y="24"/>
                </a:lnTo>
                <a:lnTo>
                  <a:pt x="16" y="20"/>
                </a:lnTo>
                <a:lnTo>
                  <a:pt x="16" y="20"/>
                </a:lnTo>
                <a:lnTo>
                  <a:pt x="16" y="20"/>
                </a:lnTo>
                <a:lnTo>
                  <a:pt x="16" y="20"/>
                </a:lnTo>
                <a:lnTo>
                  <a:pt x="16" y="20"/>
                </a:lnTo>
                <a:lnTo>
                  <a:pt x="16" y="20"/>
                </a:lnTo>
                <a:lnTo>
                  <a:pt x="16" y="20"/>
                </a:lnTo>
                <a:lnTo>
                  <a:pt x="16" y="20"/>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16" name="Freeform 224"/>
          <p:cNvSpPr>
            <a:spLocks/>
          </p:cNvSpPr>
          <p:nvPr/>
        </p:nvSpPr>
        <p:spPr bwMode="auto">
          <a:xfrm>
            <a:off x="2912268" y="2745580"/>
            <a:ext cx="66675" cy="33338"/>
          </a:xfrm>
          <a:custGeom>
            <a:avLst/>
            <a:gdLst>
              <a:gd name="T0" fmla="*/ 8 w 56"/>
              <a:gd name="T1" fmla="*/ 28 h 28"/>
              <a:gd name="T2" fmla="*/ 4 w 56"/>
              <a:gd name="T3" fmla="*/ 24 h 28"/>
              <a:gd name="T4" fmla="*/ 0 w 56"/>
              <a:gd name="T5" fmla="*/ 24 h 28"/>
              <a:gd name="T6" fmla="*/ 4 w 56"/>
              <a:gd name="T7" fmla="*/ 20 h 28"/>
              <a:gd name="T8" fmla="*/ 4 w 56"/>
              <a:gd name="T9" fmla="*/ 20 h 28"/>
              <a:gd name="T10" fmla="*/ 8 w 56"/>
              <a:gd name="T11" fmla="*/ 16 h 28"/>
              <a:gd name="T12" fmla="*/ 12 w 56"/>
              <a:gd name="T13" fmla="*/ 12 h 28"/>
              <a:gd name="T14" fmla="*/ 24 w 56"/>
              <a:gd name="T15" fmla="*/ 12 h 28"/>
              <a:gd name="T16" fmla="*/ 30 w 56"/>
              <a:gd name="T17" fmla="*/ 8 h 28"/>
              <a:gd name="T18" fmla="*/ 34 w 56"/>
              <a:gd name="T19" fmla="*/ 8 h 28"/>
              <a:gd name="T20" fmla="*/ 34 w 56"/>
              <a:gd name="T21" fmla="*/ 12 h 28"/>
              <a:gd name="T22" fmla="*/ 38 w 56"/>
              <a:gd name="T23" fmla="*/ 12 h 28"/>
              <a:gd name="T24" fmla="*/ 38 w 56"/>
              <a:gd name="T25" fmla="*/ 12 h 28"/>
              <a:gd name="T26" fmla="*/ 42 w 56"/>
              <a:gd name="T27" fmla="*/ 12 h 28"/>
              <a:gd name="T28" fmla="*/ 42 w 56"/>
              <a:gd name="T29" fmla="*/ 12 h 28"/>
              <a:gd name="T30" fmla="*/ 42 w 56"/>
              <a:gd name="T31" fmla="*/ 12 h 28"/>
              <a:gd name="T32" fmla="*/ 42 w 56"/>
              <a:gd name="T33" fmla="*/ 12 h 28"/>
              <a:gd name="T34" fmla="*/ 42 w 56"/>
              <a:gd name="T35" fmla="*/ 8 h 28"/>
              <a:gd name="T36" fmla="*/ 42 w 56"/>
              <a:gd name="T37" fmla="*/ 8 h 28"/>
              <a:gd name="T38" fmla="*/ 42 w 56"/>
              <a:gd name="T39" fmla="*/ 8 h 28"/>
              <a:gd name="T40" fmla="*/ 42 w 56"/>
              <a:gd name="T41" fmla="*/ 8 h 28"/>
              <a:gd name="T42" fmla="*/ 42 w 56"/>
              <a:gd name="T43" fmla="*/ 4 h 28"/>
              <a:gd name="T44" fmla="*/ 34 w 56"/>
              <a:gd name="T45" fmla="*/ 8 h 28"/>
              <a:gd name="T46" fmla="*/ 38 w 56"/>
              <a:gd name="T47" fmla="*/ 4 h 28"/>
              <a:gd name="T48" fmla="*/ 42 w 56"/>
              <a:gd name="T49" fmla="*/ 4 h 28"/>
              <a:gd name="T50" fmla="*/ 42 w 56"/>
              <a:gd name="T51" fmla="*/ 8 h 28"/>
              <a:gd name="T52" fmla="*/ 42 w 56"/>
              <a:gd name="T53" fmla="*/ 8 h 28"/>
              <a:gd name="T54" fmla="*/ 42 w 56"/>
              <a:gd name="T55" fmla="*/ 8 h 28"/>
              <a:gd name="T56" fmla="*/ 46 w 56"/>
              <a:gd name="T57" fmla="*/ 4 h 28"/>
              <a:gd name="T58" fmla="*/ 46 w 56"/>
              <a:gd name="T59" fmla="*/ 4 h 28"/>
              <a:gd name="T60" fmla="*/ 52 w 56"/>
              <a:gd name="T61" fmla="*/ 4 h 28"/>
              <a:gd name="T62" fmla="*/ 56 w 56"/>
              <a:gd name="T63" fmla="*/ 0 h 28"/>
              <a:gd name="T64" fmla="*/ 56 w 56"/>
              <a:gd name="T65" fmla="*/ 0 h 28"/>
              <a:gd name="T66" fmla="*/ 56 w 56"/>
              <a:gd name="T67" fmla="*/ 0 h 28"/>
              <a:gd name="T68" fmla="*/ 52 w 56"/>
              <a:gd name="T69" fmla="*/ 4 h 28"/>
              <a:gd name="T70" fmla="*/ 48 w 56"/>
              <a:gd name="T71" fmla="*/ 8 h 28"/>
              <a:gd name="T72" fmla="*/ 48 w 56"/>
              <a:gd name="T73" fmla="*/ 8 h 28"/>
              <a:gd name="T74" fmla="*/ 52 w 56"/>
              <a:gd name="T75" fmla="*/ 8 h 28"/>
              <a:gd name="T76" fmla="*/ 52 w 56"/>
              <a:gd name="T77" fmla="*/ 8 h 28"/>
              <a:gd name="T78" fmla="*/ 52 w 56"/>
              <a:gd name="T79" fmla="*/ 8 h 28"/>
              <a:gd name="T80" fmla="*/ 52 w 56"/>
              <a:gd name="T81" fmla="*/ 12 h 28"/>
              <a:gd name="T82" fmla="*/ 52 w 56"/>
              <a:gd name="T83" fmla="*/ 20 h 28"/>
              <a:gd name="T84" fmla="*/ 48 w 56"/>
              <a:gd name="T85" fmla="*/ 20 h 28"/>
              <a:gd name="T86" fmla="*/ 48 w 56"/>
              <a:gd name="T87" fmla="*/ 20 h 28"/>
              <a:gd name="T88" fmla="*/ 46 w 56"/>
              <a:gd name="T89" fmla="*/ 24 h 28"/>
              <a:gd name="T90" fmla="*/ 38 w 56"/>
              <a:gd name="T91" fmla="*/ 24 h 28"/>
              <a:gd name="T92" fmla="*/ 34 w 56"/>
              <a:gd name="T93" fmla="*/ 24 h 28"/>
              <a:gd name="T94" fmla="*/ 30 w 56"/>
              <a:gd name="T95" fmla="*/ 24 h 28"/>
              <a:gd name="T96" fmla="*/ 26 w 56"/>
              <a:gd name="T97" fmla="*/ 24 h 28"/>
              <a:gd name="T98" fmla="*/ 20 w 56"/>
              <a:gd name="T99" fmla="*/ 24 h 28"/>
              <a:gd name="T100" fmla="*/ 12 w 56"/>
              <a:gd name="T101" fmla="*/ 2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6" h="28">
                <a:moveTo>
                  <a:pt x="12" y="24"/>
                </a:moveTo>
                <a:lnTo>
                  <a:pt x="12" y="24"/>
                </a:lnTo>
                <a:lnTo>
                  <a:pt x="12" y="24"/>
                </a:lnTo>
                <a:lnTo>
                  <a:pt x="12" y="24"/>
                </a:lnTo>
                <a:lnTo>
                  <a:pt x="8" y="28"/>
                </a:lnTo>
                <a:lnTo>
                  <a:pt x="8" y="28"/>
                </a:lnTo>
                <a:lnTo>
                  <a:pt x="8" y="28"/>
                </a:lnTo>
                <a:lnTo>
                  <a:pt x="4" y="28"/>
                </a:lnTo>
                <a:lnTo>
                  <a:pt x="4" y="28"/>
                </a:lnTo>
                <a:lnTo>
                  <a:pt x="4" y="24"/>
                </a:lnTo>
                <a:lnTo>
                  <a:pt x="0" y="24"/>
                </a:lnTo>
                <a:lnTo>
                  <a:pt x="0" y="24"/>
                </a:lnTo>
                <a:lnTo>
                  <a:pt x="0" y="24"/>
                </a:lnTo>
                <a:lnTo>
                  <a:pt x="0" y="24"/>
                </a:lnTo>
                <a:lnTo>
                  <a:pt x="0" y="24"/>
                </a:lnTo>
                <a:lnTo>
                  <a:pt x="0" y="24"/>
                </a:lnTo>
                <a:lnTo>
                  <a:pt x="0" y="24"/>
                </a:lnTo>
                <a:lnTo>
                  <a:pt x="0" y="24"/>
                </a:lnTo>
                <a:lnTo>
                  <a:pt x="4" y="20"/>
                </a:lnTo>
                <a:lnTo>
                  <a:pt x="4" y="20"/>
                </a:lnTo>
                <a:lnTo>
                  <a:pt x="4" y="20"/>
                </a:lnTo>
                <a:lnTo>
                  <a:pt x="4" y="20"/>
                </a:lnTo>
                <a:lnTo>
                  <a:pt x="4" y="20"/>
                </a:lnTo>
                <a:lnTo>
                  <a:pt x="4" y="20"/>
                </a:lnTo>
                <a:lnTo>
                  <a:pt x="4" y="20"/>
                </a:lnTo>
                <a:lnTo>
                  <a:pt x="4" y="20"/>
                </a:lnTo>
                <a:lnTo>
                  <a:pt x="4" y="16"/>
                </a:lnTo>
                <a:lnTo>
                  <a:pt x="4" y="16"/>
                </a:lnTo>
                <a:lnTo>
                  <a:pt x="8" y="16"/>
                </a:lnTo>
                <a:lnTo>
                  <a:pt x="8" y="16"/>
                </a:lnTo>
                <a:lnTo>
                  <a:pt x="8" y="16"/>
                </a:lnTo>
                <a:lnTo>
                  <a:pt x="8" y="16"/>
                </a:lnTo>
                <a:lnTo>
                  <a:pt x="8" y="16"/>
                </a:lnTo>
                <a:lnTo>
                  <a:pt x="12" y="16"/>
                </a:lnTo>
                <a:lnTo>
                  <a:pt x="12" y="12"/>
                </a:lnTo>
                <a:lnTo>
                  <a:pt x="12" y="12"/>
                </a:lnTo>
                <a:lnTo>
                  <a:pt x="16" y="12"/>
                </a:lnTo>
                <a:lnTo>
                  <a:pt x="20" y="12"/>
                </a:lnTo>
                <a:lnTo>
                  <a:pt x="24" y="12"/>
                </a:lnTo>
                <a:lnTo>
                  <a:pt x="24" y="12"/>
                </a:lnTo>
                <a:lnTo>
                  <a:pt x="24" y="12"/>
                </a:lnTo>
                <a:lnTo>
                  <a:pt x="26" y="12"/>
                </a:lnTo>
                <a:lnTo>
                  <a:pt x="26" y="12"/>
                </a:lnTo>
                <a:lnTo>
                  <a:pt x="30" y="8"/>
                </a:lnTo>
                <a:lnTo>
                  <a:pt x="30" y="8"/>
                </a:lnTo>
                <a:lnTo>
                  <a:pt x="34" y="8"/>
                </a:lnTo>
                <a:lnTo>
                  <a:pt x="34" y="8"/>
                </a:lnTo>
                <a:lnTo>
                  <a:pt x="34" y="8"/>
                </a:lnTo>
                <a:lnTo>
                  <a:pt x="34" y="8"/>
                </a:lnTo>
                <a:lnTo>
                  <a:pt x="34" y="8"/>
                </a:lnTo>
                <a:lnTo>
                  <a:pt x="34" y="8"/>
                </a:lnTo>
                <a:lnTo>
                  <a:pt x="34" y="8"/>
                </a:lnTo>
                <a:lnTo>
                  <a:pt x="34" y="8"/>
                </a:lnTo>
                <a:lnTo>
                  <a:pt x="34" y="12"/>
                </a:lnTo>
                <a:lnTo>
                  <a:pt x="34" y="12"/>
                </a:lnTo>
                <a:lnTo>
                  <a:pt x="34" y="12"/>
                </a:lnTo>
                <a:lnTo>
                  <a:pt x="34" y="12"/>
                </a:lnTo>
                <a:lnTo>
                  <a:pt x="34" y="12"/>
                </a:lnTo>
                <a:lnTo>
                  <a:pt x="34" y="12"/>
                </a:lnTo>
                <a:lnTo>
                  <a:pt x="38" y="12"/>
                </a:lnTo>
                <a:lnTo>
                  <a:pt x="38" y="12"/>
                </a:lnTo>
                <a:lnTo>
                  <a:pt x="38" y="12"/>
                </a:lnTo>
                <a:lnTo>
                  <a:pt x="38" y="12"/>
                </a:lnTo>
                <a:lnTo>
                  <a:pt x="38" y="12"/>
                </a:lnTo>
                <a:lnTo>
                  <a:pt x="38" y="12"/>
                </a:lnTo>
                <a:lnTo>
                  <a:pt x="38" y="12"/>
                </a:lnTo>
                <a:lnTo>
                  <a:pt x="38" y="12"/>
                </a:lnTo>
                <a:lnTo>
                  <a:pt x="38" y="12"/>
                </a:lnTo>
                <a:lnTo>
                  <a:pt x="38"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38" y="8"/>
                </a:lnTo>
                <a:lnTo>
                  <a:pt x="38" y="8"/>
                </a:lnTo>
                <a:lnTo>
                  <a:pt x="42" y="8"/>
                </a:lnTo>
                <a:lnTo>
                  <a:pt x="42" y="4"/>
                </a:lnTo>
                <a:lnTo>
                  <a:pt x="42" y="4"/>
                </a:lnTo>
                <a:lnTo>
                  <a:pt x="42" y="4"/>
                </a:lnTo>
                <a:lnTo>
                  <a:pt x="38" y="8"/>
                </a:lnTo>
                <a:lnTo>
                  <a:pt x="38" y="8"/>
                </a:lnTo>
                <a:lnTo>
                  <a:pt x="38" y="8"/>
                </a:lnTo>
                <a:lnTo>
                  <a:pt x="34" y="8"/>
                </a:lnTo>
                <a:lnTo>
                  <a:pt x="34" y="8"/>
                </a:lnTo>
                <a:lnTo>
                  <a:pt x="34" y="8"/>
                </a:lnTo>
                <a:lnTo>
                  <a:pt x="34" y="8"/>
                </a:lnTo>
                <a:lnTo>
                  <a:pt x="34" y="8"/>
                </a:lnTo>
                <a:lnTo>
                  <a:pt x="38" y="4"/>
                </a:lnTo>
                <a:lnTo>
                  <a:pt x="38" y="4"/>
                </a:lnTo>
                <a:lnTo>
                  <a:pt x="42" y="4"/>
                </a:lnTo>
                <a:lnTo>
                  <a:pt x="42" y="4"/>
                </a:lnTo>
                <a:lnTo>
                  <a:pt x="42" y="4"/>
                </a:lnTo>
                <a:lnTo>
                  <a:pt x="42" y="4"/>
                </a:lnTo>
                <a:lnTo>
                  <a:pt x="42" y="4"/>
                </a:lnTo>
                <a:lnTo>
                  <a:pt x="42" y="4"/>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6" y="4"/>
                </a:lnTo>
                <a:lnTo>
                  <a:pt x="46" y="4"/>
                </a:lnTo>
                <a:lnTo>
                  <a:pt x="46" y="4"/>
                </a:lnTo>
                <a:lnTo>
                  <a:pt x="46" y="4"/>
                </a:lnTo>
                <a:lnTo>
                  <a:pt x="46" y="4"/>
                </a:lnTo>
                <a:lnTo>
                  <a:pt x="46" y="4"/>
                </a:lnTo>
                <a:lnTo>
                  <a:pt x="48" y="4"/>
                </a:lnTo>
                <a:lnTo>
                  <a:pt x="48" y="4"/>
                </a:lnTo>
                <a:lnTo>
                  <a:pt x="48" y="4"/>
                </a:lnTo>
                <a:lnTo>
                  <a:pt x="48" y="4"/>
                </a:lnTo>
                <a:lnTo>
                  <a:pt x="52" y="4"/>
                </a:lnTo>
                <a:lnTo>
                  <a:pt x="52" y="0"/>
                </a:lnTo>
                <a:lnTo>
                  <a:pt x="56" y="0"/>
                </a:lnTo>
                <a:lnTo>
                  <a:pt x="56" y="0"/>
                </a:lnTo>
                <a:lnTo>
                  <a:pt x="56" y="0"/>
                </a:lnTo>
                <a:lnTo>
                  <a:pt x="56" y="0"/>
                </a:lnTo>
                <a:lnTo>
                  <a:pt x="56" y="0"/>
                </a:lnTo>
                <a:lnTo>
                  <a:pt x="56" y="0"/>
                </a:lnTo>
                <a:lnTo>
                  <a:pt x="56" y="0"/>
                </a:lnTo>
                <a:lnTo>
                  <a:pt x="56" y="0"/>
                </a:lnTo>
                <a:lnTo>
                  <a:pt x="56" y="0"/>
                </a:lnTo>
                <a:lnTo>
                  <a:pt x="56" y="0"/>
                </a:lnTo>
                <a:lnTo>
                  <a:pt x="56" y="0"/>
                </a:lnTo>
                <a:lnTo>
                  <a:pt x="56" y="0"/>
                </a:lnTo>
                <a:lnTo>
                  <a:pt x="56" y="0"/>
                </a:lnTo>
                <a:lnTo>
                  <a:pt x="56" y="0"/>
                </a:lnTo>
                <a:lnTo>
                  <a:pt x="56" y="0"/>
                </a:lnTo>
                <a:lnTo>
                  <a:pt x="56" y="0"/>
                </a:lnTo>
                <a:lnTo>
                  <a:pt x="56" y="4"/>
                </a:lnTo>
                <a:lnTo>
                  <a:pt x="52" y="4"/>
                </a:lnTo>
                <a:lnTo>
                  <a:pt x="52" y="4"/>
                </a:lnTo>
                <a:lnTo>
                  <a:pt x="52" y="4"/>
                </a:lnTo>
                <a:lnTo>
                  <a:pt x="52" y="4"/>
                </a:lnTo>
                <a:lnTo>
                  <a:pt x="52" y="4"/>
                </a:lnTo>
                <a:lnTo>
                  <a:pt x="48" y="8"/>
                </a:lnTo>
                <a:lnTo>
                  <a:pt x="48" y="8"/>
                </a:lnTo>
                <a:lnTo>
                  <a:pt x="48" y="8"/>
                </a:lnTo>
                <a:lnTo>
                  <a:pt x="48" y="8"/>
                </a:lnTo>
                <a:lnTo>
                  <a:pt x="48" y="8"/>
                </a:lnTo>
                <a:lnTo>
                  <a:pt x="48" y="8"/>
                </a:lnTo>
                <a:lnTo>
                  <a:pt x="48" y="8"/>
                </a:lnTo>
                <a:lnTo>
                  <a:pt x="52" y="8"/>
                </a:lnTo>
                <a:lnTo>
                  <a:pt x="52" y="8"/>
                </a:lnTo>
                <a:lnTo>
                  <a:pt x="52" y="8"/>
                </a:lnTo>
                <a:lnTo>
                  <a:pt x="52" y="8"/>
                </a:lnTo>
                <a:lnTo>
                  <a:pt x="52" y="8"/>
                </a:lnTo>
                <a:lnTo>
                  <a:pt x="52" y="8"/>
                </a:lnTo>
                <a:lnTo>
                  <a:pt x="52" y="8"/>
                </a:lnTo>
                <a:lnTo>
                  <a:pt x="52" y="8"/>
                </a:lnTo>
                <a:lnTo>
                  <a:pt x="52" y="8"/>
                </a:lnTo>
                <a:lnTo>
                  <a:pt x="52" y="8"/>
                </a:lnTo>
                <a:lnTo>
                  <a:pt x="52" y="12"/>
                </a:lnTo>
                <a:lnTo>
                  <a:pt x="52" y="12"/>
                </a:lnTo>
                <a:lnTo>
                  <a:pt x="52" y="12"/>
                </a:lnTo>
                <a:lnTo>
                  <a:pt x="52" y="12"/>
                </a:lnTo>
                <a:lnTo>
                  <a:pt x="52" y="8"/>
                </a:lnTo>
                <a:lnTo>
                  <a:pt x="52" y="8"/>
                </a:lnTo>
                <a:lnTo>
                  <a:pt x="52" y="12"/>
                </a:lnTo>
                <a:lnTo>
                  <a:pt x="52" y="12"/>
                </a:lnTo>
                <a:lnTo>
                  <a:pt x="52" y="12"/>
                </a:lnTo>
                <a:lnTo>
                  <a:pt x="52" y="12"/>
                </a:lnTo>
                <a:lnTo>
                  <a:pt x="52" y="12"/>
                </a:lnTo>
                <a:lnTo>
                  <a:pt x="52" y="12"/>
                </a:lnTo>
                <a:lnTo>
                  <a:pt x="52" y="12"/>
                </a:lnTo>
                <a:lnTo>
                  <a:pt x="52" y="16"/>
                </a:lnTo>
                <a:lnTo>
                  <a:pt x="52" y="20"/>
                </a:lnTo>
                <a:lnTo>
                  <a:pt x="52" y="20"/>
                </a:lnTo>
                <a:lnTo>
                  <a:pt x="52" y="20"/>
                </a:lnTo>
                <a:lnTo>
                  <a:pt x="52" y="20"/>
                </a:lnTo>
                <a:lnTo>
                  <a:pt x="48" y="20"/>
                </a:lnTo>
                <a:lnTo>
                  <a:pt x="48" y="20"/>
                </a:lnTo>
                <a:lnTo>
                  <a:pt x="48" y="20"/>
                </a:lnTo>
                <a:lnTo>
                  <a:pt x="48" y="20"/>
                </a:lnTo>
                <a:lnTo>
                  <a:pt x="48" y="20"/>
                </a:lnTo>
                <a:lnTo>
                  <a:pt x="48" y="20"/>
                </a:lnTo>
                <a:lnTo>
                  <a:pt x="48" y="20"/>
                </a:lnTo>
                <a:lnTo>
                  <a:pt x="48" y="20"/>
                </a:lnTo>
                <a:lnTo>
                  <a:pt x="46" y="20"/>
                </a:lnTo>
                <a:lnTo>
                  <a:pt x="46" y="20"/>
                </a:lnTo>
                <a:lnTo>
                  <a:pt x="46" y="24"/>
                </a:lnTo>
                <a:lnTo>
                  <a:pt x="46" y="24"/>
                </a:lnTo>
                <a:lnTo>
                  <a:pt x="46" y="24"/>
                </a:lnTo>
                <a:lnTo>
                  <a:pt x="42" y="24"/>
                </a:lnTo>
                <a:lnTo>
                  <a:pt x="42" y="24"/>
                </a:lnTo>
                <a:lnTo>
                  <a:pt x="38" y="24"/>
                </a:lnTo>
                <a:lnTo>
                  <a:pt x="38" y="24"/>
                </a:lnTo>
                <a:lnTo>
                  <a:pt x="38" y="24"/>
                </a:lnTo>
                <a:lnTo>
                  <a:pt x="34" y="24"/>
                </a:lnTo>
                <a:lnTo>
                  <a:pt x="34" y="24"/>
                </a:lnTo>
                <a:lnTo>
                  <a:pt x="34" y="24"/>
                </a:lnTo>
                <a:lnTo>
                  <a:pt x="34" y="24"/>
                </a:lnTo>
                <a:lnTo>
                  <a:pt x="34" y="24"/>
                </a:lnTo>
                <a:lnTo>
                  <a:pt x="34" y="24"/>
                </a:lnTo>
                <a:lnTo>
                  <a:pt x="30" y="24"/>
                </a:lnTo>
                <a:lnTo>
                  <a:pt x="30" y="24"/>
                </a:lnTo>
                <a:lnTo>
                  <a:pt x="30" y="24"/>
                </a:lnTo>
                <a:lnTo>
                  <a:pt x="30" y="24"/>
                </a:lnTo>
                <a:lnTo>
                  <a:pt x="30" y="24"/>
                </a:lnTo>
                <a:lnTo>
                  <a:pt x="30" y="24"/>
                </a:lnTo>
                <a:lnTo>
                  <a:pt x="30" y="24"/>
                </a:lnTo>
                <a:lnTo>
                  <a:pt x="26" y="24"/>
                </a:lnTo>
                <a:lnTo>
                  <a:pt x="26" y="24"/>
                </a:lnTo>
                <a:lnTo>
                  <a:pt x="24" y="24"/>
                </a:lnTo>
                <a:lnTo>
                  <a:pt x="20" y="24"/>
                </a:lnTo>
                <a:lnTo>
                  <a:pt x="20" y="24"/>
                </a:lnTo>
                <a:lnTo>
                  <a:pt x="20" y="24"/>
                </a:lnTo>
                <a:lnTo>
                  <a:pt x="16" y="24"/>
                </a:lnTo>
                <a:lnTo>
                  <a:pt x="16" y="24"/>
                </a:lnTo>
                <a:lnTo>
                  <a:pt x="12" y="24"/>
                </a:lnTo>
                <a:lnTo>
                  <a:pt x="12" y="24"/>
                </a:lnTo>
                <a:lnTo>
                  <a:pt x="12" y="24"/>
                </a:lnTo>
                <a:lnTo>
                  <a:pt x="12" y="24"/>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17" name="Freeform 225"/>
          <p:cNvSpPr>
            <a:spLocks noEditPoints="1"/>
          </p:cNvSpPr>
          <p:nvPr/>
        </p:nvSpPr>
        <p:spPr bwMode="auto">
          <a:xfrm>
            <a:off x="2828925" y="2697956"/>
            <a:ext cx="88106" cy="85725"/>
          </a:xfrm>
          <a:custGeom>
            <a:avLst/>
            <a:gdLst>
              <a:gd name="T0" fmla="*/ 34 w 74"/>
              <a:gd name="T1" fmla="*/ 64 h 72"/>
              <a:gd name="T2" fmla="*/ 30 w 74"/>
              <a:gd name="T3" fmla="*/ 56 h 72"/>
              <a:gd name="T4" fmla="*/ 26 w 74"/>
              <a:gd name="T5" fmla="*/ 48 h 72"/>
              <a:gd name="T6" fmla="*/ 18 w 74"/>
              <a:gd name="T7" fmla="*/ 56 h 72"/>
              <a:gd name="T8" fmla="*/ 10 w 74"/>
              <a:gd name="T9" fmla="*/ 56 h 72"/>
              <a:gd name="T10" fmla="*/ 14 w 74"/>
              <a:gd name="T11" fmla="*/ 48 h 72"/>
              <a:gd name="T12" fmla="*/ 22 w 74"/>
              <a:gd name="T13" fmla="*/ 46 h 72"/>
              <a:gd name="T14" fmla="*/ 22 w 74"/>
              <a:gd name="T15" fmla="*/ 34 h 72"/>
              <a:gd name="T16" fmla="*/ 22 w 74"/>
              <a:gd name="T17" fmla="*/ 26 h 72"/>
              <a:gd name="T18" fmla="*/ 18 w 74"/>
              <a:gd name="T19" fmla="*/ 22 h 72"/>
              <a:gd name="T20" fmla="*/ 10 w 74"/>
              <a:gd name="T21" fmla="*/ 18 h 72"/>
              <a:gd name="T22" fmla="*/ 8 w 74"/>
              <a:gd name="T23" fmla="*/ 18 h 72"/>
              <a:gd name="T24" fmla="*/ 0 w 74"/>
              <a:gd name="T25" fmla="*/ 16 h 72"/>
              <a:gd name="T26" fmla="*/ 4 w 74"/>
              <a:gd name="T27" fmla="*/ 12 h 72"/>
              <a:gd name="T28" fmla="*/ 14 w 74"/>
              <a:gd name="T29" fmla="*/ 12 h 72"/>
              <a:gd name="T30" fmla="*/ 10 w 74"/>
              <a:gd name="T31" fmla="*/ 8 h 72"/>
              <a:gd name="T32" fmla="*/ 8 w 74"/>
              <a:gd name="T33" fmla="*/ 0 h 72"/>
              <a:gd name="T34" fmla="*/ 10 w 74"/>
              <a:gd name="T35" fmla="*/ 0 h 72"/>
              <a:gd name="T36" fmla="*/ 18 w 74"/>
              <a:gd name="T37" fmla="*/ 4 h 72"/>
              <a:gd name="T38" fmla="*/ 30 w 74"/>
              <a:gd name="T39" fmla="*/ 8 h 72"/>
              <a:gd name="T40" fmla="*/ 34 w 74"/>
              <a:gd name="T41" fmla="*/ 8 h 72"/>
              <a:gd name="T42" fmla="*/ 44 w 74"/>
              <a:gd name="T43" fmla="*/ 8 h 72"/>
              <a:gd name="T44" fmla="*/ 44 w 74"/>
              <a:gd name="T45" fmla="*/ 12 h 72"/>
              <a:gd name="T46" fmla="*/ 56 w 74"/>
              <a:gd name="T47" fmla="*/ 12 h 72"/>
              <a:gd name="T48" fmla="*/ 60 w 74"/>
              <a:gd name="T49" fmla="*/ 18 h 72"/>
              <a:gd name="T50" fmla="*/ 68 w 74"/>
              <a:gd name="T51" fmla="*/ 22 h 72"/>
              <a:gd name="T52" fmla="*/ 70 w 74"/>
              <a:gd name="T53" fmla="*/ 30 h 72"/>
              <a:gd name="T54" fmla="*/ 70 w 74"/>
              <a:gd name="T55" fmla="*/ 34 h 72"/>
              <a:gd name="T56" fmla="*/ 68 w 74"/>
              <a:gd name="T57" fmla="*/ 42 h 72"/>
              <a:gd name="T58" fmla="*/ 60 w 74"/>
              <a:gd name="T59" fmla="*/ 38 h 72"/>
              <a:gd name="T60" fmla="*/ 56 w 74"/>
              <a:gd name="T61" fmla="*/ 30 h 72"/>
              <a:gd name="T62" fmla="*/ 44 w 74"/>
              <a:gd name="T63" fmla="*/ 26 h 72"/>
              <a:gd name="T64" fmla="*/ 52 w 74"/>
              <a:gd name="T65" fmla="*/ 38 h 72"/>
              <a:gd name="T66" fmla="*/ 44 w 74"/>
              <a:gd name="T67" fmla="*/ 48 h 72"/>
              <a:gd name="T68" fmla="*/ 44 w 74"/>
              <a:gd name="T69" fmla="*/ 60 h 72"/>
              <a:gd name="T70" fmla="*/ 40 w 74"/>
              <a:gd name="T71" fmla="*/ 68 h 72"/>
              <a:gd name="T72" fmla="*/ 34 w 74"/>
              <a:gd name="T73" fmla="*/ 72 h 72"/>
              <a:gd name="T74" fmla="*/ 22 w 74"/>
              <a:gd name="T75" fmla="*/ 12 h 72"/>
              <a:gd name="T76" fmla="*/ 30 w 74"/>
              <a:gd name="T77" fmla="*/ 16 h 72"/>
              <a:gd name="T78" fmla="*/ 38 w 74"/>
              <a:gd name="T79" fmla="*/ 18 h 72"/>
              <a:gd name="T80" fmla="*/ 44 w 74"/>
              <a:gd name="T81" fmla="*/ 16 h 72"/>
              <a:gd name="T82" fmla="*/ 44 w 74"/>
              <a:gd name="T83" fmla="*/ 16 h 72"/>
              <a:gd name="T84" fmla="*/ 38 w 74"/>
              <a:gd name="T85" fmla="*/ 12 h 72"/>
              <a:gd name="T86" fmla="*/ 30 w 74"/>
              <a:gd name="T87" fmla="*/ 12 h 72"/>
              <a:gd name="T88" fmla="*/ 26 w 74"/>
              <a:gd name="T8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4" h="72">
                <a:moveTo>
                  <a:pt x="34" y="72"/>
                </a:moveTo>
                <a:lnTo>
                  <a:pt x="34" y="68"/>
                </a:lnTo>
                <a:lnTo>
                  <a:pt x="34" y="64"/>
                </a:lnTo>
                <a:lnTo>
                  <a:pt x="34" y="60"/>
                </a:lnTo>
                <a:lnTo>
                  <a:pt x="34" y="56"/>
                </a:lnTo>
                <a:lnTo>
                  <a:pt x="30" y="56"/>
                </a:lnTo>
                <a:lnTo>
                  <a:pt x="30" y="52"/>
                </a:lnTo>
                <a:lnTo>
                  <a:pt x="30" y="48"/>
                </a:lnTo>
                <a:lnTo>
                  <a:pt x="26" y="48"/>
                </a:lnTo>
                <a:lnTo>
                  <a:pt x="22" y="48"/>
                </a:lnTo>
                <a:lnTo>
                  <a:pt x="22" y="52"/>
                </a:lnTo>
                <a:lnTo>
                  <a:pt x="18" y="56"/>
                </a:lnTo>
                <a:lnTo>
                  <a:pt x="14" y="60"/>
                </a:lnTo>
                <a:lnTo>
                  <a:pt x="14" y="56"/>
                </a:lnTo>
                <a:lnTo>
                  <a:pt x="10" y="56"/>
                </a:lnTo>
                <a:lnTo>
                  <a:pt x="10" y="52"/>
                </a:lnTo>
                <a:lnTo>
                  <a:pt x="14" y="52"/>
                </a:lnTo>
                <a:lnTo>
                  <a:pt x="14" y="48"/>
                </a:lnTo>
                <a:lnTo>
                  <a:pt x="18" y="48"/>
                </a:lnTo>
                <a:lnTo>
                  <a:pt x="18" y="46"/>
                </a:lnTo>
                <a:lnTo>
                  <a:pt x="22" y="46"/>
                </a:lnTo>
                <a:lnTo>
                  <a:pt x="22" y="42"/>
                </a:lnTo>
                <a:lnTo>
                  <a:pt x="22" y="38"/>
                </a:lnTo>
                <a:lnTo>
                  <a:pt x="22" y="34"/>
                </a:lnTo>
                <a:lnTo>
                  <a:pt x="18" y="30"/>
                </a:lnTo>
                <a:lnTo>
                  <a:pt x="22" y="30"/>
                </a:lnTo>
                <a:lnTo>
                  <a:pt x="22" y="26"/>
                </a:lnTo>
                <a:lnTo>
                  <a:pt x="18" y="26"/>
                </a:lnTo>
                <a:lnTo>
                  <a:pt x="22" y="26"/>
                </a:lnTo>
                <a:lnTo>
                  <a:pt x="18" y="22"/>
                </a:lnTo>
                <a:lnTo>
                  <a:pt x="14" y="22"/>
                </a:lnTo>
                <a:lnTo>
                  <a:pt x="14" y="18"/>
                </a:lnTo>
                <a:lnTo>
                  <a:pt x="10" y="18"/>
                </a:lnTo>
                <a:lnTo>
                  <a:pt x="8" y="18"/>
                </a:lnTo>
                <a:lnTo>
                  <a:pt x="8" y="16"/>
                </a:lnTo>
                <a:lnTo>
                  <a:pt x="8" y="18"/>
                </a:lnTo>
                <a:lnTo>
                  <a:pt x="4" y="18"/>
                </a:lnTo>
                <a:lnTo>
                  <a:pt x="4" y="16"/>
                </a:lnTo>
                <a:lnTo>
                  <a:pt x="0" y="16"/>
                </a:lnTo>
                <a:lnTo>
                  <a:pt x="0" y="12"/>
                </a:lnTo>
                <a:lnTo>
                  <a:pt x="4" y="8"/>
                </a:lnTo>
                <a:lnTo>
                  <a:pt x="4" y="12"/>
                </a:lnTo>
                <a:lnTo>
                  <a:pt x="8" y="12"/>
                </a:lnTo>
                <a:lnTo>
                  <a:pt x="10" y="12"/>
                </a:lnTo>
                <a:lnTo>
                  <a:pt x="14" y="12"/>
                </a:lnTo>
                <a:lnTo>
                  <a:pt x="10" y="8"/>
                </a:lnTo>
                <a:lnTo>
                  <a:pt x="10" y="12"/>
                </a:lnTo>
                <a:lnTo>
                  <a:pt x="10" y="8"/>
                </a:lnTo>
                <a:lnTo>
                  <a:pt x="10" y="4"/>
                </a:lnTo>
                <a:lnTo>
                  <a:pt x="8" y="4"/>
                </a:lnTo>
                <a:lnTo>
                  <a:pt x="8" y="0"/>
                </a:lnTo>
                <a:lnTo>
                  <a:pt x="4" y="0"/>
                </a:lnTo>
                <a:lnTo>
                  <a:pt x="8" y="0"/>
                </a:lnTo>
                <a:lnTo>
                  <a:pt x="10" y="0"/>
                </a:lnTo>
                <a:lnTo>
                  <a:pt x="10" y="4"/>
                </a:lnTo>
                <a:lnTo>
                  <a:pt x="14" y="4"/>
                </a:lnTo>
                <a:lnTo>
                  <a:pt x="18" y="4"/>
                </a:lnTo>
                <a:lnTo>
                  <a:pt x="22" y="8"/>
                </a:lnTo>
                <a:lnTo>
                  <a:pt x="26" y="8"/>
                </a:lnTo>
                <a:lnTo>
                  <a:pt x="30" y="8"/>
                </a:lnTo>
                <a:lnTo>
                  <a:pt x="34" y="8"/>
                </a:lnTo>
                <a:lnTo>
                  <a:pt x="38" y="8"/>
                </a:lnTo>
                <a:lnTo>
                  <a:pt x="34" y="8"/>
                </a:lnTo>
                <a:lnTo>
                  <a:pt x="38" y="8"/>
                </a:lnTo>
                <a:lnTo>
                  <a:pt x="40" y="8"/>
                </a:lnTo>
                <a:lnTo>
                  <a:pt x="44" y="8"/>
                </a:lnTo>
                <a:lnTo>
                  <a:pt x="48" y="8"/>
                </a:lnTo>
                <a:lnTo>
                  <a:pt x="48" y="12"/>
                </a:lnTo>
                <a:lnTo>
                  <a:pt x="44" y="12"/>
                </a:lnTo>
                <a:lnTo>
                  <a:pt x="48" y="12"/>
                </a:lnTo>
                <a:lnTo>
                  <a:pt x="52" y="12"/>
                </a:lnTo>
                <a:lnTo>
                  <a:pt x="56" y="12"/>
                </a:lnTo>
                <a:lnTo>
                  <a:pt x="60" y="12"/>
                </a:lnTo>
                <a:lnTo>
                  <a:pt x="60" y="16"/>
                </a:lnTo>
                <a:lnTo>
                  <a:pt x="60" y="18"/>
                </a:lnTo>
                <a:lnTo>
                  <a:pt x="64" y="18"/>
                </a:lnTo>
                <a:lnTo>
                  <a:pt x="64" y="22"/>
                </a:lnTo>
                <a:lnTo>
                  <a:pt x="68" y="22"/>
                </a:lnTo>
                <a:lnTo>
                  <a:pt x="68" y="26"/>
                </a:lnTo>
                <a:lnTo>
                  <a:pt x="68" y="30"/>
                </a:lnTo>
                <a:lnTo>
                  <a:pt x="70" y="30"/>
                </a:lnTo>
                <a:lnTo>
                  <a:pt x="70" y="34"/>
                </a:lnTo>
                <a:lnTo>
                  <a:pt x="74" y="34"/>
                </a:lnTo>
                <a:lnTo>
                  <a:pt x="70" y="34"/>
                </a:lnTo>
                <a:lnTo>
                  <a:pt x="68" y="34"/>
                </a:lnTo>
                <a:lnTo>
                  <a:pt x="68" y="38"/>
                </a:lnTo>
                <a:lnTo>
                  <a:pt x="68" y="42"/>
                </a:lnTo>
                <a:lnTo>
                  <a:pt x="64" y="42"/>
                </a:lnTo>
                <a:lnTo>
                  <a:pt x="64" y="38"/>
                </a:lnTo>
                <a:lnTo>
                  <a:pt x="60" y="38"/>
                </a:lnTo>
                <a:lnTo>
                  <a:pt x="56" y="38"/>
                </a:lnTo>
                <a:lnTo>
                  <a:pt x="56" y="34"/>
                </a:lnTo>
                <a:lnTo>
                  <a:pt x="56" y="30"/>
                </a:lnTo>
                <a:lnTo>
                  <a:pt x="52" y="30"/>
                </a:lnTo>
                <a:lnTo>
                  <a:pt x="48" y="26"/>
                </a:lnTo>
                <a:lnTo>
                  <a:pt x="44" y="26"/>
                </a:lnTo>
                <a:lnTo>
                  <a:pt x="48" y="30"/>
                </a:lnTo>
                <a:lnTo>
                  <a:pt x="52" y="34"/>
                </a:lnTo>
                <a:lnTo>
                  <a:pt x="52" y="38"/>
                </a:lnTo>
                <a:lnTo>
                  <a:pt x="48" y="42"/>
                </a:lnTo>
                <a:lnTo>
                  <a:pt x="44" y="46"/>
                </a:lnTo>
                <a:lnTo>
                  <a:pt x="44" y="48"/>
                </a:lnTo>
                <a:lnTo>
                  <a:pt x="44" y="52"/>
                </a:lnTo>
                <a:lnTo>
                  <a:pt x="44" y="56"/>
                </a:lnTo>
                <a:lnTo>
                  <a:pt x="44" y="60"/>
                </a:lnTo>
                <a:lnTo>
                  <a:pt x="44" y="64"/>
                </a:lnTo>
                <a:lnTo>
                  <a:pt x="40" y="64"/>
                </a:lnTo>
                <a:lnTo>
                  <a:pt x="40" y="68"/>
                </a:lnTo>
                <a:lnTo>
                  <a:pt x="38" y="68"/>
                </a:lnTo>
                <a:lnTo>
                  <a:pt x="34" y="72"/>
                </a:lnTo>
                <a:lnTo>
                  <a:pt x="34" y="72"/>
                </a:lnTo>
                <a:lnTo>
                  <a:pt x="34" y="72"/>
                </a:lnTo>
                <a:close/>
                <a:moveTo>
                  <a:pt x="26" y="12"/>
                </a:moveTo>
                <a:lnTo>
                  <a:pt x="22" y="12"/>
                </a:lnTo>
                <a:lnTo>
                  <a:pt x="26" y="12"/>
                </a:lnTo>
                <a:lnTo>
                  <a:pt x="26" y="16"/>
                </a:lnTo>
                <a:lnTo>
                  <a:pt x="30" y="16"/>
                </a:lnTo>
                <a:lnTo>
                  <a:pt x="34" y="16"/>
                </a:lnTo>
                <a:lnTo>
                  <a:pt x="38" y="16"/>
                </a:lnTo>
                <a:lnTo>
                  <a:pt x="38" y="18"/>
                </a:lnTo>
                <a:lnTo>
                  <a:pt x="40" y="18"/>
                </a:lnTo>
                <a:lnTo>
                  <a:pt x="40" y="16"/>
                </a:lnTo>
                <a:lnTo>
                  <a:pt x="44" y="16"/>
                </a:lnTo>
                <a:lnTo>
                  <a:pt x="40" y="18"/>
                </a:lnTo>
                <a:lnTo>
                  <a:pt x="44" y="18"/>
                </a:lnTo>
                <a:lnTo>
                  <a:pt x="44" y="16"/>
                </a:lnTo>
                <a:lnTo>
                  <a:pt x="44" y="12"/>
                </a:lnTo>
                <a:lnTo>
                  <a:pt x="40" y="12"/>
                </a:lnTo>
                <a:lnTo>
                  <a:pt x="38" y="12"/>
                </a:lnTo>
                <a:lnTo>
                  <a:pt x="34" y="12"/>
                </a:lnTo>
                <a:lnTo>
                  <a:pt x="30" y="16"/>
                </a:lnTo>
                <a:lnTo>
                  <a:pt x="30" y="12"/>
                </a:lnTo>
                <a:lnTo>
                  <a:pt x="26" y="12"/>
                </a:lnTo>
                <a:lnTo>
                  <a:pt x="26" y="12"/>
                </a:lnTo>
                <a:lnTo>
                  <a:pt x="26" y="12"/>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18" name="Freeform 226"/>
          <p:cNvSpPr>
            <a:spLocks/>
          </p:cNvSpPr>
          <p:nvPr/>
        </p:nvSpPr>
        <p:spPr bwMode="auto">
          <a:xfrm>
            <a:off x="2850356" y="2783680"/>
            <a:ext cx="80963" cy="33338"/>
          </a:xfrm>
          <a:custGeom>
            <a:avLst/>
            <a:gdLst>
              <a:gd name="T0" fmla="*/ 68 w 68"/>
              <a:gd name="T1" fmla="*/ 0 h 28"/>
              <a:gd name="T2" fmla="*/ 68 w 68"/>
              <a:gd name="T3" fmla="*/ 2 h 28"/>
              <a:gd name="T4" fmla="*/ 68 w 68"/>
              <a:gd name="T5" fmla="*/ 2 h 28"/>
              <a:gd name="T6" fmla="*/ 56 w 68"/>
              <a:gd name="T7" fmla="*/ 10 h 28"/>
              <a:gd name="T8" fmla="*/ 54 w 68"/>
              <a:gd name="T9" fmla="*/ 14 h 28"/>
              <a:gd name="T10" fmla="*/ 46 w 68"/>
              <a:gd name="T11" fmla="*/ 16 h 28"/>
              <a:gd name="T12" fmla="*/ 42 w 68"/>
              <a:gd name="T13" fmla="*/ 16 h 28"/>
              <a:gd name="T14" fmla="*/ 34 w 68"/>
              <a:gd name="T15" fmla="*/ 20 h 28"/>
              <a:gd name="T16" fmla="*/ 30 w 68"/>
              <a:gd name="T17" fmla="*/ 24 h 28"/>
              <a:gd name="T18" fmla="*/ 28 w 68"/>
              <a:gd name="T19" fmla="*/ 28 h 28"/>
              <a:gd name="T20" fmla="*/ 24 w 68"/>
              <a:gd name="T21" fmla="*/ 28 h 28"/>
              <a:gd name="T22" fmla="*/ 24 w 68"/>
              <a:gd name="T23" fmla="*/ 28 h 28"/>
              <a:gd name="T24" fmla="*/ 20 w 68"/>
              <a:gd name="T25" fmla="*/ 28 h 28"/>
              <a:gd name="T26" fmla="*/ 16 w 68"/>
              <a:gd name="T27" fmla="*/ 28 h 28"/>
              <a:gd name="T28" fmla="*/ 12 w 68"/>
              <a:gd name="T29" fmla="*/ 28 h 28"/>
              <a:gd name="T30" fmla="*/ 8 w 68"/>
              <a:gd name="T31" fmla="*/ 28 h 28"/>
              <a:gd name="T32" fmla="*/ 8 w 68"/>
              <a:gd name="T33" fmla="*/ 28 h 28"/>
              <a:gd name="T34" fmla="*/ 12 w 68"/>
              <a:gd name="T35" fmla="*/ 28 h 28"/>
              <a:gd name="T36" fmla="*/ 12 w 68"/>
              <a:gd name="T37" fmla="*/ 28 h 28"/>
              <a:gd name="T38" fmla="*/ 12 w 68"/>
              <a:gd name="T39" fmla="*/ 24 h 28"/>
              <a:gd name="T40" fmla="*/ 12 w 68"/>
              <a:gd name="T41" fmla="*/ 24 h 28"/>
              <a:gd name="T42" fmla="*/ 8 w 68"/>
              <a:gd name="T43" fmla="*/ 24 h 28"/>
              <a:gd name="T44" fmla="*/ 8 w 68"/>
              <a:gd name="T45" fmla="*/ 24 h 28"/>
              <a:gd name="T46" fmla="*/ 4 w 68"/>
              <a:gd name="T47" fmla="*/ 24 h 28"/>
              <a:gd name="T48" fmla="*/ 0 w 68"/>
              <a:gd name="T49" fmla="*/ 20 h 28"/>
              <a:gd name="T50" fmla="*/ 0 w 68"/>
              <a:gd name="T51" fmla="*/ 20 h 28"/>
              <a:gd name="T52" fmla="*/ 4 w 68"/>
              <a:gd name="T53" fmla="*/ 16 h 28"/>
              <a:gd name="T54" fmla="*/ 4 w 68"/>
              <a:gd name="T55" fmla="*/ 14 h 28"/>
              <a:gd name="T56" fmla="*/ 8 w 68"/>
              <a:gd name="T57" fmla="*/ 10 h 28"/>
              <a:gd name="T58" fmla="*/ 8 w 68"/>
              <a:gd name="T59" fmla="*/ 10 h 28"/>
              <a:gd name="T60" fmla="*/ 8 w 68"/>
              <a:gd name="T61" fmla="*/ 16 h 28"/>
              <a:gd name="T62" fmla="*/ 8 w 68"/>
              <a:gd name="T63" fmla="*/ 16 h 28"/>
              <a:gd name="T64" fmla="*/ 12 w 68"/>
              <a:gd name="T65" fmla="*/ 16 h 28"/>
              <a:gd name="T66" fmla="*/ 12 w 68"/>
              <a:gd name="T67" fmla="*/ 16 h 28"/>
              <a:gd name="T68" fmla="*/ 16 w 68"/>
              <a:gd name="T69" fmla="*/ 16 h 28"/>
              <a:gd name="T70" fmla="*/ 16 w 68"/>
              <a:gd name="T71" fmla="*/ 16 h 28"/>
              <a:gd name="T72" fmla="*/ 20 w 68"/>
              <a:gd name="T73" fmla="*/ 14 h 28"/>
              <a:gd name="T74" fmla="*/ 28 w 68"/>
              <a:gd name="T75" fmla="*/ 10 h 28"/>
              <a:gd name="T76" fmla="*/ 30 w 68"/>
              <a:gd name="T77" fmla="*/ 6 h 28"/>
              <a:gd name="T78" fmla="*/ 34 w 68"/>
              <a:gd name="T79" fmla="*/ 2 h 28"/>
              <a:gd name="T80" fmla="*/ 42 w 68"/>
              <a:gd name="T81" fmla="*/ 6 h 28"/>
              <a:gd name="T82" fmla="*/ 42 w 68"/>
              <a:gd name="T83" fmla="*/ 6 h 28"/>
              <a:gd name="T84" fmla="*/ 50 w 68"/>
              <a:gd name="T85" fmla="*/ 6 h 28"/>
              <a:gd name="T86" fmla="*/ 50 w 68"/>
              <a:gd name="T87" fmla="*/ 6 h 28"/>
              <a:gd name="T88" fmla="*/ 50 w 68"/>
              <a:gd name="T89" fmla="*/ 6 h 28"/>
              <a:gd name="T90" fmla="*/ 46 w 68"/>
              <a:gd name="T91" fmla="*/ 6 h 28"/>
              <a:gd name="T92" fmla="*/ 46 w 68"/>
              <a:gd name="T93" fmla="*/ 6 h 28"/>
              <a:gd name="T94" fmla="*/ 50 w 68"/>
              <a:gd name="T95" fmla="*/ 2 h 28"/>
              <a:gd name="T96" fmla="*/ 54 w 68"/>
              <a:gd name="T97" fmla="*/ 2 h 28"/>
              <a:gd name="T98" fmla="*/ 56 w 68"/>
              <a:gd name="T99" fmla="*/ 0 h 28"/>
              <a:gd name="T100" fmla="*/ 64 w 68"/>
              <a:gd name="T101" fmla="*/ 0 h 28"/>
              <a:gd name="T102" fmla="*/ 64 w 68"/>
              <a:gd name="T103" fmla="*/ 2 h 28"/>
              <a:gd name="T104" fmla="*/ 68 w 68"/>
              <a:gd name="T10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8" h="28">
                <a:moveTo>
                  <a:pt x="68" y="0"/>
                </a:moveTo>
                <a:lnTo>
                  <a:pt x="68" y="0"/>
                </a:lnTo>
                <a:lnTo>
                  <a:pt x="68" y="0"/>
                </a:lnTo>
                <a:lnTo>
                  <a:pt x="68" y="0"/>
                </a:lnTo>
                <a:lnTo>
                  <a:pt x="68" y="2"/>
                </a:lnTo>
                <a:lnTo>
                  <a:pt x="68" y="2"/>
                </a:lnTo>
                <a:lnTo>
                  <a:pt x="68" y="2"/>
                </a:lnTo>
                <a:lnTo>
                  <a:pt x="68" y="2"/>
                </a:lnTo>
                <a:lnTo>
                  <a:pt x="68" y="2"/>
                </a:lnTo>
                <a:lnTo>
                  <a:pt x="68" y="2"/>
                </a:lnTo>
                <a:lnTo>
                  <a:pt x="68" y="2"/>
                </a:lnTo>
                <a:lnTo>
                  <a:pt x="68" y="2"/>
                </a:lnTo>
                <a:lnTo>
                  <a:pt x="64" y="2"/>
                </a:lnTo>
                <a:lnTo>
                  <a:pt x="64" y="6"/>
                </a:lnTo>
                <a:lnTo>
                  <a:pt x="60" y="6"/>
                </a:lnTo>
                <a:lnTo>
                  <a:pt x="56" y="10"/>
                </a:lnTo>
                <a:lnTo>
                  <a:pt x="56" y="10"/>
                </a:lnTo>
                <a:lnTo>
                  <a:pt x="54" y="14"/>
                </a:lnTo>
                <a:lnTo>
                  <a:pt x="54" y="14"/>
                </a:lnTo>
                <a:lnTo>
                  <a:pt x="54" y="14"/>
                </a:lnTo>
                <a:lnTo>
                  <a:pt x="54" y="14"/>
                </a:lnTo>
                <a:lnTo>
                  <a:pt x="50" y="14"/>
                </a:lnTo>
                <a:lnTo>
                  <a:pt x="46" y="16"/>
                </a:lnTo>
                <a:lnTo>
                  <a:pt x="46" y="16"/>
                </a:lnTo>
                <a:lnTo>
                  <a:pt x="42" y="16"/>
                </a:lnTo>
                <a:lnTo>
                  <a:pt x="42" y="16"/>
                </a:lnTo>
                <a:lnTo>
                  <a:pt x="42" y="16"/>
                </a:lnTo>
                <a:lnTo>
                  <a:pt x="42" y="16"/>
                </a:lnTo>
                <a:lnTo>
                  <a:pt x="38" y="16"/>
                </a:lnTo>
                <a:lnTo>
                  <a:pt x="34" y="20"/>
                </a:lnTo>
                <a:lnTo>
                  <a:pt x="34" y="20"/>
                </a:lnTo>
                <a:lnTo>
                  <a:pt x="34" y="20"/>
                </a:lnTo>
                <a:lnTo>
                  <a:pt x="30" y="20"/>
                </a:lnTo>
                <a:lnTo>
                  <a:pt x="30" y="24"/>
                </a:lnTo>
                <a:lnTo>
                  <a:pt x="30" y="24"/>
                </a:lnTo>
                <a:lnTo>
                  <a:pt x="30" y="24"/>
                </a:lnTo>
                <a:lnTo>
                  <a:pt x="30" y="24"/>
                </a:lnTo>
                <a:lnTo>
                  <a:pt x="28" y="24"/>
                </a:lnTo>
                <a:lnTo>
                  <a:pt x="28" y="24"/>
                </a:lnTo>
                <a:lnTo>
                  <a:pt x="28" y="28"/>
                </a:lnTo>
                <a:lnTo>
                  <a:pt x="28" y="28"/>
                </a:lnTo>
                <a:lnTo>
                  <a:pt x="28" y="28"/>
                </a:lnTo>
                <a:lnTo>
                  <a:pt x="24" y="28"/>
                </a:lnTo>
                <a:lnTo>
                  <a:pt x="24" y="28"/>
                </a:lnTo>
                <a:lnTo>
                  <a:pt x="24" y="28"/>
                </a:lnTo>
                <a:lnTo>
                  <a:pt x="24" y="28"/>
                </a:lnTo>
                <a:lnTo>
                  <a:pt x="24" y="28"/>
                </a:lnTo>
                <a:lnTo>
                  <a:pt x="24" y="28"/>
                </a:lnTo>
                <a:lnTo>
                  <a:pt x="24" y="28"/>
                </a:lnTo>
                <a:lnTo>
                  <a:pt x="20" y="28"/>
                </a:lnTo>
                <a:lnTo>
                  <a:pt x="20" y="28"/>
                </a:lnTo>
                <a:lnTo>
                  <a:pt x="20" y="28"/>
                </a:lnTo>
                <a:lnTo>
                  <a:pt x="20" y="28"/>
                </a:lnTo>
                <a:lnTo>
                  <a:pt x="20" y="28"/>
                </a:lnTo>
                <a:lnTo>
                  <a:pt x="16" y="28"/>
                </a:lnTo>
                <a:lnTo>
                  <a:pt x="16" y="28"/>
                </a:lnTo>
                <a:lnTo>
                  <a:pt x="16" y="28"/>
                </a:lnTo>
                <a:lnTo>
                  <a:pt x="16" y="28"/>
                </a:lnTo>
                <a:lnTo>
                  <a:pt x="12" y="28"/>
                </a:lnTo>
                <a:lnTo>
                  <a:pt x="12" y="28"/>
                </a:lnTo>
                <a:lnTo>
                  <a:pt x="12" y="28"/>
                </a:lnTo>
                <a:lnTo>
                  <a:pt x="12" y="28"/>
                </a:lnTo>
                <a:lnTo>
                  <a:pt x="12" y="28"/>
                </a:lnTo>
                <a:lnTo>
                  <a:pt x="8" y="28"/>
                </a:lnTo>
                <a:lnTo>
                  <a:pt x="8" y="28"/>
                </a:lnTo>
                <a:lnTo>
                  <a:pt x="8" y="28"/>
                </a:lnTo>
                <a:lnTo>
                  <a:pt x="8" y="28"/>
                </a:lnTo>
                <a:lnTo>
                  <a:pt x="8" y="28"/>
                </a:lnTo>
                <a:lnTo>
                  <a:pt x="8" y="28"/>
                </a:lnTo>
                <a:lnTo>
                  <a:pt x="8" y="28"/>
                </a:lnTo>
                <a:lnTo>
                  <a:pt x="8" y="28"/>
                </a:lnTo>
                <a:lnTo>
                  <a:pt x="12" y="28"/>
                </a:lnTo>
                <a:lnTo>
                  <a:pt x="12" y="28"/>
                </a:lnTo>
                <a:lnTo>
                  <a:pt x="12" y="28"/>
                </a:lnTo>
                <a:lnTo>
                  <a:pt x="12" y="28"/>
                </a:lnTo>
                <a:lnTo>
                  <a:pt x="12" y="28"/>
                </a:lnTo>
                <a:lnTo>
                  <a:pt x="12" y="28"/>
                </a:lnTo>
                <a:lnTo>
                  <a:pt x="12" y="28"/>
                </a:lnTo>
                <a:lnTo>
                  <a:pt x="12" y="24"/>
                </a:lnTo>
                <a:lnTo>
                  <a:pt x="12" y="24"/>
                </a:lnTo>
                <a:lnTo>
                  <a:pt x="12" y="24"/>
                </a:lnTo>
                <a:lnTo>
                  <a:pt x="12" y="24"/>
                </a:lnTo>
                <a:lnTo>
                  <a:pt x="12" y="24"/>
                </a:lnTo>
                <a:lnTo>
                  <a:pt x="12" y="24"/>
                </a:lnTo>
                <a:lnTo>
                  <a:pt x="12" y="24"/>
                </a:lnTo>
                <a:lnTo>
                  <a:pt x="8" y="24"/>
                </a:lnTo>
                <a:lnTo>
                  <a:pt x="8" y="24"/>
                </a:lnTo>
                <a:lnTo>
                  <a:pt x="8" y="24"/>
                </a:lnTo>
                <a:lnTo>
                  <a:pt x="8" y="24"/>
                </a:lnTo>
                <a:lnTo>
                  <a:pt x="8" y="24"/>
                </a:lnTo>
                <a:lnTo>
                  <a:pt x="8" y="24"/>
                </a:lnTo>
                <a:lnTo>
                  <a:pt x="8" y="24"/>
                </a:lnTo>
                <a:lnTo>
                  <a:pt x="8" y="24"/>
                </a:lnTo>
                <a:lnTo>
                  <a:pt x="4" y="24"/>
                </a:lnTo>
                <a:lnTo>
                  <a:pt x="4" y="24"/>
                </a:lnTo>
                <a:lnTo>
                  <a:pt x="4" y="24"/>
                </a:lnTo>
                <a:lnTo>
                  <a:pt x="0" y="24"/>
                </a:lnTo>
                <a:lnTo>
                  <a:pt x="0" y="20"/>
                </a:lnTo>
                <a:lnTo>
                  <a:pt x="0" y="20"/>
                </a:lnTo>
                <a:lnTo>
                  <a:pt x="0" y="20"/>
                </a:lnTo>
                <a:lnTo>
                  <a:pt x="0" y="20"/>
                </a:lnTo>
                <a:lnTo>
                  <a:pt x="0" y="20"/>
                </a:lnTo>
                <a:lnTo>
                  <a:pt x="0" y="20"/>
                </a:lnTo>
                <a:lnTo>
                  <a:pt x="0" y="20"/>
                </a:lnTo>
                <a:lnTo>
                  <a:pt x="4" y="20"/>
                </a:lnTo>
                <a:lnTo>
                  <a:pt x="4" y="16"/>
                </a:lnTo>
                <a:lnTo>
                  <a:pt x="4" y="16"/>
                </a:lnTo>
                <a:lnTo>
                  <a:pt x="4" y="16"/>
                </a:lnTo>
                <a:lnTo>
                  <a:pt x="4" y="16"/>
                </a:lnTo>
                <a:lnTo>
                  <a:pt x="4" y="16"/>
                </a:lnTo>
                <a:lnTo>
                  <a:pt x="4" y="16"/>
                </a:lnTo>
                <a:lnTo>
                  <a:pt x="4" y="14"/>
                </a:lnTo>
                <a:lnTo>
                  <a:pt x="8" y="14"/>
                </a:lnTo>
                <a:lnTo>
                  <a:pt x="8" y="14"/>
                </a:lnTo>
                <a:lnTo>
                  <a:pt x="8" y="10"/>
                </a:lnTo>
                <a:lnTo>
                  <a:pt x="8" y="10"/>
                </a:lnTo>
                <a:lnTo>
                  <a:pt x="8" y="10"/>
                </a:lnTo>
                <a:lnTo>
                  <a:pt x="8" y="10"/>
                </a:lnTo>
                <a:lnTo>
                  <a:pt x="8" y="10"/>
                </a:lnTo>
                <a:lnTo>
                  <a:pt x="8" y="10"/>
                </a:lnTo>
                <a:lnTo>
                  <a:pt x="8" y="14"/>
                </a:lnTo>
                <a:lnTo>
                  <a:pt x="8" y="14"/>
                </a:lnTo>
                <a:lnTo>
                  <a:pt x="8" y="14"/>
                </a:lnTo>
                <a:lnTo>
                  <a:pt x="8" y="16"/>
                </a:lnTo>
                <a:lnTo>
                  <a:pt x="8" y="16"/>
                </a:lnTo>
                <a:lnTo>
                  <a:pt x="8" y="16"/>
                </a:lnTo>
                <a:lnTo>
                  <a:pt x="8" y="16"/>
                </a:lnTo>
                <a:lnTo>
                  <a:pt x="8" y="16"/>
                </a:lnTo>
                <a:lnTo>
                  <a:pt x="8" y="16"/>
                </a:lnTo>
                <a:lnTo>
                  <a:pt x="8" y="16"/>
                </a:lnTo>
                <a:lnTo>
                  <a:pt x="8" y="16"/>
                </a:lnTo>
                <a:lnTo>
                  <a:pt x="12" y="16"/>
                </a:lnTo>
                <a:lnTo>
                  <a:pt x="12" y="16"/>
                </a:lnTo>
                <a:lnTo>
                  <a:pt x="12" y="16"/>
                </a:lnTo>
                <a:lnTo>
                  <a:pt x="12" y="16"/>
                </a:lnTo>
                <a:lnTo>
                  <a:pt x="12" y="16"/>
                </a:lnTo>
                <a:lnTo>
                  <a:pt x="12" y="16"/>
                </a:lnTo>
                <a:lnTo>
                  <a:pt x="12" y="16"/>
                </a:lnTo>
                <a:lnTo>
                  <a:pt x="12" y="16"/>
                </a:lnTo>
                <a:lnTo>
                  <a:pt x="16" y="16"/>
                </a:lnTo>
                <a:lnTo>
                  <a:pt x="16" y="16"/>
                </a:lnTo>
                <a:lnTo>
                  <a:pt x="16" y="16"/>
                </a:lnTo>
                <a:lnTo>
                  <a:pt x="16" y="16"/>
                </a:lnTo>
                <a:lnTo>
                  <a:pt x="16" y="16"/>
                </a:lnTo>
                <a:lnTo>
                  <a:pt x="16" y="14"/>
                </a:lnTo>
                <a:lnTo>
                  <a:pt x="16" y="14"/>
                </a:lnTo>
                <a:lnTo>
                  <a:pt x="16" y="14"/>
                </a:lnTo>
                <a:lnTo>
                  <a:pt x="20" y="14"/>
                </a:lnTo>
                <a:lnTo>
                  <a:pt x="24" y="10"/>
                </a:lnTo>
                <a:lnTo>
                  <a:pt x="24" y="10"/>
                </a:lnTo>
                <a:lnTo>
                  <a:pt x="28" y="10"/>
                </a:lnTo>
                <a:lnTo>
                  <a:pt x="28" y="10"/>
                </a:lnTo>
                <a:lnTo>
                  <a:pt x="28" y="6"/>
                </a:lnTo>
                <a:lnTo>
                  <a:pt x="30" y="6"/>
                </a:lnTo>
                <a:lnTo>
                  <a:pt x="30" y="6"/>
                </a:lnTo>
                <a:lnTo>
                  <a:pt x="30" y="6"/>
                </a:lnTo>
                <a:lnTo>
                  <a:pt x="30" y="6"/>
                </a:lnTo>
                <a:lnTo>
                  <a:pt x="34" y="6"/>
                </a:lnTo>
                <a:lnTo>
                  <a:pt x="34" y="2"/>
                </a:lnTo>
                <a:lnTo>
                  <a:pt x="34" y="2"/>
                </a:lnTo>
                <a:lnTo>
                  <a:pt x="38" y="2"/>
                </a:lnTo>
                <a:lnTo>
                  <a:pt x="38" y="6"/>
                </a:lnTo>
                <a:lnTo>
                  <a:pt x="38" y="6"/>
                </a:lnTo>
                <a:lnTo>
                  <a:pt x="42" y="6"/>
                </a:lnTo>
                <a:lnTo>
                  <a:pt x="42" y="6"/>
                </a:lnTo>
                <a:lnTo>
                  <a:pt x="42" y="6"/>
                </a:lnTo>
                <a:lnTo>
                  <a:pt x="42" y="6"/>
                </a:lnTo>
                <a:lnTo>
                  <a:pt x="42" y="6"/>
                </a:lnTo>
                <a:lnTo>
                  <a:pt x="46" y="6"/>
                </a:lnTo>
                <a:lnTo>
                  <a:pt x="46" y="6"/>
                </a:lnTo>
                <a:lnTo>
                  <a:pt x="46" y="6"/>
                </a:lnTo>
                <a:lnTo>
                  <a:pt x="50" y="6"/>
                </a:lnTo>
                <a:lnTo>
                  <a:pt x="50" y="6"/>
                </a:lnTo>
                <a:lnTo>
                  <a:pt x="50" y="6"/>
                </a:lnTo>
                <a:lnTo>
                  <a:pt x="50" y="6"/>
                </a:lnTo>
                <a:lnTo>
                  <a:pt x="50" y="6"/>
                </a:lnTo>
                <a:lnTo>
                  <a:pt x="50" y="6"/>
                </a:lnTo>
                <a:lnTo>
                  <a:pt x="50" y="6"/>
                </a:lnTo>
                <a:lnTo>
                  <a:pt x="50" y="6"/>
                </a:lnTo>
                <a:lnTo>
                  <a:pt x="50" y="6"/>
                </a:lnTo>
                <a:lnTo>
                  <a:pt x="50" y="6"/>
                </a:lnTo>
                <a:lnTo>
                  <a:pt x="46" y="6"/>
                </a:lnTo>
                <a:lnTo>
                  <a:pt x="46" y="6"/>
                </a:lnTo>
                <a:lnTo>
                  <a:pt x="46" y="6"/>
                </a:lnTo>
                <a:lnTo>
                  <a:pt x="46" y="6"/>
                </a:lnTo>
                <a:lnTo>
                  <a:pt x="46" y="6"/>
                </a:lnTo>
                <a:lnTo>
                  <a:pt x="46" y="6"/>
                </a:lnTo>
                <a:lnTo>
                  <a:pt x="46" y="6"/>
                </a:lnTo>
                <a:lnTo>
                  <a:pt x="46" y="2"/>
                </a:lnTo>
                <a:lnTo>
                  <a:pt x="50" y="2"/>
                </a:lnTo>
                <a:lnTo>
                  <a:pt x="50" y="2"/>
                </a:lnTo>
                <a:lnTo>
                  <a:pt x="50" y="2"/>
                </a:lnTo>
                <a:lnTo>
                  <a:pt x="50" y="2"/>
                </a:lnTo>
                <a:lnTo>
                  <a:pt x="50" y="2"/>
                </a:lnTo>
                <a:lnTo>
                  <a:pt x="50" y="2"/>
                </a:lnTo>
                <a:lnTo>
                  <a:pt x="54" y="2"/>
                </a:lnTo>
                <a:lnTo>
                  <a:pt x="54" y="2"/>
                </a:lnTo>
                <a:lnTo>
                  <a:pt x="56" y="0"/>
                </a:lnTo>
                <a:lnTo>
                  <a:pt x="56" y="0"/>
                </a:lnTo>
                <a:lnTo>
                  <a:pt x="56" y="0"/>
                </a:lnTo>
                <a:lnTo>
                  <a:pt x="56" y="0"/>
                </a:lnTo>
                <a:lnTo>
                  <a:pt x="60" y="0"/>
                </a:lnTo>
                <a:lnTo>
                  <a:pt x="60" y="0"/>
                </a:lnTo>
                <a:lnTo>
                  <a:pt x="64" y="0"/>
                </a:lnTo>
                <a:lnTo>
                  <a:pt x="64" y="0"/>
                </a:lnTo>
                <a:lnTo>
                  <a:pt x="64" y="0"/>
                </a:lnTo>
                <a:lnTo>
                  <a:pt x="64" y="0"/>
                </a:lnTo>
                <a:lnTo>
                  <a:pt x="64" y="2"/>
                </a:lnTo>
                <a:lnTo>
                  <a:pt x="64" y="2"/>
                </a:lnTo>
                <a:lnTo>
                  <a:pt x="64" y="0"/>
                </a:lnTo>
                <a:lnTo>
                  <a:pt x="64" y="0"/>
                </a:lnTo>
                <a:lnTo>
                  <a:pt x="68" y="0"/>
                </a:lnTo>
                <a:lnTo>
                  <a:pt x="68" y="0"/>
                </a:lnTo>
                <a:lnTo>
                  <a:pt x="68" y="0"/>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19" name="Freeform 227"/>
          <p:cNvSpPr>
            <a:spLocks noEditPoints="1"/>
          </p:cNvSpPr>
          <p:nvPr/>
        </p:nvSpPr>
        <p:spPr bwMode="auto">
          <a:xfrm>
            <a:off x="5407819" y="2926556"/>
            <a:ext cx="492919" cy="635794"/>
          </a:xfrm>
          <a:custGeom>
            <a:avLst/>
            <a:gdLst>
              <a:gd name="T0" fmla="*/ 34 w 414"/>
              <a:gd name="T1" fmla="*/ 226 h 534"/>
              <a:gd name="T2" fmla="*/ 26 w 414"/>
              <a:gd name="T3" fmla="*/ 198 h 534"/>
              <a:gd name="T4" fmla="*/ 30 w 414"/>
              <a:gd name="T5" fmla="*/ 162 h 534"/>
              <a:gd name="T6" fmla="*/ 60 w 414"/>
              <a:gd name="T7" fmla="*/ 146 h 534"/>
              <a:gd name="T8" fmla="*/ 90 w 414"/>
              <a:gd name="T9" fmla="*/ 106 h 534"/>
              <a:gd name="T10" fmla="*/ 92 w 414"/>
              <a:gd name="T11" fmla="*/ 80 h 534"/>
              <a:gd name="T12" fmla="*/ 76 w 414"/>
              <a:gd name="T13" fmla="*/ 42 h 534"/>
              <a:gd name="T14" fmla="*/ 122 w 414"/>
              <a:gd name="T15" fmla="*/ 20 h 534"/>
              <a:gd name="T16" fmla="*/ 140 w 414"/>
              <a:gd name="T17" fmla="*/ 28 h 534"/>
              <a:gd name="T18" fmla="*/ 156 w 414"/>
              <a:gd name="T19" fmla="*/ 68 h 534"/>
              <a:gd name="T20" fmla="*/ 148 w 414"/>
              <a:gd name="T21" fmla="*/ 94 h 534"/>
              <a:gd name="T22" fmla="*/ 178 w 414"/>
              <a:gd name="T23" fmla="*/ 116 h 534"/>
              <a:gd name="T24" fmla="*/ 170 w 414"/>
              <a:gd name="T25" fmla="*/ 150 h 534"/>
              <a:gd name="T26" fmla="*/ 212 w 414"/>
              <a:gd name="T27" fmla="*/ 170 h 534"/>
              <a:gd name="T28" fmla="*/ 242 w 414"/>
              <a:gd name="T29" fmla="*/ 184 h 534"/>
              <a:gd name="T30" fmla="*/ 278 w 414"/>
              <a:gd name="T31" fmla="*/ 188 h 534"/>
              <a:gd name="T32" fmla="*/ 290 w 414"/>
              <a:gd name="T33" fmla="*/ 162 h 534"/>
              <a:gd name="T34" fmla="*/ 316 w 414"/>
              <a:gd name="T35" fmla="*/ 184 h 534"/>
              <a:gd name="T36" fmla="*/ 334 w 414"/>
              <a:gd name="T37" fmla="*/ 166 h 534"/>
              <a:gd name="T38" fmla="*/ 372 w 414"/>
              <a:gd name="T39" fmla="*/ 140 h 534"/>
              <a:gd name="T40" fmla="*/ 394 w 414"/>
              <a:gd name="T41" fmla="*/ 140 h 534"/>
              <a:gd name="T42" fmla="*/ 410 w 414"/>
              <a:gd name="T43" fmla="*/ 166 h 534"/>
              <a:gd name="T44" fmla="*/ 380 w 414"/>
              <a:gd name="T45" fmla="*/ 188 h 534"/>
              <a:gd name="T46" fmla="*/ 364 w 414"/>
              <a:gd name="T47" fmla="*/ 236 h 534"/>
              <a:gd name="T48" fmla="*/ 350 w 414"/>
              <a:gd name="T49" fmla="*/ 256 h 534"/>
              <a:gd name="T50" fmla="*/ 338 w 414"/>
              <a:gd name="T51" fmla="*/ 248 h 534"/>
              <a:gd name="T52" fmla="*/ 328 w 414"/>
              <a:gd name="T53" fmla="*/ 244 h 534"/>
              <a:gd name="T54" fmla="*/ 342 w 414"/>
              <a:gd name="T55" fmla="*/ 218 h 534"/>
              <a:gd name="T56" fmla="*/ 304 w 414"/>
              <a:gd name="T57" fmla="*/ 198 h 534"/>
              <a:gd name="T58" fmla="*/ 286 w 414"/>
              <a:gd name="T59" fmla="*/ 184 h 534"/>
              <a:gd name="T60" fmla="*/ 286 w 414"/>
              <a:gd name="T61" fmla="*/ 214 h 534"/>
              <a:gd name="T62" fmla="*/ 286 w 414"/>
              <a:gd name="T63" fmla="*/ 236 h 534"/>
              <a:gd name="T64" fmla="*/ 290 w 414"/>
              <a:gd name="T65" fmla="*/ 270 h 534"/>
              <a:gd name="T66" fmla="*/ 282 w 414"/>
              <a:gd name="T67" fmla="*/ 274 h 534"/>
              <a:gd name="T68" fmla="*/ 268 w 414"/>
              <a:gd name="T69" fmla="*/ 278 h 534"/>
              <a:gd name="T70" fmla="*/ 248 w 414"/>
              <a:gd name="T71" fmla="*/ 306 h 534"/>
              <a:gd name="T72" fmla="*/ 230 w 414"/>
              <a:gd name="T73" fmla="*/ 318 h 534"/>
              <a:gd name="T74" fmla="*/ 200 w 414"/>
              <a:gd name="T75" fmla="*/ 352 h 534"/>
              <a:gd name="T76" fmla="*/ 178 w 414"/>
              <a:gd name="T77" fmla="*/ 378 h 534"/>
              <a:gd name="T78" fmla="*/ 170 w 414"/>
              <a:gd name="T79" fmla="*/ 412 h 534"/>
              <a:gd name="T80" fmla="*/ 162 w 414"/>
              <a:gd name="T81" fmla="*/ 442 h 534"/>
              <a:gd name="T82" fmla="*/ 152 w 414"/>
              <a:gd name="T83" fmla="*/ 478 h 534"/>
              <a:gd name="T84" fmla="*/ 126 w 414"/>
              <a:gd name="T85" fmla="*/ 508 h 534"/>
              <a:gd name="T86" fmla="*/ 114 w 414"/>
              <a:gd name="T87" fmla="*/ 486 h 534"/>
              <a:gd name="T88" fmla="*/ 96 w 414"/>
              <a:gd name="T89" fmla="*/ 442 h 534"/>
              <a:gd name="T90" fmla="*/ 86 w 414"/>
              <a:gd name="T91" fmla="*/ 396 h 534"/>
              <a:gd name="T92" fmla="*/ 70 w 414"/>
              <a:gd name="T93" fmla="*/ 358 h 534"/>
              <a:gd name="T94" fmla="*/ 62 w 414"/>
              <a:gd name="T95" fmla="*/ 322 h 534"/>
              <a:gd name="T96" fmla="*/ 62 w 414"/>
              <a:gd name="T97" fmla="*/ 286 h 534"/>
              <a:gd name="T98" fmla="*/ 60 w 414"/>
              <a:gd name="T99" fmla="*/ 270 h 534"/>
              <a:gd name="T100" fmla="*/ 56 w 414"/>
              <a:gd name="T101" fmla="*/ 270 h 534"/>
              <a:gd name="T102" fmla="*/ 22 w 414"/>
              <a:gd name="T103" fmla="*/ 282 h 534"/>
              <a:gd name="T104" fmla="*/ 30 w 414"/>
              <a:gd name="T105" fmla="*/ 256 h 534"/>
              <a:gd name="T106" fmla="*/ 4 w 414"/>
              <a:gd name="T107" fmla="*/ 240 h 534"/>
              <a:gd name="T108" fmla="*/ 346 w 414"/>
              <a:gd name="T109" fmla="*/ 442 h 534"/>
              <a:gd name="T110" fmla="*/ 346 w 414"/>
              <a:gd name="T111" fmla="*/ 490 h 534"/>
              <a:gd name="T112" fmla="*/ 354 w 414"/>
              <a:gd name="T113" fmla="*/ 512 h 534"/>
              <a:gd name="T114" fmla="*/ 350 w 414"/>
              <a:gd name="T115" fmla="*/ 426 h 534"/>
              <a:gd name="T116" fmla="*/ 346 w 414"/>
              <a:gd name="T117" fmla="*/ 438 h 534"/>
              <a:gd name="T118" fmla="*/ 346 w 414"/>
              <a:gd name="T119" fmla="*/ 442 h 534"/>
              <a:gd name="T120" fmla="*/ 360 w 414"/>
              <a:gd name="T121" fmla="*/ 528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14" h="534">
                <a:moveTo>
                  <a:pt x="0" y="236"/>
                </a:moveTo>
                <a:lnTo>
                  <a:pt x="0" y="232"/>
                </a:lnTo>
                <a:lnTo>
                  <a:pt x="4" y="232"/>
                </a:lnTo>
                <a:lnTo>
                  <a:pt x="6" y="232"/>
                </a:lnTo>
                <a:lnTo>
                  <a:pt x="6" y="228"/>
                </a:lnTo>
                <a:lnTo>
                  <a:pt x="6" y="226"/>
                </a:lnTo>
                <a:lnTo>
                  <a:pt x="10" y="226"/>
                </a:lnTo>
                <a:lnTo>
                  <a:pt x="10" y="228"/>
                </a:lnTo>
                <a:lnTo>
                  <a:pt x="14" y="228"/>
                </a:lnTo>
                <a:lnTo>
                  <a:pt x="18" y="228"/>
                </a:lnTo>
                <a:lnTo>
                  <a:pt x="22" y="228"/>
                </a:lnTo>
                <a:lnTo>
                  <a:pt x="26" y="228"/>
                </a:lnTo>
                <a:lnTo>
                  <a:pt x="26" y="226"/>
                </a:lnTo>
                <a:lnTo>
                  <a:pt x="30" y="226"/>
                </a:lnTo>
                <a:lnTo>
                  <a:pt x="34" y="226"/>
                </a:lnTo>
                <a:lnTo>
                  <a:pt x="34" y="228"/>
                </a:lnTo>
                <a:lnTo>
                  <a:pt x="36" y="228"/>
                </a:lnTo>
                <a:lnTo>
                  <a:pt x="36" y="226"/>
                </a:lnTo>
                <a:lnTo>
                  <a:pt x="40" y="226"/>
                </a:lnTo>
                <a:lnTo>
                  <a:pt x="36" y="226"/>
                </a:lnTo>
                <a:lnTo>
                  <a:pt x="36" y="222"/>
                </a:lnTo>
                <a:lnTo>
                  <a:pt x="40" y="222"/>
                </a:lnTo>
                <a:lnTo>
                  <a:pt x="36" y="218"/>
                </a:lnTo>
                <a:lnTo>
                  <a:pt x="36" y="214"/>
                </a:lnTo>
                <a:lnTo>
                  <a:pt x="36" y="210"/>
                </a:lnTo>
                <a:lnTo>
                  <a:pt x="34" y="210"/>
                </a:lnTo>
                <a:lnTo>
                  <a:pt x="34" y="206"/>
                </a:lnTo>
                <a:lnTo>
                  <a:pt x="34" y="202"/>
                </a:lnTo>
                <a:lnTo>
                  <a:pt x="30" y="202"/>
                </a:lnTo>
                <a:lnTo>
                  <a:pt x="26" y="198"/>
                </a:lnTo>
                <a:lnTo>
                  <a:pt x="26" y="196"/>
                </a:lnTo>
                <a:lnTo>
                  <a:pt x="26" y="192"/>
                </a:lnTo>
                <a:lnTo>
                  <a:pt x="26" y="188"/>
                </a:lnTo>
                <a:lnTo>
                  <a:pt x="26" y="184"/>
                </a:lnTo>
                <a:lnTo>
                  <a:pt x="22" y="184"/>
                </a:lnTo>
                <a:lnTo>
                  <a:pt x="18" y="184"/>
                </a:lnTo>
                <a:lnTo>
                  <a:pt x="18" y="180"/>
                </a:lnTo>
                <a:lnTo>
                  <a:pt x="18" y="176"/>
                </a:lnTo>
                <a:lnTo>
                  <a:pt x="18" y="172"/>
                </a:lnTo>
                <a:lnTo>
                  <a:pt x="22" y="172"/>
                </a:lnTo>
                <a:lnTo>
                  <a:pt x="22" y="170"/>
                </a:lnTo>
                <a:lnTo>
                  <a:pt x="26" y="170"/>
                </a:lnTo>
                <a:lnTo>
                  <a:pt x="26" y="166"/>
                </a:lnTo>
                <a:lnTo>
                  <a:pt x="26" y="162"/>
                </a:lnTo>
                <a:lnTo>
                  <a:pt x="30" y="162"/>
                </a:lnTo>
                <a:lnTo>
                  <a:pt x="30" y="158"/>
                </a:lnTo>
                <a:lnTo>
                  <a:pt x="34" y="158"/>
                </a:lnTo>
                <a:lnTo>
                  <a:pt x="34" y="162"/>
                </a:lnTo>
                <a:lnTo>
                  <a:pt x="34" y="166"/>
                </a:lnTo>
                <a:lnTo>
                  <a:pt x="36" y="166"/>
                </a:lnTo>
                <a:lnTo>
                  <a:pt x="40" y="166"/>
                </a:lnTo>
                <a:lnTo>
                  <a:pt x="40" y="162"/>
                </a:lnTo>
                <a:lnTo>
                  <a:pt x="44" y="162"/>
                </a:lnTo>
                <a:lnTo>
                  <a:pt x="48" y="162"/>
                </a:lnTo>
                <a:lnTo>
                  <a:pt x="52" y="162"/>
                </a:lnTo>
                <a:lnTo>
                  <a:pt x="52" y="158"/>
                </a:lnTo>
                <a:lnTo>
                  <a:pt x="56" y="154"/>
                </a:lnTo>
                <a:lnTo>
                  <a:pt x="56" y="150"/>
                </a:lnTo>
                <a:lnTo>
                  <a:pt x="56" y="146"/>
                </a:lnTo>
                <a:lnTo>
                  <a:pt x="60" y="146"/>
                </a:lnTo>
                <a:lnTo>
                  <a:pt x="60" y="142"/>
                </a:lnTo>
                <a:lnTo>
                  <a:pt x="62" y="142"/>
                </a:lnTo>
                <a:lnTo>
                  <a:pt x="66" y="142"/>
                </a:lnTo>
                <a:lnTo>
                  <a:pt x="66" y="140"/>
                </a:lnTo>
                <a:lnTo>
                  <a:pt x="70" y="132"/>
                </a:lnTo>
                <a:lnTo>
                  <a:pt x="70" y="128"/>
                </a:lnTo>
                <a:lnTo>
                  <a:pt x="74" y="124"/>
                </a:lnTo>
                <a:lnTo>
                  <a:pt x="78" y="124"/>
                </a:lnTo>
                <a:lnTo>
                  <a:pt x="82" y="120"/>
                </a:lnTo>
                <a:lnTo>
                  <a:pt x="82" y="116"/>
                </a:lnTo>
                <a:lnTo>
                  <a:pt x="78" y="116"/>
                </a:lnTo>
                <a:lnTo>
                  <a:pt x="82" y="112"/>
                </a:lnTo>
                <a:lnTo>
                  <a:pt x="86" y="110"/>
                </a:lnTo>
                <a:lnTo>
                  <a:pt x="86" y="106"/>
                </a:lnTo>
                <a:lnTo>
                  <a:pt x="90" y="106"/>
                </a:lnTo>
                <a:lnTo>
                  <a:pt x="92" y="102"/>
                </a:lnTo>
                <a:lnTo>
                  <a:pt x="90" y="102"/>
                </a:lnTo>
                <a:lnTo>
                  <a:pt x="90" y="106"/>
                </a:lnTo>
                <a:lnTo>
                  <a:pt x="90" y="102"/>
                </a:lnTo>
                <a:lnTo>
                  <a:pt x="90" y="98"/>
                </a:lnTo>
                <a:lnTo>
                  <a:pt x="90" y="94"/>
                </a:lnTo>
                <a:lnTo>
                  <a:pt x="90" y="90"/>
                </a:lnTo>
                <a:lnTo>
                  <a:pt x="90" y="86"/>
                </a:lnTo>
                <a:lnTo>
                  <a:pt x="92" y="86"/>
                </a:lnTo>
                <a:lnTo>
                  <a:pt x="96" y="86"/>
                </a:lnTo>
                <a:lnTo>
                  <a:pt x="100" y="86"/>
                </a:lnTo>
                <a:lnTo>
                  <a:pt x="100" y="82"/>
                </a:lnTo>
                <a:lnTo>
                  <a:pt x="100" y="80"/>
                </a:lnTo>
                <a:lnTo>
                  <a:pt x="96" y="80"/>
                </a:lnTo>
                <a:lnTo>
                  <a:pt x="92" y="80"/>
                </a:lnTo>
                <a:lnTo>
                  <a:pt x="92" y="80"/>
                </a:lnTo>
                <a:lnTo>
                  <a:pt x="90" y="80"/>
                </a:lnTo>
                <a:lnTo>
                  <a:pt x="88" y="78"/>
                </a:lnTo>
                <a:lnTo>
                  <a:pt x="86" y="78"/>
                </a:lnTo>
                <a:lnTo>
                  <a:pt x="84" y="76"/>
                </a:lnTo>
                <a:lnTo>
                  <a:pt x="82" y="76"/>
                </a:lnTo>
                <a:lnTo>
                  <a:pt x="80" y="72"/>
                </a:lnTo>
                <a:lnTo>
                  <a:pt x="78" y="72"/>
                </a:lnTo>
                <a:lnTo>
                  <a:pt x="76" y="70"/>
                </a:lnTo>
                <a:lnTo>
                  <a:pt x="76" y="66"/>
                </a:lnTo>
                <a:lnTo>
                  <a:pt x="76" y="62"/>
                </a:lnTo>
                <a:lnTo>
                  <a:pt x="76" y="58"/>
                </a:lnTo>
                <a:lnTo>
                  <a:pt x="74" y="54"/>
                </a:lnTo>
                <a:lnTo>
                  <a:pt x="74" y="48"/>
                </a:lnTo>
                <a:lnTo>
                  <a:pt x="76" y="42"/>
                </a:lnTo>
                <a:lnTo>
                  <a:pt x="84" y="36"/>
                </a:lnTo>
                <a:lnTo>
                  <a:pt x="66" y="22"/>
                </a:lnTo>
                <a:lnTo>
                  <a:pt x="62" y="18"/>
                </a:lnTo>
                <a:lnTo>
                  <a:pt x="66" y="10"/>
                </a:lnTo>
                <a:lnTo>
                  <a:pt x="78" y="4"/>
                </a:lnTo>
                <a:lnTo>
                  <a:pt x="88" y="2"/>
                </a:lnTo>
                <a:lnTo>
                  <a:pt x="92" y="0"/>
                </a:lnTo>
                <a:lnTo>
                  <a:pt x="100" y="0"/>
                </a:lnTo>
                <a:lnTo>
                  <a:pt x="104" y="4"/>
                </a:lnTo>
                <a:lnTo>
                  <a:pt x="114" y="12"/>
                </a:lnTo>
                <a:lnTo>
                  <a:pt x="118" y="18"/>
                </a:lnTo>
                <a:lnTo>
                  <a:pt x="118" y="18"/>
                </a:lnTo>
                <a:lnTo>
                  <a:pt x="120" y="18"/>
                </a:lnTo>
                <a:lnTo>
                  <a:pt x="120" y="18"/>
                </a:lnTo>
                <a:lnTo>
                  <a:pt x="122" y="20"/>
                </a:lnTo>
                <a:lnTo>
                  <a:pt x="124" y="20"/>
                </a:lnTo>
                <a:lnTo>
                  <a:pt x="124" y="20"/>
                </a:lnTo>
                <a:lnTo>
                  <a:pt x="128" y="22"/>
                </a:lnTo>
                <a:lnTo>
                  <a:pt x="126" y="26"/>
                </a:lnTo>
                <a:lnTo>
                  <a:pt x="126" y="26"/>
                </a:lnTo>
                <a:lnTo>
                  <a:pt x="130" y="26"/>
                </a:lnTo>
                <a:lnTo>
                  <a:pt x="132" y="28"/>
                </a:lnTo>
                <a:lnTo>
                  <a:pt x="132" y="28"/>
                </a:lnTo>
                <a:lnTo>
                  <a:pt x="132" y="28"/>
                </a:lnTo>
                <a:lnTo>
                  <a:pt x="130" y="28"/>
                </a:lnTo>
                <a:lnTo>
                  <a:pt x="130" y="28"/>
                </a:lnTo>
                <a:lnTo>
                  <a:pt x="132" y="30"/>
                </a:lnTo>
                <a:lnTo>
                  <a:pt x="132" y="30"/>
                </a:lnTo>
                <a:lnTo>
                  <a:pt x="132" y="30"/>
                </a:lnTo>
                <a:lnTo>
                  <a:pt x="140" y="28"/>
                </a:lnTo>
                <a:lnTo>
                  <a:pt x="142" y="26"/>
                </a:lnTo>
                <a:lnTo>
                  <a:pt x="148" y="24"/>
                </a:lnTo>
                <a:lnTo>
                  <a:pt x="152" y="24"/>
                </a:lnTo>
                <a:lnTo>
                  <a:pt x="158" y="22"/>
                </a:lnTo>
                <a:lnTo>
                  <a:pt x="168" y="30"/>
                </a:lnTo>
                <a:lnTo>
                  <a:pt x="168" y="36"/>
                </a:lnTo>
                <a:lnTo>
                  <a:pt x="166" y="44"/>
                </a:lnTo>
                <a:lnTo>
                  <a:pt x="158" y="52"/>
                </a:lnTo>
                <a:lnTo>
                  <a:pt x="156" y="54"/>
                </a:lnTo>
                <a:lnTo>
                  <a:pt x="148" y="54"/>
                </a:lnTo>
                <a:lnTo>
                  <a:pt x="148" y="60"/>
                </a:lnTo>
                <a:lnTo>
                  <a:pt x="152" y="60"/>
                </a:lnTo>
                <a:lnTo>
                  <a:pt x="152" y="64"/>
                </a:lnTo>
                <a:lnTo>
                  <a:pt x="156" y="64"/>
                </a:lnTo>
                <a:lnTo>
                  <a:pt x="156" y="68"/>
                </a:lnTo>
                <a:lnTo>
                  <a:pt x="156" y="72"/>
                </a:lnTo>
                <a:lnTo>
                  <a:pt x="160" y="72"/>
                </a:lnTo>
                <a:lnTo>
                  <a:pt x="160" y="76"/>
                </a:lnTo>
                <a:lnTo>
                  <a:pt x="156" y="80"/>
                </a:lnTo>
                <a:lnTo>
                  <a:pt x="156" y="76"/>
                </a:lnTo>
                <a:lnTo>
                  <a:pt x="152" y="80"/>
                </a:lnTo>
                <a:lnTo>
                  <a:pt x="148" y="80"/>
                </a:lnTo>
                <a:lnTo>
                  <a:pt x="148" y="76"/>
                </a:lnTo>
                <a:lnTo>
                  <a:pt x="144" y="76"/>
                </a:lnTo>
                <a:lnTo>
                  <a:pt x="144" y="80"/>
                </a:lnTo>
                <a:lnTo>
                  <a:pt x="144" y="82"/>
                </a:lnTo>
                <a:lnTo>
                  <a:pt x="144" y="86"/>
                </a:lnTo>
                <a:lnTo>
                  <a:pt x="148" y="86"/>
                </a:lnTo>
                <a:lnTo>
                  <a:pt x="148" y="90"/>
                </a:lnTo>
                <a:lnTo>
                  <a:pt x="148" y="94"/>
                </a:lnTo>
                <a:lnTo>
                  <a:pt x="148" y="98"/>
                </a:lnTo>
                <a:lnTo>
                  <a:pt x="148" y="102"/>
                </a:lnTo>
                <a:lnTo>
                  <a:pt x="148" y="98"/>
                </a:lnTo>
                <a:lnTo>
                  <a:pt x="152" y="98"/>
                </a:lnTo>
                <a:lnTo>
                  <a:pt x="156" y="98"/>
                </a:lnTo>
                <a:lnTo>
                  <a:pt x="156" y="102"/>
                </a:lnTo>
                <a:lnTo>
                  <a:pt x="156" y="106"/>
                </a:lnTo>
                <a:lnTo>
                  <a:pt x="160" y="106"/>
                </a:lnTo>
                <a:lnTo>
                  <a:pt x="162" y="106"/>
                </a:lnTo>
                <a:lnTo>
                  <a:pt x="166" y="110"/>
                </a:lnTo>
                <a:lnTo>
                  <a:pt x="170" y="110"/>
                </a:lnTo>
                <a:lnTo>
                  <a:pt x="166" y="112"/>
                </a:lnTo>
                <a:lnTo>
                  <a:pt x="170" y="112"/>
                </a:lnTo>
                <a:lnTo>
                  <a:pt x="174" y="116"/>
                </a:lnTo>
                <a:lnTo>
                  <a:pt x="178" y="116"/>
                </a:lnTo>
                <a:lnTo>
                  <a:pt x="178" y="120"/>
                </a:lnTo>
                <a:lnTo>
                  <a:pt x="182" y="120"/>
                </a:lnTo>
                <a:lnTo>
                  <a:pt x="178" y="120"/>
                </a:lnTo>
                <a:lnTo>
                  <a:pt x="174" y="124"/>
                </a:lnTo>
                <a:lnTo>
                  <a:pt x="174" y="128"/>
                </a:lnTo>
                <a:lnTo>
                  <a:pt x="170" y="128"/>
                </a:lnTo>
                <a:lnTo>
                  <a:pt x="170" y="132"/>
                </a:lnTo>
                <a:lnTo>
                  <a:pt x="166" y="136"/>
                </a:lnTo>
                <a:lnTo>
                  <a:pt x="170" y="136"/>
                </a:lnTo>
                <a:lnTo>
                  <a:pt x="170" y="140"/>
                </a:lnTo>
                <a:lnTo>
                  <a:pt x="166" y="140"/>
                </a:lnTo>
                <a:lnTo>
                  <a:pt x="166" y="142"/>
                </a:lnTo>
                <a:lnTo>
                  <a:pt x="166" y="146"/>
                </a:lnTo>
                <a:lnTo>
                  <a:pt x="170" y="146"/>
                </a:lnTo>
                <a:lnTo>
                  <a:pt x="170" y="150"/>
                </a:lnTo>
                <a:lnTo>
                  <a:pt x="174" y="150"/>
                </a:lnTo>
                <a:lnTo>
                  <a:pt x="174" y="146"/>
                </a:lnTo>
                <a:lnTo>
                  <a:pt x="174" y="150"/>
                </a:lnTo>
                <a:lnTo>
                  <a:pt x="178" y="150"/>
                </a:lnTo>
                <a:lnTo>
                  <a:pt x="182" y="154"/>
                </a:lnTo>
                <a:lnTo>
                  <a:pt x="186" y="158"/>
                </a:lnTo>
                <a:lnTo>
                  <a:pt x="190" y="162"/>
                </a:lnTo>
                <a:lnTo>
                  <a:pt x="192" y="162"/>
                </a:lnTo>
                <a:lnTo>
                  <a:pt x="196" y="162"/>
                </a:lnTo>
                <a:lnTo>
                  <a:pt x="196" y="166"/>
                </a:lnTo>
                <a:lnTo>
                  <a:pt x="200" y="166"/>
                </a:lnTo>
                <a:lnTo>
                  <a:pt x="204" y="166"/>
                </a:lnTo>
                <a:lnTo>
                  <a:pt x="204" y="170"/>
                </a:lnTo>
                <a:lnTo>
                  <a:pt x="208" y="170"/>
                </a:lnTo>
                <a:lnTo>
                  <a:pt x="212" y="170"/>
                </a:lnTo>
                <a:lnTo>
                  <a:pt x="212" y="172"/>
                </a:lnTo>
                <a:lnTo>
                  <a:pt x="212" y="170"/>
                </a:lnTo>
                <a:lnTo>
                  <a:pt x="216" y="170"/>
                </a:lnTo>
                <a:lnTo>
                  <a:pt x="218" y="170"/>
                </a:lnTo>
                <a:lnTo>
                  <a:pt x="218" y="172"/>
                </a:lnTo>
                <a:lnTo>
                  <a:pt x="218" y="170"/>
                </a:lnTo>
                <a:lnTo>
                  <a:pt x="222" y="170"/>
                </a:lnTo>
                <a:lnTo>
                  <a:pt x="226" y="172"/>
                </a:lnTo>
                <a:lnTo>
                  <a:pt x="230" y="172"/>
                </a:lnTo>
                <a:lnTo>
                  <a:pt x="230" y="176"/>
                </a:lnTo>
                <a:lnTo>
                  <a:pt x="234" y="176"/>
                </a:lnTo>
                <a:lnTo>
                  <a:pt x="234" y="180"/>
                </a:lnTo>
                <a:lnTo>
                  <a:pt x="238" y="180"/>
                </a:lnTo>
                <a:lnTo>
                  <a:pt x="238" y="184"/>
                </a:lnTo>
                <a:lnTo>
                  <a:pt x="242" y="184"/>
                </a:lnTo>
                <a:lnTo>
                  <a:pt x="242" y="180"/>
                </a:lnTo>
                <a:lnTo>
                  <a:pt x="246" y="180"/>
                </a:lnTo>
                <a:lnTo>
                  <a:pt x="246" y="184"/>
                </a:lnTo>
                <a:lnTo>
                  <a:pt x="248" y="188"/>
                </a:lnTo>
                <a:lnTo>
                  <a:pt x="248" y="184"/>
                </a:lnTo>
                <a:lnTo>
                  <a:pt x="252" y="184"/>
                </a:lnTo>
                <a:lnTo>
                  <a:pt x="256" y="184"/>
                </a:lnTo>
                <a:lnTo>
                  <a:pt x="256" y="188"/>
                </a:lnTo>
                <a:lnTo>
                  <a:pt x="260" y="188"/>
                </a:lnTo>
                <a:lnTo>
                  <a:pt x="264" y="188"/>
                </a:lnTo>
                <a:lnTo>
                  <a:pt x="268" y="188"/>
                </a:lnTo>
                <a:lnTo>
                  <a:pt x="268" y="192"/>
                </a:lnTo>
                <a:lnTo>
                  <a:pt x="272" y="188"/>
                </a:lnTo>
                <a:lnTo>
                  <a:pt x="274" y="188"/>
                </a:lnTo>
                <a:lnTo>
                  <a:pt x="278" y="188"/>
                </a:lnTo>
                <a:lnTo>
                  <a:pt x="278" y="192"/>
                </a:lnTo>
                <a:lnTo>
                  <a:pt x="278" y="188"/>
                </a:lnTo>
                <a:lnTo>
                  <a:pt x="282" y="184"/>
                </a:lnTo>
                <a:lnTo>
                  <a:pt x="282" y="180"/>
                </a:lnTo>
                <a:lnTo>
                  <a:pt x="278" y="180"/>
                </a:lnTo>
                <a:lnTo>
                  <a:pt x="278" y="176"/>
                </a:lnTo>
                <a:lnTo>
                  <a:pt x="278" y="172"/>
                </a:lnTo>
                <a:lnTo>
                  <a:pt x="278" y="170"/>
                </a:lnTo>
                <a:lnTo>
                  <a:pt x="282" y="166"/>
                </a:lnTo>
                <a:lnTo>
                  <a:pt x="282" y="162"/>
                </a:lnTo>
                <a:lnTo>
                  <a:pt x="278" y="162"/>
                </a:lnTo>
                <a:lnTo>
                  <a:pt x="282" y="162"/>
                </a:lnTo>
                <a:lnTo>
                  <a:pt x="286" y="158"/>
                </a:lnTo>
                <a:lnTo>
                  <a:pt x="290" y="158"/>
                </a:lnTo>
                <a:lnTo>
                  <a:pt x="290" y="162"/>
                </a:lnTo>
                <a:lnTo>
                  <a:pt x="290" y="166"/>
                </a:lnTo>
                <a:lnTo>
                  <a:pt x="290" y="170"/>
                </a:lnTo>
                <a:lnTo>
                  <a:pt x="290" y="172"/>
                </a:lnTo>
                <a:lnTo>
                  <a:pt x="290" y="176"/>
                </a:lnTo>
                <a:lnTo>
                  <a:pt x="290" y="180"/>
                </a:lnTo>
                <a:lnTo>
                  <a:pt x="294" y="180"/>
                </a:lnTo>
                <a:lnTo>
                  <a:pt x="298" y="180"/>
                </a:lnTo>
                <a:lnTo>
                  <a:pt x="302" y="180"/>
                </a:lnTo>
                <a:lnTo>
                  <a:pt x="302" y="184"/>
                </a:lnTo>
                <a:lnTo>
                  <a:pt x="304" y="184"/>
                </a:lnTo>
                <a:lnTo>
                  <a:pt x="308" y="184"/>
                </a:lnTo>
                <a:lnTo>
                  <a:pt x="308" y="180"/>
                </a:lnTo>
                <a:lnTo>
                  <a:pt x="312" y="180"/>
                </a:lnTo>
                <a:lnTo>
                  <a:pt x="316" y="180"/>
                </a:lnTo>
                <a:lnTo>
                  <a:pt x="316" y="184"/>
                </a:lnTo>
                <a:lnTo>
                  <a:pt x="320" y="184"/>
                </a:lnTo>
                <a:lnTo>
                  <a:pt x="324" y="180"/>
                </a:lnTo>
                <a:lnTo>
                  <a:pt x="324" y="184"/>
                </a:lnTo>
                <a:lnTo>
                  <a:pt x="328" y="184"/>
                </a:lnTo>
                <a:lnTo>
                  <a:pt x="328" y="180"/>
                </a:lnTo>
                <a:lnTo>
                  <a:pt x="332" y="180"/>
                </a:lnTo>
                <a:lnTo>
                  <a:pt x="334" y="180"/>
                </a:lnTo>
                <a:lnTo>
                  <a:pt x="338" y="180"/>
                </a:lnTo>
                <a:lnTo>
                  <a:pt x="334" y="176"/>
                </a:lnTo>
                <a:lnTo>
                  <a:pt x="338" y="172"/>
                </a:lnTo>
                <a:lnTo>
                  <a:pt x="334" y="172"/>
                </a:lnTo>
                <a:lnTo>
                  <a:pt x="334" y="170"/>
                </a:lnTo>
                <a:lnTo>
                  <a:pt x="332" y="170"/>
                </a:lnTo>
                <a:lnTo>
                  <a:pt x="332" y="166"/>
                </a:lnTo>
                <a:lnTo>
                  <a:pt x="334" y="166"/>
                </a:lnTo>
                <a:lnTo>
                  <a:pt x="338" y="166"/>
                </a:lnTo>
                <a:lnTo>
                  <a:pt x="338" y="162"/>
                </a:lnTo>
                <a:lnTo>
                  <a:pt x="338" y="166"/>
                </a:lnTo>
                <a:lnTo>
                  <a:pt x="342" y="162"/>
                </a:lnTo>
                <a:lnTo>
                  <a:pt x="346" y="162"/>
                </a:lnTo>
                <a:lnTo>
                  <a:pt x="346" y="158"/>
                </a:lnTo>
                <a:lnTo>
                  <a:pt x="350" y="154"/>
                </a:lnTo>
                <a:lnTo>
                  <a:pt x="354" y="154"/>
                </a:lnTo>
                <a:lnTo>
                  <a:pt x="354" y="150"/>
                </a:lnTo>
                <a:lnTo>
                  <a:pt x="358" y="146"/>
                </a:lnTo>
                <a:lnTo>
                  <a:pt x="360" y="146"/>
                </a:lnTo>
                <a:lnTo>
                  <a:pt x="364" y="146"/>
                </a:lnTo>
                <a:lnTo>
                  <a:pt x="364" y="142"/>
                </a:lnTo>
                <a:lnTo>
                  <a:pt x="368" y="140"/>
                </a:lnTo>
                <a:lnTo>
                  <a:pt x="372" y="140"/>
                </a:lnTo>
                <a:lnTo>
                  <a:pt x="372" y="136"/>
                </a:lnTo>
                <a:lnTo>
                  <a:pt x="376" y="136"/>
                </a:lnTo>
                <a:lnTo>
                  <a:pt x="376" y="140"/>
                </a:lnTo>
                <a:lnTo>
                  <a:pt x="380" y="140"/>
                </a:lnTo>
                <a:lnTo>
                  <a:pt x="384" y="142"/>
                </a:lnTo>
                <a:lnTo>
                  <a:pt x="384" y="140"/>
                </a:lnTo>
                <a:lnTo>
                  <a:pt x="388" y="140"/>
                </a:lnTo>
                <a:lnTo>
                  <a:pt x="388" y="136"/>
                </a:lnTo>
                <a:lnTo>
                  <a:pt x="390" y="136"/>
                </a:lnTo>
                <a:lnTo>
                  <a:pt x="394" y="132"/>
                </a:lnTo>
                <a:lnTo>
                  <a:pt x="394" y="136"/>
                </a:lnTo>
                <a:lnTo>
                  <a:pt x="394" y="140"/>
                </a:lnTo>
                <a:lnTo>
                  <a:pt x="398" y="136"/>
                </a:lnTo>
                <a:lnTo>
                  <a:pt x="398" y="140"/>
                </a:lnTo>
                <a:lnTo>
                  <a:pt x="394" y="140"/>
                </a:lnTo>
                <a:lnTo>
                  <a:pt x="394" y="142"/>
                </a:lnTo>
                <a:lnTo>
                  <a:pt x="398" y="142"/>
                </a:lnTo>
                <a:lnTo>
                  <a:pt x="398" y="140"/>
                </a:lnTo>
                <a:lnTo>
                  <a:pt x="398" y="142"/>
                </a:lnTo>
                <a:lnTo>
                  <a:pt x="402" y="146"/>
                </a:lnTo>
                <a:lnTo>
                  <a:pt x="398" y="150"/>
                </a:lnTo>
                <a:lnTo>
                  <a:pt x="398" y="154"/>
                </a:lnTo>
                <a:lnTo>
                  <a:pt x="402" y="150"/>
                </a:lnTo>
                <a:lnTo>
                  <a:pt x="402" y="154"/>
                </a:lnTo>
                <a:lnTo>
                  <a:pt x="406" y="154"/>
                </a:lnTo>
                <a:lnTo>
                  <a:pt x="410" y="154"/>
                </a:lnTo>
                <a:lnTo>
                  <a:pt x="410" y="158"/>
                </a:lnTo>
                <a:lnTo>
                  <a:pt x="414" y="162"/>
                </a:lnTo>
                <a:lnTo>
                  <a:pt x="410" y="162"/>
                </a:lnTo>
                <a:lnTo>
                  <a:pt x="410" y="166"/>
                </a:lnTo>
                <a:lnTo>
                  <a:pt x="406" y="166"/>
                </a:lnTo>
                <a:lnTo>
                  <a:pt x="406" y="170"/>
                </a:lnTo>
                <a:lnTo>
                  <a:pt x="406" y="172"/>
                </a:lnTo>
                <a:lnTo>
                  <a:pt x="410" y="176"/>
                </a:lnTo>
                <a:lnTo>
                  <a:pt x="406" y="176"/>
                </a:lnTo>
                <a:lnTo>
                  <a:pt x="406" y="172"/>
                </a:lnTo>
                <a:lnTo>
                  <a:pt x="402" y="172"/>
                </a:lnTo>
                <a:lnTo>
                  <a:pt x="398" y="172"/>
                </a:lnTo>
                <a:lnTo>
                  <a:pt x="394" y="172"/>
                </a:lnTo>
                <a:lnTo>
                  <a:pt x="390" y="176"/>
                </a:lnTo>
                <a:lnTo>
                  <a:pt x="388" y="180"/>
                </a:lnTo>
                <a:lnTo>
                  <a:pt x="384" y="180"/>
                </a:lnTo>
                <a:lnTo>
                  <a:pt x="384" y="184"/>
                </a:lnTo>
                <a:lnTo>
                  <a:pt x="380" y="184"/>
                </a:lnTo>
                <a:lnTo>
                  <a:pt x="380" y="188"/>
                </a:lnTo>
                <a:lnTo>
                  <a:pt x="380" y="192"/>
                </a:lnTo>
                <a:lnTo>
                  <a:pt x="380" y="196"/>
                </a:lnTo>
                <a:lnTo>
                  <a:pt x="380" y="198"/>
                </a:lnTo>
                <a:lnTo>
                  <a:pt x="380" y="202"/>
                </a:lnTo>
                <a:lnTo>
                  <a:pt x="376" y="202"/>
                </a:lnTo>
                <a:lnTo>
                  <a:pt x="376" y="206"/>
                </a:lnTo>
                <a:lnTo>
                  <a:pt x="372" y="206"/>
                </a:lnTo>
                <a:lnTo>
                  <a:pt x="372" y="210"/>
                </a:lnTo>
                <a:lnTo>
                  <a:pt x="376" y="214"/>
                </a:lnTo>
                <a:lnTo>
                  <a:pt x="372" y="218"/>
                </a:lnTo>
                <a:lnTo>
                  <a:pt x="372" y="222"/>
                </a:lnTo>
                <a:lnTo>
                  <a:pt x="368" y="226"/>
                </a:lnTo>
                <a:lnTo>
                  <a:pt x="368" y="228"/>
                </a:lnTo>
                <a:lnTo>
                  <a:pt x="368" y="232"/>
                </a:lnTo>
                <a:lnTo>
                  <a:pt x="364" y="236"/>
                </a:lnTo>
                <a:lnTo>
                  <a:pt x="364" y="232"/>
                </a:lnTo>
                <a:lnTo>
                  <a:pt x="360" y="232"/>
                </a:lnTo>
                <a:lnTo>
                  <a:pt x="358" y="232"/>
                </a:lnTo>
                <a:lnTo>
                  <a:pt x="354" y="232"/>
                </a:lnTo>
                <a:lnTo>
                  <a:pt x="354" y="228"/>
                </a:lnTo>
                <a:lnTo>
                  <a:pt x="354" y="232"/>
                </a:lnTo>
                <a:lnTo>
                  <a:pt x="354" y="236"/>
                </a:lnTo>
                <a:lnTo>
                  <a:pt x="358" y="240"/>
                </a:lnTo>
                <a:lnTo>
                  <a:pt x="354" y="244"/>
                </a:lnTo>
                <a:lnTo>
                  <a:pt x="354" y="248"/>
                </a:lnTo>
                <a:lnTo>
                  <a:pt x="354" y="252"/>
                </a:lnTo>
                <a:lnTo>
                  <a:pt x="354" y="248"/>
                </a:lnTo>
                <a:lnTo>
                  <a:pt x="350" y="248"/>
                </a:lnTo>
                <a:lnTo>
                  <a:pt x="350" y="252"/>
                </a:lnTo>
                <a:lnTo>
                  <a:pt x="350" y="256"/>
                </a:lnTo>
                <a:lnTo>
                  <a:pt x="350" y="258"/>
                </a:lnTo>
                <a:lnTo>
                  <a:pt x="354" y="258"/>
                </a:lnTo>
                <a:lnTo>
                  <a:pt x="354" y="262"/>
                </a:lnTo>
                <a:lnTo>
                  <a:pt x="354" y="266"/>
                </a:lnTo>
                <a:lnTo>
                  <a:pt x="350" y="266"/>
                </a:lnTo>
                <a:lnTo>
                  <a:pt x="350" y="262"/>
                </a:lnTo>
                <a:lnTo>
                  <a:pt x="350" y="266"/>
                </a:lnTo>
                <a:lnTo>
                  <a:pt x="346" y="266"/>
                </a:lnTo>
                <a:lnTo>
                  <a:pt x="342" y="270"/>
                </a:lnTo>
                <a:lnTo>
                  <a:pt x="342" y="266"/>
                </a:lnTo>
                <a:lnTo>
                  <a:pt x="342" y="262"/>
                </a:lnTo>
                <a:lnTo>
                  <a:pt x="342" y="258"/>
                </a:lnTo>
                <a:lnTo>
                  <a:pt x="342" y="256"/>
                </a:lnTo>
                <a:lnTo>
                  <a:pt x="342" y="252"/>
                </a:lnTo>
                <a:lnTo>
                  <a:pt x="338" y="248"/>
                </a:lnTo>
                <a:lnTo>
                  <a:pt x="342" y="248"/>
                </a:lnTo>
                <a:lnTo>
                  <a:pt x="342" y="244"/>
                </a:lnTo>
                <a:lnTo>
                  <a:pt x="338" y="244"/>
                </a:lnTo>
                <a:lnTo>
                  <a:pt x="338" y="240"/>
                </a:lnTo>
                <a:lnTo>
                  <a:pt x="338" y="236"/>
                </a:lnTo>
                <a:lnTo>
                  <a:pt x="334" y="240"/>
                </a:lnTo>
                <a:lnTo>
                  <a:pt x="334" y="236"/>
                </a:lnTo>
                <a:lnTo>
                  <a:pt x="334" y="240"/>
                </a:lnTo>
                <a:lnTo>
                  <a:pt x="334" y="244"/>
                </a:lnTo>
                <a:lnTo>
                  <a:pt x="332" y="244"/>
                </a:lnTo>
                <a:lnTo>
                  <a:pt x="332" y="248"/>
                </a:lnTo>
                <a:lnTo>
                  <a:pt x="332" y="252"/>
                </a:lnTo>
                <a:lnTo>
                  <a:pt x="328" y="252"/>
                </a:lnTo>
                <a:lnTo>
                  <a:pt x="328" y="248"/>
                </a:lnTo>
                <a:lnTo>
                  <a:pt x="328" y="244"/>
                </a:lnTo>
                <a:lnTo>
                  <a:pt x="328" y="248"/>
                </a:lnTo>
                <a:lnTo>
                  <a:pt x="324" y="244"/>
                </a:lnTo>
                <a:lnTo>
                  <a:pt x="324" y="240"/>
                </a:lnTo>
                <a:lnTo>
                  <a:pt x="324" y="236"/>
                </a:lnTo>
                <a:lnTo>
                  <a:pt x="324" y="232"/>
                </a:lnTo>
                <a:lnTo>
                  <a:pt x="328" y="228"/>
                </a:lnTo>
                <a:lnTo>
                  <a:pt x="328" y="232"/>
                </a:lnTo>
                <a:lnTo>
                  <a:pt x="328" y="228"/>
                </a:lnTo>
                <a:lnTo>
                  <a:pt x="332" y="228"/>
                </a:lnTo>
                <a:lnTo>
                  <a:pt x="334" y="228"/>
                </a:lnTo>
                <a:lnTo>
                  <a:pt x="334" y="226"/>
                </a:lnTo>
                <a:lnTo>
                  <a:pt x="338" y="226"/>
                </a:lnTo>
                <a:lnTo>
                  <a:pt x="338" y="222"/>
                </a:lnTo>
                <a:lnTo>
                  <a:pt x="338" y="218"/>
                </a:lnTo>
                <a:lnTo>
                  <a:pt x="342" y="218"/>
                </a:lnTo>
                <a:lnTo>
                  <a:pt x="342" y="214"/>
                </a:lnTo>
                <a:lnTo>
                  <a:pt x="338" y="214"/>
                </a:lnTo>
                <a:lnTo>
                  <a:pt x="338" y="210"/>
                </a:lnTo>
                <a:lnTo>
                  <a:pt x="334" y="210"/>
                </a:lnTo>
                <a:lnTo>
                  <a:pt x="332" y="210"/>
                </a:lnTo>
                <a:lnTo>
                  <a:pt x="328" y="210"/>
                </a:lnTo>
                <a:lnTo>
                  <a:pt x="324" y="210"/>
                </a:lnTo>
                <a:lnTo>
                  <a:pt x="320" y="210"/>
                </a:lnTo>
                <a:lnTo>
                  <a:pt x="316" y="210"/>
                </a:lnTo>
                <a:lnTo>
                  <a:pt x="312" y="210"/>
                </a:lnTo>
                <a:lnTo>
                  <a:pt x="308" y="210"/>
                </a:lnTo>
                <a:lnTo>
                  <a:pt x="304" y="210"/>
                </a:lnTo>
                <a:lnTo>
                  <a:pt x="304" y="206"/>
                </a:lnTo>
                <a:lnTo>
                  <a:pt x="304" y="202"/>
                </a:lnTo>
                <a:lnTo>
                  <a:pt x="304" y="198"/>
                </a:lnTo>
                <a:lnTo>
                  <a:pt x="304" y="196"/>
                </a:lnTo>
                <a:lnTo>
                  <a:pt x="302" y="196"/>
                </a:lnTo>
                <a:lnTo>
                  <a:pt x="302" y="192"/>
                </a:lnTo>
                <a:lnTo>
                  <a:pt x="302" y="196"/>
                </a:lnTo>
                <a:lnTo>
                  <a:pt x="298" y="196"/>
                </a:lnTo>
                <a:lnTo>
                  <a:pt x="294" y="196"/>
                </a:lnTo>
                <a:lnTo>
                  <a:pt x="294" y="192"/>
                </a:lnTo>
                <a:lnTo>
                  <a:pt x="294" y="188"/>
                </a:lnTo>
                <a:lnTo>
                  <a:pt x="290" y="188"/>
                </a:lnTo>
                <a:lnTo>
                  <a:pt x="290" y="192"/>
                </a:lnTo>
                <a:lnTo>
                  <a:pt x="294" y="192"/>
                </a:lnTo>
                <a:lnTo>
                  <a:pt x="290" y="192"/>
                </a:lnTo>
                <a:lnTo>
                  <a:pt x="290" y="188"/>
                </a:lnTo>
                <a:lnTo>
                  <a:pt x="286" y="188"/>
                </a:lnTo>
                <a:lnTo>
                  <a:pt x="286" y="184"/>
                </a:lnTo>
                <a:lnTo>
                  <a:pt x="282" y="188"/>
                </a:lnTo>
                <a:lnTo>
                  <a:pt x="286" y="188"/>
                </a:lnTo>
                <a:lnTo>
                  <a:pt x="286" y="192"/>
                </a:lnTo>
                <a:lnTo>
                  <a:pt x="282" y="192"/>
                </a:lnTo>
                <a:lnTo>
                  <a:pt x="282" y="196"/>
                </a:lnTo>
                <a:lnTo>
                  <a:pt x="278" y="198"/>
                </a:lnTo>
                <a:lnTo>
                  <a:pt x="282" y="198"/>
                </a:lnTo>
                <a:lnTo>
                  <a:pt x="286" y="202"/>
                </a:lnTo>
                <a:lnTo>
                  <a:pt x="286" y="206"/>
                </a:lnTo>
                <a:lnTo>
                  <a:pt x="290" y="206"/>
                </a:lnTo>
                <a:lnTo>
                  <a:pt x="290" y="210"/>
                </a:lnTo>
                <a:lnTo>
                  <a:pt x="294" y="210"/>
                </a:lnTo>
                <a:lnTo>
                  <a:pt x="290" y="210"/>
                </a:lnTo>
                <a:lnTo>
                  <a:pt x="286" y="210"/>
                </a:lnTo>
                <a:lnTo>
                  <a:pt x="286" y="214"/>
                </a:lnTo>
                <a:lnTo>
                  <a:pt x="282" y="214"/>
                </a:lnTo>
                <a:lnTo>
                  <a:pt x="282" y="218"/>
                </a:lnTo>
                <a:lnTo>
                  <a:pt x="282" y="214"/>
                </a:lnTo>
                <a:lnTo>
                  <a:pt x="278" y="218"/>
                </a:lnTo>
                <a:lnTo>
                  <a:pt x="282" y="218"/>
                </a:lnTo>
                <a:lnTo>
                  <a:pt x="278" y="218"/>
                </a:lnTo>
                <a:lnTo>
                  <a:pt x="278" y="222"/>
                </a:lnTo>
                <a:lnTo>
                  <a:pt x="282" y="226"/>
                </a:lnTo>
                <a:lnTo>
                  <a:pt x="286" y="226"/>
                </a:lnTo>
                <a:lnTo>
                  <a:pt x="286" y="228"/>
                </a:lnTo>
                <a:lnTo>
                  <a:pt x="286" y="226"/>
                </a:lnTo>
                <a:lnTo>
                  <a:pt x="290" y="226"/>
                </a:lnTo>
                <a:lnTo>
                  <a:pt x="290" y="228"/>
                </a:lnTo>
                <a:lnTo>
                  <a:pt x="290" y="232"/>
                </a:lnTo>
                <a:lnTo>
                  <a:pt x="286" y="236"/>
                </a:lnTo>
                <a:lnTo>
                  <a:pt x="286" y="240"/>
                </a:lnTo>
                <a:lnTo>
                  <a:pt x="290" y="240"/>
                </a:lnTo>
                <a:lnTo>
                  <a:pt x="290" y="244"/>
                </a:lnTo>
                <a:lnTo>
                  <a:pt x="290" y="248"/>
                </a:lnTo>
                <a:lnTo>
                  <a:pt x="294" y="248"/>
                </a:lnTo>
                <a:lnTo>
                  <a:pt x="290" y="248"/>
                </a:lnTo>
                <a:lnTo>
                  <a:pt x="290" y="252"/>
                </a:lnTo>
                <a:lnTo>
                  <a:pt x="294" y="262"/>
                </a:lnTo>
                <a:lnTo>
                  <a:pt x="294" y="266"/>
                </a:lnTo>
                <a:lnTo>
                  <a:pt x="294" y="270"/>
                </a:lnTo>
                <a:lnTo>
                  <a:pt x="294" y="274"/>
                </a:lnTo>
                <a:lnTo>
                  <a:pt x="290" y="274"/>
                </a:lnTo>
                <a:lnTo>
                  <a:pt x="290" y="278"/>
                </a:lnTo>
                <a:lnTo>
                  <a:pt x="290" y="274"/>
                </a:lnTo>
                <a:lnTo>
                  <a:pt x="290" y="270"/>
                </a:lnTo>
                <a:lnTo>
                  <a:pt x="290" y="266"/>
                </a:lnTo>
                <a:lnTo>
                  <a:pt x="290" y="270"/>
                </a:lnTo>
                <a:lnTo>
                  <a:pt x="286" y="270"/>
                </a:lnTo>
                <a:lnTo>
                  <a:pt x="286" y="266"/>
                </a:lnTo>
                <a:lnTo>
                  <a:pt x="290" y="266"/>
                </a:lnTo>
                <a:lnTo>
                  <a:pt x="286" y="266"/>
                </a:lnTo>
                <a:lnTo>
                  <a:pt x="286" y="270"/>
                </a:lnTo>
                <a:lnTo>
                  <a:pt x="286" y="274"/>
                </a:lnTo>
                <a:lnTo>
                  <a:pt x="286" y="278"/>
                </a:lnTo>
                <a:lnTo>
                  <a:pt x="286" y="274"/>
                </a:lnTo>
                <a:lnTo>
                  <a:pt x="286" y="270"/>
                </a:lnTo>
                <a:lnTo>
                  <a:pt x="286" y="274"/>
                </a:lnTo>
                <a:lnTo>
                  <a:pt x="282" y="274"/>
                </a:lnTo>
                <a:lnTo>
                  <a:pt x="282" y="270"/>
                </a:lnTo>
                <a:lnTo>
                  <a:pt x="282" y="274"/>
                </a:lnTo>
                <a:lnTo>
                  <a:pt x="282" y="278"/>
                </a:lnTo>
                <a:lnTo>
                  <a:pt x="282" y="274"/>
                </a:lnTo>
                <a:lnTo>
                  <a:pt x="282" y="270"/>
                </a:lnTo>
                <a:lnTo>
                  <a:pt x="278" y="270"/>
                </a:lnTo>
                <a:lnTo>
                  <a:pt x="282" y="266"/>
                </a:lnTo>
                <a:lnTo>
                  <a:pt x="278" y="262"/>
                </a:lnTo>
                <a:lnTo>
                  <a:pt x="278" y="258"/>
                </a:lnTo>
                <a:lnTo>
                  <a:pt x="278" y="262"/>
                </a:lnTo>
                <a:lnTo>
                  <a:pt x="278" y="266"/>
                </a:lnTo>
                <a:lnTo>
                  <a:pt x="282" y="266"/>
                </a:lnTo>
                <a:lnTo>
                  <a:pt x="278" y="266"/>
                </a:lnTo>
                <a:lnTo>
                  <a:pt x="278" y="270"/>
                </a:lnTo>
                <a:lnTo>
                  <a:pt x="274" y="274"/>
                </a:lnTo>
                <a:lnTo>
                  <a:pt x="272" y="274"/>
                </a:lnTo>
                <a:lnTo>
                  <a:pt x="268" y="278"/>
                </a:lnTo>
                <a:lnTo>
                  <a:pt x="264" y="278"/>
                </a:lnTo>
                <a:lnTo>
                  <a:pt x="264" y="282"/>
                </a:lnTo>
                <a:lnTo>
                  <a:pt x="264" y="286"/>
                </a:lnTo>
                <a:lnTo>
                  <a:pt x="264" y="288"/>
                </a:lnTo>
                <a:lnTo>
                  <a:pt x="264" y="292"/>
                </a:lnTo>
                <a:lnTo>
                  <a:pt x="260" y="292"/>
                </a:lnTo>
                <a:lnTo>
                  <a:pt x="260" y="296"/>
                </a:lnTo>
                <a:lnTo>
                  <a:pt x="260" y="300"/>
                </a:lnTo>
                <a:lnTo>
                  <a:pt x="256" y="300"/>
                </a:lnTo>
                <a:lnTo>
                  <a:pt x="256" y="302"/>
                </a:lnTo>
                <a:lnTo>
                  <a:pt x="252" y="302"/>
                </a:lnTo>
                <a:lnTo>
                  <a:pt x="256" y="302"/>
                </a:lnTo>
                <a:lnTo>
                  <a:pt x="252" y="302"/>
                </a:lnTo>
                <a:lnTo>
                  <a:pt x="252" y="306"/>
                </a:lnTo>
                <a:lnTo>
                  <a:pt x="248" y="306"/>
                </a:lnTo>
                <a:lnTo>
                  <a:pt x="246" y="306"/>
                </a:lnTo>
                <a:lnTo>
                  <a:pt x="242" y="310"/>
                </a:lnTo>
                <a:lnTo>
                  <a:pt x="242" y="306"/>
                </a:lnTo>
                <a:lnTo>
                  <a:pt x="246" y="306"/>
                </a:lnTo>
                <a:lnTo>
                  <a:pt x="242" y="302"/>
                </a:lnTo>
                <a:lnTo>
                  <a:pt x="242" y="306"/>
                </a:lnTo>
                <a:lnTo>
                  <a:pt x="238" y="306"/>
                </a:lnTo>
                <a:lnTo>
                  <a:pt x="238" y="310"/>
                </a:lnTo>
                <a:lnTo>
                  <a:pt x="242" y="310"/>
                </a:lnTo>
                <a:lnTo>
                  <a:pt x="242" y="306"/>
                </a:lnTo>
                <a:lnTo>
                  <a:pt x="242" y="310"/>
                </a:lnTo>
                <a:lnTo>
                  <a:pt x="238" y="310"/>
                </a:lnTo>
                <a:lnTo>
                  <a:pt x="238" y="314"/>
                </a:lnTo>
                <a:lnTo>
                  <a:pt x="234" y="318"/>
                </a:lnTo>
                <a:lnTo>
                  <a:pt x="230" y="318"/>
                </a:lnTo>
                <a:lnTo>
                  <a:pt x="234" y="318"/>
                </a:lnTo>
                <a:lnTo>
                  <a:pt x="230" y="322"/>
                </a:lnTo>
                <a:lnTo>
                  <a:pt x="230" y="326"/>
                </a:lnTo>
                <a:lnTo>
                  <a:pt x="226" y="330"/>
                </a:lnTo>
                <a:lnTo>
                  <a:pt x="222" y="332"/>
                </a:lnTo>
                <a:lnTo>
                  <a:pt x="218" y="332"/>
                </a:lnTo>
                <a:lnTo>
                  <a:pt x="218" y="336"/>
                </a:lnTo>
                <a:lnTo>
                  <a:pt x="216" y="336"/>
                </a:lnTo>
                <a:lnTo>
                  <a:pt x="216" y="340"/>
                </a:lnTo>
                <a:lnTo>
                  <a:pt x="212" y="340"/>
                </a:lnTo>
                <a:lnTo>
                  <a:pt x="212" y="344"/>
                </a:lnTo>
                <a:lnTo>
                  <a:pt x="208" y="348"/>
                </a:lnTo>
                <a:lnTo>
                  <a:pt x="204" y="348"/>
                </a:lnTo>
                <a:lnTo>
                  <a:pt x="204" y="352"/>
                </a:lnTo>
                <a:lnTo>
                  <a:pt x="200" y="352"/>
                </a:lnTo>
                <a:lnTo>
                  <a:pt x="200" y="356"/>
                </a:lnTo>
                <a:lnTo>
                  <a:pt x="196" y="356"/>
                </a:lnTo>
                <a:lnTo>
                  <a:pt x="196" y="358"/>
                </a:lnTo>
                <a:lnTo>
                  <a:pt x="200" y="358"/>
                </a:lnTo>
                <a:lnTo>
                  <a:pt x="196" y="358"/>
                </a:lnTo>
                <a:lnTo>
                  <a:pt x="196" y="362"/>
                </a:lnTo>
                <a:lnTo>
                  <a:pt x="196" y="366"/>
                </a:lnTo>
                <a:lnTo>
                  <a:pt x="192" y="366"/>
                </a:lnTo>
                <a:lnTo>
                  <a:pt x="190" y="366"/>
                </a:lnTo>
                <a:lnTo>
                  <a:pt x="186" y="366"/>
                </a:lnTo>
                <a:lnTo>
                  <a:pt x="182" y="366"/>
                </a:lnTo>
                <a:lnTo>
                  <a:pt x="182" y="370"/>
                </a:lnTo>
                <a:lnTo>
                  <a:pt x="182" y="374"/>
                </a:lnTo>
                <a:lnTo>
                  <a:pt x="178" y="374"/>
                </a:lnTo>
                <a:lnTo>
                  <a:pt x="178" y="378"/>
                </a:lnTo>
                <a:lnTo>
                  <a:pt x="178" y="374"/>
                </a:lnTo>
                <a:lnTo>
                  <a:pt x="178" y="378"/>
                </a:lnTo>
                <a:lnTo>
                  <a:pt x="178" y="374"/>
                </a:lnTo>
                <a:lnTo>
                  <a:pt x="174" y="374"/>
                </a:lnTo>
                <a:lnTo>
                  <a:pt x="170" y="378"/>
                </a:lnTo>
                <a:lnTo>
                  <a:pt x="166" y="382"/>
                </a:lnTo>
                <a:lnTo>
                  <a:pt x="166" y="386"/>
                </a:lnTo>
                <a:lnTo>
                  <a:pt x="166" y="388"/>
                </a:lnTo>
                <a:lnTo>
                  <a:pt x="166" y="392"/>
                </a:lnTo>
                <a:lnTo>
                  <a:pt x="166" y="396"/>
                </a:lnTo>
                <a:lnTo>
                  <a:pt x="166" y="400"/>
                </a:lnTo>
                <a:lnTo>
                  <a:pt x="166" y="404"/>
                </a:lnTo>
                <a:lnTo>
                  <a:pt x="166" y="408"/>
                </a:lnTo>
                <a:lnTo>
                  <a:pt x="166" y="412"/>
                </a:lnTo>
                <a:lnTo>
                  <a:pt x="170" y="412"/>
                </a:lnTo>
                <a:lnTo>
                  <a:pt x="166" y="412"/>
                </a:lnTo>
                <a:lnTo>
                  <a:pt x="166" y="416"/>
                </a:lnTo>
                <a:lnTo>
                  <a:pt x="170" y="416"/>
                </a:lnTo>
                <a:lnTo>
                  <a:pt x="170" y="418"/>
                </a:lnTo>
                <a:lnTo>
                  <a:pt x="170" y="416"/>
                </a:lnTo>
                <a:lnTo>
                  <a:pt x="166" y="412"/>
                </a:lnTo>
                <a:lnTo>
                  <a:pt x="166" y="416"/>
                </a:lnTo>
                <a:lnTo>
                  <a:pt x="170" y="418"/>
                </a:lnTo>
                <a:lnTo>
                  <a:pt x="170" y="422"/>
                </a:lnTo>
                <a:lnTo>
                  <a:pt x="170" y="426"/>
                </a:lnTo>
                <a:lnTo>
                  <a:pt x="170" y="430"/>
                </a:lnTo>
                <a:lnTo>
                  <a:pt x="166" y="430"/>
                </a:lnTo>
                <a:lnTo>
                  <a:pt x="166" y="434"/>
                </a:lnTo>
                <a:lnTo>
                  <a:pt x="166" y="438"/>
                </a:lnTo>
                <a:lnTo>
                  <a:pt x="162" y="442"/>
                </a:lnTo>
                <a:lnTo>
                  <a:pt x="162" y="446"/>
                </a:lnTo>
                <a:lnTo>
                  <a:pt x="162" y="448"/>
                </a:lnTo>
                <a:lnTo>
                  <a:pt x="162" y="452"/>
                </a:lnTo>
                <a:lnTo>
                  <a:pt x="162" y="456"/>
                </a:lnTo>
                <a:lnTo>
                  <a:pt x="162" y="460"/>
                </a:lnTo>
                <a:lnTo>
                  <a:pt x="162" y="464"/>
                </a:lnTo>
                <a:lnTo>
                  <a:pt x="162" y="468"/>
                </a:lnTo>
                <a:lnTo>
                  <a:pt x="162" y="472"/>
                </a:lnTo>
                <a:lnTo>
                  <a:pt x="160" y="472"/>
                </a:lnTo>
                <a:lnTo>
                  <a:pt x="162" y="472"/>
                </a:lnTo>
                <a:lnTo>
                  <a:pt x="160" y="472"/>
                </a:lnTo>
                <a:lnTo>
                  <a:pt x="156" y="472"/>
                </a:lnTo>
                <a:lnTo>
                  <a:pt x="156" y="474"/>
                </a:lnTo>
                <a:lnTo>
                  <a:pt x="156" y="478"/>
                </a:lnTo>
                <a:lnTo>
                  <a:pt x="152" y="478"/>
                </a:lnTo>
                <a:lnTo>
                  <a:pt x="152" y="482"/>
                </a:lnTo>
                <a:lnTo>
                  <a:pt x="148" y="486"/>
                </a:lnTo>
                <a:lnTo>
                  <a:pt x="152" y="486"/>
                </a:lnTo>
                <a:lnTo>
                  <a:pt x="152" y="490"/>
                </a:lnTo>
                <a:lnTo>
                  <a:pt x="156" y="490"/>
                </a:lnTo>
                <a:lnTo>
                  <a:pt x="152" y="490"/>
                </a:lnTo>
                <a:lnTo>
                  <a:pt x="148" y="490"/>
                </a:lnTo>
                <a:lnTo>
                  <a:pt x="144" y="494"/>
                </a:lnTo>
                <a:lnTo>
                  <a:pt x="140" y="494"/>
                </a:lnTo>
                <a:lnTo>
                  <a:pt x="140" y="498"/>
                </a:lnTo>
                <a:lnTo>
                  <a:pt x="140" y="502"/>
                </a:lnTo>
                <a:lnTo>
                  <a:pt x="136" y="504"/>
                </a:lnTo>
                <a:lnTo>
                  <a:pt x="134" y="508"/>
                </a:lnTo>
                <a:lnTo>
                  <a:pt x="130" y="508"/>
                </a:lnTo>
                <a:lnTo>
                  <a:pt x="126" y="508"/>
                </a:lnTo>
                <a:lnTo>
                  <a:pt x="126" y="504"/>
                </a:lnTo>
                <a:lnTo>
                  <a:pt x="122" y="504"/>
                </a:lnTo>
                <a:lnTo>
                  <a:pt x="122" y="502"/>
                </a:lnTo>
                <a:lnTo>
                  <a:pt x="118" y="502"/>
                </a:lnTo>
                <a:lnTo>
                  <a:pt x="118" y="498"/>
                </a:lnTo>
                <a:lnTo>
                  <a:pt x="118" y="494"/>
                </a:lnTo>
                <a:lnTo>
                  <a:pt x="114" y="494"/>
                </a:lnTo>
                <a:lnTo>
                  <a:pt x="114" y="490"/>
                </a:lnTo>
                <a:lnTo>
                  <a:pt x="114" y="486"/>
                </a:lnTo>
                <a:lnTo>
                  <a:pt x="114" y="482"/>
                </a:lnTo>
                <a:lnTo>
                  <a:pt x="110" y="478"/>
                </a:lnTo>
                <a:lnTo>
                  <a:pt x="114" y="478"/>
                </a:lnTo>
                <a:lnTo>
                  <a:pt x="110" y="478"/>
                </a:lnTo>
                <a:lnTo>
                  <a:pt x="114" y="482"/>
                </a:lnTo>
                <a:lnTo>
                  <a:pt x="114" y="486"/>
                </a:lnTo>
                <a:lnTo>
                  <a:pt x="114" y="482"/>
                </a:lnTo>
                <a:lnTo>
                  <a:pt x="114" y="478"/>
                </a:lnTo>
                <a:lnTo>
                  <a:pt x="110" y="478"/>
                </a:lnTo>
                <a:lnTo>
                  <a:pt x="110" y="474"/>
                </a:lnTo>
                <a:lnTo>
                  <a:pt x="110" y="478"/>
                </a:lnTo>
                <a:lnTo>
                  <a:pt x="110" y="474"/>
                </a:lnTo>
                <a:lnTo>
                  <a:pt x="110" y="472"/>
                </a:lnTo>
                <a:lnTo>
                  <a:pt x="110" y="468"/>
                </a:lnTo>
                <a:lnTo>
                  <a:pt x="106" y="464"/>
                </a:lnTo>
                <a:lnTo>
                  <a:pt x="106" y="460"/>
                </a:lnTo>
                <a:lnTo>
                  <a:pt x="104" y="452"/>
                </a:lnTo>
                <a:lnTo>
                  <a:pt x="104" y="448"/>
                </a:lnTo>
                <a:lnTo>
                  <a:pt x="100" y="446"/>
                </a:lnTo>
                <a:lnTo>
                  <a:pt x="100" y="442"/>
                </a:lnTo>
                <a:lnTo>
                  <a:pt x="96" y="442"/>
                </a:lnTo>
                <a:lnTo>
                  <a:pt x="96" y="438"/>
                </a:lnTo>
                <a:lnTo>
                  <a:pt x="96" y="434"/>
                </a:lnTo>
                <a:lnTo>
                  <a:pt x="92" y="430"/>
                </a:lnTo>
                <a:lnTo>
                  <a:pt x="92" y="426"/>
                </a:lnTo>
                <a:lnTo>
                  <a:pt x="92" y="422"/>
                </a:lnTo>
                <a:lnTo>
                  <a:pt x="92" y="418"/>
                </a:lnTo>
                <a:lnTo>
                  <a:pt x="90" y="416"/>
                </a:lnTo>
                <a:lnTo>
                  <a:pt x="90" y="412"/>
                </a:lnTo>
                <a:lnTo>
                  <a:pt x="90" y="408"/>
                </a:lnTo>
                <a:lnTo>
                  <a:pt x="90" y="404"/>
                </a:lnTo>
                <a:lnTo>
                  <a:pt x="86" y="404"/>
                </a:lnTo>
                <a:lnTo>
                  <a:pt x="86" y="400"/>
                </a:lnTo>
                <a:lnTo>
                  <a:pt x="86" y="396"/>
                </a:lnTo>
                <a:lnTo>
                  <a:pt x="86" y="400"/>
                </a:lnTo>
                <a:lnTo>
                  <a:pt x="86" y="396"/>
                </a:lnTo>
                <a:lnTo>
                  <a:pt x="82" y="396"/>
                </a:lnTo>
                <a:lnTo>
                  <a:pt x="82" y="392"/>
                </a:lnTo>
                <a:lnTo>
                  <a:pt x="82" y="388"/>
                </a:lnTo>
                <a:lnTo>
                  <a:pt x="78" y="386"/>
                </a:lnTo>
                <a:lnTo>
                  <a:pt x="78" y="382"/>
                </a:lnTo>
                <a:lnTo>
                  <a:pt x="82" y="386"/>
                </a:lnTo>
                <a:lnTo>
                  <a:pt x="82" y="382"/>
                </a:lnTo>
                <a:lnTo>
                  <a:pt x="78" y="382"/>
                </a:lnTo>
                <a:lnTo>
                  <a:pt x="78" y="378"/>
                </a:lnTo>
                <a:lnTo>
                  <a:pt x="74" y="378"/>
                </a:lnTo>
                <a:lnTo>
                  <a:pt x="74" y="374"/>
                </a:lnTo>
                <a:lnTo>
                  <a:pt x="74" y="370"/>
                </a:lnTo>
                <a:lnTo>
                  <a:pt x="70" y="366"/>
                </a:lnTo>
                <a:lnTo>
                  <a:pt x="70" y="362"/>
                </a:lnTo>
                <a:lnTo>
                  <a:pt x="70" y="358"/>
                </a:lnTo>
                <a:lnTo>
                  <a:pt x="70" y="356"/>
                </a:lnTo>
                <a:lnTo>
                  <a:pt x="70" y="352"/>
                </a:lnTo>
                <a:lnTo>
                  <a:pt x="70" y="348"/>
                </a:lnTo>
                <a:lnTo>
                  <a:pt x="70" y="344"/>
                </a:lnTo>
                <a:lnTo>
                  <a:pt x="66" y="344"/>
                </a:lnTo>
                <a:lnTo>
                  <a:pt x="66" y="340"/>
                </a:lnTo>
                <a:lnTo>
                  <a:pt x="66" y="336"/>
                </a:lnTo>
                <a:lnTo>
                  <a:pt x="66" y="332"/>
                </a:lnTo>
                <a:lnTo>
                  <a:pt x="66" y="330"/>
                </a:lnTo>
                <a:lnTo>
                  <a:pt x="62" y="326"/>
                </a:lnTo>
                <a:lnTo>
                  <a:pt x="66" y="326"/>
                </a:lnTo>
                <a:lnTo>
                  <a:pt x="66" y="322"/>
                </a:lnTo>
                <a:lnTo>
                  <a:pt x="66" y="318"/>
                </a:lnTo>
                <a:lnTo>
                  <a:pt x="66" y="322"/>
                </a:lnTo>
                <a:lnTo>
                  <a:pt x="62" y="322"/>
                </a:lnTo>
                <a:lnTo>
                  <a:pt x="62" y="318"/>
                </a:lnTo>
                <a:lnTo>
                  <a:pt x="62" y="314"/>
                </a:lnTo>
                <a:lnTo>
                  <a:pt x="66" y="314"/>
                </a:lnTo>
                <a:lnTo>
                  <a:pt x="66" y="318"/>
                </a:lnTo>
                <a:lnTo>
                  <a:pt x="66" y="314"/>
                </a:lnTo>
                <a:lnTo>
                  <a:pt x="62" y="314"/>
                </a:lnTo>
                <a:lnTo>
                  <a:pt x="62" y="310"/>
                </a:lnTo>
                <a:lnTo>
                  <a:pt x="62" y="306"/>
                </a:lnTo>
                <a:lnTo>
                  <a:pt x="62" y="302"/>
                </a:lnTo>
                <a:lnTo>
                  <a:pt x="62" y="300"/>
                </a:lnTo>
                <a:lnTo>
                  <a:pt x="62" y="296"/>
                </a:lnTo>
                <a:lnTo>
                  <a:pt x="66" y="296"/>
                </a:lnTo>
                <a:lnTo>
                  <a:pt x="66" y="288"/>
                </a:lnTo>
                <a:lnTo>
                  <a:pt x="62" y="288"/>
                </a:lnTo>
                <a:lnTo>
                  <a:pt x="62" y="286"/>
                </a:lnTo>
                <a:lnTo>
                  <a:pt x="62" y="282"/>
                </a:lnTo>
                <a:lnTo>
                  <a:pt x="60" y="282"/>
                </a:lnTo>
                <a:lnTo>
                  <a:pt x="60" y="278"/>
                </a:lnTo>
                <a:lnTo>
                  <a:pt x="62" y="278"/>
                </a:lnTo>
                <a:lnTo>
                  <a:pt x="60" y="278"/>
                </a:lnTo>
                <a:lnTo>
                  <a:pt x="62" y="278"/>
                </a:lnTo>
                <a:lnTo>
                  <a:pt x="62" y="274"/>
                </a:lnTo>
                <a:lnTo>
                  <a:pt x="66" y="274"/>
                </a:lnTo>
                <a:lnTo>
                  <a:pt x="70" y="274"/>
                </a:lnTo>
                <a:lnTo>
                  <a:pt x="66" y="274"/>
                </a:lnTo>
                <a:lnTo>
                  <a:pt x="62" y="274"/>
                </a:lnTo>
                <a:lnTo>
                  <a:pt x="60" y="274"/>
                </a:lnTo>
                <a:lnTo>
                  <a:pt x="60" y="270"/>
                </a:lnTo>
                <a:lnTo>
                  <a:pt x="62" y="270"/>
                </a:lnTo>
                <a:lnTo>
                  <a:pt x="60" y="270"/>
                </a:lnTo>
                <a:lnTo>
                  <a:pt x="60" y="266"/>
                </a:lnTo>
                <a:lnTo>
                  <a:pt x="62" y="262"/>
                </a:lnTo>
                <a:lnTo>
                  <a:pt x="62" y="266"/>
                </a:lnTo>
                <a:lnTo>
                  <a:pt x="62" y="262"/>
                </a:lnTo>
                <a:lnTo>
                  <a:pt x="66" y="262"/>
                </a:lnTo>
                <a:lnTo>
                  <a:pt x="62" y="262"/>
                </a:lnTo>
                <a:lnTo>
                  <a:pt x="60" y="262"/>
                </a:lnTo>
                <a:lnTo>
                  <a:pt x="56" y="262"/>
                </a:lnTo>
                <a:lnTo>
                  <a:pt x="56" y="266"/>
                </a:lnTo>
                <a:lnTo>
                  <a:pt x="56" y="270"/>
                </a:lnTo>
                <a:lnTo>
                  <a:pt x="52" y="270"/>
                </a:lnTo>
                <a:lnTo>
                  <a:pt x="56" y="270"/>
                </a:lnTo>
                <a:lnTo>
                  <a:pt x="52" y="270"/>
                </a:lnTo>
                <a:lnTo>
                  <a:pt x="52" y="274"/>
                </a:lnTo>
                <a:lnTo>
                  <a:pt x="56" y="270"/>
                </a:lnTo>
                <a:lnTo>
                  <a:pt x="56" y="274"/>
                </a:lnTo>
                <a:lnTo>
                  <a:pt x="56" y="278"/>
                </a:lnTo>
                <a:lnTo>
                  <a:pt x="56" y="282"/>
                </a:lnTo>
                <a:lnTo>
                  <a:pt x="52" y="282"/>
                </a:lnTo>
                <a:lnTo>
                  <a:pt x="52" y="286"/>
                </a:lnTo>
                <a:lnTo>
                  <a:pt x="48" y="286"/>
                </a:lnTo>
                <a:lnTo>
                  <a:pt x="44" y="288"/>
                </a:lnTo>
                <a:lnTo>
                  <a:pt x="40" y="288"/>
                </a:lnTo>
                <a:lnTo>
                  <a:pt x="36" y="292"/>
                </a:lnTo>
                <a:lnTo>
                  <a:pt x="34" y="288"/>
                </a:lnTo>
                <a:lnTo>
                  <a:pt x="30" y="288"/>
                </a:lnTo>
                <a:lnTo>
                  <a:pt x="30" y="286"/>
                </a:lnTo>
                <a:lnTo>
                  <a:pt x="26" y="286"/>
                </a:lnTo>
                <a:lnTo>
                  <a:pt x="26" y="282"/>
                </a:lnTo>
                <a:lnTo>
                  <a:pt x="22" y="282"/>
                </a:lnTo>
                <a:lnTo>
                  <a:pt x="22" y="278"/>
                </a:lnTo>
                <a:lnTo>
                  <a:pt x="18" y="274"/>
                </a:lnTo>
                <a:lnTo>
                  <a:pt x="14" y="270"/>
                </a:lnTo>
                <a:lnTo>
                  <a:pt x="10" y="266"/>
                </a:lnTo>
                <a:lnTo>
                  <a:pt x="10" y="262"/>
                </a:lnTo>
                <a:lnTo>
                  <a:pt x="10" y="258"/>
                </a:lnTo>
                <a:lnTo>
                  <a:pt x="10" y="262"/>
                </a:lnTo>
                <a:lnTo>
                  <a:pt x="14" y="262"/>
                </a:lnTo>
                <a:lnTo>
                  <a:pt x="10" y="262"/>
                </a:lnTo>
                <a:lnTo>
                  <a:pt x="14" y="262"/>
                </a:lnTo>
                <a:lnTo>
                  <a:pt x="18" y="262"/>
                </a:lnTo>
                <a:lnTo>
                  <a:pt x="22" y="262"/>
                </a:lnTo>
                <a:lnTo>
                  <a:pt x="22" y="258"/>
                </a:lnTo>
                <a:lnTo>
                  <a:pt x="26" y="258"/>
                </a:lnTo>
                <a:lnTo>
                  <a:pt x="30" y="256"/>
                </a:lnTo>
                <a:lnTo>
                  <a:pt x="30" y="252"/>
                </a:lnTo>
                <a:lnTo>
                  <a:pt x="34" y="252"/>
                </a:lnTo>
                <a:lnTo>
                  <a:pt x="34" y="248"/>
                </a:lnTo>
                <a:lnTo>
                  <a:pt x="30" y="248"/>
                </a:lnTo>
                <a:lnTo>
                  <a:pt x="30" y="252"/>
                </a:lnTo>
                <a:lnTo>
                  <a:pt x="22" y="252"/>
                </a:lnTo>
                <a:lnTo>
                  <a:pt x="22" y="256"/>
                </a:lnTo>
                <a:lnTo>
                  <a:pt x="18" y="256"/>
                </a:lnTo>
                <a:lnTo>
                  <a:pt x="14" y="256"/>
                </a:lnTo>
                <a:lnTo>
                  <a:pt x="14" y="252"/>
                </a:lnTo>
                <a:lnTo>
                  <a:pt x="10" y="252"/>
                </a:lnTo>
                <a:lnTo>
                  <a:pt x="6" y="252"/>
                </a:lnTo>
                <a:lnTo>
                  <a:pt x="6" y="248"/>
                </a:lnTo>
                <a:lnTo>
                  <a:pt x="4" y="244"/>
                </a:lnTo>
                <a:lnTo>
                  <a:pt x="4" y="240"/>
                </a:lnTo>
                <a:lnTo>
                  <a:pt x="4" y="236"/>
                </a:lnTo>
                <a:lnTo>
                  <a:pt x="6" y="236"/>
                </a:lnTo>
                <a:lnTo>
                  <a:pt x="4" y="236"/>
                </a:lnTo>
                <a:lnTo>
                  <a:pt x="0" y="240"/>
                </a:lnTo>
                <a:lnTo>
                  <a:pt x="0" y="236"/>
                </a:lnTo>
                <a:lnTo>
                  <a:pt x="0" y="236"/>
                </a:lnTo>
                <a:lnTo>
                  <a:pt x="0" y="236"/>
                </a:lnTo>
                <a:close/>
                <a:moveTo>
                  <a:pt x="282" y="270"/>
                </a:moveTo>
                <a:lnTo>
                  <a:pt x="282" y="274"/>
                </a:lnTo>
                <a:lnTo>
                  <a:pt x="278" y="274"/>
                </a:lnTo>
                <a:lnTo>
                  <a:pt x="278" y="270"/>
                </a:lnTo>
                <a:lnTo>
                  <a:pt x="282" y="270"/>
                </a:lnTo>
                <a:lnTo>
                  <a:pt x="282" y="270"/>
                </a:lnTo>
                <a:lnTo>
                  <a:pt x="282" y="270"/>
                </a:lnTo>
                <a:close/>
                <a:moveTo>
                  <a:pt x="346" y="442"/>
                </a:moveTo>
                <a:lnTo>
                  <a:pt x="346" y="438"/>
                </a:lnTo>
                <a:lnTo>
                  <a:pt x="350" y="438"/>
                </a:lnTo>
                <a:lnTo>
                  <a:pt x="346" y="442"/>
                </a:lnTo>
                <a:lnTo>
                  <a:pt x="346" y="442"/>
                </a:lnTo>
                <a:lnTo>
                  <a:pt x="346" y="442"/>
                </a:lnTo>
                <a:close/>
                <a:moveTo>
                  <a:pt x="346" y="452"/>
                </a:moveTo>
                <a:lnTo>
                  <a:pt x="342" y="452"/>
                </a:lnTo>
                <a:lnTo>
                  <a:pt x="346" y="452"/>
                </a:lnTo>
                <a:lnTo>
                  <a:pt x="346" y="452"/>
                </a:lnTo>
                <a:lnTo>
                  <a:pt x="346" y="452"/>
                </a:lnTo>
                <a:close/>
                <a:moveTo>
                  <a:pt x="346" y="490"/>
                </a:moveTo>
                <a:lnTo>
                  <a:pt x="346" y="494"/>
                </a:lnTo>
                <a:lnTo>
                  <a:pt x="346" y="490"/>
                </a:lnTo>
                <a:lnTo>
                  <a:pt x="346" y="490"/>
                </a:lnTo>
                <a:lnTo>
                  <a:pt x="346" y="490"/>
                </a:lnTo>
                <a:close/>
                <a:moveTo>
                  <a:pt x="66" y="504"/>
                </a:moveTo>
                <a:lnTo>
                  <a:pt x="66" y="508"/>
                </a:lnTo>
                <a:lnTo>
                  <a:pt x="66" y="504"/>
                </a:lnTo>
                <a:lnTo>
                  <a:pt x="66" y="504"/>
                </a:lnTo>
                <a:lnTo>
                  <a:pt x="66" y="504"/>
                </a:lnTo>
                <a:close/>
                <a:moveTo>
                  <a:pt x="358" y="508"/>
                </a:moveTo>
                <a:lnTo>
                  <a:pt x="358" y="512"/>
                </a:lnTo>
                <a:lnTo>
                  <a:pt x="358" y="508"/>
                </a:lnTo>
                <a:lnTo>
                  <a:pt x="358" y="508"/>
                </a:lnTo>
                <a:lnTo>
                  <a:pt x="358" y="508"/>
                </a:lnTo>
                <a:close/>
                <a:moveTo>
                  <a:pt x="354" y="512"/>
                </a:moveTo>
                <a:lnTo>
                  <a:pt x="358" y="512"/>
                </a:lnTo>
                <a:lnTo>
                  <a:pt x="354" y="512"/>
                </a:lnTo>
                <a:lnTo>
                  <a:pt x="354" y="512"/>
                </a:lnTo>
                <a:lnTo>
                  <a:pt x="354" y="512"/>
                </a:lnTo>
                <a:close/>
                <a:moveTo>
                  <a:pt x="360" y="524"/>
                </a:moveTo>
                <a:lnTo>
                  <a:pt x="358" y="524"/>
                </a:lnTo>
                <a:lnTo>
                  <a:pt x="360" y="524"/>
                </a:lnTo>
                <a:lnTo>
                  <a:pt x="360" y="520"/>
                </a:lnTo>
                <a:lnTo>
                  <a:pt x="360" y="524"/>
                </a:lnTo>
                <a:lnTo>
                  <a:pt x="360" y="524"/>
                </a:lnTo>
                <a:lnTo>
                  <a:pt x="360" y="524"/>
                </a:lnTo>
                <a:close/>
                <a:moveTo>
                  <a:pt x="346" y="426"/>
                </a:moveTo>
                <a:lnTo>
                  <a:pt x="346" y="422"/>
                </a:lnTo>
                <a:lnTo>
                  <a:pt x="346" y="418"/>
                </a:lnTo>
                <a:lnTo>
                  <a:pt x="350" y="418"/>
                </a:lnTo>
                <a:lnTo>
                  <a:pt x="350" y="416"/>
                </a:lnTo>
                <a:lnTo>
                  <a:pt x="350" y="418"/>
                </a:lnTo>
                <a:lnTo>
                  <a:pt x="350" y="422"/>
                </a:lnTo>
                <a:lnTo>
                  <a:pt x="350" y="426"/>
                </a:lnTo>
                <a:lnTo>
                  <a:pt x="350" y="422"/>
                </a:lnTo>
                <a:lnTo>
                  <a:pt x="346" y="426"/>
                </a:lnTo>
                <a:lnTo>
                  <a:pt x="346" y="426"/>
                </a:lnTo>
                <a:lnTo>
                  <a:pt x="346" y="426"/>
                </a:lnTo>
                <a:close/>
                <a:moveTo>
                  <a:pt x="346" y="438"/>
                </a:moveTo>
                <a:lnTo>
                  <a:pt x="346" y="434"/>
                </a:lnTo>
                <a:lnTo>
                  <a:pt x="346" y="430"/>
                </a:lnTo>
                <a:lnTo>
                  <a:pt x="346" y="426"/>
                </a:lnTo>
                <a:lnTo>
                  <a:pt x="350" y="426"/>
                </a:lnTo>
                <a:lnTo>
                  <a:pt x="350" y="430"/>
                </a:lnTo>
                <a:lnTo>
                  <a:pt x="350" y="434"/>
                </a:lnTo>
                <a:lnTo>
                  <a:pt x="346" y="434"/>
                </a:lnTo>
                <a:lnTo>
                  <a:pt x="346" y="438"/>
                </a:lnTo>
                <a:lnTo>
                  <a:pt x="350" y="438"/>
                </a:lnTo>
                <a:lnTo>
                  <a:pt x="346" y="438"/>
                </a:lnTo>
                <a:lnTo>
                  <a:pt x="346" y="438"/>
                </a:lnTo>
                <a:lnTo>
                  <a:pt x="346" y="438"/>
                </a:lnTo>
                <a:close/>
                <a:moveTo>
                  <a:pt x="346" y="442"/>
                </a:moveTo>
                <a:lnTo>
                  <a:pt x="346" y="446"/>
                </a:lnTo>
                <a:lnTo>
                  <a:pt x="346" y="448"/>
                </a:lnTo>
                <a:lnTo>
                  <a:pt x="346" y="452"/>
                </a:lnTo>
                <a:lnTo>
                  <a:pt x="342" y="448"/>
                </a:lnTo>
                <a:lnTo>
                  <a:pt x="342" y="446"/>
                </a:lnTo>
                <a:lnTo>
                  <a:pt x="346" y="446"/>
                </a:lnTo>
                <a:lnTo>
                  <a:pt x="346" y="442"/>
                </a:lnTo>
                <a:lnTo>
                  <a:pt x="346" y="438"/>
                </a:lnTo>
                <a:lnTo>
                  <a:pt x="346" y="442"/>
                </a:lnTo>
                <a:lnTo>
                  <a:pt x="346" y="438"/>
                </a:lnTo>
                <a:lnTo>
                  <a:pt x="346" y="442"/>
                </a:lnTo>
                <a:lnTo>
                  <a:pt x="346" y="442"/>
                </a:lnTo>
                <a:lnTo>
                  <a:pt x="346" y="442"/>
                </a:lnTo>
                <a:close/>
                <a:moveTo>
                  <a:pt x="342" y="464"/>
                </a:moveTo>
                <a:lnTo>
                  <a:pt x="342" y="468"/>
                </a:lnTo>
                <a:lnTo>
                  <a:pt x="338" y="468"/>
                </a:lnTo>
                <a:lnTo>
                  <a:pt x="338" y="464"/>
                </a:lnTo>
                <a:lnTo>
                  <a:pt x="342" y="464"/>
                </a:lnTo>
                <a:lnTo>
                  <a:pt x="342" y="460"/>
                </a:lnTo>
                <a:lnTo>
                  <a:pt x="342" y="464"/>
                </a:lnTo>
                <a:lnTo>
                  <a:pt x="342" y="464"/>
                </a:lnTo>
                <a:lnTo>
                  <a:pt x="342" y="464"/>
                </a:lnTo>
                <a:close/>
                <a:moveTo>
                  <a:pt x="360" y="528"/>
                </a:moveTo>
                <a:lnTo>
                  <a:pt x="360" y="532"/>
                </a:lnTo>
                <a:lnTo>
                  <a:pt x="360" y="534"/>
                </a:lnTo>
                <a:lnTo>
                  <a:pt x="360" y="532"/>
                </a:lnTo>
                <a:lnTo>
                  <a:pt x="360" y="528"/>
                </a:lnTo>
                <a:lnTo>
                  <a:pt x="358" y="528"/>
                </a:lnTo>
                <a:lnTo>
                  <a:pt x="360" y="524"/>
                </a:lnTo>
                <a:lnTo>
                  <a:pt x="360" y="528"/>
                </a:lnTo>
                <a:lnTo>
                  <a:pt x="360" y="528"/>
                </a:lnTo>
                <a:lnTo>
                  <a:pt x="360" y="528"/>
                </a:lnTo>
                <a:close/>
              </a:path>
            </a:pathLst>
          </a:custGeom>
          <a:solidFill>
            <a:schemeClr val="bg1">
              <a:lumMod val="85000"/>
            </a:schemeClr>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20" name="Freeform 367"/>
          <p:cNvSpPr>
            <a:spLocks/>
          </p:cNvSpPr>
          <p:nvPr>
            <p:custDataLst>
              <p:tags r:id="rId1"/>
            </p:custDataLst>
          </p:nvPr>
        </p:nvSpPr>
        <p:spPr bwMode="gray">
          <a:xfrm>
            <a:off x="1310486" y="3627271"/>
            <a:ext cx="5562" cy="3338"/>
          </a:xfrm>
          <a:custGeom>
            <a:avLst/>
            <a:gdLst/>
            <a:ahLst/>
            <a:cxnLst>
              <a:cxn ang="0">
                <a:pos x="3" y="2"/>
              </a:cxn>
              <a:cxn ang="0">
                <a:pos x="0" y="0"/>
              </a:cxn>
              <a:cxn ang="0">
                <a:pos x="3" y="0"/>
              </a:cxn>
              <a:cxn ang="0">
                <a:pos x="3" y="2"/>
              </a:cxn>
            </a:cxnLst>
            <a:rect l="0" t="0" r="r" b="b"/>
            <a:pathLst>
              <a:path w="3" h="2">
                <a:moveTo>
                  <a:pt x="3" y="2"/>
                </a:moveTo>
                <a:lnTo>
                  <a:pt x="0" y="0"/>
                </a:lnTo>
                <a:lnTo>
                  <a:pt x="3" y="0"/>
                </a:lnTo>
                <a:lnTo>
                  <a:pt x="3" y="2"/>
                </a:lnTo>
                <a:close/>
              </a:path>
            </a:pathLst>
          </a:custGeom>
          <a:solidFill>
            <a:schemeClr val="accent5"/>
          </a:solidFill>
          <a:ln w="4826">
            <a:solidFill>
              <a:schemeClr val="bg1"/>
            </a:solidFill>
            <a:prstDash val="solid"/>
            <a:round/>
            <a:headEnd/>
            <a:tailEnd/>
          </a:ln>
        </p:spPr>
        <p:txBody>
          <a:bodyPr lIns="33338" tIns="33338" rIns="33338" bIns="33338"/>
          <a:lstStyle/>
          <a:p>
            <a:endParaRPr lang="en-US" sz="1350" dirty="0"/>
          </a:p>
        </p:txBody>
      </p:sp>
      <p:sp>
        <p:nvSpPr>
          <p:cNvPr id="221" name="Freeform 368"/>
          <p:cNvSpPr>
            <a:spLocks noEditPoints="1"/>
          </p:cNvSpPr>
          <p:nvPr>
            <p:custDataLst>
              <p:tags r:id="rId2"/>
            </p:custDataLst>
          </p:nvPr>
        </p:nvSpPr>
        <p:spPr bwMode="gray">
          <a:xfrm>
            <a:off x="1354978" y="3494908"/>
            <a:ext cx="23359" cy="10011"/>
          </a:xfrm>
          <a:custGeom>
            <a:avLst/>
            <a:gdLst/>
            <a:ahLst/>
            <a:cxnLst>
              <a:cxn ang="0">
                <a:pos x="2" y="0"/>
              </a:cxn>
              <a:cxn ang="0">
                <a:pos x="5" y="0"/>
              </a:cxn>
              <a:cxn ang="0">
                <a:pos x="5" y="3"/>
              </a:cxn>
              <a:cxn ang="0">
                <a:pos x="2" y="3"/>
              </a:cxn>
              <a:cxn ang="0">
                <a:pos x="0" y="1"/>
              </a:cxn>
              <a:cxn ang="0">
                <a:pos x="2" y="0"/>
              </a:cxn>
              <a:cxn ang="0">
                <a:pos x="13" y="6"/>
              </a:cxn>
              <a:cxn ang="0">
                <a:pos x="6" y="4"/>
              </a:cxn>
              <a:cxn ang="0">
                <a:pos x="9" y="3"/>
              </a:cxn>
              <a:cxn ang="0">
                <a:pos x="13" y="6"/>
              </a:cxn>
            </a:cxnLst>
            <a:rect l="0" t="0" r="r" b="b"/>
            <a:pathLst>
              <a:path w="13" h="6">
                <a:moveTo>
                  <a:pt x="2" y="0"/>
                </a:moveTo>
                <a:lnTo>
                  <a:pt x="5" y="0"/>
                </a:lnTo>
                <a:lnTo>
                  <a:pt x="5" y="3"/>
                </a:lnTo>
                <a:lnTo>
                  <a:pt x="2" y="3"/>
                </a:lnTo>
                <a:lnTo>
                  <a:pt x="0" y="1"/>
                </a:lnTo>
                <a:lnTo>
                  <a:pt x="2" y="0"/>
                </a:lnTo>
                <a:close/>
                <a:moveTo>
                  <a:pt x="13" y="6"/>
                </a:moveTo>
                <a:lnTo>
                  <a:pt x="6" y="4"/>
                </a:lnTo>
                <a:lnTo>
                  <a:pt x="9" y="3"/>
                </a:lnTo>
                <a:lnTo>
                  <a:pt x="13" y="6"/>
                </a:lnTo>
                <a:close/>
              </a:path>
            </a:pathLst>
          </a:custGeom>
          <a:solidFill>
            <a:schemeClr val="accent5"/>
          </a:solidFill>
          <a:ln w="4826">
            <a:solidFill>
              <a:schemeClr val="bg1"/>
            </a:solidFill>
            <a:prstDash val="solid"/>
            <a:round/>
            <a:headEnd/>
            <a:tailEnd/>
          </a:ln>
        </p:spPr>
        <p:txBody>
          <a:bodyPr lIns="33338" tIns="33338" rIns="33338" bIns="33338"/>
          <a:lstStyle/>
          <a:p>
            <a:endParaRPr lang="en-US" sz="1350" dirty="0"/>
          </a:p>
        </p:txBody>
      </p:sp>
      <p:sp>
        <p:nvSpPr>
          <p:cNvPr id="222" name="Freeform 369"/>
          <p:cNvSpPr>
            <a:spLocks/>
          </p:cNvSpPr>
          <p:nvPr>
            <p:custDataLst>
              <p:tags r:id="rId3"/>
            </p:custDataLst>
          </p:nvPr>
        </p:nvSpPr>
        <p:spPr bwMode="gray">
          <a:xfrm>
            <a:off x="1387234" y="3507143"/>
            <a:ext cx="3338" cy="3338"/>
          </a:xfrm>
          <a:custGeom>
            <a:avLst/>
            <a:gdLst/>
            <a:ahLst/>
            <a:cxnLst>
              <a:cxn ang="0">
                <a:pos x="2" y="0"/>
              </a:cxn>
              <a:cxn ang="0">
                <a:pos x="1" y="2"/>
              </a:cxn>
              <a:cxn ang="0">
                <a:pos x="0" y="1"/>
              </a:cxn>
              <a:cxn ang="0">
                <a:pos x="2" y="0"/>
              </a:cxn>
            </a:cxnLst>
            <a:rect l="0" t="0" r="r" b="b"/>
            <a:pathLst>
              <a:path w="2" h="2">
                <a:moveTo>
                  <a:pt x="2" y="0"/>
                </a:moveTo>
                <a:lnTo>
                  <a:pt x="1" y="2"/>
                </a:lnTo>
                <a:lnTo>
                  <a:pt x="0" y="1"/>
                </a:lnTo>
                <a:lnTo>
                  <a:pt x="2" y="0"/>
                </a:lnTo>
                <a:close/>
              </a:path>
            </a:pathLst>
          </a:custGeom>
          <a:solidFill>
            <a:schemeClr val="accent5"/>
          </a:solidFill>
          <a:ln w="4826">
            <a:solidFill>
              <a:schemeClr val="bg1"/>
            </a:solidFill>
            <a:prstDash val="solid"/>
            <a:round/>
            <a:headEnd/>
            <a:tailEnd/>
          </a:ln>
        </p:spPr>
        <p:txBody>
          <a:bodyPr lIns="33338" tIns="33338" rIns="33338" bIns="33338"/>
          <a:lstStyle/>
          <a:p>
            <a:endParaRPr lang="en-US" sz="1350" dirty="0"/>
          </a:p>
        </p:txBody>
      </p:sp>
      <p:sp>
        <p:nvSpPr>
          <p:cNvPr id="223" name="Freeform 370"/>
          <p:cNvSpPr>
            <a:spLocks/>
          </p:cNvSpPr>
          <p:nvPr>
            <p:custDataLst>
              <p:tags r:id="rId4"/>
            </p:custDataLst>
          </p:nvPr>
        </p:nvSpPr>
        <p:spPr bwMode="gray">
          <a:xfrm>
            <a:off x="1402806" y="3590565"/>
            <a:ext cx="2225" cy="3338"/>
          </a:xfrm>
          <a:custGeom>
            <a:avLst/>
            <a:gdLst/>
            <a:ahLst/>
            <a:cxnLst>
              <a:cxn ang="0">
                <a:pos x="0" y="0"/>
              </a:cxn>
              <a:cxn ang="0">
                <a:pos x="1" y="1"/>
              </a:cxn>
              <a:cxn ang="0">
                <a:pos x="0" y="2"/>
              </a:cxn>
              <a:cxn ang="0">
                <a:pos x="0" y="1"/>
              </a:cxn>
              <a:cxn ang="0">
                <a:pos x="0" y="0"/>
              </a:cxn>
            </a:cxnLst>
            <a:rect l="0" t="0" r="r" b="b"/>
            <a:pathLst>
              <a:path w="1" h="2">
                <a:moveTo>
                  <a:pt x="0" y="0"/>
                </a:moveTo>
                <a:lnTo>
                  <a:pt x="1" y="1"/>
                </a:lnTo>
                <a:lnTo>
                  <a:pt x="0" y="2"/>
                </a:lnTo>
                <a:lnTo>
                  <a:pt x="0" y="1"/>
                </a:lnTo>
                <a:lnTo>
                  <a:pt x="0" y="0"/>
                </a:lnTo>
                <a:close/>
              </a:path>
            </a:pathLst>
          </a:custGeom>
          <a:solidFill>
            <a:schemeClr val="accent5"/>
          </a:solidFill>
          <a:ln w="4826">
            <a:solidFill>
              <a:schemeClr val="bg1"/>
            </a:solidFill>
            <a:prstDash val="solid"/>
            <a:round/>
            <a:headEnd/>
            <a:tailEnd/>
          </a:ln>
        </p:spPr>
        <p:txBody>
          <a:bodyPr lIns="33338" tIns="33338" rIns="33338" bIns="33338"/>
          <a:lstStyle/>
          <a:p>
            <a:endParaRPr lang="en-US" sz="1350" dirty="0"/>
          </a:p>
        </p:txBody>
      </p:sp>
      <p:sp>
        <p:nvSpPr>
          <p:cNvPr id="224" name="Rectangle 371"/>
          <p:cNvSpPr>
            <a:spLocks noChangeArrowheads="1"/>
          </p:cNvSpPr>
          <p:nvPr>
            <p:custDataLst>
              <p:tags r:id="rId5"/>
            </p:custDataLst>
          </p:nvPr>
        </p:nvSpPr>
        <p:spPr bwMode="gray">
          <a:xfrm>
            <a:off x="1264881" y="3507143"/>
            <a:ext cx="2225" cy="2225"/>
          </a:xfrm>
          <a:prstGeom prst="rect">
            <a:avLst/>
          </a:prstGeom>
          <a:solidFill>
            <a:schemeClr val="accent5"/>
          </a:solidFill>
          <a:ln w="4826">
            <a:solidFill>
              <a:schemeClr val="bg1"/>
            </a:solidFill>
            <a:miter lim="800000"/>
            <a:headEnd/>
            <a:tailEnd/>
          </a:ln>
        </p:spPr>
        <p:txBody>
          <a:bodyPr lIns="33338" tIns="33338" rIns="33338" bIns="33338"/>
          <a:lstStyle/>
          <a:p>
            <a:endParaRPr lang="en-US" sz="1350" dirty="0"/>
          </a:p>
        </p:txBody>
      </p:sp>
      <p:sp>
        <p:nvSpPr>
          <p:cNvPr id="225" name="Rectangle 372"/>
          <p:cNvSpPr>
            <a:spLocks noChangeArrowheads="1"/>
          </p:cNvSpPr>
          <p:nvPr>
            <p:custDataLst>
              <p:tags r:id="rId6"/>
            </p:custDataLst>
          </p:nvPr>
        </p:nvSpPr>
        <p:spPr bwMode="gray">
          <a:xfrm>
            <a:off x="1609693" y="3632833"/>
            <a:ext cx="2225" cy="1113"/>
          </a:xfrm>
          <a:prstGeom prst="rect">
            <a:avLst/>
          </a:prstGeom>
          <a:solidFill>
            <a:schemeClr val="accent5"/>
          </a:solidFill>
          <a:ln w="4826">
            <a:solidFill>
              <a:schemeClr val="bg1"/>
            </a:solidFill>
            <a:miter lim="800000"/>
            <a:headEnd/>
            <a:tailEnd/>
          </a:ln>
        </p:spPr>
        <p:txBody>
          <a:bodyPr lIns="33338" tIns="33338" rIns="33338" bIns="33338"/>
          <a:lstStyle/>
          <a:p>
            <a:endParaRPr lang="en-US" sz="1350" dirty="0"/>
          </a:p>
        </p:txBody>
      </p:sp>
      <p:sp>
        <p:nvSpPr>
          <p:cNvPr id="226" name="Freeform 373"/>
          <p:cNvSpPr>
            <a:spLocks/>
          </p:cNvSpPr>
          <p:nvPr>
            <p:custDataLst>
              <p:tags r:id="rId7"/>
            </p:custDataLst>
          </p:nvPr>
        </p:nvSpPr>
        <p:spPr bwMode="gray">
          <a:xfrm>
            <a:off x="1759854" y="3554972"/>
            <a:ext cx="8899" cy="5562"/>
          </a:xfrm>
          <a:custGeom>
            <a:avLst/>
            <a:gdLst/>
            <a:ahLst/>
            <a:cxnLst>
              <a:cxn ang="0">
                <a:pos x="5" y="3"/>
              </a:cxn>
              <a:cxn ang="0">
                <a:pos x="1" y="1"/>
              </a:cxn>
              <a:cxn ang="0">
                <a:pos x="0" y="0"/>
              </a:cxn>
              <a:cxn ang="0">
                <a:pos x="3" y="0"/>
              </a:cxn>
              <a:cxn ang="0">
                <a:pos x="5" y="3"/>
              </a:cxn>
            </a:cxnLst>
            <a:rect l="0" t="0" r="r" b="b"/>
            <a:pathLst>
              <a:path w="5" h="3">
                <a:moveTo>
                  <a:pt x="5" y="3"/>
                </a:moveTo>
                <a:lnTo>
                  <a:pt x="1" y="1"/>
                </a:lnTo>
                <a:lnTo>
                  <a:pt x="0" y="0"/>
                </a:lnTo>
                <a:lnTo>
                  <a:pt x="3" y="0"/>
                </a:lnTo>
                <a:lnTo>
                  <a:pt x="5" y="3"/>
                </a:lnTo>
                <a:close/>
              </a:path>
            </a:pathLst>
          </a:custGeom>
          <a:solidFill>
            <a:schemeClr val="accent5"/>
          </a:solidFill>
          <a:ln w="4826">
            <a:solidFill>
              <a:schemeClr val="bg1"/>
            </a:solidFill>
            <a:prstDash val="solid"/>
            <a:round/>
            <a:headEnd/>
            <a:tailEnd/>
          </a:ln>
        </p:spPr>
        <p:txBody>
          <a:bodyPr lIns="33338" tIns="33338" rIns="33338" bIns="33338"/>
          <a:lstStyle/>
          <a:p>
            <a:endParaRPr lang="en-US" sz="1350" dirty="0"/>
          </a:p>
        </p:txBody>
      </p:sp>
      <p:sp>
        <p:nvSpPr>
          <p:cNvPr id="228" name="Content Placeholder 2"/>
          <p:cNvSpPr txBox="1">
            <a:spLocks/>
          </p:cNvSpPr>
          <p:nvPr/>
        </p:nvSpPr>
        <p:spPr>
          <a:xfrm>
            <a:off x="573722" y="1020549"/>
            <a:ext cx="8229600" cy="1342084"/>
          </a:xfrm>
          <a:prstGeom prst="rect">
            <a:avLst/>
          </a:prstGeom>
        </p:spPr>
        <p:txBody>
          <a:bodyPr vert="horz" lIns="0" tIns="0" rIns="0" bIns="0" spcCol="182880" rtlCol="0">
            <a:noAutofit/>
          </a:bodyPr>
          <a:lstStyle>
            <a:lvl1pPr marL="228600" indent="-228600" algn="l" defTabSz="914400" rtl="0" eaLnBrk="1" latinLnBrk="0" hangingPunct="1">
              <a:spcBef>
                <a:spcPts val="900"/>
              </a:spcBef>
              <a:buClrTx/>
              <a:buSzPct val="100000"/>
              <a:buFont typeface="Wingdings" charset="2"/>
              <a:buChar char="§"/>
              <a:tabLst>
                <a:tab pos="3998913" algn="r"/>
                <a:tab pos="8229600" algn="r"/>
              </a:tabLst>
              <a:defRPr sz="1800" b="0" i="0" kern="1200" spc="0" baseline="0">
                <a:solidFill>
                  <a:schemeClr val="tx1"/>
                </a:solidFill>
                <a:latin typeface="+mn-lt"/>
                <a:ea typeface="+mn-ea"/>
                <a:cs typeface="+mn-cs"/>
              </a:defRPr>
            </a:lvl1pPr>
            <a:lvl2pPr marL="457200" indent="-228600" algn="l" defTabSz="914400" rtl="0" eaLnBrk="1" latinLnBrk="0" hangingPunct="1">
              <a:spcBef>
                <a:spcPts val="300"/>
              </a:spcBef>
              <a:buClrTx/>
              <a:buSzPct val="100000"/>
              <a:buFont typeface="Arial" pitchFamily="34" charset="0"/>
              <a:buChar char="–"/>
              <a:defRPr sz="1600" b="0" i="0" kern="1200" spc="0" baseline="0">
                <a:solidFill>
                  <a:schemeClr val="tx1"/>
                </a:solidFill>
                <a:latin typeface="+mn-lt"/>
                <a:ea typeface="+mn-ea"/>
                <a:cs typeface="+mn-cs"/>
              </a:defRPr>
            </a:lvl2pPr>
            <a:lvl3pPr marL="685800" indent="-228600" algn="l" defTabSz="914400" rtl="0" eaLnBrk="1" latinLnBrk="0" hangingPunct="1">
              <a:spcBef>
                <a:spcPts val="300"/>
              </a:spcBef>
              <a:buClrTx/>
              <a:buSzPct val="100000"/>
              <a:buFont typeface="Arial" pitchFamily="34" charset="0"/>
              <a:buChar char="–"/>
              <a:defRPr sz="1600" b="0" i="0" kern="1200" spc="0" baseline="0">
                <a:solidFill>
                  <a:schemeClr val="tx1"/>
                </a:solidFill>
                <a:latin typeface="+mn-lt"/>
                <a:ea typeface="+mn-ea"/>
                <a:cs typeface="+mn-cs"/>
              </a:defRPr>
            </a:lvl3pPr>
            <a:lvl4pPr marL="914400" indent="-228600" algn="l" defTabSz="914400" rtl="0" eaLnBrk="1" latinLnBrk="0" hangingPunct="1">
              <a:spcBef>
                <a:spcPts val="300"/>
              </a:spcBef>
              <a:buClrTx/>
              <a:buSzPct val="100000"/>
              <a:buFont typeface="Arial" pitchFamily="34" charset="0"/>
              <a:buChar char="–"/>
              <a:defRPr sz="1600" b="0" i="0" kern="1200" spc="0" baseline="0">
                <a:solidFill>
                  <a:schemeClr val="tx1"/>
                </a:solidFill>
                <a:latin typeface="+mn-lt"/>
                <a:ea typeface="+mn-ea"/>
                <a:cs typeface="+mn-cs"/>
              </a:defRPr>
            </a:lvl4pPr>
            <a:lvl5pPr marL="1143000" indent="-228600" algn="l" defTabSz="914400" rtl="0" eaLnBrk="1" latinLnBrk="0" hangingPunct="1">
              <a:spcBef>
                <a:spcPts val="300"/>
              </a:spcBef>
              <a:buClrTx/>
              <a:buSzPct val="100000"/>
              <a:buFont typeface="Arial" pitchFamily="34" charset="0"/>
              <a:buChar char="–"/>
              <a:defRPr sz="1600" b="0" i="0" kern="1200" spc="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GB" sz="1600" dirty="0"/>
              <a:t>The Scout solution will be delivered to 61 countries by Q4 2021. </a:t>
            </a:r>
          </a:p>
          <a:p>
            <a:r>
              <a:rPr lang="en-GB" sz="1600" dirty="0"/>
              <a:t>This represents a significant logistical challenge.</a:t>
            </a:r>
          </a:p>
        </p:txBody>
      </p:sp>
    </p:spTree>
    <p:extLst>
      <p:ext uri="{BB962C8B-B14F-4D97-AF65-F5344CB8AC3E}">
        <p14:creationId xmlns:p14="http://schemas.microsoft.com/office/powerpoint/2010/main" val="93649245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solidFill>
                  <a:schemeClr val="tx1"/>
                </a:solidFill>
              </a:rPr>
              <a:t>Roll-out:  PROGRAM Team Members </a:t>
            </a:r>
          </a:p>
        </p:txBody>
      </p:sp>
      <p:sp>
        <p:nvSpPr>
          <p:cNvPr id="3" name="Footer Placeholder 2"/>
          <p:cNvSpPr>
            <a:spLocks noGrp="1"/>
          </p:cNvSpPr>
          <p:nvPr>
            <p:ph type="ftr" sz="quarter" idx="11"/>
          </p:nvPr>
        </p:nvSpPr>
        <p:spPr/>
        <p:txBody>
          <a:bodyPr/>
          <a:lstStyle/>
          <a:p>
            <a:r>
              <a:rPr lang="en-GB"/>
              <a:t>Scout l Roll-out Approach l March 2020</a:t>
            </a:r>
            <a:endParaRPr lang="en-GB" dirty="0"/>
          </a:p>
        </p:txBody>
      </p:sp>
      <p:sp>
        <p:nvSpPr>
          <p:cNvPr id="4" name="Slide Number Placeholder 3"/>
          <p:cNvSpPr>
            <a:spLocks noGrp="1"/>
          </p:cNvSpPr>
          <p:nvPr>
            <p:ph type="sldNum" sz="quarter" idx="10"/>
          </p:nvPr>
        </p:nvSpPr>
        <p:spPr/>
        <p:txBody>
          <a:bodyPr/>
          <a:lstStyle/>
          <a:p>
            <a:fld id="{47547CF9-5B10-D24F-A8D7-45A9778164F7}" type="slidenum">
              <a:rPr lang="en-US" smtClean="0"/>
              <a:pPr/>
              <a:t>20</a:t>
            </a:fld>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520470247"/>
              </p:ext>
            </p:extLst>
          </p:nvPr>
        </p:nvGraphicFramePr>
        <p:xfrm>
          <a:off x="228600" y="742949"/>
          <a:ext cx="8763000" cy="4298142"/>
        </p:xfrm>
        <a:graphic>
          <a:graphicData uri="http://schemas.openxmlformats.org/drawingml/2006/table">
            <a:tbl>
              <a:tblPr firstRow="1" bandRow="1">
                <a:tableStyleId>{5C22544A-7EE6-4342-B048-85BDC9FD1C3A}</a:tableStyleId>
              </a:tblPr>
              <a:tblGrid>
                <a:gridCol w="990600">
                  <a:extLst>
                    <a:ext uri="{9D8B030D-6E8A-4147-A177-3AD203B41FA5}">
                      <a16:colId xmlns:a16="http://schemas.microsoft.com/office/drawing/2014/main" val="3870673544"/>
                    </a:ext>
                  </a:extLst>
                </a:gridCol>
                <a:gridCol w="4800600">
                  <a:extLst>
                    <a:ext uri="{9D8B030D-6E8A-4147-A177-3AD203B41FA5}">
                      <a16:colId xmlns:a16="http://schemas.microsoft.com/office/drawing/2014/main" val="2724509223"/>
                    </a:ext>
                  </a:extLst>
                </a:gridCol>
                <a:gridCol w="2971800">
                  <a:extLst>
                    <a:ext uri="{9D8B030D-6E8A-4147-A177-3AD203B41FA5}">
                      <a16:colId xmlns:a16="http://schemas.microsoft.com/office/drawing/2014/main" val="786846384"/>
                    </a:ext>
                  </a:extLst>
                </a:gridCol>
              </a:tblGrid>
              <a:tr h="251579">
                <a:tc>
                  <a:txBody>
                    <a:bodyPr/>
                    <a:lstStyle/>
                    <a:p>
                      <a:pPr algn="ctr"/>
                      <a:r>
                        <a:rPr lang="en-US" sz="700" u="none" noProof="0" dirty="0">
                          <a:solidFill>
                            <a:schemeClr val="bg1"/>
                          </a:solidFill>
                        </a:rPr>
                        <a:t>Role</a:t>
                      </a:r>
                    </a:p>
                  </a:txBody>
                  <a:tcPr marL="72000" marR="72000" marT="72000" marB="72000">
                    <a:lnB w="9525" cap="flat" cmpd="sng" algn="ctr">
                      <a:solidFill>
                        <a:schemeClr val="bg2"/>
                      </a:solidFill>
                      <a:prstDash val="sysDot"/>
                      <a:round/>
                      <a:headEnd type="none" w="med" len="med"/>
                      <a:tailEnd type="none" w="med" len="med"/>
                    </a:lnB>
                    <a:solidFill>
                      <a:srgbClr val="023760"/>
                    </a:solidFill>
                  </a:tcPr>
                </a:tc>
                <a:tc>
                  <a:txBody>
                    <a:bodyPr/>
                    <a:lstStyle/>
                    <a:p>
                      <a:pPr algn="ctr"/>
                      <a:r>
                        <a:rPr lang="en-US" sz="700" u="none" noProof="0" dirty="0">
                          <a:solidFill>
                            <a:schemeClr val="bg1"/>
                          </a:solidFill>
                        </a:rPr>
                        <a:t>Main</a:t>
                      </a:r>
                      <a:r>
                        <a:rPr lang="en-US" sz="700" u="none" baseline="0" noProof="0" dirty="0">
                          <a:solidFill>
                            <a:schemeClr val="bg1"/>
                          </a:solidFill>
                        </a:rPr>
                        <a:t> responsibilities</a:t>
                      </a:r>
                      <a:endParaRPr lang="en-US" sz="700" u="none" noProof="0" dirty="0">
                        <a:solidFill>
                          <a:schemeClr val="bg1"/>
                        </a:solidFill>
                      </a:endParaRPr>
                    </a:p>
                  </a:txBody>
                  <a:tcPr marL="72000" marR="72000" marT="72000" marB="72000">
                    <a:lnB w="9525" cap="flat" cmpd="sng" algn="ctr">
                      <a:solidFill>
                        <a:schemeClr val="bg2"/>
                      </a:solidFill>
                      <a:prstDash val="sysDot"/>
                      <a:round/>
                      <a:headEnd type="none" w="med" len="med"/>
                      <a:tailEnd type="none" w="med" len="med"/>
                    </a:lnB>
                    <a:solidFill>
                      <a:srgbClr val="023760"/>
                    </a:solidFill>
                  </a:tcPr>
                </a:tc>
                <a:tc>
                  <a:txBody>
                    <a:bodyPr/>
                    <a:lstStyle/>
                    <a:p>
                      <a:pPr algn="ctr"/>
                      <a:r>
                        <a:rPr lang="en-US" sz="700" u="none" noProof="0" dirty="0">
                          <a:solidFill>
                            <a:schemeClr val="bg1"/>
                          </a:solidFill>
                        </a:rPr>
                        <a:t>Main Activities</a:t>
                      </a:r>
                    </a:p>
                  </a:txBody>
                  <a:tcPr marL="72000" marR="72000" marT="72000" marB="72000">
                    <a:lnB w="9525" cap="flat" cmpd="sng" algn="ctr">
                      <a:solidFill>
                        <a:schemeClr val="bg2"/>
                      </a:solidFill>
                      <a:prstDash val="sysDot"/>
                      <a:round/>
                      <a:headEnd type="none" w="med" len="med"/>
                      <a:tailEnd type="none" w="med" len="med"/>
                    </a:lnB>
                    <a:solidFill>
                      <a:srgbClr val="023760"/>
                    </a:solidFill>
                  </a:tcPr>
                </a:tc>
                <a:extLst>
                  <a:ext uri="{0D108BD9-81ED-4DB2-BD59-A6C34878D82A}">
                    <a16:rowId xmlns:a16="http://schemas.microsoft.com/office/drawing/2014/main" val="1634023528"/>
                  </a:ext>
                </a:extLst>
              </a:tr>
              <a:tr h="739022">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700" b="1" dirty="0">
                          <a:solidFill>
                            <a:schemeClr val="accent2">
                              <a:lumMod val="75000"/>
                            </a:schemeClr>
                          </a:solidFill>
                          <a:latin typeface="+mn-lt"/>
                        </a:rPr>
                        <a:t>Program</a:t>
                      </a:r>
                      <a:r>
                        <a:rPr lang="en-US" sz="700" b="1" baseline="0" dirty="0">
                          <a:solidFill>
                            <a:schemeClr val="accent2">
                              <a:lumMod val="75000"/>
                            </a:schemeClr>
                          </a:solidFill>
                          <a:latin typeface="+mn-lt"/>
                        </a:rPr>
                        <a:t> Roll-out Lead</a:t>
                      </a:r>
                      <a:endParaRPr lang="en-US" sz="700" b="1" dirty="0">
                        <a:solidFill>
                          <a:schemeClr val="accent2">
                            <a:lumMod val="75000"/>
                          </a:schemeClr>
                        </a:solidFill>
                        <a:latin typeface="+mn-lt"/>
                      </a:endParaRPr>
                    </a:p>
                  </a:txBody>
                  <a:tcPr marL="72000" marR="72000" marT="72000" marB="72000">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solidFill>
                      <a:schemeClr val="bg1"/>
                    </a:solidFill>
                  </a:tcPr>
                </a:tc>
                <a:tc>
                  <a:txBody>
                    <a:bodyPr/>
                    <a:lstStyle/>
                    <a:p>
                      <a:pPr marL="171450" marR="0" lvl="0" indent="-171450" algn="l" defTabSz="914400"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700" b="0" i="0" u="none" strike="noStrike" baseline="0" dirty="0">
                          <a:solidFill>
                            <a:schemeClr val="bg2">
                              <a:lumMod val="50000"/>
                            </a:schemeClr>
                          </a:solidFill>
                          <a:effectLst/>
                          <a:latin typeface="+mn-lt"/>
                        </a:rPr>
                        <a:t>Accountable – together with Regional </a:t>
                      </a:r>
                      <a:r>
                        <a:rPr lang="en-US" sz="700" b="0" i="0" u="none" strike="noStrike" baseline="0" dirty="0" err="1">
                          <a:solidFill>
                            <a:schemeClr val="bg2">
                              <a:lumMod val="50000"/>
                            </a:schemeClr>
                          </a:solidFill>
                          <a:effectLst/>
                          <a:latin typeface="+mn-lt"/>
                        </a:rPr>
                        <a:t>ComEx</a:t>
                      </a:r>
                      <a:r>
                        <a:rPr lang="en-US" sz="700" b="0" i="0" u="none" strike="noStrike" baseline="0" dirty="0">
                          <a:solidFill>
                            <a:schemeClr val="bg2">
                              <a:lumMod val="50000"/>
                            </a:schemeClr>
                          </a:solidFill>
                          <a:effectLst/>
                          <a:latin typeface="+mn-lt"/>
                        </a:rPr>
                        <a:t> colleagues - for all Roll-out delivery.</a:t>
                      </a:r>
                    </a:p>
                    <a:p>
                      <a:pPr marL="171450" marR="0" lvl="0" indent="-171450" algn="l" defTabSz="914400"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700" b="0" i="0" u="none" strike="noStrike" dirty="0">
                          <a:solidFill>
                            <a:schemeClr val="bg2">
                              <a:lumMod val="50000"/>
                            </a:schemeClr>
                          </a:solidFill>
                          <a:effectLst/>
                          <a:latin typeface="+mn-lt"/>
                        </a:rPr>
                        <a:t>Manage Program Roll-out Team</a:t>
                      </a:r>
                    </a:p>
                    <a:p>
                      <a:pPr marL="171450" indent="-171450" algn="l" fontAlgn="t">
                        <a:buFont typeface="Arial" panose="020B0604020202020204" pitchFamily="34" charset="0"/>
                        <a:buChar char="•"/>
                      </a:pPr>
                      <a:r>
                        <a:rPr lang="en-US" sz="700" b="0" i="0" u="none" strike="noStrike" dirty="0">
                          <a:solidFill>
                            <a:schemeClr val="bg2">
                              <a:lumMod val="50000"/>
                            </a:schemeClr>
                          </a:solidFill>
                          <a:effectLst/>
                          <a:latin typeface="+mn-lt"/>
                        </a:rPr>
                        <a:t>Manage relation</a:t>
                      </a:r>
                      <a:r>
                        <a:rPr lang="en-US" sz="700" b="0" i="0" u="none" strike="noStrike" baseline="0" dirty="0">
                          <a:solidFill>
                            <a:schemeClr val="bg2">
                              <a:lumMod val="50000"/>
                            </a:schemeClr>
                          </a:solidFill>
                          <a:effectLst/>
                          <a:latin typeface="+mn-lt"/>
                        </a:rPr>
                        <a:t>ship with Sandoz Regions and Countries via </a:t>
                      </a:r>
                      <a:r>
                        <a:rPr lang="en-US" sz="700" b="0" i="0" u="none" strike="noStrike" baseline="0" dirty="0" err="1">
                          <a:solidFill>
                            <a:schemeClr val="bg2">
                              <a:lumMod val="50000"/>
                            </a:schemeClr>
                          </a:solidFill>
                          <a:effectLst/>
                          <a:latin typeface="+mn-lt"/>
                        </a:rPr>
                        <a:t>ComEx</a:t>
                      </a:r>
                      <a:r>
                        <a:rPr lang="en-US" sz="700" b="0" i="0" u="none" strike="noStrike" baseline="0" dirty="0">
                          <a:solidFill>
                            <a:schemeClr val="bg2">
                              <a:lumMod val="50000"/>
                            </a:schemeClr>
                          </a:solidFill>
                          <a:effectLst/>
                          <a:latin typeface="+mn-lt"/>
                        </a:rPr>
                        <a:t> colleagues</a:t>
                      </a:r>
                    </a:p>
                    <a:p>
                      <a:pPr marL="171450" indent="-171450" algn="l" fontAlgn="t">
                        <a:buFont typeface="Arial" panose="020B0604020202020204" pitchFamily="34" charset="0"/>
                        <a:buChar char="•"/>
                      </a:pPr>
                      <a:r>
                        <a:rPr lang="en-US" sz="700" b="0" i="0" u="none" strike="noStrike" baseline="0" dirty="0">
                          <a:solidFill>
                            <a:schemeClr val="bg2">
                              <a:lumMod val="50000"/>
                            </a:schemeClr>
                          </a:solidFill>
                          <a:effectLst/>
                          <a:latin typeface="+mn-lt"/>
                        </a:rPr>
                        <a:t>Manage relationships and interactions with all other Scout </a:t>
                      </a:r>
                      <a:r>
                        <a:rPr lang="en-US" sz="700" b="0" i="0" u="none" strike="noStrike" baseline="0" dirty="0" err="1">
                          <a:solidFill>
                            <a:schemeClr val="bg2">
                              <a:lumMod val="50000"/>
                            </a:schemeClr>
                          </a:solidFill>
                          <a:effectLst/>
                          <a:latin typeface="+mn-lt"/>
                        </a:rPr>
                        <a:t>Workstreams</a:t>
                      </a:r>
                      <a:endParaRPr lang="en-US" sz="700" b="0" i="0" u="none" strike="noStrike" baseline="0" dirty="0">
                        <a:solidFill>
                          <a:schemeClr val="bg2">
                            <a:lumMod val="50000"/>
                          </a:schemeClr>
                        </a:solidFill>
                        <a:effectLst/>
                        <a:latin typeface="+mn-lt"/>
                      </a:endParaRPr>
                    </a:p>
                    <a:p>
                      <a:pPr marL="171450" indent="-171450" algn="l" fontAlgn="t">
                        <a:buFont typeface="Arial" panose="020B0604020202020204" pitchFamily="34" charset="0"/>
                        <a:buChar char="•"/>
                      </a:pPr>
                      <a:r>
                        <a:rPr lang="en-US" sz="700" b="0" i="0" u="none" strike="noStrike" baseline="0" dirty="0">
                          <a:solidFill>
                            <a:schemeClr val="bg2">
                              <a:lumMod val="50000"/>
                            </a:schemeClr>
                          </a:solidFill>
                          <a:effectLst/>
                          <a:latin typeface="+mn-lt"/>
                        </a:rPr>
                        <a:t>Roll-out Status tracking</a:t>
                      </a:r>
                    </a:p>
                    <a:p>
                      <a:pPr marL="171450" marR="0" lvl="0" indent="-171450" algn="l" defTabSz="914400"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700" b="0" i="0" u="none" strike="noStrike" baseline="0" dirty="0">
                          <a:solidFill>
                            <a:schemeClr val="bg2">
                              <a:lumMod val="50000"/>
                            </a:schemeClr>
                          </a:solidFill>
                          <a:effectLst/>
                          <a:latin typeface="+mn-lt"/>
                        </a:rPr>
                        <a:t>Roll-out Risk and issue management</a:t>
                      </a:r>
                    </a:p>
                  </a:txBody>
                  <a:tcPr marL="72000" marR="72000" marT="72000" marB="72000">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solidFill>
                      <a:schemeClr val="bg1"/>
                    </a:solidFill>
                  </a:tcPr>
                </a:tc>
                <a:tc>
                  <a:txBody>
                    <a:bodyPr/>
                    <a:lstStyle/>
                    <a:p>
                      <a:pPr marL="171450" indent="-171450" algn="l" fontAlgn="t">
                        <a:buFont typeface="Arial" panose="020B0604020202020204" pitchFamily="34" charset="0"/>
                        <a:buChar char="•"/>
                      </a:pPr>
                      <a:r>
                        <a:rPr lang="en-US" sz="700" b="0" i="0" u="none" strike="noStrike" baseline="0" dirty="0">
                          <a:solidFill>
                            <a:schemeClr val="bg2">
                              <a:lumMod val="50000"/>
                            </a:schemeClr>
                          </a:solidFill>
                          <a:effectLst/>
                          <a:latin typeface="+mn-lt"/>
                        </a:rPr>
                        <a:t>Program level meetings and status updates</a:t>
                      </a:r>
                    </a:p>
                    <a:p>
                      <a:pPr marL="171450" indent="-171450" algn="l" fontAlgn="t">
                        <a:buFont typeface="Arial" panose="020B0604020202020204" pitchFamily="34" charset="0"/>
                        <a:buChar char="•"/>
                      </a:pPr>
                      <a:r>
                        <a:rPr lang="en-US" sz="700" b="0" i="0" u="none" strike="noStrike" baseline="0" dirty="0">
                          <a:solidFill>
                            <a:schemeClr val="bg2">
                              <a:lumMod val="50000"/>
                            </a:schemeClr>
                          </a:solidFill>
                          <a:effectLst/>
                          <a:latin typeface="+mn-lt"/>
                        </a:rPr>
                        <a:t>Daily team status updates to ensure all countries in a wave are on track</a:t>
                      </a:r>
                    </a:p>
                    <a:p>
                      <a:pPr marL="171450" indent="-171450" algn="l" fontAlgn="t">
                        <a:buFont typeface="Arial" panose="020B0604020202020204" pitchFamily="34" charset="0"/>
                        <a:buChar char="•"/>
                      </a:pPr>
                      <a:r>
                        <a:rPr lang="en-US" sz="700" b="0" i="0" u="none" strike="noStrike" baseline="0" dirty="0">
                          <a:solidFill>
                            <a:schemeClr val="bg2">
                              <a:lumMod val="50000"/>
                            </a:schemeClr>
                          </a:solidFill>
                          <a:effectLst/>
                          <a:latin typeface="+mn-lt"/>
                        </a:rPr>
                        <a:t>Status tracking</a:t>
                      </a:r>
                    </a:p>
                    <a:p>
                      <a:pPr marL="171450" indent="-171450" algn="l" fontAlgn="t">
                        <a:buFont typeface="Arial" panose="020B0604020202020204" pitchFamily="34" charset="0"/>
                        <a:buChar char="•"/>
                      </a:pPr>
                      <a:r>
                        <a:rPr lang="en-US" sz="700" b="0" i="0" u="none" strike="noStrike" baseline="0" dirty="0">
                          <a:solidFill>
                            <a:schemeClr val="bg2">
                              <a:lumMod val="50000"/>
                            </a:schemeClr>
                          </a:solidFill>
                          <a:effectLst/>
                          <a:latin typeface="+mn-lt"/>
                        </a:rPr>
                        <a:t>Risk and issue management</a:t>
                      </a:r>
                    </a:p>
                    <a:p>
                      <a:pPr marL="171450" indent="-171450" algn="l" fontAlgn="t">
                        <a:buFont typeface="Arial" panose="020B0604020202020204" pitchFamily="34" charset="0"/>
                        <a:buChar char="•"/>
                      </a:pPr>
                      <a:r>
                        <a:rPr lang="en-US" sz="700" b="0" i="0" u="none" strike="noStrike" baseline="0" dirty="0">
                          <a:solidFill>
                            <a:schemeClr val="bg2">
                              <a:lumMod val="50000"/>
                            </a:schemeClr>
                          </a:solidFill>
                          <a:effectLst/>
                          <a:latin typeface="+mn-lt"/>
                        </a:rPr>
                        <a:t>Wave/Group/Country Steer-Cos and Checkpoint meetings</a:t>
                      </a:r>
                    </a:p>
                  </a:txBody>
                  <a:tcPr marL="72000" marR="72000" marT="72000" marB="72000">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solidFill>
                      <a:schemeClr val="bg1"/>
                    </a:solidFill>
                  </a:tcPr>
                </a:tc>
                <a:extLst>
                  <a:ext uri="{0D108BD9-81ED-4DB2-BD59-A6C34878D82A}">
                    <a16:rowId xmlns:a16="http://schemas.microsoft.com/office/drawing/2014/main" val="2916973032"/>
                  </a:ext>
                </a:extLst>
              </a:tr>
              <a:tr h="696883">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700" b="1" i="0" u="none" strike="noStrike" kern="1200" cap="none" spc="0" normalizeH="0" baseline="0" noProof="0" dirty="0">
                          <a:ln>
                            <a:noFill/>
                          </a:ln>
                          <a:solidFill>
                            <a:schemeClr val="accent2">
                              <a:lumMod val="75000"/>
                            </a:schemeClr>
                          </a:solidFill>
                          <a:effectLst/>
                          <a:uLnTx/>
                          <a:uFillTx/>
                          <a:latin typeface="+mn-lt"/>
                          <a:ea typeface="+mn-ea"/>
                          <a:cs typeface="+mn-cs"/>
                        </a:rPr>
                        <a:t>Program Roll-out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700" b="1" i="0" u="none" strike="noStrike" kern="1200" cap="none" spc="0" normalizeH="0" baseline="0" noProof="0" dirty="0">
                          <a:ln>
                            <a:noFill/>
                          </a:ln>
                          <a:solidFill>
                            <a:schemeClr val="accent2">
                              <a:lumMod val="75000"/>
                            </a:schemeClr>
                          </a:solidFill>
                          <a:effectLst/>
                          <a:uLnTx/>
                          <a:uFillTx/>
                          <a:latin typeface="+mn-lt"/>
                          <a:ea typeface="+mn-ea"/>
                          <a:cs typeface="+mn-cs"/>
                        </a:rPr>
                        <a:t>Co-</a:t>
                      </a:r>
                      <a:r>
                        <a:rPr kumimoji="0" lang="en-US" sz="700" b="1" i="0" u="none" strike="noStrike" kern="1200" cap="none" spc="0" normalizeH="0" baseline="0" noProof="0" dirty="0" err="1">
                          <a:ln>
                            <a:noFill/>
                          </a:ln>
                          <a:solidFill>
                            <a:schemeClr val="accent2">
                              <a:lumMod val="75000"/>
                            </a:schemeClr>
                          </a:solidFill>
                          <a:effectLst/>
                          <a:uLnTx/>
                          <a:uFillTx/>
                          <a:latin typeface="+mn-lt"/>
                          <a:ea typeface="+mn-ea"/>
                          <a:cs typeface="+mn-cs"/>
                        </a:rPr>
                        <a:t>ordinators</a:t>
                      </a:r>
                      <a:endParaRPr kumimoji="0" lang="en-US" sz="700" b="1" i="0" u="none" strike="noStrike" kern="1200" cap="none" spc="0" normalizeH="0" noProof="0" dirty="0">
                        <a:ln>
                          <a:noFill/>
                        </a:ln>
                        <a:solidFill>
                          <a:schemeClr val="accent2">
                            <a:lumMod val="75000"/>
                          </a:schemeClr>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700" b="0" i="0" u="none" strike="noStrike" kern="1200" cap="none" spc="0" normalizeH="0" baseline="0" noProof="0" dirty="0">
                        <a:ln>
                          <a:noFill/>
                        </a:ln>
                        <a:solidFill>
                          <a:schemeClr val="accent2">
                            <a:lumMod val="75000"/>
                          </a:schemeClr>
                        </a:solidFill>
                        <a:effectLst/>
                        <a:uLnTx/>
                        <a:uFillTx/>
                        <a:latin typeface="+mn-lt"/>
                        <a:ea typeface="+mn-ea"/>
                        <a:cs typeface="+mn-cs"/>
                      </a:endParaRPr>
                    </a:p>
                    <a:p>
                      <a:pPr marL="0" indent="0" algn="l">
                        <a:buFont typeface="Arial" panose="020B0604020202020204" pitchFamily="34" charset="0"/>
                        <a:buNone/>
                      </a:pPr>
                      <a:endParaRPr lang="en-US" sz="700" dirty="0">
                        <a:solidFill>
                          <a:schemeClr val="accent2">
                            <a:lumMod val="75000"/>
                          </a:schemeClr>
                        </a:solidFill>
                        <a:latin typeface="+mn-lt"/>
                      </a:endParaRPr>
                    </a:p>
                  </a:txBody>
                  <a:tcPr marL="72000" marR="72000" marT="72000" marB="72000">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solidFill>
                      <a:schemeClr val="bg1"/>
                    </a:solidFill>
                  </a:tcPr>
                </a:tc>
                <a:tc>
                  <a:txBody>
                    <a:bodyPr/>
                    <a:lstStyle/>
                    <a:p>
                      <a:pPr marL="171450" indent="-171450" algn="l" fontAlgn="t">
                        <a:buFont typeface="Arial" panose="020B0604020202020204" pitchFamily="34" charset="0"/>
                        <a:buChar char="•"/>
                      </a:pPr>
                      <a:r>
                        <a:rPr lang="en-US" sz="700" b="0" i="0" u="none" strike="noStrike" dirty="0">
                          <a:solidFill>
                            <a:schemeClr val="bg2">
                              <a:lumMod val="50000"/>
                            </a:schemeClr>
                          </a:solidFill>
                          <a:effectLst/>
                          <a:latin typeface="+mn-lt"/>
                        </a:rPr>
                        <a:t>Manage one or more Groups of Countries in each Wave of new Countries, from the Pre-Roll-out</a:t>
                      </a:r>
                      <a:r>
                        <a:rPr lang="en-US" sz="700" b="0" i="0" u="none" strike="noStrike" baseline="0" dirty="0">
                          <a:solidFill>
                            <a:schemeClr val="bg2">
                              <a:lumMod val="50000"/>
                            </a:schemeClr>
                          </a:solidFill>
                          <a:effectLst/>
                          <a:latin typeface="+mn-lt"/>
                        </a:rPr>
                        <a:t> Activities through to end of </a:t>
                      </a:r>
                      <a:r>
                        <a:rPr lang="en-US" sz="700" b="0" i="0" u="none" strike="noStrike" baseline="0" dirty="0" err="1">
                          <a:solidFill>
                            <a:schemeClr val="bg2">
                              <a:lumMod val="50000"/>
                            </a:schemeClr>
                          </a:solidFill>
                          <a:effectLst/>
                          <a:latin typeface="+mn-lt"/>
                        </a:rPr>
                        <a:t>Hypercare</a:t>
                      </a:r>
                      <a:endParaRPr lang="en-US" sz="700" b="0" i="0" u="none" strike="noStrike" baseline="0" dirty="0">
                        <a:solidFill>
                          <a:schemeClr val="bg2">
                            <a:lumMod val="50000"/>
                          </a:schemeClr>
                        </a:solidFill>
                        <a:effectLst/>
                        <a:latin typeface="+mn-lt"/>
                      </a:endParaRPr>
                    </a:p>
                    <a:p>
                      <a:pPr marL="171450" indent="-171450" algn="l" fontAlgn="t">
                        <a:buFont typeface="Arial" panose="020B0604020202020204" pitchFamily="34" charset="0"/>
                        <a:buChar char="•"/>
                      </a:pPr>
                      <a:r>
                        <a:rPr lang="en-US" sz="700" b="0" i="0" u="none" strike="noStrike" baseline="0" dirty="0">
                          <a:solidFill>
                            <a:schemeClr val="bg2">
                              <a:lumMod val="50000"/>
                            </a:schemeClr>
                          </a:solidFill>
                          <a:effectLst/>
                          <a:latin typeface="+mn-lt"/>
                        </a:rPr>
                        <a:t>Coordinate the Roll-out activities of each Country through the Cluster and Local Roll-out Manager/s</a:t>
                      </a:r>
                    </a:p>
                    <a:p>
                      <a:pPr marL="171450" indent="-171450" algn="l" fontAlgn="t">
                        <a:buFont typeface="Arial" panose="020B0604020202020204" pitchFamily="34" charset="0"/>
                        <a:buChar char="•"/>
                      </a:pPr>
                      <a:r>
                        <a:rPr lang="en-US" sz="700" b="0" i="0" u="none" strike="noStrike" baseline="0" dirty="0">
                          <a:solidFill>
                            <a:schemeClr val="bg2">
                              <a:lumMod val="50000"/>
                            </a:schemeClr>
                          </a:solidFill>
                          <a:effectLst/>
                          <a:latin typeface="+mn-lt"/>
                        </a:rPr>
                        <a:t>Act as escalation point to the Program for the Local Roll-out Managers</a:t>
                      </a:r>
                    </a:p>
                    <a:p>
                      <a:pPr marL="171450" indent="-171450" algn="l" fontAlgn="t">
                        <a:buFont typeface="Arial" panose="020B0604020202020204" pitchFamily="34" charset="0"/>
                        <a:buChar char="•"/>
                      </a:pPr>
                      <a:r>
                        <a:rPr lang="en-US" sz="700" b="0" i="0" u="none" strike="noStrike" dirty="0">
                          <a:solidFill>
                            <a:schemeClr val="bg2">
                              <a:lumMod val="50000"/>
                            </a:schemeClr>
                          </a:solidFill>
                          <a:effectLst/>
                          <a:latin typeface="+mn-lt"/>
                        </a:rPr>
                        <a:t>Accountable for Checkpoint Sign-offs of all managed Countries</a:t>
                      </a:r>
                    </a:p>
                  </a:txBody>
                  <a:tcPr marL="72000" marR="72000" marT="72000" marB="72000">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solidFill>
                      <a:schemeClr val="bg1"/>
                    </a:solidFill>
                  </a:tcPr>
                </a:tc>
                <a:tc>
                  <a:txBody>
                    <a:bodyPr/>
                    <a:lstStyle/>
                    <a:p>
                      <a:pPr marL="171450" indent="-171450" algn="l" fontAlgn="t">
                        <a:buFont typeface="Arial" panose="020B0604020202020204" pitchFamily="34" charset="0"/>
                        <a:buChar char="•"/>
                      </a:pPr>
                      <a:r>
                        <a:rPr lang="en-US" sz="700" b="0" i="0" u="none" strike="noStrike" baseline="0" dirty="0">
                          <a:solidFill>
                            <a:schemeClr val="bg2">
                              <a:lumMod val="50000"/>
                            </a:schemeClr>
                          </a:solidFill>
                          <a:effectLst/>
                          <a:latin typeface="+mn-lt"/>
                        </a:rPr>
                        <a:t>Business Readiness/Early Engagement</a:t>
                      </a:r>
                    </a:p>
                    <a:p>
                      <a:pPr marL="171450" marR="0" lvl="0" indent="-171450" algn="l" defTabSz="914400"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700" b="0" i="0" u="none" strike="noStrike" baseline="0" dirty="0">
                          <a:solidFill>
                            <a:schemeClr val="bg2">
                              <a:lumMod val="50000"/>
                            </a:schemeClr>
                          </a:solidFill>
                          <a:effectLst/>
                          <a:latin typeface="+mn-lt"/>
                        </a:rPr>
                        <a:t>Regular status updates with all Countries</a:t>
                      </a:r>
                    </a:p>
                    <a:p>
                      <a:pPr marL="171450" marR="0" lvl="0" indent="-171450" algn="l" defTabSz="914400"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700" b="0" i="0" u="none" strike="noStrike" baseline="0" dirty="0">
                          <a:solidFill>
                            <a:schemeClr val="bg2">
                              <a:lumMod val="50000"/>
                            </a:schemeClr>
                          </a:solidFill>
                          <a:effectLst/>
                          <a:latin typeface="+mn-lt"/>
                        </a:rPr>
                        <a:t>Steer-Cos and Checkpoint meetings</a:t>
                      </a:r>
                    </a:p>
                    <a:p>
                      <a:pPr marL="171450" marR="0" lvl="0" indent="-171450" algn="l" defTabSz="914400"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700" b="0" i="0" u="none" strike="noStrike" baseline="0" dirty="0">
                          <a:solidFill>
                            <a:schemeClr val="bg2">
                              <a:lumMod val="50000"/>
                            </a:schemeClr>
                          </a:solidFill>
                          <a:effectLst/>
                          <a:latin typeface="+mn-lt"/>
                        </a:rPr>
                        <a:t>Daily team status updates to ensure all countries in a wave are on track</a:t>
                      </a:r>
                    </a:p>
                  </a:txBody>
                  <a:tcPr marL="72000" marR="72000" marT="72000" marB="72000">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solidFill>
                      <a:schemeClr val="bg1"/>
                    </a:solidFill>
                  </a:tcPr>
                </a:tc>
                <a:extLst>
                  <a:ext uri="{0D108BD9-81ED-4DB2-BD59-A6C34878D82A}">
                    <a16:rowId xmlns:a16="http://schemas.microsoft.com/office/drawing/2014/main" val="3082465746"/>
                  </a:ext>
                </a:extLst>
              </a:tr>
              <a:tr h="705859">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700" b="1" i="0" u="none" strike="noStrike" noProof="0" dirty="0">
                          <a:solidFill>
                            <a:schemeClr val="accent2">
                              <a:lumMod val="75000"/>
                            </a:schemeClr>
                          </a:solidFill>
                          <a:effectLst/>
                          <a:latin typeface="+mn-lt"/>
                        </a:rPr>
                        <a:t>Program Roll-out</a:t>
                      </a:r>
                      <a:r>
                        <a:rPr lang="en-US" sz="700" b="1" i="0" u="none" strike="noStrike" baseline="0" noProof="0" dirty="0">
                          <a:solidFill>
                            <a:schemeClr val="accent2">
                              <a:lumMod val="75000"/>
                            </a:schemeClr>
                          </a:solidFill>
                          <a:effectLst/>
                          <a:latin typeface="+mn-lt"/>
                        </a:rPr>
                        <a:t> </a:t>
                      </a:r>
                      <a:r>
                        <a:rPr lang="en-US" sz="700" b="1" strike="noStrike" dirty="0">
                          <a:solidFill>
                            <a:schemeClr val="accent1"/>
                          </a:solidFill>
                        </a:rPr>
                        <a:t>Local Testing Lead</a:t>
                      </a:r>
                    </a:p>
                    <a:p>
                      <a:pPr algn="l" fontAlgn="t"/>
                      <a:endParaRPr lang="en-US" sz="700" b="0" i="1" u="none" strike="noStrike" noProof="0" dirty="0">
                        <a:solidFill>
                          <a:schemeClr val="accent1"/>
                        </a:solidFill>
                        <a:effectLst/>
                        <a:latin typeface="+mn-lt"/>
                      </a:endParaRPr>
                    </a:p>
                  </a:txBody>
                  <a:tcPr marL="72000" marR="72000" marT="72000" marB="72000">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solidFill>
                      <a:schemeClr val="bg1"/>
                    </a:solidFill>
                  </a:tcPr>
                </a:tc>
                <a:tc>
                  <a:txBody>
                    <a:bodyPr/>
                    <a:lstStyle/>
                    <a:p>
                      <a:pPr marL="171450" indent="-171450" algn="l" fontAlgn="t">
                        <a:buFont typeface="Arial" panose="020B0604020202020204" pitchFamily="34" charset="0"/>
                        <a:buChar char="•"/>
                      </a:pPr>
                      <a:r>
                        <a:rPr lang="en-US" sz="700" b="0" i="0" u="none" strike="noStrike" baseline="0" noProof="0" dirty="0">
                          <a:solidFill>
                            <a:schemeClr val="bg2">
                              <a:lumMod val="50000"/>
                            </a:schemeClr>
                          </a:solidFill>
                          <a:effectLst/>
                          <a:latin typeface="+mn-lt"/>
                        </a:rPr>
                        <a:t>Own the Local Test Strategy/Protocol and ensure it remains aligned with dependent documents like the Program Test Strategy and the Data Migration Test Strategy</a:t>
                      </a:r>
                    </a:p>
                    <a:p>
                      <a:pPr marL="171450" indent="-171450" algn="l" fontAlgn="t">
                        <a:buFont typeface="Arial" panose="020B0604020202020204" pitchFamily="34" charset="0"/>
                        <a:buChar char="•"/>
                      </a:pPr>
                      <a:r>
                        <a:rPr lang="en-US" sz="700" b="0" i="0" u="none" strike="noStrike" baseline="0" noProof="0" dirty="0">
                          <a:solidFill>
                            <a:schemeClr val="bg2">
                              <a:lumMod val="50000"/>
                            </a:schemeClr>
                          </a:solidFill>
                          <a:effectLst/>
                          <a:latin typeface="+mn-lt"/>
                        </a:rPr>
                        <a:t>Accountable for Local Test activities (Scope, Planning, Training, Execution), managed through the Program Roll-out Coordinators</a:t>
                      </a:r>
                    </a:p>
                    <a:p>
                      <a:pPr marL="171450" indent="-171450" algn="l" fontAlgn="t">
                        <a:buFont typeface="Arial" panose="020B0604020202020204" pitchFamily="34" charset="0"/>
                        <a:buChar char="•"/>
                      </a:pPr>
                      <a:r>
                        <a:rPr lang="en-US" sz="700" b="0" i="0" u="none" strike="noStrike" baseline="0" noProof="0" dirty="0">
                          <a:solidFill>
                            <a:schemeClr val="bg2">
                              <a:lumMod val="50000"/>
                            </a:schemeClr>
                          </a:solidFill>
                          <a:effectLst/>
                          <a:latin typeface="+mn-lt"/>
                        </a:rPr>
                        <a:t>Responsible for engaging with Program PQ stream to ensure country resources are engaged where appropriate</a:t>
                      </a:r>
                    </a:p>
                  </a:txBody>
                  <a:tcPr marL="72000" marR="72000" marT="72000" marB="72000">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solidFill>
                      <a:schemeClr val="bg1"/>
                    </a:solidFill>
                  </a:tcPr>
                </a:tc>
                <a:tc>
                  <a:txBody>
                    <a:bodyPr/>
                    <a:lstStyle/>
                    <a:p>
                      <a:pPr marL="180975" indent="-180975" algn="l" eaLnBrk="1" fontAlgn="t">
                        <a:buFont typeface="Arial" panose="020B0604020202020204" pitchFamily="34" charset="0"/>
                        <a:buChar char="•"/>
                      </a:pPr>
                      <a:r>
                        <a:rPr lang="en-US" sz="700" b="0" i="0" u="none" strike="noStrike" baseline="0" noProof="0" dirty="0">
                          <a:solidFill>
                            <a:schemeClr val="bg2">
                              <a:lumMod val="50000"/>
                            </a:schemeClr>
                          </a:solidFill>
                          <a:effectLst/>
                          <a:latin typeface="+mn-lt"/>
                        </a:rPr>
                        <a:t>PROTON Training for all</a:t>
                      </a:r>
                    </a:p>
                    <a:p>
                      <a:pPr marL="180975" indent="-180975" algn="l" eaLnBrk="1" fontAlgn="t">
                        <a:buFont typeface="Arial" panose="020B0604020202020204" pitchFamily="34" charset="0"/>
                        <a:buChar char="•"/>
                      </a:pPr>
                      <a:r>
                        <a:rPr lang="en-US" sz="700" b="0" i="0" u="none" strike="noStrike" baseline="0" noProof="0" dirty="0">
                          <a:solidFill>
                            <a:schemeClr val="bg2">
                              <a:lumMod val="50000"/>
                            </a:schemeClr>
                          </a:solidFill>
                          <a:effectLst/>
                          <a:latin typeface="+mn-lt"/>
                        </a:rPr>
                        <a:t>Test Script writing &amp; maintenance (data, translations, local set-up)</a:t>
                      </a:r>
                    </a:p>
                    <a:p>
                      <a:pPr marL="180975" indent="-180975" algn="l" eaLnBrk="1" fontAlgn="t">
                        <a:buFont typeface="Arial" panose="020B0604020202020204" pitchFamily="34" charset="0"/>
                        <a:buChar char="•"/>
                      </a:pPr>
                      <a:r>
                        <a:rPr lang="en-US" sz="700" b="0" i="0" u="none" strike="noStrike" baseline="0" noProof="0" dirty="0">
                          <a:solidFill>
                            <a:schemeClr val="bg2">
                              <a:lumMod val="50000"/>
                            </a:schemeClr>
                          </a:solidFill>
                          <a:effectLst/>
                          <a:latin typeface="+mn-lt"/>
                        </a:rPr>
                        <a:t>Test Script selection &amp; management (functional process scripts from PQ to be reused)</a:t>
                      </a:r>
                    </a:p>
                    <a:p>
                      <a:pPr marL="180975" indent="-180975" algn="l" eaLnBrk="1" fontAlgn="t">
                        <a:buFont typeface="Arial" panose="020B0604020202020204" pitchFamily="34" charset="0"/>
                        <a:buChar char="•"/>
                      </a:pPr>
                      <a:r>
                        <a:rPr lang="en-US" sz="700" b="0" i="0" u="none" strike="noStrike" baseline="0" noProof="0" dirty="0">
                          <a:solidFill>
                            <a:schemeClr val="bg2">
                              <a:lumMod val="50000"/>
                            </a:schemeClr>
                          </a:solidFill>
                          <a:effectLst/>
                          <a:latin typeface="+mn-lt"/>
                        </a:rPr>
                        <a:t>Coordinate set-up of users in all test systems</a:t>
                      </a:r>
                    </a:p>
                    <a:p>
                      <a:pPr marL="180975" marR="0" lvl="0" indent="-180975" algn="l" defTabSz="914400"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700" b="0" i="0" u="none" strike="noStrike" baseline="0" dirty="0">
                          <a:solidFill>
                            <a:schemeClr val="bg2">
                              <a:lumMod val="50000"/>
                            </a:schemeClr>
                          </a:solidFill>
                          <a:effectLst/>
                          <a:latin typeface="+mn-lt"/>
                        </a:rPr>
                        <a:t>Daily team status updates</a:t>
                      </a:r>
                    </a:p>
                  </a:txBody>
                  <a:tcPr marL="72000" marR="72000" marT="72000" marB="72000">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solidFill>
                      <a:schemeClr val="bg1"/>
                    </a:solidFill>
                  </a:tcPr>
                </a:tc>
                <a:extLst>
                  <a:ext uri="{0D108BD9-81ED-4DB2-BD59-A6C34878D82A}">
                    <a16:rowId xmlns:a16="http://schemas.microsoft.com/office/drawing/2014/main" val="582606699"/>
                  </a:ext>
                </a:extLst>
              </a:tr>
              <a:tr h="919536">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700" b="1" i="0" u="none" strike="noStrike" noProof="0" dirty="0">
                          <a:solidFill>
                            <a:schemeClr val="accent2">
                              <a:lumMod val="75000"/>
                            </a:schemeClr>
                          </a:solidFill>
                          <a:effectLst/>
                          <a:latin typeface="+mn-lt"/>
                        </a:rPr>
                        <a:t>Program Roll-out</a:t>
                      </a:r>
                      <a:r>
                        <a:rPr lang="en-US" sz="700" b="1" i="0" u="none" strike="noStrike" baseline="0" noProof="0" dirty="0">
                          <a:solidFill>
                            <a:schemeClr val="accent2">
                              <a:lumMod val="75000"/>
                            </a:schemeClr>
                          </a:solidFill>
                          <a:effectLst/>
                          <a:latin typeface="+mn-lt"/>
                        </a:rPr>
                        <a:t> </a:t>
                      </a:r>
                      <a:r>
                        <a:rPr lang="en-US" sz="700" b="1" strike="noStrike" dirty="0">
                          <a:solidFill>
                            <a:schemeClr val="accent1"/>
                          </a:solidFill>
                        </a:rPr>
                        <a:t>Local Cutover/</a:t>
                      </a:r>
                      <a:r>
                        <a:rPr lang="en-US" sz="700" b="1" strike="noStrike" dirty="0" err="1">
                          <a:solidFill>
                            <a:schemeClr val="accent1"/>
                          </a:solidFill>
                        </a:rPr>
                        <a:t>Hypercare</a:t>
                      </a:r>
                      <a:r>
                        <a:rPr lang="en-US" sz="700" b="1" strike="noStrike" dirty="0">
                          <a:solidFill>
                            <a:schemeClr val="accent1"/>
                          </a:solidFill>
                        </a:rPr>
                        <a:t> Lead</a:t>
                      </a:r>
                    </a:p>
                    <a:p>
                      <a:pPr algn="l" fontAlgn="t"/>
                      <a:endParaRPr lang="en-US" sz="700" b="1" i="0" u="none" strike="noStrike" noProof="0" dirty="0">
                        <a:solidFill>
                          <a:schemeClr val="accent2">
                            <a:lumMod val="75000"/>
                          </a:schemeClr>
                        </a:solidFill>
                        <a:effectLst/>
                        <a:latin typeface="+mn-lt"/>
                      </a:endParaRPr>
                    </a:p>
                  </a:txBody>
                  <a:tcPr marL="72000" marR="72000" marT="72000" marB="72000">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solidFill>
                      <a:schemeClr val="bg1"/>
                    </a:solidFill>
                  </a:tcPr>
                </a:tc>
                <a:tc>
                  <a:txBody>
                    <a:bodyPr/>
                    <a:lstStyle/>
                    <a:p>
                      <a:pPr marL="171450" indent="-171450" algn="l" fontAlgn="t">
                        <a:buFont typeface="Arial" panose="020B0604020202020204" pitchFamily="34" charset="0"/>
                        <a:buChar char="•"/>
                      </a:pPr>
                      <a:r>
                        <a:rPr lang="en-US" sz="700" b="0" i="0" u="none" strike="noStrike" baseline="0" noProof="0" dirty="0">
                          <a:solidFill>
                            <a:schemeClr val="bg2">
                              <a:lumMod val="50000"/>
                            </a:schemeClr>
                          </a:solidFill>
                          <a:effectLst/>
                          <a:latin typeface="+mn-lt"/>
                        </a:rPr>
                        <a:t>Own the Cutover Plan for a Wave</a:t>
                      </a:r>
                    </a:p>
                    <a:p>
                      <a:pPr marL="171450" indent="-171450" algn="l" fontAlgn="t">
                        <a:buFont typeface="Arial" panose="020B0604020202020204" pitchFamily="34" charset="0"/>
                        <a:buChar char="•"/>
                      </a:pPr>
                      <a:r>
                        <a:rPr lang="en-US" sz="700" b="0" i="0" u="none" strike="noStrike" baseline="0" noProof="0" dirty="0">
                          <a:solidFill>
                            <a:schemeClr val="bg2">
                              <a:lumMod val="50000"/>
                            </a:schemeClr>
                          </a:solidFill>
                          <a:effectLst/>
                          <a:latin typeface="+mn-lt"/>
                        </a:rPr>
                        <a:t>Accountable for Local Cutover activities (Planning, Execution), managed through the Program Roll-out Coordinators</a:t>
                      </a:r>
                    </a:p>
                    <a:p>
                      <a:pPr marL="171450" indent="-171450" algn="l" fontAlgn="t">
                        <a:buFont typeface="Arial" panose="020B0604020202020204" pitchFamily="34" charset="0"/>
                        <a:buChar char="•"/>
                      </a:pPr>
                      <a:r>
                        <a:rPr lang="en-US" sz="700" b="0" i="0" u="none" strike="noStrike" baseline="0" noProof="0" dirty="0">
                          <a:solidFill>
                            <a:schemeClr val="bg2">
                              <a:lumMod val="50000"/>
                            </a:schemeClr>
                          </a:solidFill>
                          <a:effectLst/>
                          <a:latin typeface="+mn-lt"/>
                        </a:rPr>
                        <a:t>Responsible for engaging with the other Work Streams (Data Migration, Integration and P2P team) to ensure all technical aspects of the Cutover are in line with the Local plan and expectations</a:t>
                      </a:r>
                    </a:p>
                    <a:p>
                      <a:pPr marL="171450" indent="-171450" algn="l" fontAlgn="t">
                        <a:buFont typeface="Arial" panose="020B0604020202020204" pitchFamily="34" charset="0"/>
                        <a:buChar char="•"/>
                      </a:pPr>
                      <a:r>
                        <a:rPr lang="en-US" sz="700" b="0" i="0" u="none" strike="noStrike" baseline="0" noProof="0" dirty="0">
                          <a:solidFill>
                            <a:schemeClr val="bg2">
                              <a:lumMod val="50000"/>
                            </a:schemeClr>
                          </a:solidFill>
                          <a:effectLst/>
                          <a:latin typeface="+mn-lt"/>
                        </a:rPr>
                        <a:t>Responsible for engaging with Program Release Cutover Lead to ensure live country resources are engaged where appropriate for a new </a:t>
                      </a:r>
                      <a:r>
                        <a:rPr lang="en-US" sz="700" b="0" i="0" u="none" strike="noStrike" baseline="0" noProof="0" dirty="0" err="1">
                          <a:solidFill>
                            <a:schemeClr val="bg2">
                              <a:lumMod val="50000"/>
                            </a:schemeClr>
                          </a:solidFill>
                          <a:effectLst/>
                          <a:latin typeface="+mn-lt"/>
                        </a:rPr>
                        <a:t>ReleaseOwn</a:t>
                      </a:r>
                      <a:r>
                        <a:rPr lang="en-US" sz="700" b="0" i="0" u="none" strike="noStrike" baseline="0" noProof="0" dirty="0">
                          <a:solidFill>
                            <a:schemeClr val="bg2">
                              <a:lumMod val="50000"/>
                            </a:schemeClr>
                          </a:solidFill>
                          <a:effectLst/>
                          <a:latin typeface="+mn-lt"/>
                        </a:rPr>
                        <a:t> the </a:t>
                      </a:r>
                      <a:r>
                        <a:rPr lang="en-US" sz="700" b="0" i="0" u="none" strike="noStrike" baseline="0" noProof="0" dirty="0" err="1">
                          <a:solidFill>
                            <a:schemeClr val="bg2">
                              <a:lumMod val="50000"/>
                            </a:schemeClr>
                          </a:solidFill>
                          <a:effectLst/>
                          <a:latin typeface="+mn-lt"/>
                        </a:rPr>
                        <a:t>Hypercare</a:t>
                      </a:r>
                      <a:r>
                        <a:rPr lang="en-US" sz="700" b="0" i="0" u="none" strike="noStrike" baseline="0" noProof="0" dirty="0">
                          <a:solidFill>
                            <a:schemeClr val="bg2">
                              <a:lumMod val="50000"/>
                            </a:schemeClr>
                          </a:solidFill>
                          <a:effectLst/>
                          <a:latin typeface="+mn-lt"/>
                        </a:rPr>
                        <a:t> Plan for a Wave</a:t>
                      </a:r>
                    </a:p>
                    <a:p>
                      <a:pPr marL="171450" indent="-171450" algn="l" fontAlgn="t">
                        <a:buFont typeface="Arial" panose="020B0604020202020204" pitchFamily="34" charset="0"/>
                        <a:buChar char="•"/>
                      </a:pPr>
                      <a:r>
                        <a:rPr lang="en-US" sz="700" b="0" i="0" u="none" strike="noStrike" baseline="0" noProof="0" dirty="0">
                          <a:solidFill>
                            <a:schemeClr val="bg2">
                              <a:lumMod val="50000"/>
                            </a:schemeClr>
                          </a:solidFill>
                          <a:effectLst/>
                          <a:latin typeface="+mn-lt"/>
                        </a:rPr>
                        <a:t>Responsible for engaging with the other Work Streams to appropriate involvement, resourcing and planning.</a:t>
                      </a:r>
                    </a:p>
                  </a:txBody>
                  <a:tcPr marL="72000" marR="72000" marT="72000" marB="72000">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solidFill>
                      <a:schemeClr val="bg1"/>
                    </a:solidFill>
                  </a:tcPr>
                </a:tc>
                <a:tc>
                  <a:txBody>
                    <a:bodyPr/>
                    <a:lstStyle/>
                    <a:p>
                      <a:pPr marL="171450" indent="-171450" algn="l" eaLnBrk="1" fontAlgn="t">
                        <a:buFont typeface="Arial" panose="020B0604020202020204" pitchFamily="34" charset="0"/>
                        <a:buChar char="•"/>
                      </a:pPr>
                      <a:r>
                        <a:rPr lang="en-US" sz="700" b="0" i="0" u="none" strike="noStrike" baseline="0" noProof="0" dirty="0">
                          <a:solidFill>
                            <a:schemeClr val="bg2">
                              <a:lumMod val="50000"/>
                            </a:schemeClr>
                          </a:solidFill>
                          <a:effectLst/>
                          <a:latin typeface="+mn-lt"/>
                        </a:rPr>
                        <a:t>Planning</a:t>
                      </a:r>
                    </a:p>
                    <a:p>
                      <a:pPr marL="171450" indent="-171450" algn="l" eaLnBrk="1" fontAlgn="t">
                        <a:buFont typeface="Arial" panose="020B0604020202020204" pitchFamily="34" charset="0"/>
                        <a:buChar char="•"/>
                      </a:pPr>
                      <a:r>
                        <a:rPr lang="en-US" sz="700" b="0" i="0" u="none" strike="noStrike" baseline="0" noProof="0" dirty="0">
                          <a:solidFill>
                            <a:schemeClr val="bg2">
                              <a:lumMod val="50000"/>
                            </a:schemeClr>
                          </a:solidFill>
                          <a:effectLst/>
                          <a:latin typeface="+mn-lt"/>
                        </a:rPr>
                        <a:t>Alignments with all other </a:t>
                      </a:r>
                      <a:r>
                        <a:rPr lang="en-US" sz="700" b="0" i="0" u="none" strike="noStrike" baseline="0" noProof="0" dirty="0" err="1">
                          <a:solidFill>
                            <a:schemeClr val="bg2">
                              <a:lumMod val="50000"/>
                            </a:schemeClr>
                          </a:solidFill>
                          <a:effectLst/>
                          <a:latin typeface="+mn-lt"/>
                        </a:rPr>
                        <a:t>Workstreams</a:t>
                      </a:r>
                      <a:endParaRPr lang="en-US" sz="700" b="0" i="0" u="none" strike="noStrike" baseline="0" noProof="0" dirty="0">
                        <a:solidFill>
                          <a:schemeClr val="bg2">
                            <a:lumMod val="50000"/>
                          </a:schemeClr>
                        </a:solidFill>
                        <a:effectLst/>
                        <a:latin typeface="+mn-lt"/>
                      </a:endParaRPr>
                    </a:p>
                    <a:p>
                      <a:pPr marL="171450" indent="-171450" algn="l" eaLnBrk="1" fontAlgn="t">
                        <a:buFont typeface="Arial" panose="020B0604020202020204" pitchFamily="34" charset="0"/>
                        <a:buChar char="•"/>
                      </a:pPr>
                      <a:r>
                        <a:rPr lang="en-US" sz="700" b="0" i="0" u="none" strike="noStrike" baseline="0" noProof="0" dirty="0">
                          <a:solidFill>
                            <a:schemeClr val="bg2">
                              <a:lumMod val="50000"/>
                            </a:schemeClr>
                          </a:solidFill>
                          <a:effectLst/>
                          <a:latin typeface="+mn-lt"/>
                        </a:rPr>
                        <a:t>Alignments with Countries via Program Roll-out Coordinators</a:t>
                      </a:r>
                    </a:p>
                    <a:p>
                      <a:pPr marL="171450" indent="-171450" algn="l" eaLnBrk="1" fontAlgn="t">
                        <a:buFont typeface="Arial" panose="020B0604020202020204" pitchFamily="34" charset="0"/>
                        <a:buChar char="•"/>
                      </a:pPr>
                      <a:r>
                        <a:rPr lang="en-US" sz="700" b="0" i="0" u="none" strike="noStrike" baseline="0" dirty="0">
                          <a:solidFill>
                            <a:schemeClr val="bg2">
                              <a:lumMod val="50000"/>
                            </a:schemeClr>
                          </a:solidFill>
                          <a:effectLst/>
                          <a:latin typeface="+mn-lt"/>
                        </a:rPr>
                        <a:t>Daily team status updates</a:t>
                      </a:r>
                    </a:p>
                    <a:p>
                      <a:pPr marL="171450" indent="-171450" algn="l" eaLnBrk="1" fontAlgn="t">
                        <a:buFont typeface="Arial" panose="020B0604020202020204" pitchFamily="34" charset="0"/>
                        <a:buChar char="•"/>
                      </a:pPr>
                      <a:r>
                        <a:rPr lang="en-US" sz="700" b="0" i="0" u="none" strike="noStrike" baseline="0" noProof="0" dirty="0">
                          <a:solidFill>
                            <a:schemeClr val="bg2">
                              <a:lumMod val="50000"/>
                            </a:schemeClr>
                          </a:solidFill>
                          <a:effectLst/>
                          <a:latin typeface="+mn-lt"/>
                        </a:rPr>
                        <a:t>Manage Cutover execution for each Wave</a:t>
                      </a:r>
                    </a:p>
                    <a:p>
                      <a:pPr marL="171450" indent="-171450" algn="l" eaLnBrk="1" fontAlgn="t">
                        <a:buFont typeface="Arial" panose="020B0604020202020204" pitchFamily="34" charset="0"/>
                        <a:buChar char="•"/>
                      </a:pPr>
                      <a:r>
                        <a:rPr lang="en-US" sz="700" b="0" i="0" u="none" strike="noStrike" baseline="0" noProof="0" dirty="0">
                          <a:solidFill>
                            <a:schemeClr val="tx2">
                              <a:lumMod val="50000"/>
                            </a:schemeClr>
                          </a:solidFill>
                          <a:effectLst/>
                          <a:latin typeface="+mn-lt"/>
                        </a:rPr>
                        <a:t>Support Cutover execution for each Release</a:t>
                      </a:r>
                    </a:p>
                    <a:p>
                      <a:pPr marL="171450" indent="-171450" algn="l" fontAlgn="t">
                        <a:buFont typeface="Arial" panose="020B0604020202020204" pitchFamily="34" charset="0"/>
                        <a:buChar char="•"/>
                      </a:pPr>
                      <a:r>
                        <a:rPr lang="en-US" sz="700" b="0" i="0" u="none" strike="noStrike" baseline="0" noProof="0" dirty="0">
                          <a:solidFill>
                            <a:schemeClr val="bg2">
                              <a:lumMod val="50000"/>
                            </a:schemeClr>
                          </a:solidFill>
                          <a:effectLst/>
                          <a:latin typeface="+mn-lt"/>
                        </a:rPr>
                        <a:t>Set-up and manage triage calls during </a:t>
                      </a:r>
                      <a:r>
                        <a:rPr lang="en-US" sz="700" b="0" i="0" u="none" strike="noStrike" baseline="0" noProof="0" dirty="0" err="1">
                          <a:solidFill>
                            <a:schemeClr val="bg2">
                              <a:lumMod val="50000"/>
                            </a:schemeClr>
                          </a:solidFill>
                          <a:effectLst/>
                          <a:latin typeface="+mn-lt"/>
                        </a:rPr>
                        <a:t>Hypercare</a:t>
                      </a:r>
                      <a:endParaRPr lang="en-US" sz="700" b="0" i="0" u="none" strike="noStrike" baseline="0" noProof="0" dirty="0">
                        <a:solidFill>
                          <a:schemeClr val="bg2">
                            <a:lumMod val="50000"/>
                          </a:schemeClr>
                        </a:solidFill>
                        <a:effectLst/>
                        <a:latin typeface="+mn-lt"/>
                      </a:endParaRPr>
                    </a:p>
                    <a:p>
                      <a:pPr marL="171450" indent="-171450" algn="l" fontAlgn="t">
                        <a:buFont typeface="Arial" panose="020B0604020202020204" pitchFamily="34" charset="0"/>
                        <a:buChar char="•"/>
                      </a:pPr>
                      <a:r>
                        <a:rPr lang="en-US" sz="700" b="0" i="0" u="none" strike="noStrike" baseline="0" noProof="0" dirty="0">
                          <a:solidFill>
                            <a:schemeClr val="bg2">
                              <a:lumMod val="50000"/>
                            </a:schemeClr>
                          </a:solidFill>
                          <a:effectLst/>
                          <a:latin typeface="+mn-lt"/>
                        </a:rPr>
                        <a:t>Produce daily reports</a:t>
                      </a:r>
                    </a:p>
                    <a:p>
                      <a:pPr marL="171450" indent="-171450" algn="l" fontAlgn="t">
                        <a:buFont typeface="Arial" panose="020B0604020202020204" pitchFamily="34" charset="0"/>
                        <a:buChar char="•"/>
                      </a:pPr>
                      <a:r>
                        <a:rPr lang="en-US" sz="700" b="0" i="0" u="none" strike="noStrike" baseline="0" noProof="0" dirty="0">
                          <a:solidFill>
                            <a:schemeClr val="bg2">
                              <a:lumMod val="50000"/>
                            </a:schemeClr>
                          </a:solidFill>
                          <a:effectLst/>
                          <a:latin typeface="+mn-lt"/>
                        </a:rPr>
                        <a:t>Prepare Checkpoint 5</a:t>
                      </a:r>
                    </a:p>
                  </a:txBody>
                  <a:tcPr marL="72000" marR="72000" marT="72000" marB="72000">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solidFill>
                      <a:schemeClr val="bg1"/>
                    </a:solidFill>
                  </a:tcPr>
                </a:tc>
                <a:extLst>
                  <a:ext uri="{0D108BD9-81ED-4DB2-BD59-A6C34878D82A}">
                    <a16:rowId xmlns:a16="http://schemas.microsoft.com/office/drawing/2014/main" val="3103074823"/>
                  </a:ext>
                </a:extLst>
              </a:tr>
              <a:tr h="613322">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700" b="1" i="0" u="none" strike="noStrike" noProof="0" dirty="0">
                          <a:solidFill>
                            <a:schemeClr val="accent2">
                              <a:lumMod val="75000"/>
                            </a:schemeClr>
                          </a:solidFill>
                          <a:effectLst/>
                          <a:latin typeface="+mn-lt"/>
                        </a:rPr>
                        <a:t>Program Roll-out</a:t>
                      </a:r>
                      <a:r>
                        <a:rPr lang="en-US" sz="700" b="1" i="0" u="none" strike="noStrike" baseline="0" noProof="0" dirty="0">
                          <a:solidFill>
                            <a:schemeClr val="accent2">
                              <a:lumMod val="75000"/>
                            </a:schemeClr>
                          </a:solidFill>
                          <a:effectLst/>
                          <a:latin typeface="+mn-lt"/>
                        </a:rPr>
                        <a:t> </a:t>
                      </a:r>
                      <a:r>
                        <a:rPr lang="en-US" sz="700" b="1" i="0" u="none" strike="noStrike" baseline="0" noProof="0" dirty="0">
                          <a:solidFill>
                            <a:schemeClr val="accent1"/>
                          </a:solidFill>
                          <a:effectLst/>
                          <a:latin typeface="+mn-lt"/>
                        </a:rPr>
                        <a:t>Data Support Analyst</a:t>
                      </a:r>
                      <a:endParaRPr lang="en-US" sz="700" b="1" i="0" u="none" strike="noStrike" noProof="0" dirty="0">
                        <a:solidFill>
                          <a:schemeClr val="accent2">
                            <a:lumMod val="75000"/>
                          </a:schemeClr>
                        </a:solidFill>
                        <a:effectLst/>
                        <a:latin typeface="+mn-lt"/>
                      </a:endParaRPr>
                    </a:p>
                  </a:txBody>
                  <a:tcPr marL="72000" marR="72000" marT="72000" marB="72000">
                    <a:lnT w="9525" cap="flat" cmpd="sng" algn="ctr">
                      <a:solidFill>
                        <a:schemeClr val="bg2"/>
                      </a:solidFill>
                      <a:prstDash val="sysDot"/>
                      <a:round/>
                      <a:headEnd type="none" w="med" len="med"/>
                      <a:tailEnd type="none" w="med" len="med"/>
                    </a:lnT>
                    <a:solidFill>
                      <a:schemeClr val="bg1"/>
                    </a:solidFill>
                  </a:tcPr>
                </a:tc>
                <a:tc>
                  <a:txBody>
                    <a:bodyPr/>
                    <a:lstStyle/>
                    <a:p>
                      <a:pPr marL="171450" indent="-171450" algn="l" fontAlgn="t">
                        <a:buFont typeface="Arial" panose="020B0604020202020204" pitchFamily="34" charset="0"/>
                        <a:buChar char="•"/>
                      </a:pPr>
                      <a:r>
                        <a:rPr lang="en-US" sz="700" b="0" i="0" u="none" strike="noStrike" baseline="0" noProof="0" dirty="0">
                          <a:solidFill>
                            <a:schemeClr val="bg2">
                              <a:lumMod val="50000"/>
                            </a:schemeClr>
                          </a:solidFill>
                          <a:effectLst/>
                          <a:latin typeface="+mn-lt"/>
                        </a:rPr>
                        <a:t>Align with the Data Migration Team to understand the Scout Data Migration Templates and Mapping Files</a:t>
                      </a:r>
                    </a:p>
                    <a:p>
                      <a:pPr marL="171450" indent="-171450" algn="l" fontAlgn="t">
                        <a:buFont typeface="Arial" panose="020B0604020202020204" pitchFamily="34" charset="0"/>
                        <a:buChar char="•"/>
                      </a:pPr>
                      <a:r>
                        <a:rPr lang="en-GB" sz="700" b="0" i="0" u="none" strike="noStrike" baseline="0" noProof="0" dirty="0">
                          <a:solidFill>
                            <a:schemeClr val="bg2">
                              <a:lumMod val="50000"/>
                            </a:schemeClr>
                          </a:solidFill>
                          <a:effectLst/>
                          <a:latin typeface="+mn-lt"/>
                        </a:rPr>
                        <a:t>Work as directed by the Roll-out Lead and Roll-out Coordinators to support the countries in a Wave in getting their data mapped and transformed into the Scout data migration templates</a:t>
                      </a:r>
                    </a:p>
                    <a:p>
                      <a:pPr marL="171450" indent="-171450" algn="l" fontAlgn="t">
                        <a:buFont typeface="Arial" panose="020B0604020202020204" pitchFamily="34" charset="0"/>
                        <a:buChar char="•"/>
                      </a:pPr>
                      <a:r>
                        <a:rPr lang="en-GB" sz="700" b="0" i="0" u="none" strike="noStrike" baseline="0" noProof="0" dirty="0">
                          <a:solidFill>
                            <a:schemeClr val="bg2">
                              <a:lumMod val="50000"/>
                            </a:schemeClr>
                          </a:solidFill>
                          <a:effectLst/>
                          <a:latin typeface="+mn-lt"/>
                        </a:rPr>
                        <a:t>Provide feedback to country and Roll-out Coordinator on the data quality and cleaning required based on initial data migration loads</a:t>
                      </a:r>
                    </a:p>
                  </a:txBody>
                  <a:tcPr marL="72000" marR="72000" marT="72000" marB="72000">
                    <a:lnT w="9525" cap="flat" cmpd="sng" algn="ctr">
                      <a:solidFill>
                        <a:schemeClr val="bg2"/>
                      </a:solidFill>
                      <a:prstDash val="sysDot"/>
                      <a:round/>
                      <a:headEnd type="none" w="med" len="med"/>
                      <a:tailEnd type="none" w="med" len="med"/>
                    </a:lnT>
                    <a:solidFill>
                      <a:schemeClr val="bg1"/>
                    </a:solidFill>
                  </a:tcPr>
                </a:tc>
                <a:tc>
                  <a:txBody>
                    <a:bodyPr/>
                    <a:lstStyle/>
                    <a:p>
                      <a:pPr marL="171450" indent="-171450" algn="l" fontAlgn="t">
                        <a:buFont typeface="Arial" panose="020B0604020202020204" pitchFamily="34" charset="0"/>
                        <a:buChar char="•"/>
                      </a:pPr>
                      <a:r>
                        <a:rPr lang="en-US" sz="700" b="0" i="0" u="none" strike="noStrike" baseline="0" noProof="0" dirty="0">
                          <a:solidFill>
                            <a:schemeClr val="bg2">
                              <a:lumMod val="50000"/>
                            </a:schemeClr>
                          </a:solidFill>
                          <a:effectLst/>
                          <a:latin typeface="+mn-lt"/>
                        </a:rPr>
                        <a:t>Mapping and transforming legacy data from raw extracts to Scout template format</a:t>
                      </a:r>
                    </a:p>
                    <a:p>
                      <a:pPr marL="171450" indent="-171450" algn="l" fontAlgn="t">
                        <a:buFont typeface="Arial" panose="020B0604020202020204" pitchFamily="34" charset="0"/>
                        <a:buChar char="•"/>
                      </a:pPr>
                      <a:r>
                        <a:rPr lang="en-GB" sz="700" b="0" i="0" u="none" strike="noStrike" baseline="0" noProof="0" dirty="0">
                          <a:solidFill>
                            <a:schemeClr val="bg2">
                              <a:lumMod val="50000"/>
                            </a:schemeClr>
                          </a:solidFill>
                          <a:effectLst/>
                          <a:latin typeface="+mn-lt"/>
                        </a:rPr>
                        <a:t>Liaising with country data experts to ensure mapping is correct and data cleaning takes place</a:t>
                      </a:r>
                    </a:p>
                    <a:p>
                      <a:pPr marL="171450" indent="-171450" algn="l" fontAlgn="t">
                        <a:buFont typeface="Arial" panose="020B0604020202020204" pitchFamily="34" charset="0"/>
                        <a:buChar char="•"/>
                      </a:pPr>
                      <a:r>
                        <a:rPr lang="en-GB" sz="700" b="0" i="0" u="none" strike="noStrike" baseline="0" noProof="0" dirty="0">
                          <a:solidFill>
                            <a:schemeClr val="bg2">
                              <a:lumMod val="50000"/>
                            </a:schemeClr>
                          </a:solidFill>
                          <a:effectLst/>
                          <a:latin typeface="+mn-lt"/>
                        </a:rPr>
                        <a:t>Providing the completed data templates in a timely </a:t>
                      </a:r>
                      <a:r>
                        <a:rPr lang="en-GB" sz="700" b="0" i="0" u="none" strike="noStrike" baseline="0" noProof="0" dirty="0" err="1">
                          <a:solidFill>
                            <a:schemeClr val="bg2">
                              <a:lumMod val="50000"/>
                            </a:schemeClr>
                          </a:solidFill>
                          <a:effectLst/>
                          <a:latin typeface="+mn-lt"/>
                        </a:rPr>
                        <a:t>mannger</a:t>
                      </a:r>
                      <a:endParaRPr lang="en-US" sz="700" b="0" i="0" u="none" strike="noStrike" baseline="0" noProof="0" dirty="0">
                        <a:solidFill>
                          <a:schemeClr val="bg2">
                            <a:lumMod val="50000"/>
                          </a:schemeClr>
                        </a:solidFill>
                        <a:effectLst/>
                        <a:latin typeface="+mn-lt"/>
                      </a:endParaRPr>
                    </a:p>
                  </a:txBody>
                  <a:tcPr marL="72000" marR="72000" marT="72000" marB="72000">
                    <a:lnT w="9525" cap="flat" cmpd="sng" algn="ctr">
                      <a:solidFill>
                        <a:schemeClr val="bg2"/>
                      </a:solidFill>
                      <a:prstDash val="sysDot"/>
                      <a:round/>
                      <a:headEnd type="none" w="med" len="med"/>
                      <a:tailEnd type="none" w="med" len="med"/>
                    </a:lnT>
                    <a:solidFill>
                      <a:schemeClr val="bg1"/>
                    </a:solidFill>
                  </a:tcPr>
                </a:tc>
                <a:extLst>
                  <a:ext uri="{0D108BD9-81ED-4DB2-BD59-A6C34878D82A}">
                    <a16:rowId xmlns:a16="http://schemas.microsoft.com/office/drawing/2014/main" val="1594616880"/>
                  </a:ext>
                </a:extLst>
              </a:tr>
            </a:tbl>
          </a:graphicData>
        </a:graphic>
      </p:graphicFrame>
    </p:spTree>
    <p:extLst>
      <p:ext uri="{BB962C8B-B14F-4D97-AF65-F5344CB8AC3E}">
        <p14:creationId xmlns:p14="http://schemas.microsoft.com/office/powerpoint/2010/main" val="105632200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solidFill>
                  <a:schemeClr val="tx1"/>
                </a:solidFill>
              </a:rPr>
              <a:t>Roll-out: Region/Cluster/Country</a:t>
            </a:r>
          </a:p>
        </p:txBody>
      </p:sp>
      <p:sp>
        <p:nvSpPr>
          <p:cNvPr id="3" name="Slide Number Placeholder 2"/>
          <p:cNvSpPr>
            <a:spLocks noGrp="1"/>
          </p:cNvSpPr>
          <p:nvPr>
            <p:ph type="sldNum" sz="quarter" idx="10"/>
          </p:nvPr>
        </p:nvSpPr>
        <p:spPr/>
        <p:txBody>
          <a:bodyPr/>
          <a:lstStyle/>
          <a:p>
            <a:fld id="{47547CF9-5B10-D24F-A8D7-45A9778164F7}" type="slidenum">
              <a:rPr lang="en-US" smtClean="0"/>
              <a:pPr/>
              <a:t>21</a:t>
            </a:fld>
            <a:endParaRPr lang="en-US" dirty="0"/>
          </a:p>
        </p:txBody>
      </p:sp>
      <p:sp>
        <p:nvSpPr>
          <p:cNvPr id="4" name="Footer Placeholder 3"/>
          <p:cNvSpPr>
            <a:spLocks noGrp="1"/>
          </p:cNvSpPr>
          <p:nvPr>
            <p:ph type="ftr" sz="quarter" idx="11"/>
          </p:nvPr>
        </p:nvSpPr>
        <p:spPr/>
        <p:txBody>
          <a:bodyPr/>
          <a:lstStyle/>
          <a:p>
            <a:r>
              <a:rPr lang="en-GB"/>
              <a:t>Scout l Roll-out Approach l March 2020</a:t>
            </a:r>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1672837723"/>
              </p:ext>
            </p:extLst>
          </p:nvPr>
        </p:nvGraphicFramePr>
        <p:xfrm>
          <a:off x="381000" y="750723"/>
          <a:ext cx="8686800" cy="4033920"/>
        </p:xfrm>
        <a:graphic>
          <a:graphicData uri="http://schemas.openxmlformats.org/drawingml/2006/table">
            <a:tbl>
              <a:tblPr firstRow="1" bandRow="1">
                <a:tableStyleId>{5C22544A-7EE6-4342-B048-85BDC9FD1C3A}</a:tableStyleId>
              </a:tblPr>
              <a:tblGrid>
                <a:gridCol w="1066800">
                  <a:extLst>
                    <a:ext uri="{9D8B030D-6E8A-4147-A177-3AD203B41FA5}">
                      <a16:colId xmlns:a16="http://schemas.microsoft.com/office/drawing/2014/main" val="3870673544"/>
                    </a:ext>
                  </a:extLst>
                </a:gridCol>
                <a:gridCol w="2895600">
                  <a:extLst>
                    <a:ext uri="{9D8B030D-6E8A-4147-A177-3AD203B41FA5}">
                      <a16:colId xmlns:a16="http://schemas.microsoft.com/office/drawing/2014/main" val="2724509223"/>
                    </a:ext>
                  </a:extLst>
                </a:gridCol>
                <a:gridCol w="1600200">
                  <a:extLst>
                    <a:ext uri="{9D8B030D-6E8A-4147-A177-3AD203B41FA5}">
                      <a16:colId xmlns:a16="http://schemas.microsoft.com/office/drawing/2014/main" val="3784515133"/>
                    </a:ext>
                  </a:extLst>
                </a:gridCol>
                <a:gridCol w="1219200">
                  <a:extLst>
                    <a:ext uri="{9D8B030D-6E8A-4147-A177-3AD203B41FA5}">
                      <a16:colId xmlns:a16="http://schemas.microsoft.com/office/drawing/2014/main" val="1934230741"/>
                    </a:ext>
                  </a:extLst>
                </a:gridCol>
                <a:gridCol w="1905000">
                  <a:extLst>
                    <a:ext uri="{9D8B030D-6E8A-4147-A177-3AD203B41FA5}">
                      <a16:colId xmlns:a16="http://schemas.microsoft.com/office/drawing/2014/main" val="786846384"/>
                    </a:ext>
                  </a:extLst>
                </a:gridCol>
              </a:tblGrid>
              <a:tr h="370259">
                <a:tc>
                  <a:txBody>
                    <a:bodyPr/>
                    <a:lstStyle/>
                    <a:p>
                      <a:pPr algn="ctr"/>
                      <a:r>
                        <a:rPr lang="en-US" sz="800" u="none" noProof="0" dirty="0">
                          <a:solidFill>
                            <a:schemeClr val="bg1"/>
                          </a:solidFill>
                        </a:rPr>
                        <a:t>Role</a:t>
                      </a:r>
                    </a:p>
                  </a:txBody>
                  <a:tcPr marL="72000" marR="72000" marT="72000" marB="72000">
                    <a:lnB w="9525" cap="flat" cmpd="sng" algn="ctr">
                      <a:solidFill>
                        <a:schemeClr val="bg2"/>
                      </a:solidFill>
                      <a:prstDash val="sysDot"/>
                      <a:round/>
                      <a:headEnd type="none" w="med" len="med"/>
                      <a:tailEnd type="none" w="med" len="med"/>
                    </a:lnB>
                    <a:solidFill>
                      <a:srgbClr val="023760"/>
                    </a:solidFill>
                  </a:tcPr>
                </a:tc>
                <a:tc>
                  <a:txBody>
                    <a:bodyPr/>
                    <a:lstStyle/>
                    <a:p>
                      <a:pPr algn="ctr"/>
                      <a:r>
                        <a:rPr lang="en-US" sz="800" u="none" noProof="0" dirty="0">
                          <a:solidFill>
                            <a:schemeClr val="bg1"/>
                          </a:solidFill>
                        </a:rPr>
                        <a:t>Main</a:t>
                      </a:r>
                      <a:r>
                        <a:rPr lang="en-US" sz="800" u="none" baseline="0" noProof="0" dirty="0">
                          <a:solidFill>
                            <a:schemeClr val="bg1"/>
                          </a:solidFill>
                        </a:rPr>
                        <a:t> responsibilities</a:t>
                      </a:r>
                      <a:endParaRPr lang="en-US" sz="800" u="none" noProof="0" dirty="0">
                        <a:solidFill>
                          <a:schemeClr val="bg1"/>
                        </a:solidFill>
                      </a:endParaRPr>
                    </a:p>
                  </a:txBody>
                  <a:tcPr marL="72000" marR="72000" marT="72000" marB="72000">
                    <a:lnB w="9525" cap="flat" cmpd="sng" algn="ctr">
                      <a:solidFill>
                        <a:schemeClr val="bg2"/>
                      </a:solidFill>
                      <a:prstDash val="sysDot"/>
                      <a:round/>
                      <a:headEnd type="none" w="med" len="med"/>
                      <a:tailEnd type="none" w="med" len="med"/>
                    </a:lnB>
                    <a:solidFill>
                      <a:srgbClr val="023760"/>
                    </a:solidFill>
                  </a:tcPr>
                </a:tc>
                <a:tc>
                  <a:txBody>
                    <a:bodyPr/>
                    <a:lstStyle/>
                    <a:p>
                      <a:pPr algn="ctr"/>
                      <a:r>
                        <a:rPr lang="en-US" sz="800" u="none" baseline="0" noProof="0" dirty="0">
                          <a:solidFill>
                            <a:schemeClr val="bg1"/>
                          </a:solidFill>
                        </a:rPr>
                        <a:t>Skills &amp; competencies </a:t>
                      </a:r>
                      <a:endParaRPr lang="en-US" sz="800" u="none" noProof="0" dirty="0">
                        <a:solidFill>
                          <a:schemeClr val="bg1"/>
                        </a:solidFill>
                      </a:endParaRPr>
                    </a:p>
                  </a:txBody>
                  <a:tcPr marL="72000" marR="72000" marT="72000" marB="72000">
                    <a:lnB w="9525" cap="flat" cmpd="sng" algn="ctr">
                      <a:solidFill>
                        <a:schemeClr val="bg2"/>
                      </a:solidFill>
                      <a:prstDash val="sysDot"/>
                      <a:round/>
                      <a:headEnd type="none" w="med" len="med"/>
                      <a:tailEnd type="none" w="med" len="med"/>
                    </a:lnB>
                    <a:solidFill>
                      <a:srgbClr val="023760"/>
                    </a:solidFill>
                  </a:tcPr>
                </a:tc>
                <a:tc>
                  <a:txBody>
                    <a:bodyPr/>
                    <a:lstStyle/>
                    <a:p>
                      <a:pPr algn="ctr"/>
                      <a:r>
                        <a:rPr lang="en-US" sz="800" u="none" noProof="0" dirty="0">
                          <a:solidFill>
                            <a:schemeClr val="bg1"/>
                          </a:solidFill>
                        </a:rPr>
                        <a:t>Recommended</a:t>
                      </a:r>
                      <a:r>
                        <a:rPr lang="en-US" sz="800" u="none" baseline="0" noProof="0" dirty="0">
                          <a:solidFill>
                            <a:schemeClr val="bg1"/>
                          </a:solidFill>
                        </a:rPr>
                        <a:t> Resource</a:t>
                      </a:r>
                      <a:endParaRPr lang="en-US" sz="800" u="none" noProof="0" dirty="0">
                        <a:solidFill>
                          <a:schemeClr val="bg1"/>
                        </a:solidFill>
                      </a:endParaRPr>
                    </a:p>
                  </a:txBody>
                  <a:tcPr marL="72000" marR="72000" marT="72000" marB="72000">
                    <a:lnB w="9525" cap="flat" cmpd="sng" algn="ctr">
                      <a:solidFill>
                        <a:schemeClr val="bg2"/>
                      </a:solidFill>
                      <a:prstDash val="sysDot"/>
                      <a:round/>
                      <a:headEnd type="none" w="med" len="med"/>
                      <a:tailEnd type="none" w="med" len="med"/>
                    </a:lnB>
                    <a:solidFill>
                      <a:srgbClr val="023760"/>
                    </a:solidFill>
                  </a:tcPr>
                </a:tc>
                <a:tc>
                  <a:txBody>
                    <a:bodyPr/>
                    <a:lstStyle/>
                    <a:p>
                      <a:pPr algn="ctr"/>
                      <a:r>
                        <a:rPr lang="en-US" sz="800" u="none" noProof="0" dirty="0">
                          <a:solidFill>
                            <a:schemeClr val="bg1"/>
                          </a:solidFill>
                        </a:rPr>
                        <a:t>Main Activities</a:t>
                      </a:r>
                    </a:p>
                  </a:txBody>
                  <a:tcPr marL="72000" marR="72000" marT="72000" marB="72000">
                    <a:lnB w="9525" cap="flat" cmpd="sng" algn="ctr">
                      <a:solidFill>
                        <a:schemeClr val="bg2"/>
                      </a:solidFill>
                      <a:prstDash val="sysDot"/>
                      <a:round/>
                      <a:headEnd type="none" w="med" len="med"/>
                      <a:tailEnd type="none" w="med" len="med"/>
                    </a:lnB>
                    <a:solidFill>
                      <a:srgbClr val="023760"/>
                    </a:solidFill>
                  </a:tcPr>
                </a:tc>
                <a:extLst>
                  <a:ext uri="{0D108BD9-81ED-4DB2-BD59-A6C34878D82A}">
                    <a16:rowId xmlns:a16="http://schemas.microsoft.com/office/drawing/2014/main" val="1634023528"/>
                  </a:ext>
                </a:extLst>
              </a:tr>
              <a:tr h="495207">
                <a:tc>
                  <a:txBody>
                    <a:bodyPr/>
                    <a:lstStyle/>
                    <a:p>
                      <a:pPr marL="0" lvl="0" indent="0" algn="l">
                        <a:lnSpc>
                          <a:spcPct val="100000"/>
                        </a:lnSpc>
                        <a:spcBef>
                          <a:spcPct val="0"/>
                        </a:spcBef>
                        <a:spcAft>
                          <a:spcPts val="0"/>
                        </a:spcAft>
                        <a:buFont typeface="Arial" panose="020B0604020202020204" pitchFamily="34" charset="0"/>
                        <a:buNone/>
                        <a:defRPr/>
                      </a:pPr>
                      <a:r>
                        <a:rPr lang="en-US" sz="800" b="1" dirty="0">
                          <a:solidFill>
                            <a:schemeClr val="accent2">
                              <a:lumMod val="75000"/>
                            </a:schemeClr>
                          </a:solidFill>
                          <a:latin typeface="+mn-lt"/>
                        </a:rPr>
                        <a:t>Country Head</a:t>
                      </a:r>
                    </a:p>
                  </a:txBody>
                  <a:tcPr marL="72000" marR="72000" marT="72000" marB="72000">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solidFill>
                      <a:schemeClr val="accent4">
                        <a:lumMod val="20000"/>
                        <a:lumOff val="80000"/>
                      </a:schemeClr>
                    </a:solidFill>
                  </a:tcPr>
                </a:tc>
                <a:tc>
                  <a:txBody>
                    <a:bodyPr/>
                    <a:lstStyle/>
                    <a:p>
                      <a:pPr marL="171450" indent="-171450" algn="l" fontAlgn="t">
                        <a:buFont typeface="Arial" panose="020B0604020202020204" pitchFamily="34" charset="0"/>
                        <a:buChar char="•"/>
                      </a:pPr>
                      <a:r>
                        <a:rPr lang="en-US" sz="800" b="0" i="0" u="none" strike="noStrike" dirty="0">
                          <a:solidFill>
                            <a:schemeClr val="bg2">
                              <a:lumMod val="50000"/>
                            </a:schemeClr>
                          </a:solidFill>
                          <a:effectLst/>
                          <a:latin typeface="+mn-lt"/>
                        </a:rPr>
                        <a:t>Overall accountable for local implementation and user adoption after go-live</a:t>
                      </a:r>
                    </a:p>
                    <a:p>
                      <a:pPr marL="171450" indent="-171450" algn="l" fontAlgn="t">
                        <a:buFont typeface="Arial" panose="020B0604020202020204" pitchFamily="34" charset="0"/>
                        <a:buChar char="•"/>
                      </a:pPr>
                      <a:r>
                        <a:rPr lang="en-US" sz="800" b="0" i="0" u="none" strike="noStrike" dirty="0">
                          <a:solidFill>
                            <a:schemeClr val="bg2">
                              <a:lumMod val="50000"/>
                            </a:schemeClr>
                          </a:solidFill>
                          <a:effectLst/>
                          <a:latin typeface="+mn-lt"/>
                        </a:rPr>
                        <a:t>Allocation of local resources</a:t>
                      </a:r>
                    </a:p>
                  </a:txBody>
                  <a:tcPr marL="72000" marR="72000" marT="72000" marB="72000">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solidFill>
                      <a:schemeClr val="accent4">
                        <a:lumMod val="20000"/>
                        <a:lumOff val="80000"/>
                      </a:schemeClr>
                    </a:solidFill>
                  </a:tcPr>
                </a:tc>
                <a:tc>
                  <a:txBody>
                    <a:bodyPr/>
                    <a:lstStyle/>
                    <a:p>
                      <a:pPr marL="171450" indent="-171450" algn="l" fontAlgn="t">
                        <a:buFont typeface="Arial" panose="020B0604020202020204" pitchFamily="34" charset="0"/>
                        <a:buChar char="•"/>
                      </a:pPr>
                      <a:r>
                        <a:rPr lang="en-US" sz="800" b="0" i="0" u="none" strike="noStrike" dirty="0">
                          <a:solidFill>
                            <a:schemeClr val="bg2">
                              <a:lumMod val="50000"/>
                            </a:schemeClr>
                          </a:solidFill>
                          <a:effectLst/>
                          <a:latin typeface="+mn-lt"/>
                        </a:rPr>
                        <a:t>Leadership </a:t>
                      </a:r>
                    </a:p>
                    <a:p>
                      <a:pPr marL="171450" indent="-171450" algn="l" fontAlgn="t">
                        <a:buFont typeface="Arial" panose="020B0604020202020204" pitchFamily="34" charset="0"/>
                        <a:buChar char="•"/>
                      </a:pPr>
                      <a:r>
                        <a:rPr lang="en-US" sz="800" b="0" i="0" u="none" strike="noStrike" dirty="0">
                          <a:solidFill>
                            <a:schemeClr val="bg2">
                              <a:lumMod val="50000"/>
                            </a:schemeClr>
                          </a:solidFill>
                          <a:effectLst/>
                          <a:latin typeface="+mn-lt"/>
                        </a:rPr>
                        <a:t>Stakeholder management</a:t>
                      </a:r>
                    </a:p>
                  </a:txBody>
                  <a:tcPr marL="72000" marR="72000" marT="72000" marB="72000">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solidFill>
                      <a:schemeClr val="accent4">
                        <a:lumMod val="20000"/>
                        <a:lumOff val="80000"/>
                      </a:schemeClr>
                    </a:solidFill>
                  </a:tcPr>
                </a:tc>
                <a:tc>
                  <a:txBody>
                    <a:bodyPr/>
                    <a:lstStyle/>
                    <a:p>
                      <a:pPr marL="171450" indent="-171450" algn="l" fontAlgn="t">
                        <a:buFont typeface="Arial" panose="020B0604020202020204" pitchFamily="34" charset="0"/>
                        <a:buChar char="•"/>
                      </a:pPr>
                      <a:r>
                        <a:rPr lang="en-US" sz="800" b="0" i="0" u="none" strike="noStrike" dirty="0">
                          <a:solidFill>
                            <a:schemeClr val="bg2">
                              <a:lumMod val="50000"/>
                            </a:schemeClr>
                          </a:solidFill>
                          <a:effectLst/>
                          <a:latin typeface="+mn-lt"/>
                        </a:rPr>
                        <a:t>Existing Sandoz Role</a:t>
                      </a:r>
                    </a:p>
                  </a:txBody>
                  <a:tcPr marL="72000" marR="72000" marT="72000" marB="72000">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solidFill>
                      <a:schemeClr val="accent4">
                        <a:lumMod val="20000"/>
                        <a:lumOff val="80000"/>
                      </a:schemeClr>
                    </a:solidFill>
                  </a:tcPr>
                </a:tc>
                <a:tc>
                  <a:txBody>
                    <a:bodyPr/>
                    <a:lstStyle/>
                    <a:p>
                      <a:pPr marL="171450" indent="-171450" algn="l" fontAlgn="t">
                        <a:buFont typeface="Arial" panose="020B0604020202020204" pitchFamily="34" charset="0"/>
                        <a:buChar char="•"/>
                      </a:pPr>
                      <a:r>
                        <a:rPr lang="en-US" sz="800" b="0" i="0" u="none" strike="noStrike" dirty="0">
                          <a:solidFill>
                            <a:schemeClr val="bg2">
                              <a:lumMod val="50000"/>
                            </a:schemeClr>
                          </a:solidFill>
                          <a:effectLst/>
                          <a:latin typeface="+mn-lt"/>
                        </a:rPr>
                        <a:t>Steering Committee Meetings</a:t>
                      </a:r>
                    </a:p>
                    <a:p>
                      <a:pPr marL="171450" indent="-171450" algn="l" fontAlgn="t">
                        <a:buFont typeface="Arial" panose="020B0604020202020204" pitchFamily="34" charset="0"/>
                        <a:buChar char="•"/>
                      </a:pPr>
                      <a:r>
                        <a:rPr lang="en-US" sz="800" b="0" i="0" u="none" strike="noStrike" dirty="0">
                          <a:solidFill>
                            <a:schemeClr val="bg2">
                              <a:lumMod val="50000"/>
                            </a:schemeClr>
                          </a:solidFill>
                          <a:effectLst/>
                          <a:latin typeface="+mn-lt"/>
                        </a:rPr>
                        <a:t>Local change events</a:t>
                      </a:r>
                    </a:p>
                  </a:txBody>
                  <a:tcPr marL="72000" marR="72000" marT="72000" marB="72000">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1886945019"/>
                  </a:ext>
                </a:extLst>
              </a:tr>
              <a:tr h="835833">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800" b="1" baseline="0" dirty="0">
                          <a:solidFill>
                            <a:schemeClr val="accent2">
                              <a:lumMod val="75000"/>
                            </a:schemeClr>
                          </a:solidFill>
                          <a:latin typeface="+mn-lt"/>
                        </a:rPr>
                        <a:t>Regional/Cluster Roll-out Manager</a:t>
                      </a:r>
                      <a:endParaRPr lang="en-US" sz="800" b="1" baseline="0" dirty="0">
                        <a:solidFill>
                          <a:schemeClr val="accent2">
                            <a:lumMod val="75000"/>
                          </a:schemeClr>
                        </a:solidFill>
                        <a:latin typeface="+mn-lt"/>
                      </a:endParaRPr>
                    </a:p>
                  </a:txBody>
                  <a:tcPr marL="72000" marR="72000" marT="72000" marB="72000">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solidFill>
                      <a:schemeClr val="bg1"/>
                    </a:solidFill>
                  </a:tcPr>
                </a:tc>
                <a:tc>
                  <a:txBody>
                    <a:bodyPr/>
                    <a:lstStyle/>
                    <a:p>
                      <a:pPr marL="171450" indent="-171450" algn="l" fontAlgn="t">
                        <a:buFont typeface="Arial" panose="020B0604020202020204" pitchFamily="34" charset="0"/>
                        <a:buChar char="•"/>
                      </a:pPr>
                      <a:r>
                        <a:rPr lang="en-GB" sz="800" b="0" i="0" u="none" strike="noStrike" dirty="0">
                          <a:solidFill>
                            <a:schemeClr val="bg2">
                              <a:lumMod val="50000"/>
                            </a:schemeClr>
                          </a:solidFill>
                          <a:effectLst/>
                          <a:latin typeface="+mn-lt"/>
                        </a:rPr>
                        <a:t>Supports</a:t>
                      </a:r>
                      <a:r>
                        <a:rPr lang="en-GB" sz="800" b="0" i="0" u="none" strike="noStrike" baseline="0" dirty="0">
                          <a:solidFill>
                            <a:schemeClr val="bg2">
                              <a:lumMod val="50000"/>
                            </a:schemeClr>
                          </a:solidFill>
                          <a:effectLst/>
                          <a:latin typeface="+mn-lt"/>
                        </a:rPr>
                        <a:t> Program Roll-out Coordinators with access to local country resources and Cluster/Regional escalations/governance</a:t>
                      </a:r>
                    </a:p>
                    <a:p>
                      <a:pPr marL="171450" indent="-171450" algn="l" fontAlgn="t">
                        <a:buFont typeface="Arial" panose="020B0604020202020204" pitchFamily="34" charset="0"/>
                        <a:buChar char="•"/>
                      </a:pPr>
                      <a:r>
                        <a:rPr lang="en-GB" sz="800" b="0" i="0" u="none" strike="noStrike" baseline="0" dirty="0">
                          <a:solidFill>
                            <a:schemeClr val="bg2">
                              <a:lumMod val="50000"/>
                            </a:schemeClr>
                          </a:solidFill>
                          <a:effectLst/>
                          <a:latin typeface="+mn-lt"/>
                        </a:rPr>
                        <a:t>Ensuring familiarity with all Roll-out Toolkit templates and workbooks to provide back-up to Program &amp; Local Team members</a:t>
                      </a:r>
                      <a:endParaRPr lang="en-US" sz="800" b="0" i="0" u="none" strike="noStrike" dirty="0">
                        <a:solidFill>
                          <a:schemeClr val="bg2">
                            <a:lumMod val="50000"/>
                          </a:schemeClr>
                        </a:solidFill>
                        <a:effectLst/>
                        <a:latin typeface="+mn-lt"/>
                      </a:endParaRPr>
                    </a:p>
                  </a:txBody>
                  <a:tcPr marL="72000" marR="72000" marT="72000" marB="72000">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solidFill>
                      <a:schemeClr val="bg1"/>
                    </a:solidFill>
                  </a:tcPr>
                </a:tc>
                <a:tc>
                  <a:txBody>
                    <a:bodyPr/>
                    <a:lstStyle/>
                    <a:p>
                      <a:pPr marL="171450" indent="-171450" algn="l" fontAlgn="t">
                        <a:buFont typeface="Arial" panose="020B0604020202020204" pitchFamily="34" charset="0"/>
                        <a:buChar char="•"/>
                      </a:pPr>
                      <a:r>
                        <a:rPr lang="en-US" sz="800" b="0" i="0" u="none" strike="noStrike" dirty="0">
                          <a:solidFill>
                            <a:schemeClr val="bg2">
                              <a:lumMod val="50000"/>
                            </a:schemeClr>
                          </a:solidFill>
                          <a:effectLst/>
                          <a:latin typeface="+mn-lt"/>
                        </a:rPr>
                        <a:t>Project management</a:t>
                      </a:r>
                    </a:p>
                    <a:p>
                      <a:pPr marL="171450" indent="-171450" algn="l" fontAlgn="t">
                        <a:buFont typeface="Arial" panose="020B0604020202020204" pitchFamily="34" charset="0"/>
                        <a:buChar char="•"/>
                      </a:pPr>
                      <a:r>
                        <a:rPr lang="en-US" sz="800" b="0" i="0" u="none" strike="noStrike" dirty="0">
                          <a:solidFill>
                            <a:schemeClr val="bg2">
                              <a:lumMod val="50000"/>
                            </a:schemeClr>
                          </a:solidFill>
                          <a:effectLst/>
                          <a:latin typeface="+mn-lt"/>
                        </a:rPr>
                        <a:t>Change management</a:t>
                      </a:r>
                    </a:p>
                    <a:p>
                      <a:pPr marL="171450" indent="-171450" algn="l" fontAlgn="t">
                        <a:buFont typeface="Arial" panose="020B0604020202020204" pitchFamily="34" charset="0"/>
                        <a:buChar char="•"/>
                      </a:pPr>
                      <a:endParaRPr lang="en-US" sz="800" b="0" i="0" u="none" strike="noStrike" dirty="0">
                        <a:solidFill>
                          <a:schemeClr val="bg2">
                            <a:lumMod val="50000"/>
                          </a:schemeClr>
                        </a:solidFill>
                        <a:effectLst/>
                        <a:latin typeface="+mn-lt"/>
                      </a:endParaRPr>
                    </a:p>
                  </a:txBody>
                  <a:tcPr marL="72000" marR="72000" marT="72000" marB="72000">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solidFill>
                      <a:schemeClr val="bg1"/>
                    </a:solidFill>
                  </a:tcPr>
                </a:tc>
                <a:tc>
                  <a:txBody>
                    <a:bodyPr/>
                    <a:lstStyle/>
                    <a:p>
                      <a:pPr marL="171450" indent="-171450" algn="l" fontAlgn="t">
                        <a:buFont typeface="Arial" panose="020B0604020202020204" pitchFamily="34" charset="0"/>
                        <a:buChar char="•"/>
                      </a:pPr>
                      <a:r>
                        <a:rPr lang="en-GB" sz="800" b="0" i="0" u="none" strike="noStrike" dirty="0">
                          <a:solidFill>
                            <a:schemeClr val="bg2">
                              <a:lumMod val="50000"/>
                            </a:schemeClr>
                          </a:solidFill>
                          <a:effectLst/>
                          <a:latin typeface="+mn-lt"/>
                        </a:rPr>
                        <a:t>Regional appointment</a:t>
                      </a:r>
                      <a:endParaRPr lang="en-US" sz="800" b="0" i="0" u="none" strike="noStrike" dirty="0">
                        <a:solidFill>
                          <a:schemeClr val="bg2">
                            <a:lumMod val="50000"/>
                          </a:schemeClr>
                        </a:solidFill>
                        <a:effectLst/>
                        <a:latin typeface="+mn-lt"/>
                      </a:endParaRPr>
                    </a:p>
                  </a:txBody>
                  <a:tcPr marL="72000" marR="72000" marT="72000" marB="72000">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solidFill>
                      <a:schemeClr val="bg1"/>
                    </a:solidFill>
                  </a:tcPr>
                </a:tc>
                <a:tc>
                  <a:txBody>
                    <a:bodyPr/>
                    <a:lstStyle/>
                    <a:p>
                      <a:pPr marL="171450" indent="-171450" algn="l" fontAlgn="t">
                        <a:buFont typeface="Arial" panose="020B0604020202020204" pitchFamily="34" charset="0"/>
                        <a:buChar char="•"/>
                      </a:pPr>
                      <a:r>
                        <a:rPr lang="en-GB" sz="800" b="0" i="0" u="none" strike="noStrike" dirty="0">
                          <a:solidFill>
                            <a:schemeClr val="bg2">
                              <a:lumMod val="50000"/>
                            </a:schemeClr>
                          </a:solidFill>
                          <a:effectLst/>
                          <a:latin typeface="+mn-lt"/>
                        </a:rPr>
                        <a:t>Back-up</a:t>
                      </a:r>
                      <a:r>
                        <a:rPr lang="en-GB" sz="800" b="0" i="0" u="none" strike="noStrike" baseline="0" dirty="0">
                          <a:solidFill>
                            <a:schemeClr val="bg2">
                              <a:lumMod val="50000"/>
                            </a:schemeClr>
                          </a:solidFill>
                          <a:effectLst/>
                          <a:latin typeface="+mn-lt"/>
                        </a:rPr>
                        <a:t> for Program Roll-out Coordinators and Local Roll-out Coordinators</a:t>
                      </a:r>
                    </a:p>
                    <a:p>
                      <a:pPr marL="171450" indent="-171450" algn="l" fontAlgn="t">
                        <a:buFont typeface="Arial" panose="020B0604020202020204" pitchFamily="34" charset="0"/>
                        <a:buChar char="•"/>
                      </a:pPr>
                      <a:r>
                        <a:rPr lang="en-GB" sz="800" b="0" i="0" u="none" strike="noStrike" baseline="0" dirty="0">
                          <a:solidFill>
                            <a:schemeClr val="bg2">
                              <a:lumMod val="50000"/>
                            </a:schemeClr>
                          </a:solidFill>
                          <a:effectLst/>
                          <a:latin typeface="+mn-lt"/>
                        </a:rPr>
                        <a:t>Facilitates </a:t>
                      </a:r>
                      <a:r>
                        <a:rPr lang="en-GB" sz="800" b="0" i="0" u="none" strike="noStrike" baseline="0" dirty="0" err="1">
                          <a:solidFill>
                            <a:schemeClr val="bg2">
                              <a:lumMod val="50000"/>
                            </a:schemeClr>
                          </a:solidFill>
                          <a:effectLst/>
                          <a:latin typeface="+mn-lt"/>
                        </a:rPr>
                        <a:t>governane</a:t>
                      </a:r>
                      <a:r>
                        <a:rPr lang="en-GB" sz="800" b="0" i="0" u="none" strike="noStrike" baseline="0" dirty="0">
                          <a:solidFill>
                            <a:schemeClr val="bg2">
                              <a:lumMod val="50000"/>
                            </a:schemeClr>
                          </a:solidFill>
                          <a:effectLst/>
                          <a:latin typeface="+mn-lt"/>
                        </a:rPr>
                        <a:t> process (sets up Checkpoint reviews at Cluster and Regional level)</a:t>
                      </a:r>
                      <a:endParaRPr lang="en-US" sz="800" b="0" i="0" u="none" strike="noStrike" dirty="0">
                        <a:solidFill>
                          <a:schemeClr val="bg2">
                            <a:lumMod val="50000"/>
                          </a:schemeClr>
                        </a:solidFill>
                        <a:effectLst/>
                        <a:latin typeface="+mn-lt"/>
                      </a:endParaRPr>
                    </a:p>
                  </a:txBody>
                  <a:tcPr marL="72000" marR="72000" marT="72000" marB="72000">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solidFill>
                      <a:schemeClr val="bg1"/>
                    </a:solidFill>
                  </a:tcPr>
                </a:tc>
                <a:extLst>
                  <a:ext uri="{0D108BD9-81ED-4DB2-BD59-A6C34878D82A}">
                    <a16:rowId xmlns:a16="http://schemas.microsoft.com/office/drawing/2014/main" val="2596528498"/>
                  </a:ext>
                </a:extLst>
              </a:tr>
              <a:tr h="835833">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800" b="1" dirty="0">
                          <a:solidFill>
                            <a:schemeClr val="accent2">
                              <a:lumMod val="75000"/>
                            </a:schemeClr>
                          </a:solidFill>
                          <a:latin typeface="+mn-lt"/>
                        </a:rPr>
                        <a:t>Local Roll-out</a:t>
                      </a:r>
                      <a:r>
                        <a:rPr lang="en-US" sz="800" b="1" baseline="0" dirty="0">
                          <a:solidFill>
                            <a:schemeClr val="accent2">
                              <a:lumMod val="75000"/>
                            </a:schemeClr>
                          </a:solidFill>
                          <a:latin typeface="+mn-lt"/>
                        </a:rPr>
                        <a:t> Manager</a:t>
                      </a:r>
                    </a:p>
                  </a:txBody>
                  <a:tcPr marL="72000" marR="72000" marT="72000" marB="72000">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solidFill>
                      <a:schemeClr val="bg1"/>
                    </a:solidFill>
                  </a:tcPr>
                </a:tc>
                <a:tc>
                  <a:txBody>
                    <a:bodyPr/>
                    <a:lstStyle/>
                    <a:p>
                      <a:pPr marL="171450" indent="-171450" algn="l" fontAlgn="t">
                        <a:buFont typeface="Arial" panose="020B0604020202020204" pitchFamily="34" charset="0"/>
                        <a:buChar char="•"/>
                      </a:pPr>
                      <a:r>
                        <a:rPr lang="en-US" sz="800" b="0" i="0" u="none" strike="noStrike" dirty="0">
                          <a:solidFill>
                            <a:schemeClr val="bg2">
                              <a:lumMod val="50000"/>
                            </a:schemeClr>
                          </a:solidFill>
                          <a:effectLst/>
                          <a:latin typeface="+mn-lt"/>
                        </a:rPr>
                        <a:t>Owns local plan, checklist and logistics.</a:t>
                      </a:r>
                    </a:p>
                    <a:p>
                      <a:pPr marL="171450" indent="-171450" algn="l" fontAlgn="t">
                        <a:buFont typeface="Arial" panose="020B0604020202020204" pitchFamily="34" charset="0"/>
                        <a:buChar char="•"/>
                      </a:pPr>
                      <a:r>
                        <a:rPr lang="en-US" sz="800" b="0" i="0" u="none" strike="noStrike" dirty="0">
                          <a:solidFill>
                            <a:schemeClr val="bg2">
                              <a:lumMod val="50000"/>
                            </a:schemeClr>
                          </a:solidFill>
                          <a:effectLst/>
                          <a:latin typeface="+mn-lt"/>
                        </a:rPr>
                        <a:t>Responsible for ensuring that the project impact is well understood in the country.</a:t>
                      </a:r>
                    </a:p>
                    <a:p>
                      <a:pPr marL="171450" indent="-171450" algn="l" fontAlgn="t">
                        <a:buFont typeface="Arial" panose="020B0604020202020204" pitchFamily="34" charset="0"/>
                        <a:buChar char="•"/>
                      </a:pPr>
                      <a:r>
                        <a:rPr lang="en-US" sz="800" b="0" i="0" u="none" strike="noStrike" dirty="0">
                          <a:solidFill>
                            <a:schemeClr val="bg2">
                              <a:lumMod val="50000"/>
                            </a:schemeClr>
                          </a:solidFill>
                          <a:effectLst/>
                          <a:latin typeface="+mn-lt"/>
                        </a:rPr>
                        <a:t>Owns</a:t>
                      </a:r>
                      <a:r>
                        <a:rPr lang="en-US" sz="800" b="0" i="0" u="none" strike="noStrike" baseline="0" dirty="0">
                          <a:solidFill>
                            <a:schemeClr val="bg2">
                              <a:lumMod val="50000"/>
                            </a:schemeClr>
                          </a:solidFill>
                          <a:effectLst/>
                          <a:latin typeface="+mn-lt"/>
                        </a:rPr>
                        <a:t> country Roll-out governance, schedules and runs country </a:t>
                      </a:r>
                      <a:r>
                        <a:rPr lang="en-US" sz="800" b="0" i="0" u="none" strike="noStrike" baseline="0" dirty="0" err="1">
                          <a:solidFill>
                            <a:schemeClr val="bg2">
                              <a:lumMod val="50000"/>
                            </a:schemeClr>
                          </a:solidFill>
                          <a:effectLst/>
                          <a:latin typeface="+mn-lt"/>
                        </a:rPr>
                        <a:t>SteerCos</a:t>
                      </a:r>
                      <a:r>
                        <a:rPr lang="en-US" sz="800" b="0" i="0" u="none" strike="noStrike" baseline="0" dirty="0">
                          <a:solidFill>
                            <a:schemeClr val="bg2">
                              <a:lumMod val="50000"/>
                            </a:schemeClr>
                          </a:solidFill>
                          <a:effectLst/>
                          <a:latin typeface="+mn-lt"/>
                        </a:rPr>
                        <a:t>. </a:t>
                      </a:r>
                      <a:endParaRPr lang="en-US" sz="800" b="0" i="0" u="none" strike="noStrike" dirty="0">
                        <a:solidFill>
                          <a:schemeClr val="bg2">
                            <a:lumMod val="50000"/>
                          </a:schemeClr>
                        </a:solidFill>
                        <a:effectLst/>
                        <a:latin typeface="+mn-lt"/>
                      </a:endParaRPr>
                    </a:p>
                  </a:txBody>
                  <a:tcPr marL="72000" marR="72000" marT="72000" marB="72000">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solidFill>
                      <a:schemeClr val="bg1"/>
                    </a:solidFill>
                  </a:tcPr>
                </a:tc>
                <a:tc>
                  <a:txBody>
                    <a:bodyPr/>
                    <a:lstStyle/>
                    <a:p>
                      <a:pPr marL="171450" indent="-171450" algn="l" fontAlgn="t">
                        <a:buFont typeface="Arial" panose="020B0604020202020204" pitchFamily="34" charset="0"/>
                        <a:buChar char="•"/>
                      </a:pPr>
                      <a:r>
                        <a:rPr lang="en-US" sz="800" b="0" i="0" u="none" strike="noStrike" dirty="0">
                          <a:solidFill>
                            <a:schemeClr val="bg2">
                              <a:lumMod val="50000"/>
                            </a:schemeClr>
                          </a:solidFill>
                          <a:effectLst/>
                          <a:latin typeface="+mn-lt"/>
                        </a:rPr>
                        <a:t>Project management</a:t>
                      </a:r>
                    </a:p>
                    <a:p>
                      <a:pPr marL="171450" indent="-171450" algn="l" fontAlgn="t">
                        <a:buFont typeface="Arial" panose="020B0604020202020204" pitchFamily="34" charset="0"/>
                        <a:buChar char="•"/>
                      </a:pPr>
                      <a:r>
                        <a:rPr lang="en-US" sz="800" b="0" i="0" u="none" strike="noStrike" dirty="0">
                          <a:solidFill>
                            <a:schemeClr val="bg2">
                              <a:lumMod val="50000"/>
                            </a:schemeClr>
                          </a:solidFill>
                          <a:effectLst/>
                          <a:latin typeface="+mn-lt"/>
                        </a:rPr>
                        <a:t>Change management</a:t>
                      </a:r>
                    </a:p>
                  </a:txBody>
                  <a:tcPr marL="72000" marR="72000" marT="72000" marB="72000">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solidFill>
                      <a:schemeClr val="bg1"/>
                    </a:solidFill>
                  </a:tcPr>
                </a:tc>
                <a:tc>
                  <a:txBody>
                    <a:bodyPr/>
                    <a:lstStyle/>
                    <a:p>
                      <a:pPr marL="171450" indent="-171450" algn="l" fontAlgn="t">
                        <a:buFont typeface="Arial" panose="020B0604020202020204" pitchFamily="34" charset="0"/>
                        <a:buChar char="•"/>
                      </a:pPr>
                      <a:r>
                        <a:rPr lang="en-US" sz="800" b="0" i="0" u="none" strike="noStrike" dirty="0">
                          <a:solidFill>
                            <a:schemeClr val="bg2">
                              <a:lumMod val="50000"/>
                            </a:schemeClr>
                          </a:solidFill>
                          <a:effectLst/>
                          <a:latin typeface="+mn-lt"/>
                        </a:rPr>
                        <a:t>Local CRM Manager?</a:t>
                      </a:r>
                    </a:p>
                    <a:p>
                      <a:pPr marL="171450" indent="-171450" algn="l" fontAlgn="t">
                        <a:buFont typeface="Arial" panose="020B0604020202020204" pitchFamily="34" charset="0"/>
                        <a:buChar char="•"/>
                      </a:pPr>
                      <a:r>
                        <a:rPr lang="en-US" sz="800" b="0" i="0" u="none" strike="noStrike" dirty="0">
                          <a:solidFill>
                            <a:schemeClr val="bg2">
                              <a:lumMod val="50000"/>
                            </a:schemeClr>
                          </a:solidFill>
                          <a:effectLst/>
                          <a:latin typeface="+mn-lt"/>
                        </a:rPr>
                        <a:t>Local</a:t>
                      </a:r>
                      <a:r>
                        <a:rPr lang="en-US" sz="800" b="0" i="0" u="none" strike="noStrike" baseline="0" dirty="0">
                          <a:solidFill>
                            <a:schemeClr val="bg2">
                              <a:lumMod val="50000"/>
                            </a:schemeClr>
                          </a:solidFill>
                          <a:effectLst/>
                          <a:latin typeface="+mn-lt"/>
                        </a:rPr>
                        <a:t> </a:t>
                      </a:r>
                      <a:r>
                        <a:rPr lang="en-US" sz="800" b="0" i="0" u="none" strike="noStrike" baseline="0" dirty="0" err="1">
                          <a:solidFill>
                            <a:schemeClr val="bg2">
                              <a:lumMod val="50000"/>
                            </a:schemeClr>
                          </a:solidFill>
                          <a:effectLst/>
                          <a:latin typeface="+mn-lt"/>
                        </a:rPr>
                        <a:t>ComEx</a:t>
                      </a:r>
                      <a:r>
                        <a:rPr lang="en-US" sz="800" b="0" i="0" u="none" strike="noStrike" baseline="0" dirty="0">
                          <a:solidFill>
                            <a:schemeClr val="bg2">
                              <a:lumMod val="50000"/>
                            </a:schemeClr>
                          </a:solidFill>
                          <a:effectLst/>
                          <a:latin typeface="+mn-lt"/>
                        </a:rPr>
                        <a:t>?</a:t>
                      </a:r>
                    </a:p>
                    <a:p>
                      <a:pPr marL="171450" indent="-171450" algn="l" fontAlgn="t">
                        <a:buFont typeface="Arial" panose="020B0604020202020204" pitchFamily="34" charset="0"/>
                        <a:buChar char="•"/>
                      </a:pPr>
                      <a:r>
                        <a:rPr lang="en-US" sz="800" b="0" i="0" u="none" strike="noStrike" baseline="0" dirty="0">
                          <a:solidFill>
                            <a:schemeClr val="bg2">
                              <a:lumMod val="50000"/>
                            </a:schemeClr>
                          </a:solidFill>
                          <a:effectLst/>
                          <a:latin typeface="+mn-lt"/>
                        </a:rPr>
                        <a:t>Local IT?</a:t>
                      </a:r>
                      <a:endParaRPr lang="en-US" sz="800" b="0" i="0" u="none" strike="noStrike" dirty="0">
                        <a:solidFill>
                          <a:schemeClr val="bg2">
                            <a:lumMod val="50000"/>
                          </a:schemeClr>
                        </a:solidFill>
                        <a:effectLst/>
                        <a:latin typeface="+mn-lt"/>
                      </a:endParaRPr>
                    </a:p>
                  </a:txBody>
                  <a:tcPr marL="72000" marR="72000" marT="72000" marB="72000">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solidFill>
                      <a:schemeClr val="bg1"/>
                    </a:solidFill>
                  </a:tcPr>
                </a:tc>
                <a:tc>
                  <a:txBody>
                    <a:bodyPr/>
                    <a:lstStyle/>
                    <a:p>
                      <a:pPr marL="171450" indent="-171450" algn="l" fontAlgn="t">
                        <a:buFont typeface="Arial" panose="020B0604020202020204" pitchFamily="34" charset="0"/>
                        <a:buChar char="•"/>
                      </a:pPr>
                      <a:r>
                        <a:rPr lang="en-US" sz="800" b="0" i="0" u="none" strike="noStrike" baseline="0" dirty="0">
                          <a:solidFill>
                            <a:schemeClr val="bg2">
                              <a:lumMod val="50000"/>
                            </a:schemeClr>
                          </a:solidFill>
                          <a:effectLst/>
                          <a:latin typeface="+mn-lt"/>
                        </a:rPr>
                        <a:t>Planning &amp; Communications</a:t>
                      </a:r>
                    </a:p>
                    <a:p>
                      <a:pPr marL="171450" indent="-171450" algn="l" fontAlgn="t">
                        <a:buFont typeface="Arial" panose="020B0604020202020204" pitchFamily="34" charset="0"/>
                        <a:buChar char="•"/>
                      </a:pPr>
                      <a:r>
                        <a:rPr lang="en-US" sz="800" b="0" i="0" u="none" strike="noStrike" baseline="0" dirty="0">
                          <a:solidFill>
                            <a:schemeClr val="bg2">
                              <a:lumMod val="50000"/>
                            </a:schemeClr>
                          </a:solidFill>
                          <a:effectLst/>
                          <a:latin typeface="+mn-lt"/>
                        </a:rPr>
                        <a:t>Status Updates and </a:t>
                      </a:r>
                      <a:r>
                        <a:rPr lang="en-US" sz="800" b="0" i="0" u="none" strike="noStrike" baseline="0" dirty="0" err="1">
                          <a:solidFill>
                            <a:schemeClr val="bg2">
                              <a:lumMod val="50000"/>
                            </a:schemeClr>
                          </a:solidFill>
                          <a:effectLst/>
                          <a:latin typeface="+mn-lt"/>
                        </a:rPr>
                        <a:t>SteerCos</a:t>
                      </a:r>
                      <a:endParaRPr lang="en-US" sz="800" b="0" i="0" u="none" strike="noStrike" baseline="0" dirty="0">
                        <a:solidFill>
                          <a:schemeClr val="bg2">
                            <a:lumMod val="50000"/>
                          </a:schemeClr>
                        </a:solidFill>
                        <a:effectLst/>
                        <a:latin typeface="+mn-lt"/>
                      </a:endParaRPr>
                    </a:p>
                    <a:p>
                      <a:pPr marL="171450" indent="-171450" algn="l" fontAlgn="t">
                        <a:buFont typeface="Arial" panose="020B0604020202020204" pitchFamily="34" charset="0"/>
                        <a:buChar char="•"/>
                      </a:pPr>
                      <a:r>
                        <a:rPr lang="en-GB" sz="800" b="0" i="0" u="none" strike="noStrike" baseline="0" dirty="0">
                          <a:solidFill>
                            <a:schemeClr val="bg2">
                              <a:lumMod val="50000"/>
                            </a:schemeClr>
                          </a:solidFill>
                          <a:effectLst/>
                          <a:latin typeface="+mn-lt"/>
                        </a:rPr>
                        <a:t>Coordinates local activities &amp; resources</a:t>
                      </a:r>
                      <a:endParaRPr lang="en-US" sz="800" b="0" i="0" u="none" strike="noStrike" baseline="0" dirty="0">
                        <a:solidFill>
                          <a:schemeClr val="bg2">
                            <a:lumMod val="50000"/>
                          </a:schemeClr>
                        </a:solidFill>
                        <a:effectLst/>
                        <a:latin typeface="+mn-lt"/>
                      </a:endParaRPr>
                    </a:p>
                    <a:p>
                      <a:pPr marL="171450" indent="-171450" algn="l" fontAlgn="t">
                        <a:buFont typeface="Arial" panose="020B0604020202020204" pitchFamily="34" charset="0"/>
                        <a:buChar char="•"/>
                      </a:pPr>
                      <a:r>
                        <a:rPr lang="en-US" sz="800" b="0" i="0" u="none" strike="noStrike" baseline="0" dirty="0">
                          <a:solidFill>
                            <a:schemeClr val="bg2">
                              <a:lumMod val="50000"/>
                            </a:schemeClr>
                          </a:solidFill>
                          <a:effectLst/>
                          <a:latin typeface="+mn-lt"/>
                        </a:rPr>
                        <a:t>Managing Local Testing, Cutover &amp; Hypercare</a:t>
                      </a:r>
                    </a:p>
                  </a:txBody>
                  <a:tcPr marL="72000" marR="72000" marT="72000" marB="72000">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solidFill>
                      <a:schemeClr val="bg1"/>
                    </a:solidFill>
                  </a:tcPr>
                </a:tc>
                <a:extLst>
                  <a:ext uri="{0D108BD9-81ED-4DB2-BD59-A6C34878D82A}">
                    <a16:rowId xmlns:a16="http://schemas.microsoft.com/office/drawing/2014/main" val="2916973032"/>
                  </a:ext>
                </a:extLst>
              </a:tr>
              <a:tr h="603046">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dirty="0">
                          <a:ln>
                            <a:noFill/>
                          </a:ln>
                          <a:solidFill>
                            <a:schemeClr val="accent2">
                              <a:lumMod val="75000"/>
                            </a:schemeClr>
                          </a:solidFill>
                          <a:effectLst/>
                          <a:uLnTx/>
                          <a:uFillTx/>
                          <a:latin typeface="+mn-lt"/>
                          <a:ea typeface="+mn-ea"/>
                          <a:cs typeface="+mn-cs"/>
                        </a:rPr>
                        <a:t>Functional Experts</a:t>
                      </a:r>
                      <a:endParaRPr kumimoji="0" lang="en-US" sz="800" b="1" i="0" u="none" strike="noStrike" kern="1200" cap="none" spc="0" normalizeH="0" noProof="0" dirty="0">
                        <a:ln>
                          <a:noFill/>
                        </a:ln>
                        <a:solidFill>
                          <a:schemeClr val="accent2">
                            <a:lumMod val="75000"/>
                          </a:schemeClr>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800" b="0" i="0" u="none" strike="noStrike" kern="1200" cap="none" spc="0" normalizeH="0" baseline="0" noProof="0" dirty="0">
                        <a:ln>
                          <a:noFill/>
                        </a:ln>
                        <a:solidFill>
                          <a:schemeClr val="accent2">
                            <a:lumMod val="75000"/>
                          </a:schemeClr>
                        </a:solidFill>
                        <a:effectLst/>
                        <a:uLnTx/>
                        <a:uFillTx/>
                        <a:latin typeface="+mn-lt"/>
                        <a:ea typeface="+mn-ea"/>
                        <a:cs typeface="+mn-cs"/>
                      </a:endParaRPr>
                    </a:p>
                    <a:p>
                      <a:pPr marL="0" indent="0" algn="l">
                        <a:buFont typeface="Arial" panose="020B0604020202020204" pitchFamily="34" charset="0"/>
                        <a:buNone/>
                      </a:pPr>
                      <a:endParaRPr lang="en-US" sz="800" dirty="0">
                        <a:solidFill>
                          <a:schemeClr val="accent2">
                            <a:lumMod val="75000"/>
                          </a:schemeClr>
                        </a:solidFill>
                        <a:latin typeface="+mn-lt"/>
                      </a:endParaRPr>
                    </a:p>
                  </a:txBody>
                  <a:tcPr marL="72000" marR="72000" marT="72000" marB="72000">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solidFill>
                      <a:schemeClr val="bg1"/>
                    </a:solidFill>
                  </a:tcPr>
                </a:tc>
                <a:tc>
                  <a:txBody>
                    <a:bodyPr/>
                    <a:lstStyle/>
                    <a:p>
                      <a:pPr marL="171450" indent="-171450" algn="l" fontAlgn="t">
                        <a:buFont typeface="Arial" panose="020B0604020202020204" pitchFamily="34" charset="0"/>
                        <a:buChar char="•"/>
                      </a:pPr>
                      <a:r>
                        <a:rPr lang="en-US" sz="800" b="0" i="0" u="none" strike="noStrike" baseline="0" dirty="0">
                          <a:solidFill>
                            <a:schemeClr val="bg2">
                              <a:lumMod val="50000"/>
                            </a:schemeClr>
                          </a:solidFill>
                          <a:effectLst/>
                          <a:latin typeface="+mn-lt"/>
                        </a:rPr>
                        <a:t>Completing the Country Specific Settings Workbook</a:t>
                      </a:r>
                    </a:p>
                    <a:p>
                      <a:pPr marL="171450" indent="-171450" algn="l" fontAlgn="t">
                        <a:buFont typeface="Arial" panose="020B0604020202020204" pitchFamily="34" charset="0"/>
                        <a:buChar char="•"/>
                      </a:pPr>
                      <a:r>
                        <a:rPr lang="en-US" sz="800" b="0" i="0" u="none" strike="noStrike" baseline="0" dirty="0">
                          <a:solidFill>
                            <a:schemeClr val="bg2">
                              <a:lumMod val="50000"/>
                            </a:schemeClr>
                          </a:solidFill>
                          <a:effectLst/>
                          <a:latin typeface="+mn-lt"/>
                        </a:rPr>
                        <a:t>Completing the Axtria Sales Cycle Planning set-up templates</a:t>
                      </a:r>
                      <a:endParaRPr lang="en-US" sz="800" b="0" i="0" u="none" strike="noStrike" dirty="0">
                        <a:solidFill>
                          <a:schemeClr val="bg2">
                            <a:lumMod val="50000"/>
                          </a:schemeClr>
                        </a:solidFill>
                        <a:effectLst/>
                        <a:latin typeface="+mn-lt"/>
                      </a:endParaRPr>
                    </a:p>
                  </a:txBody>
                  <a:tcPr marL="72000" marR="72000" marT="72000" marB="72000">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solidFill>
                      <a:schemeClr val="bg1"/>
                    </a:solidFill>
                  </a:tcPr>
                </a:tc>
                <a:tc>
                  <a:txBody>
                    <a:bodyPr/>
                    <a:lstStyle/>
                    <a:p>
                      <a:pPr marL="171450" indent="-171450" algn="l" fontAlgn="t">
                        <a:buFont typeface="Arial" panose="020B0604020202020204" pitchFamily="34" charset="0"/>
                        <a:buChar char="•"/>
                      </a:pPr>
                      <a:r>
                        <a:rPr lang="en-US" sz="800" b="0" i="0" u="none" strike="noStrike" dirty="0">
                          <a:solidFill>
                            <a:schemeClr val="bg2">
                              <a:lumMod val="50000"/>
                            </a:schemeClr>
                          </a:solidFill>
                          <a:effectLst/>
                          <a:latin typeface="+mn-lt"/>
                        </a:rPr>
                        <a:t>Deep understanding of local</a:t>
                      </a:r>
                      <a:r>
                        <a:rPr lang="en-US" sz="800" b="0" i="0" u="none" strike="noStrike" baseline="0" dirty="0">
                          <a:solidFill>
                            <a:schemeClr val="bg2">
                              <a:lumMod val="50000"/>
                            </a:schemeClr>
                          </a:solidFill>
                          <a:effectLst/>
                          <a:latin typeface="+mn-lt"/>
                        </a:rPr>
                        <a:t> </a:t>
                      </a:r>
                      <a:r>
                        <a:rPr lang="en-US" sz="800" b="0" i="0" u="none" strike="noStrike" dirty="0">
                          <a:solidFill>
                            <a:schemeClr val="bg2">
                              <a:lumMod val="50000"/>
                            </a:schemeClr>
                          </a:solidFill>
                          <a:effectLst/>
                          <a:latin typeface="+mn-lt"/>
                        </a:rPr>
                        <a:t>business processes</a:t>
                      </a:r>
                    </a:p>
                  </a:txBody>
                  <a:tcPr marL="72000" marR="72000" marT="72000" marB="72000">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solidFill>
                      <a:schemeClr val="bg1"/>
                    </a:solidFill>
                  </a:tcPr>
                </a:tc>
                <a:tc>
                  <a:txBody>
                    <a:bodyPr/>
                    <a:lstStyle/>
                    <a:p>
                      <a:pPr marL="171450" indent="-171450" algn="l" fontAlgn="t">
                        <a:buFont typeface="Arial" panose="020B0604020202020204" pitchFamily="34" charset="0"/>
                        <a:buChar char="•"/>
                      </a:pPr>
                      <a:r>
                        <a:rPr lang="en-US" sz="800" b="0" i="0" u="none" strike="noStrike" dirty="0">
                          <a:solidFill>
                            <a:schemeClr val="bg2">
                              <a:lumMod val="50000"/>
                            </a:schemeClr>
                          </a:solidFill>
                          <a:effectLst/>
                          <a:latin typeface="+mn-lt"/>
                        </a:rPr>
                        <a:t>Territory</a:t>
                      </a:r>
                      <a:r>
                        <a:rPr lang="en-US" sz="800" b="0" i="0" u="none" strike="noStrike" baseline="0" dirty="0">
                          <a:solidFill>
                            <a:schemeClr val="bg2">
                              <a:lumMod val="50000"/>
                            </a:schemeClr>
                          </a:solidFill>
                          <a:effectLst/>
                          <a:latin typeface="+mn-lt"/>
                        </a:rPr>
                        <a:t> Heads?</a:t>
                      </a:r>
                    </a:p>
                    <a:p>
                      <a:pPr marL="171450" indent="-171450" algn="l" fontAlgn="t">
                        <a:buFont typeface="Arial" panose="020B0604020202020204" pitchFamily="34" charset="0"/>
                        <a:buChar char="•"/>
                      </a:pPr>
                      <a:r>
                        <a:rPr lang="en-US" sz="800" b="0" i="0" u="none" strike="noStrike" baseline="0" dirty="0">
                          <a:solidFill>
                            <a:schemeClr val="bg2">
                              <a:lumMod val="50000"/>
                            </a:schemeClr>
                          </a:solidFill>
                          <a:effectLst/>
                          <a:latin typeface="+mn-lt"/>
                        </a:rPr>
                        <a:t>Sales Leaders / influencers?</a:t>
                      </a:r>
                    </a:p>
                    <a:p>
                      <a:pPr marL="171450" indent="-171450" algn="l" fontAlgn="t">
                        <a:buFont typeface="Arial" panose="020B0604020202020204" pitchFamily="34" charset="0"/>
                        <a:buChar char="•"/>
                      </a:pPr>
                      <a:r>
                        <a:rPr lang="en-US" sz="800" b="0" i="0" u="none" strike="noStrike" baseline="0" dirty="0">
                          <a:solidFill>
                            <a:schemeClr val="bg2">
                              <a:lumMod val="50000"/>
                            </a:schemeClr>
                          </a:solidFill>
                          <a:effectLst/>
                          <a:latin typeface="+mn-lt"/>
                        </a:rPr>
                        <a:t>CRM Managers?</a:t>
                      </a:r>
                      <a:endParaRPr lang="en-US" sz="800" b="0" i="0" u="none" strike="noStrike" dirty="0">
                        <a:solidFill>
                          <a:schemeClr val="bg2">
                            <a:lumMod val="50000"/>
                          </a:schemeClr>
                        </a:solidFill>
                        <a:effectLst/>
                        <a:latin typeface="+mn-lt"/>
                      </a:endParaRPr>
                    </a:p>
                  </a:txBody>
                  <a:tcPr marL="72000" marR="72000" marT="72000" marB="72000">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solidFill>
                      <a:schemeClr val="bg1"/>
                    </a:solidFill>
                  </a:tcPr>
                </a:tc>
                <a:tc>
                  <a:txBody>
                    <a:bodyPr/>
                    <a:lstStyle/>
                    <a:p>
                      <a:pPr marL="171450" indent="-171450" algn="l" fontAlgn="t">
                        <a:buFont typeface="Arial" panose="020B0604020202020204" pitchFamily="34" charset="0"/>
                        <a:buChar char="•"/>
                      </a:pPr>
                      <a:r>
                        <a:rPr lang="en-US" sz="800" b="0" i="0" u="none" strike="noStrike" baseline="0" dirty="0">
                          <a:solidFill>
                            <a:schemeClr val="bg2">
                              <a:lumMod val="50000"/>
                            </a:schemeClr>
                          </a:solidFill>
                          <a:effectLst/>
                          <a:latin typeface="+mn-lt"/>
                        </a:rPr>
                        <a:t>Executing/Supporting Local Testing</a:t>
                      </a:r>
                    </a:p>
                    <a:p>
                      <a:pPr marL="171450" indent="-171450" algn="l" fontAlgn="t">
                        <a:buFont typeface="Arial" panose="020B0604020202020204" pitchFamily="34" charset="0"/>
                        <a:buChar char="•"/>
                      </a:pPr>
                      <a:r>
                        <a:rPr lang="en-US" sz="800" b="0" i="0" u="none" strike="noStrike" baseline="0" dirty="0">
                          <a:solidFill>
                            <a:schemeClr val="bg2">
                              <a:lumMod val="50000"/>
                            </a:schemeClr>
                          </a:solidFill>
                          <a:effectLst/>
                          <a:latin typeface="+mn-lt"/>
                        </a:rPr>
                        <a:t>Supporting End User Training</a:t>
                      </a:r>
                    </a:p>
                    <a:p>
                      <a:pPr marL="171450" marR="0" lvl="0" indent="-171450" algn="l" defTabSz="914400"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800" b="0" i="0" u="none" strike="noStrike" baseline="0" dirty="0">
                          <a:solidFill>
                            <a:schemeClr val="bg2">
                              <a:lumMod val="50000"/>
                            </a:schemeClr>
                          </a:solidFill>
                          <a:effectLst/>
                          <a:latin typeface="+mn-lt"/>
                        </a:rPr>
                        <a:t>Support Hypercare</a:t>
                      </a:r>
                    </a:p>
                  </a:txBody>
                  <a:tcPr marL="72000" marR="72000" marT="72000" marB="72000">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solidFill>
                      <a:schemeClr val="bg1"/>
                    </a:solidFill>
                  </a:tcPr>
                </a:tc>
                <a:extLst>
                  <a:ext uri="{0D108BD9-81ED-4DB2-BD59-A6C34878D82A}">
                    <a16:rowId xmlns:a16="http://schemas.microsoft.com/office/drawing/2014/main" val="3082465746"/>
                  </a:ext>
                </a:extLst>
              </a:tr>
              <a:tr h="719439">
                <a:tc>
                  <a:txBody>
                    <a:bodyPr/>
                    <a:lstStyle/>
                    <a:p>
                      <a:pPr algn="l" fontAlgn="t"/>
                      <a:r>
                        <a:rPr lang="en-US" sz="800" b="1" i="0" u="none" strike="noStrike" dirty="0">
                          <a:solidFill>
                            <a:schemeClr val="accent2">
                              <a:lumMod val="75000"/>
                            </a:schemeClr>
                          </a:solidFill>
                          <a:effectLst/>
                          <a:latin typeface="+mn-lt"/>
                        </a:rPr>
                        <a:t>Data Experts</a:t>
                      </a:r>
                    </a:p>
                  </a:txBody>
                  <a:tcPr marL="72000" marR="72000" marT="72000" marB="72000">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solidFill>
                      <a:schemeClr val="bg1"/>
                    </a:solidFill>
                  </a:tcPr>
                </a:tc>
                <a:tc>
                  <a:txBody>
                    <a:bodyPr/>
                    <a:lstStyle/>
                    <a:p>
                      <a:pPr marL="171450" indent="-171450" algn="l" fontAlgn="t">
                        <a:buFont typeface="Arial" panose="020B0604020202020204" pitchFamily="34" charset="0"/>
                        <a:buChar char="•"/>
                      </a:pPr>
                      <a:r>
                        <a:rPr lang="en-US" sz="800" b="0" i="0" u="none" strike="noStrike" dirty="0">
                          <a:solidFill>
                            <a:schemeClr val="bg2">
                              <a:lumMod val="50000"/>
                            </a:schemeClr>
                          </a:solidFill>
                          <a:effectLst/>
                          <a:latin typeface="+mn-lt"/>
                        </a:rPr>
                        <a:t>Validates data mappings</a:t>
                      </a:r>
                      <a:r>
                        <a:rPr lang="en-US" sz="800" b="0" i="0" u="none" strike="noStrike" baseline="0" dirty="0">
                          <a:solidFill>
                            <a:schemeClr val="bg2">
                              <a:lumMod val="50000"/>
                            </a:schemeClr>
                          </a:solidFill>
                          <a:effectLst/>
                          <a:latin typeface="+mn-lt"/>
                        </a:rPr>
                        <a:t> with the Data Migration Team</a:t>
                      </a:r>
                      <a:endParaRPr lang="en-US" sz="800" b="0" i="0" u="none" strike="noStrike" dirty="0">
                        <a:solidFill>
                          <a:schemeClr val="bg2">
                            <a:lumMod val="50000"/>
                          </a:schemeClr>
                        </a:solidFill>
                        <a:effectLst/>
                        <a:latin typeface="+mn-lt"/>
                      </a:endParaRPr>
                    </a:p>
                    <a:p>
                      <a:pPr marL="171450" indent="-171450" algn="l" fontAlgn="t">
                        <a:buFont typeface="Arial" panose="020B0604020202020204" pitchFamily="34" charset="0"/>
                        <a:buChar char="•"/>
                      </a:pPr>
                      <a:r>
                        <a:rPr lang="en-US" sz="800" b="0" i="0" u="none" strike="noStrike" dirty="0">
                          <a:solidFill>
                            <a:schemeClr val="bg2">
                              <a:lumMod val="50000"/>
                            </a:schemeClr>
                          </a:solidFill>
                          <a:effectLst/>
                          <a:latin typeface="+mn-lt"/>
                        </a:rPr>
                        <a:t>Completes</a:t>
                      </a:r>
                      <a:r>
                        <a:rPr lang="en-US" sz="800" b="0" i="0" u="none" strike="noStrike" baseline="0" dirty="0">
                          <a:solidFill>
                            <a:schemeClr val="bg2">
                              <a:lumMod val="50000"/>
                            </a:schemeClr>
                          </a:solidFill>
                          <a:effectLst/>
                          <a:latin typeface="+mn-lt"/>
                        </a:rPr>
                        <a:t> the Data Migration Templates for Base/Master and/or Transactional Data (with support from Program where necessary)</a:t>
                      </a:r>
                    </a:p>
                  </a:txBody>
                  <a:tcPr marL="72000" marR="72000" marT="72000" marB="72000">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solidFill>
                      <a:schemeClr val="bg1"/>
                    </a:solidFill>
                  </a:tcPr>
                </a:tc>
                <a:tc>
                  <a:txBody>
                    <a:bodyPr/>
                    <a:lstStyle/>
                    <a:p>
                      <a:pPr marL="171450" indent="-171450" algn="l" fontAlgn="t">
                        <a:buFont typeface="Arial" panose="020B0604020202020204" pitchFamily="34" charset="0"/>
                        <a:buChar char="•"/>
                      </a:pPr>
                      <a:r>
                        <a:rPr lang="en-US" sz="800" b="0" i="0" u="none" strike="noStrike" dirty="0">
                          <a:solidFill>
                            <a:schemeClr val="bg2">
                              <a:lumMod val="50000"/>
                            </a:schemeClr>
                          </a:solidFill>
                          <a:effectLst/>
                          <a:latin typeface="+mn-lt"/>
                        </a:rPr>
                        <a:t>Good knowledge of business processes in country</a:t>
                      </a:r>
                    </a:p>
                    <a:p>
                      <a:pPr marL="171450" indent="-171450" algn="l" fontAlgn="t">
                        <a:buFont typeface="Arial" panose="020B0604020202020204" pitchFamily="34" charset="0"/>
                        <a:buChar char="•"/>
                      </a:pPr>
                      <a:r>
                        <a:rPr lang="en-US" sz="800" b="0" i="0" u="none" strike="noStrike" dirty="0">
                          <a:solidFill>
                            <a:schemeClr val="bg2">
                              <a:lumMod val="50000"/>
                            </a:schemeClr>
                          </a:solidFill>
                          <a:effectLst/>
                          <a:latin typeface="+mn-lt"/>
                        </a:rPr>
                        <a:t>Deep understanding of local data</a:t>
                      </a:r>
                    </a:p>
                  </a:txBody>
                  <a:tcPr marL="72000" marR="72000" marT="72000" marB="72000">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solidFill>
                      <a:schemeClr val="bg1"/>
                    </a:solidFill>
                  </a:tcPr>
                </a:tc>
                <a:tc>
                  <a:txBody>
                    <a:bodyPr/>
                    <a:lstStyle/>
                    <a:p>
                      <a:pPr marL="171450" indent="-171450" algn="l" fontAlgn="t">
                        <a:buFont typeface="Arial" panose="020B0604020202020204" pitchFamily="34" charset="0"/>
                        <a:buChar char="•"/>
                      </a:pPr>
                      <a:r>
                        <a:rPr lang="en-US" sz="800" b="0" i="0" u="none" strike="noStrike" dirty="0">
                          <a:solidFill>
                            <a:schemeClr val="bg2">
                              <a:lumMod val="50000"/>
                            </a:schemeClr>
                          </a:solidFill>
                          <a:effectLst/>
                          <a:latin typeface="+mn-lt"/>
                        </a:rPr>
                        <a:t>CRM Manager?</a:t>
                      </a:r>
                    </a:p>
                    <a:p>
                      <a:pPr marL="171450" indent="-171450" algn="l" fontAlgn="t">
                        <a:buFont typeface="Arial" panose="020B0604020202020204" pitchFamily="34" charset="0"/>
                        <a:buChar char="•"/>
                      </a:pPr>
                      <a:r>
                        <a:rPr lang="en-US" sz="800" b="0" i="0" u="none" strike="noStrike" dirty="0">
                          <a:solidFill>
                            <a:schemeClr val="bg2">
                              <a:lumMod val="50000"/>
                            </a:schemeClr>
                          </a:solidFill>
                          <a:effectLst/>
                          <a:latin typeface="+mn-lt"/>
                        </a:rPr>
                        <a:t>Local</a:t>
                      </a:r>
                      <a:r>
                        <a:rPr lang="en-US" sz="800" b="0" i="0" u="none" strike="noStrike" baseline="0" dirty="0">
                          <a:solidFill>
                            <a:schemeClr val="bg2">
                              <a:lumMod val="50000"/>
                            </a:schemeClr>
                          </a:solidFill>
                          <a:effectLst/>
                          <a:latin typeface="+mn-lt"/>
                        </a:rPr>
                        <a:t> IT?</a:t>
                      </a:r>
                      <a:endParaRPr lang="en-US" sz="800" b="0" i="0" u="none" strike="noStrike" dirty="0">
                        <a:solidFill>
                          <a:schemeClr val="bg2">
                            <a:lumMod val="50000"/>
                          </a:schemeClr>
                        </a:solidFill>
                        <a:effectLst/>
                        <a:latin typeface="+mn-lt"/>
                      </a:endParaRPr>
                    </a:p>
                  </a:txBody>
                  <a:tcPr marL="72000" marR="72000" marT="72000" marB="72000">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solidFill>
                      <a:schemeClr val="bg1"/>
                    </a:solidFill>
                  </a:tcPr>
                </a:tc>
                <a:tc>
                  <a:txBody>
                    <a:bodyPr/>
                    <a:lstStyle/>
                    <a:p>
                      <a:pPr marL="171450" indent="-171450" algn="l" fontAlgn="t">
                        <a:buFont typeface="Arial" panose="020B0604020202020204" pitchFamily="34" charset="0"/>
                        <a:buChar char="•"/>
                      </a:pPr>
                      <a:r>
                        <a:rPr lang="en-US" sz="800" b="0" i="0" u="none" strike="noStrike" dirty="0">
                          <a:solidFill>
                            <a:schemeClr val="bg2">
                              <a:lumMod val="50000"/>
                            </a:schemeClr>
                          </a:solidFill>
                          <a:effectLst/>
                          <a:latin typeface="+mn-lt"/>
                        </a:rPr>
                        <a:t>Support</a:t>
                      </a:r>
                      <a:r>
                        <a:rPr lang="en-US" sz="800" b="0" i="0" u="none" strike="noStrike" baseline="0" dirty="0">
                          <a:solidFill>
                            <a:schemeClr val="bg2">
                              <a:lumMod val="50000"/>
                            </a:schemeClr>
                          </a:solidFill>
                          <a:effectLst/>
                          <a:latin typeface="+mn-lt"/>
                        </a:rPr>
                        <a:t> Data Mapping Validation</a:t>
                      </a:r>
                    </a:p>
                    <a:p>
                      <a:pPr marL="171450" indent="-171450" algn="l" fontAlgn="t">
                        <a:buFont typeface="Arial" panose="020B0604020202020204" pitchFamily="34" charset="0"/>
                        <a:buChar char="•"/>
                      </a:pPr>
                      <a:r>
                        <a:rPr lang="en-US" sz="800" b="0" i="0" u="none" strike="noStrike" baseline="0" dirty="0">
                          <a:solidFill>
                            <a:schemeClr val="bg2">
                              <a:lumMod val="50000"/>
                            </a:schemeClr>
                          </a:solidFill>
                          <a:effectLst/>
                          <a:latin typeface="+mn-lt"/>
                        </a:rPr>
                        <a:t>Support Data Template Filling</a:t>
                      </a:r>
                    </a:p>
                    <a:p>
                      <a:pPr marL="171450" indent="-171450" algn="l" fontAlgn="t">
                        <a:buFont typeface="Arial" panose="020B0604020202020204" pitchFamily="34" charset="0"/>
                        <a:buChar char="•"/>
                      </a:pPr>
                      <a:r>
                        <a:rPr lang="en-US" sz="800" b="0" i="0" u="none" strike="noStrike" baseline="0" dirty="0">
                          <a:solidFill>
                            <a:schemeClr val="bg2">
                              <a:lumMod val="50000"/>
                            </a:schemeClr>
                          </a:solidFill>
                          <a:effectLst/>
                          <a:latin typeface="+mn-lt"/>
                        </a:rPr>
                        <a:t>Executing/Supporting Local Testing</a:t>
                      </a:r>
                    </a:p>
                    <a:p>
                      <a:pPr marL="171450" indent="-171450" algn="l" fontAlgn="t">
                        <a:buFont typeface="Arial" panose="020B0604020202020204" pitchFamily="34" charset="0"/>
                        <a:buChar char="•"/>
                      </a:pPr>
                      <a:r>
                        <a:rPr lang="en-US" sz="800" b="0" i="0" u="none" strike="noStrike" baseline="0" dirty="0">
                          <a:solidFill>
                            <a:schemeClr val="bg2">
                              <a:lumMod val="50000"/>
                            </a:schemeClr>
                          </a:solidFill>
                          <a:effectLst/>
                          <a:latin typeface="+mn-lt"/>
                        </a:rPr>
                        <a:t>Supporting Cutover &amp; Hypercare</a:t>
                      </a:r>
                    </a:p>
                  </a:txBody>
                  <a:tcPr marL="72000" marR="72000" marT="72000" marB="72000">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solidFill>
                      <a:schemeClr val="bg1"/>
                    </a:solidFill>
                  </a:tcPr>
                </a:tc>
                <a:extLst>
                  <a:ext uri="{0D108BD9-81ED-4DB2-BD59-A6C34878D82A}">
                    <a16:rowId xmlns:a16="http://schemas.microsoft.com/office/drawing/2014/main" val="582606699"/>
                  </a:ext>
                </a:extLst>
              </a:tr>
            </a:tbl>
          </a:graphicData>
        </a:graphic>
      </p:graphicFrame>
    </p:spTree>
    <p:extLst>
      <p:ext uri="{BB962C8B-B14F-4D97-AF65-F5344CB8AC3E}">
        <p14:creationId xmlns:p14="http://schemas.microsoft.com/office/powerpoint/2010/main" val="165150580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solidFill>
                  <a:schemeClr val="tx1"/>
                </a:solidFill>
              </a:rPr>
              <a:t>Roll-out: LOCAL Team Members</a:t>
            </a:r>
          </a:p>
        </p:txBody>
      </p:sp>
      <p:sp>
        <p:nvSpPr>
          <p:cNvPr id="3" name="Slide Number Placeholder 2"/>
          <p:cNvSpPr>
            <a:spLocks noGrp="1"/>
          </p:cNvSpPr>
          <p:nvPr>
            <p:ph type="sldNum" sz="quarter" idx="10"/>
          </p:nvPr>
        </p:nvSpPr>
        <p:spPr/>
        <p:txBody>
          <a:bodyPr/>
          <a:lstStyle/>
          <a:p>
            <a:fld id="{47547CF9-5B10-D24F-A8D7-45A9778164F7}" type="slidenum">
              <a:rPr lang="en-US" smtClean="0"/>
              <a:pPr/>
              <a:t>22</a:t>
            </a:fld>
            <a:endParaRPr lang="en-US" dirty="0"/>
          </a:p>
        </p:txBody>
      </p:sp>
      <p:sp>
        <p:nvSpPr>
          <p:cNvPr id="4" name="Footer Placeholder 3"/>
          <p:cNvSpPr>
            <a:spLocks noGrp="1"/>
          </p:cNvSpPr>
          <p:nvPr>
            <p:ph type="ftr" sz="quarter" idx="11"/>
          </p:nvPr>
        </p:nvSpPr>
        <p:spPr/>
        <p:txBody>
          <a:bodyPr/>
          <a:lstStyle/>
          <a:p>
            <a:r>
              <a:rPr lang="en-GB"/>
              <a:t>Scout l Roll-out Approach l March 2020</a:t>
            </a:r>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560846718"/>
              </p:ext>
            </p:extLst>
          </p:nvPr>
        </p:nvGraphicFramePr>
        <p:xfrm>
          <a:off x="478854" y="742950"/>
          <a:ext cx="8436547" cy="3952440"/>
        </p:xfrm>
        <a:graphic>
          <a:graphicData uri="http://schemas.openxmlformats.org/drawingml/2006/table">
            <a:tbl>
              <a:tblPr firstRow="1" bandRow="1">
                <a:tableStyleId>{5C22544A-7EE6-4342-B048-85BDC9FD1C3A}</a:tableStyleId>
              </a:tblPr>
              <a:tblGrid>
                <a:gridCol w="1184077">
                  <a:extLst>
                    <a:ext uri="{9D8B030D-6E8A-4147-A177-3AD203B41FA5}">
                      <a16:colId xmlns:a16="http://schemas.microsoft.com/office/drawing/2014/main" val="3870673544"/>
                    </a:ext>
                  </a:extLst>
                </a:gridCol>
                <a:gridCol w="2516163">
                  <a:extLst>
                    <a:ext uri="{9D8B030D-6E8A-4147-A177-3AD203B41FA5}">
                      <a16:colId xmlns:a16="http://schemas.microsoft.com/office/drawing/2014/main" val="2724509223"/>
                    </a:ext>
                  </a:extLst>
                </a:gridCol>
                <a:gridCol w="1628105">
                  <a:extLst>
                    <a:ext uri="{9D8B030D-6E8A-4147-A177-3AD203B41FA5}">
                      <a16:colId xmlns:a16="http://schemas.microsoft.com/office/drawing/2014/main" val="3784515133"/>
                    </a:ext>
                  </a:extLst>
                </a:gridCol>
                <a:gridCol w="1184077">
                  <a:extLst>
                    <a:ext uri="{9D8B030D-6E8A-4147-A177-3AD203B41FA5}">
                      <a16:colId xmlns:a16="http://schemas.microsoft.com/office/drawing/2014/main" val="1934230741"/>
                    </a:ext>
                  </a:extLst>
                </a:gridCol>
                <a:gridCol w="1924125">
                  <a:extLst>
                    <a:ext uri="{9D8B030D-6E8A-4147-A177-3AD203B41FA5}">
                      <a16:colId xmlns:a16="http://schemas.microsoft.com/office/drawing/2014/main" val="786846384"/>
                    </a:ext>
                  </a:extLst>
                </a:gridCol>
              </a:tblGrid>
              <a:tr h="286542">
                <a:tc>
                  <a:txBody>
                    <a:bodyPr/>
                    <a:lstStyle/>
                    <a:p>
                      <a:pPr algn="ctr"/>
                      <a:r>
                        <a:rPr lang="en-US" sz="800" u="none" noProof="0" dirty="0">
                          <a:solidFill>
                            <a:schemeClr val="bg1"/>
                          </a:solidFill>
                        </a:rPr>
                        <a:t>Role</a:t>
                      </a:r>
                    </a:p>
                  </a:txBody>
                  <a:tcPr marL="72000" marR="72000" marT="72000" marB="72000">
                    <a:lnB w="9525" cap="flat" cmpd="sng" algn="ctr">
                      <a:solidFill>
                        <a:schemeClr val="bg2"/>
                      </a:solidFill>
                      <a:prstDash val="sysDot"/>
                      <a:round/>
                      <a:headEnd type="none" w="med" len="med"/>
                      <a:tailEnd type="none" w="med" len="med"/>
                    </a:lnB>
                    <a:solidFill>
                      <a:srgbClr val="023760"/>
                    </a:solidFill>
                  </a:tcPr>
                </a:tc>
                <a:tc>
                  <a:txBody>
                    <a:bodyPr/>
                    <a:lstStyle/>
                    <a:p>
                      <a:pPr algn="ctr"/>
                      <a:r>
                        <a:rPr lang="en-US" sz="800" u="none" noProof="0" dirty="0">
                          <a:solidFill>
                            <a:schemeClr val="bg1"/>
                          </a:solidFill>
                        </a:rPr>
                        <a:t>Main</a:t>
                      </a:r>
                      <a:r>
                        <a:rPr lang="en-US" sz="800" u="none" baseline="0" noProof="0" dirty="0">
                          <a:solidFill>
                            <a:schemeClr val="bg1"/>
                          </a:solidFill>
                        </a:rPr>
                        <a:t> responsibilities</a:t>
                      </a:r>
                      <a:endParaRPr lang="en-US" sz="800" u="none" noProof="0" dirty="0">
                        <a:solidFill>
                          <a:schemeClr val="bg1"/>
                        </a:solidFill>
                      </a:endParaRPr>
                    </a:p>
                  </a:txBody>
                  <a:tcPr marL="72000" marR="72000" marT="72000" marB="72000">
                    <a:lnB w="9525" cap="flat" cmpd="sng" algn="ctr">
                      <a:solidFill>
                        <a:schemeClr val="bg2"/>
                      </a:solidFill>
                      <a:prstDash val="sysDot"/>
                      <a:round/>
                      <a:headEnd type="none" w="med" len="med"/>
                      <a:tailEnd type="none" w="med" len="med"/>
                    </a:lnB>
                    <a:solidFill>
                      <a:srgbClr val="023760"/>
                    </a:solidFill>
                  </a:tcPr>
                </a:tc>
                <a:tc>
                  <a:txBody>
                    <a:bodyPr/>
                    <a:lstStyle/>
                    <a:p>
                      <a:pPr algn="ctr"/>
                      <a:r>
                        <a:rPr lang="en-US" sz="800" u="none" baseline="0" noProof="0" dirty="0">
                          <a:solidFill>
                            <a:schemeClr val="bg1"/>
                          </a:solidFill>
                        </a:rPr>
                        <a:t>Skills &amp; competencies </a:t>
                      </a:r>
                      <a:endParaRPr lang="en-US" sz="800" u="none" noProof="0" dirty="0">
                        <a:solidFill>
                          <a:schemeClr val="bg1"/>
                        </a:solidFill>
                      </a:endParaRPr>
                    </a:p>
                  </a:txBody>
                  <a:tcPr marL="72000" marR="72000" marT="72000" marB="72000">
                    <a:lnB w="9525" cap="flat" cmpd="sng" algn="ctr">
                      <a:solidFill>
                        <a:schemeClr val="bg2"/>
                      </a:solidFill>
                      <a:prstDash val="sysDot"/>
                      <a:round/>
                      <a:headEnd type="none" w="med" len="med"/>
                      <a:tailEnd type="none" w="med" len="med"/>
                    </a:lnB>
                    <a:solidFill>
                      <a:srgbClr val="023760"/>
                    </a:solidFill>
                  </a:tcPr>
                </a:tc>
                <a:tc>
                  <a:txBody>
                    <a:bodyPr/>
                    <a:lstStyle/>
                    <a:p>
                      <a:pPr algn="ctr"/>
                      <a:r>
                        <a:rPr lang="en-US" sz="800" u="none" noProof="0" dirty="0">
                          <a:solidFill>
                            <a:schemeClr val="bg1"/>
                          </a:solidFill>
                        </a:rPr>
                        <a:t>Recommended</a:t>
                      </a:r>
                      <a:r>
                        <a:rPr lang="en-US" sz="800" u="none" baseline="0" noProof="0" dirty="0">
                          <a:solidFill>
                            <a:schemeClr val="bg1"/>
                          </a:solidFill>
                        </a:rPr>
                        <a:t> Resource</a:t>
                      </a:r>
                      <a:endParaRPr lang="en-US" sz="800" u="none" noProof="0" dirty="0">
                        <a:solidFill>
                          <a:schemeClr val="bg1"/>
                        </a:solidFill>
                      </a:endParaRPr>
                    </a:p>
                  </a:txBody>
                  <a:tcPr marL="72000" marR="72000" marT="72000" marB="72000">
                    <a:lnB w="9525" cap="flat" cmpd="sng" algn="ctr">
                      <a:solidFill>
                        <a:schemeClr val="bg2"/>
                      </a:solidFill>
                      <a:prstDash val="sysDot"/>
                      <a:round/>
                      <a:headEnd type="none" w="med" len="med"/>
                      <a:tailEnd type="none" w="med" len="med"/>
                    </a:lnB>
                    <a:solidFill>
                      <a:srgbClr val="023760"/>
                    </a:solidFill>
                  </a:tcPr>
                </a:tc>
                <a:tc>
                  <a:txBody>
                    <a:bodyPr/>
                    <a:lstStyle/>
                    <a:p>
                      <a:pPr algn="ctr"/>
                      <a:r>
                        <a:rPr lang="en-US" sz="800" u="none" noProof="0" dirty="0">
                          <a:solidFill>
                            <a:schemeClr val="bg1"/>
                          </a:solidFill>
                        </a:rPr>
                        <a:t>Main Activities</a:t>
                      </a:r>
                    </a:p>
                  </a:txBody>
                  <a:tcPr marL="72000" marR="72000" marT="72000" marB="72000">
                    <a:lnB w="9525" cap="flat" cmpd="sng" algn="ctr">
                      <a:solidFill>
                        <a:schemeClr val="bg2"/>
                      </a:solidFill>
                      <a:prstDash val="sysDot"/>
                      <a:round/>
                      <a:headEnd type="none" w="med" len="med"/>
                      <a:tailEnd type="none" w="med" len="med"/>
                    </a:lnB>
                    <a:solidFill>
                      <a:srgbClr val="023760"/>
                    </a:solidFill>
                  </a:tcPr>
                </a:tc>
                <a:extLst>
                  <a:ext uri="{0D108BD9-81ED-4DB2-BD59-A6C34878D82A}">
                    <a16:rowId xmlns:a16="http://schemas.microsoft.com/office/drawing/2014/main" val="1634023528"/>
                  </a:ext>
                </a:extLst>
              </a:tr>
              <a:tr h="450360">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800" b="1" dirty="0">
                          <a:solidFill>
                            <a:schemeClr val="accent2">
                              <a:lumMod val="75000"/>
                            </a:schemeClr>
                          </a:solidFill>
                          <a:latin typeface="+mn-lt"/>
                        </a:rPr>
                        <a:t>Functional Testers</a:t>
                      </a:r>
                    </a:p>
                  </a:txBody>
                  <a:tcPr marL="72000" marR="72000" marT="72000" marB="72000">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marL="171450" indent="-171450" algn="l" fontAlgn="t">
                        <a:buFont typeface="Arial" panose="020B0604020202020204" pitchFamily="34" charset="0"/>
                        <a:buChar char="•"/>
                      </a:pPr>
                      <a:r>
                        <a:rPr lang="en-US" sz="800" b="0" i="0" u="none" strike="noStrike" dirty="0">
                          <a:solidFill>
                            <a:schemeClr val="bg2">
                              <a:lumMod val="50000"/>
                            </a:schemeClr>
                          </a:solidFill>
                          <a:effectLst/>
                          <a:latin typeface="+mn-lt"/>
                        </a:rPr>
                        <a:t>Receive</a:t>
                      </a:r>
                      <a:r>
                        <a:rPr lang="en-US" sz="800" b="0" i="0" u="none" strike="noStrike" baseline="0" dirty="0">
                          <a:solidFill>
                            <a:schemeClr val="bg2">
                              <a:lumMod val="50000"/>
                            </a:schemeClr>
                          </a:solidFill>
                          <a:effectLst/>
                          <a:latin typeface="+mn-lt"/>
                        </a:rPr>
                        <a:t> Proton training</a:t>
                      </a:r>
                    </a:p>
                    <a:p>
                      <a:pPr marL="171450" indent="-171450" algn="l" fontAlgn="t">
                        <a:buFont typeface="Arial" panose="020B0604020202020204" pitchFamily="34" charset="0"/>
                        <a:buChar char="•"/>
                      </a:pPr>
                      <a:r>
                        <a:rPr lang="en-US" sz="800" b="0" i="0" u="none" strike="noStrike" baseline="0" dirty="0">
                          <a:solidFill>
                            <a:schemeClr val="bg2">
                              <a:lumMod val="50000"/>
                            </a:schemeClr>
                          </a:solidFill>
                          <a:effectLst/>
                          <a:latin typeface="+mn-lt"/>
                        </a:rPr>
                        <a:t>Receive basic Scout navigation training</a:t>
                      </a:r>
                    </a:p>
                    <a:p>
                      <a:pPr marL="171450" indent="-171450" algn="l" fontAlgn="t">
                        <a:buFont typeface="Arial" panose="020B0604020202020204" pitchFamily="34" charset="0"/>
                        <a:buChar char="•"/>
                      </a:pPr>
                      <a:r>
                        <a:rPr lang="en-US" sz="800" b="0" i="0" u="none" strike="noStrike" baseline="0" dirty="0">
                          <a:solidFill>
                            <a:schemeClr val="bg2">
                              <a:lumMod val="50000"/>
                            </a:schemeClr>
                          </a:solidFill>
                          <a:effectLst/>
                          <a:latin typeface="+mn-lt"/>
                        </a:rPr>
                        <a:t>Execute Test Scripts</a:t>
                      </a:r>
                      <a:endParaRPr lang="en-US" sz="800" b="0" i="0" u="none" strike="noStrike" dirty="0">
                        <a:solidFill>
                          <a:schemeClr val="bg2">
                            <a:lumMod val="50000"/>
                          </a:schemeClr>
                        </a:solidFill>
                        <a:effectLst/>
                        <a:latin typeface="+mn-lt"/>
                      </a:endParaRPr>
                    </a:p>
                  </a:txBody>
                  <a:tcPr marL="72000" marR="72000" marT="72000" marB="72000">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marL="171450" indent="-171450" algn="l" fontAlgn="t">
                        <a:buFont typeface="Arial" panose="020B0604020202020204" pitchFamily="34" charset="0"/>
                        <a:buChar char="•"/>
                      </a:pPr>
                      <a:r>
                        <a:rPr lang="en-US" sz="800" b="0" i="0" u="none" strike="noStrike" dirty="0">
                          <a:solidFill>
                            <a:schemeClr val="bg2">
                              <a:lumMod val="50000"/>
                            </a:schemeClr>
                          </a:solidFill>
                          <a:effectLst/>
                          <a:latin typeface="+mn-lt"/>
                        </a:rPr>
                        <a:t>Knowledge</a:t>
                      </a:r>
                      <a:r>
                        <a:rPr lang="en-US" sz="800" b="0" i="0" u="none" strike="noStrike" baseline="0" dirty="0">
                          <a:solidFill>
                            <a:schemeClr val="bg2">
                              <a:lumMod val="50000"/>
                            </a:schemeClr>
                          </a:solidFill>
                          <a:effectLst/>
                          <a:latin typeface="+mn-lt"/>
                        </a:rPr>
                        <a:t> of business processes</a:t>
                      </a:r>
                      <a:endParaRPr lang="en-US" sz="800" b="0" i="0" u="none" strike="noStrike" dirty="0">
                        <a:solidFill>
                          <a:schemeClr val="bg2">
                            <a:lumMod val="50000"/>
                          </a:schemeClr>
                        </a:solidFill>
                        <a:effectLst/>
                        <a:latin typeface="+mn-lt"/>
                      </a:endParaRPr>
                    </a:p>
                  </a:txBody>
                  <a:tcPr marL="72000" marR="72000" marT="72000" marB="72000">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marL="171450" indent="-171450" algn="l" fontAlgn="t">
                        <a:buFont typeface="Arial" panose="020B0604020202020204" pitchFamily="34" charset="0"/>
                        <a:buChar char="•"/>
                      </a:pPr>
                      <a:r>
                        <a:rPr lang="en-US" sz="800" b="0" i="0" u="none" strike="noStrike" dirty="0">
                          <a:solidFill>
                            <a:schemeClr val="bg2">
                              <a:lumMod val="50000"/>
                            </a:schemeClr>
                          </a:solidFill>
                          <a:effectLst/>
                          <a:latin typeface="+mn-lt"/>
                        </a:rPr>
                        <a:t>Business Users</a:t>
                      </a:r>
                    </a:p>
                  </a:txBody>
                  <a:tcPr marL="72000" marR="72000" marT="72000" marB="72000">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marL="171450" indent="-171450" algn="l" fontAlgn="t">
                        <a:buFont typeface="Arial" panose="020B0604020202020204" pitchFamily="34" charset="0"/>
                        <a:buChar char="•"/>
                      </a:pPr>
                      <a:r>
                        <a:rPr lang="en-US" sz="800" b="0" i="0" u="none" strike="noStrike" baseline="0" dirty="0">
                          <a:solidFill>
                            <a:schemeClr val="bg2">
                              <a:lumMod val="50000"/>
                            </a:schemeClr>
                          </a:solidFill>
                          <a:effectLst/>
                          <a:latin typeface="+mn-lt"/>
                        </a:rPr>
                        <a:t>Execute Test Scripts</a:t>
                      </a:r>
                    </a:p>
                    <a:p>
                      <a:pPr marL="171450" indent="-171450" algn="l" fontAlgn="t">
                        <a:buFont typeface="Arial" panose="020B0604020202020204" pitchFamily="34" charset="0"/>
                        <a:buChar char="•"/>
                      </a:pPr>
                      <a:r>
                        <a:rPr lang="en-US" sz="800" b="0" i="0" u="none" strike="noStrike" baseline="0" dirty="0">
                          <a:solidFill>
                            <a:schemeClr val="bg2">
                              <a:lumMod val="50000"/>
                            </a:schemeClr>
                          </a:solidFill>
                          <a:effectLst/>
                          <a:latin typeface="+mn-lt"/>
                        </a:rPr>
                        <a:t>Raise defects</a:t>
                      </a:r>
                    </a:p>
                    <a:p>
                      <a:pPr marL="171450" indent="-171450" algn="l" fontAlgn="t">
                        <a:buFont typeface="Arial" panose="020B0604020202020204" pitchFamily="34" charset="0"/>
                        <a:buChar char="•"/>
                      </a:pPr>
                      <a:r>
                        <a:rPr lang="en-US" sz="800" b="0" i="0" u="none" strike="noStrike" baseline="0" dirty="0">
                          <a:solidFill>
                            <a:schemeClr val="bg2">
                              <a:lumMod val="50000"/>
                            </a:schemeClr>
                          </a:solidFill>
                          <a:effectLst/>
                          <a:latin typeface="+mn-lt"/>
                        </a:rPr>
                        <a:t>Re-test fixes</a:t>
                      </a:r>
                    </a:p>
                  </a:txBody>
                  <a:tcPr marL="72000" marR="72000" marT="72000" marB="72000">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16973032"/>
                  </a:ext>
                </a:extLst>
              </a:tr>
              <a:tr h="550200">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dirty="0">
                          <a:ln>
                            <a:noFill/>
                          </a:ln>
                          <a:solidFill>
                            <a:schemeClr val="accent2">
                              <a:lumMod val="75000"/>
                            </a:schemeClr>
                          </a:solidFill>
                          <a:effectLst/>
                          <a:uLnTx/>
                          <a:uFillTx/>
                          <a:latin typeface="+mn-lt"/>
                          <a:ea typeface="+mn-ea"/>
                          <a:cs typeface="+mn-cs"/>
                        </a:rPr>
                        <a:t>Data Testers</a:t>
                      </a:r>
                      <a:endParaRPr kumimoji="0" lang="en-US" sz="800" b="1" i="0" u="none" strike="noStrike" kern="1200" cap="none" spc="0" normalizeH="0" noProof="0" dirty="0">
                        <a:ln>
                          <a:noFill/>
                        </a:ln>
                        <a:solidFill>
                          <a:schemeClr val="accent2">
                            <a:lumMod val="75000"/>
                          </a:schemeClr>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800" b="0" i="0" u="none" strike="noStrike" kern="1200" cap="none" spc="0" normalizeH="0" baseline="0" noProof="0" dirty="0">
                        <a:ln>
                          <a:noFill/>
                        </a:ln>
                        <a:solidFill>
                          <a:schemeClr val="accent2">
                            <a:lumMod val="75000"/>
                          </a:schemeClr>
                        </a:solidFill>
                        <a:effectLst/>
                        <a:uLnTx/>
                        <a:uFillTx/>
                        <a:latin typeface="+mn-lt"/>
                        <a:ea typeface="+mn-ea"/>
                        <a:cs typeface="+mn-cs"/>
                      </a:endParaRPr>
                    </a:p>
                    <a:p>
                      <a:pPr marL="0" indent="0" algn="l">
                        <a:buFont typeface="Arial" panose="020B0604020202020204" pitchFamily="34" charset="0"/>
                        <a:buNone/>
                      </a:pPr>
                      <a:endParaRPr lang="en-US" sz="800" dirty="0">
                        <a:solidFill>
                          <a:schemeClr val="accent2">
                            <a:lumMod val="75000"/>
                          </a:schemeClr>
                        </a:solidFill>
                        <a:latin typeface="+mn-lt"/>
                      </a:endParaRPr>
                    </a:p>
                  </a:txBody>
                  <a:tcPr marL="72000" marR="72000" marT="72000" marB="72000">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marL="171450" indent="-171450" algn="l" fontAlgn="t">
                        <a:buFont typeface="Arial" panose="020B0604020202020204" pitchFamily="34" charset="0"/>
                        <a:buChar char="•"/>
                      </a:pPr>
                      <a:r>
                        <a:rPr lang="en-US" sz="800" b="0" i="0" u="none" strike="noStrike" dirty="0">
                          <a:solidFill>
                            <a:schemeClr val="bg2">
                              <a:lumMod val="50000"/>
                            </a:schemeClr>
                          </a:solidFill>
                          <a:effectLst/>
                          <a:latin typeface="+mn-lt"/>
                        </a:rPr>
                        <a:t>Receive</a:t>
                      </a:r>
                      <a:r>
                        <a:rPr lang="en-US" sz="800" b="0" i="0" u="none" strike="noStrike" baseline="0" dirty="0">
                          <a:solidFill>
                            <a:schemeClr val="bg2">
                              <a:lumMod val="50000"/>
                            </a:schemeClr>
                          </a:solidFill>
                          <a:effectLst/>
                          <a:latin typeface="+mn-lt"/>
                        </a:rPr>
                        <a:t> Proton training</a:t>
                      </a:r>
                    </a:p>
                    <a:p>
                      <a:pPr marL="171450" indent="-171450" algn="l" fontAlgn="t">
                        <a:buFont typeface="Arial" panose="020B0604020202020204" pitchFamily="34" charset="0"/>
                        <a:buChar char="•"/>
                      </a:pPr>
                      <a:r>
                        <a:rPr lang="en-US" sz="800" b="0" i="0" u="none" strike="noStrike" baseline="0" dirty="0">
                          <a:solidFill>
                            <a:schemeClr val="bg2">
                              <a:lumMod val="50000"/>
                            </a:schemeClr>
                          </a:solidFill>
                          <a:effectLst/>
                          <a:latin typeface="+mn-lt"/>
                        </a:rPr>
                        <a:t>Receive basic Scout navigation training</a:t>
                      </a:r>
                    </a:p>
                    <a:p>
                      <a:pPr marL="171450" indent="-171450" algn="l" fontAlgn="t">
                        <a:buFont typeface="Arial" panose="020B0604020202020204" pitchFamily="34" charset="0"/>
                        <a:buChar char="•"/>
                      </a:pPr>
                      <a:r>
                        <a:rPr lang="en-US" sz="800" b="0" i="0" u="none" strike="noStrike" baseline="0" dirty="0">
                          <a:solidFill>
                            <a:schemeClr val="bg2">
                              <a:lumMod val="50000"/>
                            </a:schemeClr>
                          </a:solidFill>
                          <a:effectLst/>
                          <a:latin typeface="+mn-lt"/>
                        </a:rPr>
                        <a:t>Execute Test Scripts</a:t>
                      </a:r>
                      <a:endParaRPr lang="en-US" sz="800" b="0" i="0" u="none" strike="noStrike" dirty="0">
                        <a:solidFill>
                          <a:schemeClr val="bg2">
                            <a:lumMod val="50000"/>
                          </a:schemeClr>
                        </a:solidFill>
                        <a:effectLst/>
                        <a:latin typeface="+mn-lt"/>
                      </a:endParaRPr>
                    </a:p>
                  </a:txBody>
                  <a:tcPr marL="72000" marR="72000" marT="72000" marB="72000">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marL="171450" indent="-171450" algn="l" fontAlgn="t">
                        <a:buFont typeface="Arial" panose="020B0604020202020204" pitchFamily="34" charset="0"/>
                        <a:buChar char="•"/>
                      </a:pPr>
                      <a:r>
                        <a:rPr lang="en-US" sz="800" b="0" i="0" u="none" strike="noStrike" dirty="0">
                          <a:solidFill>
                            <a:schemeClr val="bg2">
                              <a:lumMod val="50000"/>
                            </a:schemeClr>
                          </a:solidFill>
                          <a:effectLst/>
                          <a:latin typeface="+mn-lt"/>
                        </a:rPr>
                        <a:t>Testing</a:t>
                      </a:r>
                    </a:p>
                  </a:txBody>
                  <a:tcPr marL="72000" marR="72000" marT="72000" marB="72000">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marL="171450" indent="-171450" algn="l" fontAlgn="t">
                        <a:buFont typeface="Arial" panose="020B0604020202020204" pitchFamily="34" charset="0"/>
                        <a:buChar char="•"/>
                      </a:pPr>
                      <a:r>
                        <a:rPr lang="en-US" sz="800" b="0" i="0" u="none" strike="noStrike" dirty="0">
                          <a:solidFill>
                            <a:schemeClr val="bg2">
                              <a:lumMod val="50000"/>
                            </a:schemeClr>
                          </a:solidFill>
                          <a:effectLst/>
                          <a:latin typeface="+mn-lt"/>
                        </a:rPr>
                        <a:t>Business Users</a:t>
                      </a:r>
                    </a:p>
                  </a:txBody>
                  <a:tcPr marL="72000" marR="72000" marT="72000" marB="72000">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marL="171450" indent="-171450" algn="l" fontAlgn="t">
                        <a:buFont typeface="Arial" panose="020B0604020202020204" pitchFamily="34" charset="0"/>
                        <a:buChar char="•"/>
                      </a:pPr>
                      <a:r>
                        <a:rPr lang="en-US" sz="800" b="0" i="0" u="none" strike="noStrike" baseline="0" dirty="0">
                          <a:solidFill>
                            <a:schemeClr val="bg2">
                              <a:lumMod val="50000"/>
                            </a:schemeClr>
                          </a:solidFill>
                          <a:effectLst/>
                          <a:latin typeface="+mn-lt"/>
                        </a:rPr>
                        <a:t>Execute Test Scripts</a:t>
                      </a:r>
                    </a:p>
                    <a:p>
                      <a:pPr marL="171450" indent="-171450" algn="l" fontAlgn="t">
                        <a:buFont typeface="Arial" panose="020B0604020202020204" pitchFamily="34" charset="0"/>
                        <a:buChar char="•"/>
                      </a:pPr>
                      <a:r>
                        <a:rPr lang="en-US" sz="800" b="0" i="0" u="none" strike="noStrike" baseline="0" dirty="0">
                          <a:solidFill>
                            <a:schemeClr val="bg2">
                              <a:lumMod val="50000"/>
                            </a:schemeClr>
                          </a:solidFill>
                          <a:effectLst/>
                          <a:latin typeface="+mn-lt"/>
                        </a:rPr>
                        <a:t>Raise defects</a:t>
                      </a:r>
                    </a:p>
                    <a:p>
                      <a:pPr marL="171450" indent="-171450" algn="l" fontAlgn="t">
                        <a:buFont typeface="Arial" panose="020B0604020202020204" pitchFamily="34" charset="0"/>
                        <a:buChar char="•"/>
                      </a:pPr>
                      <a:r>
                        <a:rPr lang="en-US" sz="800" b="0" i="0" u="none" strike="noStrike" baseline="0" dirty="0">
                          <a:solidFill>
                            <a:schemeClr val="bg2">
                              <a:lumMod val="50000"/>
                            </a:schemeClr>
                          </a:solidFill>
                          <a:effectLst/>
                          <a:latin typeface="+mn-lt"/>
                        </a:rPr>
                        <a:t>Re-test fixes</a:t>
                      </a:r>
                    </a:p>
                  </a:txBody>
                  <a:tcPr marL="72000" marR="72000" marT="72000" marB="72000">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82465746"/>
                  </a:ext>
                </a:extLst>
              </a:tr>
              <a:tr h="609600">
                <a:tc>
                  <a:txBody>
                    <a:bodyPr/>
                    <a:lstStyle/>
                    <a:p>
                      <a:pPr algn="l" fontAlgn="t"/>
                      <a:r>
                        <a:rPr lang="en-US" sz="800" b="1" i="0" u="none" strike="noStrike" dirty="0">
                          <a:solidFill>
                            <a:schemeClr val="accent2">
                              <a:lumMod val="75000"/>
                            </a:schemeClr>
                          </a:solidFill>
                          <a:effectLst/>
                          <a:latin typeface="+mn-lt"/>
                        </a:rPr>
                        <a:t>Translation</a:t>
                      </a:r>
                      <a:r>
                        <a:rPr lang="en-US" sz="800" b="1" i="0" u="none" strike="noStrike" baseline="0" dirty="0">
                          <a:solidFill>
                            <a:schemeClr val="accent2">
                              <a:lumMod val="75000"/>
                            </a:schemeClr>
                          </a:solidFill>
                          <a:effectLst/>
                          <a:latin typeface="+mn-lt"/>
                        </a:rPr>
                        <a:t> Testers</a:t>
                      </a:r>
                      <a:endParaRPr lang="en-US" sz="800" b="1" i="0" u="none" strike="noStrike" dirty="0">
                        <a:solidFill>
                          <a:schemeClr val="accent2">
                            <a:lumMod val="75000"/>
                          </a:schemeClr>
                        </a:solidFill>
                        <a:effectLst/>
                        <a:latin typeface="+mn-lt"/>
                      </a:endParaRPr>
                    </a:p>
                  </a:txBody>
                  <a:tcPr marL="72000" marR="72000" marT="72000" marB="72000">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marL="171450" indent="-171450" algn="l" fontAlgn="t">
                        <a:buFont typeface="Arial" panose="020B0604020202020204" pitchFamily="34" charset="0"/>
                        <a:buChar char="•"/>
                      </a:pPr>
                      <a:r>
                        <a:rPr lang="en-US" sz="800" b="0" i="0" u="none" strike="noStrike" baseline="0" dirty="0">
                          <a:solidFill>
                            <a:schemeClr val="bg2">
                              <a:lumMod val="50000"/>
                            </a:schemeClr>
                          </a:solidFill>
                          <a:effectLst/>
                          <a:latin typeface="+mn-lt"/>
                        </a:rPr>
                        <a:t>Validating the translations provided in the system</a:t>
                      </a:r>
                    </a:p>
                  </a:txBody>
                  <a:tcPr marL="72000" marR="72000" marT="72000" marB="72000">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marL="171450" indent="-171450" algn="l" fontAlgn="t">
                        <a:buFont typeface="Arial" panose="020B0604020202020204" pitchFamily="34" charset="0"/>
                        <a:buChar char="•"/>
                      </a:pPr>
                      <a:r>
                        <a:rPr lang="en-US" sz="800" b="0" i="0" u="none" strike="noStrike" baseline="0" dirty="0">
                          <a:solidFill>
                            <a:schemeClr val="bg2">
                              <a:lumMod val="50000"/>
                            </a:schemeClr>
                          </a:solidFill>
                          <a:effectLst/>
                          <a:latin typeface="+mn-lt"/>
                        </a:rPr>
                        <a:t>Native Speaker of target language</a:t>
                      </a:r>
                    </a:p>
                    <a:p>
                      <a:pPr marL="171450" indent="-171450" algn="l" fontAlgn="t">
                        <a:buFont typeface="Arial" panose="020B0604020202020204" pitchFamily="34" charset="0"/>
                        <a:buChar char="•"/>
                      </a:pPr>
                      <a:r>
                        <a:rPr lang="en-US" sz="800" b="0" i="0" u="none" strike="noStrike" baseline="0" dirty="0">
                          <a:solidFill>
                            <a:schemeClr val="bg2">
                              <a:lumMod val="50000"/>
                            </a:schemeClr>
                          </a:solidFill>
                          <a:effectLst/>
                          <a:latin typeface="+mn-lt"/>
                        </a:rPr>
                        <a:t>Sufficient English to provide feedback</a:t>
                      </a:r>
                      <a:endParaRPr lang="en-US" sz="800" b="0" i="0" u="none" strike="noStrike" dirty="0">
                        <a:solidFill>
                          <a:schemeClr val="bg2">
                            <a:lumMod val="50000"/>
                          </a:schemeClr>
                        </a:solidFill>
                        <a:effectLst/>
                        <a:latin typeface="+mn-lt"/>
                      </a:endParaRPr>
                    </a:p>
                  </a:txBody>
                  <a:tcPr marL="72000" marR="72000" marT="72000" marB="72000">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marL="171450" indent="-171450" algn="l" fontAlgn="t">
                        <a:buFont typeface="Arial" panose="020B0604020202020204" pitchFamily="34" charset="0"/>
                        <a:buChar char="•"/>
                      </a:pPr>
                      <a:r>
                        <a:rPr lang="en-US" sz="800" b="0" i="0" u="none" strike="noStrike" baseline="0" dirty="0">
                          <a:solidFill>
                            <a:schemeClr val="bg2">
                              <a:lumMod val="50000"/>
                            </a:schemeClr>
                          </a:solidFill>
                          <a:effectLst/>
                          <a:latin typeface="+mn-lt"/>
                        </a:rPr>
                        <a:t>Any local resource with these skills and the </a:t>
                      </a:r>
                      <a:r>
                        <a:rPr lang="en-US" sz="800" b="0" i="0" u="none" strike="noStrike" baseline="0" dirty="0" err="1">
                          <a:solidFill>
                            <a:schemeClr val="bg2">
                              <a:lumMod val="50000"/>
                            </a:schemeClr>
                          </a:solidFill>
                          <a:effectLst/>
                          <a:latin typeface="+mn-lt"/>
                        </a:rPr>
                        <a:t>availabililty</a:t>
                      </a:r>
                      <a:endParaRPr lang="en-US" sz="800" b="0" i="0" u="none" strike="noStrike" dirty="0">
                        <a:solidFill>
                          <a:schemeClr val="bg2">
                            <a:lumMod val="50000"/>
                          </a:schemeClr>
                        </a:solidFill>
                        <a:effectLst/>
                        <a:latin typeface="+mn-lt"/>
                      </a:endParaRPr>
                    </a:p>
                  </a:txBody>
                  <a:tcPr marL="72000" marR="72000" marT="72000" marB="72000">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marL="171450" indent="-171450" algn="l" fontAlgn="t">
                        <a:buFont typeface="Arial" panose="020B0604020202020204" pitchFamily="34" charset="0"/>
                        <a:buChar char="•"/>
                      </a:pPr>
                      <a:r>
                        <a:rPr lang="en-US" sz="800" b="0" i="0" u="none" strike="noStrike" dirty="0">
                          <a:solidFill>
                            <a:schemeClr val="bg2">
                              <a:lumMod val="50000"/>
                            </a:schemeClr>
                          </a:solidFill>
                          <a:effectLst/>
                          <a:latin typeface="+mn-lt"/>
                        </a:rPr>
                        <a:t>Reviewing translations in Salesforce/Pitcher test environments</a:t>
                      </a:r>
                    </a:p>
                  </a:txBody>
                  <a:tcPr marL="72000" marR="72000" marT="72000" marB="72000">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69393578"/>
                  </a:ext>
                </a:extLst>
              </a:tr>
              <a:tr h="787559">
                <a:tc>
                  <a:txBody>
                    <a:bodyPr/>
                    <a:lstStyle/>
                    <a:p>
                      <a:pPr algn="l" fontAlgn="t"/>
                      <a:r>
                        <a:rPr lang="en-US" sz="800" b="1" i="0" u="none" strike="noStrike" noProof="0" dirty="0">
                          <a:solidFill>
                            <a:schemeClr val="accent2">
                              <a:lumMod val="75000"/>
                            </a:schemeClr>
                          </a:solidFill>
                          <a:effectLst/>
                          <a:latin typeface="+mn-lt"/>
                        </a:rPr>
                        <a:t>Local Change,</a:t>
                      </a:r>
                      <a:r>
                        <a:rPr lang="en-US" sz="800" b="1" i="0" u="none" strike="noStrike" baseline="0" noProof="0" dirty="0">
                          <a:solidFill>
                            <a:schemeClr val="accent2">
                              <a:lumMod val="75000"/>
                            </a:schemeClr>
                          </a:solidFill>
                          <a:effectLst/>
                          <a:latin typeface="+mn-lt"/>
                        </a:rPr>
                        <a:t> Communication &amp; Training Lead / Support</a:t>
                      </a:r>
                    </a:p>
                    <a:p>
                      <a:pPr algn="l" fontAlgn="t"/>
                      <a:r>
                        <a:rPr lang="en-US" sz="700" b="0" i="1" u="none" strike="noStrike" baseline="0" noProof="0" dirty="0">
                          <a:solidFill>
                            <a:schemeClr val="accent2">
                              <a:lumMod val="75000"/>
                            </a:schemeClr>
                          </a:solidFill>
                          <a:effectLst/>
                          <a:latin typeface="+mn-lt"/>
                        </a:rPr>
                        <a:t>(depending on the size / scope could also be done by Local Roll-out Manager)</a:t>
                      </a:r>
                      <a:endParaRPr lang="en-US" sz="700" b="0" i="1" u="none" strike="noStrike" noProof="0" dirty="0">
                        <a:solidFill>
                          <a:schemeClr val="accent2">
                            <a:lumMod val="75000"/>
                          </a:schemeClr>
                        </a:solidFill>
                        <a:effectLst/>
                        <a:latin typeface="+mn-lt"/>
                      </a:endParaRPr>
                    </a:p>
                  </a:txBody>
                  <a:tcPr marL="72000" marR="72000" marT="72000" marB="72000">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marL="171450" indent="-171450" algn="l" fontAlgn="t">
                        <a:buFont typeface="Arial" panose="020B0604020202020204" pitchFamily="34" charset="0"/>
                        <a:buChar char="•"/>
                      </a:pPr>
                      <a:r>
                        <a:rPr lang="en-US" sz="800" b="0" i="0" u="none" strike="noStrike" baseline="0" noProof="0" dirty="0">
                          <a:solidFill>
                            <a:schemeClr val="bg2">
                              <a:lumMod val="50000"/>
                            </a:schemeClr>
                          </a:solidFill>
                          <a:effectLst/>
                          <a:latin typeface="+mn-lt"/>
                        </a:rPr>
                        <a:t>Receive specific onboarding in CC&amp;T</a:t>
                      </a:r>
                    </a:p>
                    <a:p>
                      <a:pPr marL="171450" indent="-171450" algn="l" fontAlgn="t">
                        <a:buFont typeface="Arial" panose="020B0604020202020204" pitchFamily="34" charset="0"/>
                        <a:buChar char="•"/>
                      </a:pPr>
                      <a:r>
                        <a:rPr lang="en-US" sz="800" b="0" i="0" u="none" strike="noStrike" baseline="0" noProof="0" dirty="0">
                          <a:solidFill>
                            <a:schemeClr val="bg2">
                              <a:lumMod val="50000"/>
                            </a:schemeClr>
                          </a:solidFill>
                          <a:effectLst/>
                          <a:latin typeface="+mn-lt"/>
                        </a:rPr>
                        <a:t>Understand global CC&amp;T concept, channels, meetings, point of contacts, etc.</a:t>
                      </a:r>
                    </a:p>
                    <a:p>
                      <a:pPr marL="171450" indent="-171450" algn="l" fontAlgn="t">
                        <a:buFont typeface="Arial" panose="020B0604020202020204" pitchFamily="34" charset="0"/>
                        <a:buChar char="•"/>
                      </a:pPr>
                      <a:r>
                        <a:rPr lang="en-US" sz="800" b="0" i="0" u="none" strike="noStrike" baseline="0" noProof="0" dirty="0">
                          <a:solidFill>
                            <a:schemeClr val="bg2">
                              <a:lumMod val="50000"/>
                            </a:schemeClr>
                          </a:solidFill>
                          <a:effectLst/>
                          <a:latin typeface="+mn-lt"/>
                        </a:rPr>
                        <a:t>Own local CC&amp;T activities (conceptually &amp; operationally)</a:t>
                      </a:r>
                    </a:p>
                    <a:p>
                      <a:pPr marL="171450" indent="-171450" algn="l" fontAlgn="t">
                        <a:buFont typeface="Arial" panose="020B0604020202020204" pitchFamily="34" charset="0"/>
                        <a:buChar char="•"/>
                      </a:pPr>
                      <a:r>
                        <a:rPr lang="en-US" sz="800" b="0" i="0" u="none" strike="noStrike" baseline="0" noProof="0" dirty="0">
                          <a:solidFill>
                            <a:schemeClr val="bg2">
                              <a:lumMod val="50000"/>
                            </a:schemeClr>
                          </a:solidFill>
                          <a:effectLst/>
                          <a:latin typeface="+mn-lt"/>
                        </a:rPr>
                        <a:t>Drive business engagement &amp; commitment</a:t>
                      </a:r>
                    </a:p>
                    <a:p>
                      <a:pPr marL="171450" indent="-171450" algn="l" fontAlgn="t">
                        <a:buFont typeface="Arial" panose="020B0604020202020204" pitchFamily="34" charset="0"/>
                        <a:buChar char="•"/>
                      </a:pPr>
                      <a:r>
                        <a:rPr lang="en-US" sz="800" b="0" i="0" u="none" strike="noStrike" baseline="0" noProof="0" dirty="0">
                          <a:solidFill>
                            <a:schemeClr val="bg2">
                              <a:lumMod val="50000"/>
                            </a:schemeClr>
                          </a:solidFill>
                          <a:effectLst/>
                          <a:latin typeface="+mn-lt"/>
                        </a:rPr>
                        <a:t>Ensure business readiness before go-live</a:t>
                      </a:r>
                    </a:p>
                  </a:txBody>
                  <a:tcPr marL="72000" marR="72000" marT="72000" marB="72000">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marL="171450" marR="0" lvl="0" indent="-171450" algn="l" defTabSz="914400"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800" b="0" i="0" u="none" strike="noStrike" noProof="0" dirty="0">
                          <a:solidFill>
                            <a:schemeClr val="bg2">
                              <a:lumMod val="50000"/>
                            </a:schemeClr>
                          </a:solidFill>
                          <a:effectLst/>
                          <a:latin typeface="+mn-lt"/>
                        </a:rPr>
                        <a:t>Stakeholder Mgmt.</a:t>
                      </a:r>
                    </a:p>
                    <a:p>
                      <a:pPr marL="171450" indent="-171450" algn="l" eaLnBrk="1" fontAlgn="t">
                        <a:buFont typeface="Arial" panose="020B0604020202020204" pitchFamily="34" charset="0"/>
                        <a:buChar char="•"/>
                      </a:pPr>
                      <a:r>
                        <a:rPr lang="en-US" sz="800" b="0" i="0" u="none" strike="noStrike" noProof="0" dirty="0">
                          <a:solidFill>
                            <a:schemeClr val="bg2">
                              <a:lumMod val="50000"/>
                            </a:schemeClr>
                          </a:solidFill>
                          <a:effectLst/>
                          <a:latin typeface="+mn-lt"/>
                        </a:rPr>
                        <a:t>Teamwork &amp; Collaboration</a:t>
                      </a:r>
                    </a:p>
                    <a:p>
                      <a:pPr marL="171450" indent="-171450" algn="l" eaLnBrk="1" fontAlgn="t">
                        <a:buFont typeface="Arial" panose="020B0604020202020204" pitchFamily="34" charset="0"/>
                        <a:buChar char="•"/>
                      </a:pPr>
                      <a:r>
                        <a:rPr lang="en-US" sz="800" b="0" i="0" u="none" strike="noStrike" noProof="0" dirty="0">
                          <a:solidFill>
                            <a:schemeClr val="bg2">
                              <a:lumMod val="50000"/>
                            </a:schemeClr>
                          </a:solidFill>
                          <a:effectLst/>
                          <a:latin typeface="+mn-lt"/>
                        </a:rPr>
                        <a:t>Change</a:t>
                      </a:r>
                      <a:r>
                        <a:rPr lang="en-US" sz="800" b="0" i="0" u="none" strike="noStrike" baseline="0" noProof="0" dirty="0">
                          <a:solidFill>
                            <a:schemeClr val="bg2">
                              <a:lumMod val="50000"/>
                            </a:schemeClr>
                          </a:solidFill>
                          <a:effectLst/>
                          <a:latin typeface="+mn-lt"/>
                        </a:rPr>
                        <a:t> &amp; Communication</a:t>
                      </a:r>
                    </a:p>
                  </a:txBody>
                  <a:tcPr marL="72000" marR="72000" marT="72000" marB="72000">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marL="171450" indent="-171450" algn="l" fontAlgn="t">
                        <a:buFont typeface="Arial" panose="020B0604020202020204" pitchFamily="34" charset="0"/>
                        <a:buChar char="•"/>
                      </a:pPr>
                      <a:r>
                        <a:rPr lang="en-US" sz="800" b="0" i="0" u="none" strike="noStrike" noProof="0" dirty="0">
                          <a:solidFill>
                            <a:schemeClr val="bg2">
                              <a:lumMod val="50000"/>
                            </a:schemeClr>
                          </a:solidFill>
                          <a:effectLst/>
                          <a:latin typeface="+mn-lt"/>
                        </a:rPr>
                        <a:t>Local CRM / Commercial</a:t>
                      </a:r>
                      <a:r>
                        <a:rPr lang="en-US" sz="800" b="0" i="0" u="none" strike="noStrike" baseline="0" noProof="0" dirty="0">
                          <a:solidFill>
                            <a:schemeClr val="bg2">
                              <a:lumMod val="50000"/>
                            </a:schemeClr>
                          </a:solidFill>
                          <a:effectLst/>
                          <a:latin typeface="+mn-lt"/>
                        </a:rPr>
                        <a:t> </a:t>
                      </a:r>
                      <a:r>
                        <a:rPr lang="en-US" sz="800" b="0" i="0" u="none" strike="noStrike" noProof="0" dirty="0">
                          <a:solidFill>
                            <a:schemeClr val="bg2">
                              <a:lumMod val="50000"/>
                            </a:schemeClr>
                          </a:solidFill>
                          <a:effectLst/>
                          <a:latin typeface="+mn-lt"/>
                        </a:rPr>
                        <a:t>Manager?</a:t>
                      </a:r>
                    </a:p>
                    <a:p>
                      <a:pPr marL="171450" indent="-171450" algn="l" fontAlgn="t">
                        <a:buFont typeface="Arial" panose="020B0604020202020204" pitchFamily="34" charset="0"/>
                        <a:buChar char="•"/>
                      </a:pPr>
                      <a:r>
                        <a:rPr lang="en-US" sz="800" b="0" i="0" u="none" strike="noStrike" noProof="0" dirty="0">
                          <a:solidFill>
                            <a:schemeClr val="bg2">
                              <a:lumMod val="50000"/>
                            </a:schemeClr>
                          </a:solidFill>
                          <a:effectLst/>
                          <a:latin typeface="+mn-lt"/>
                        </a:rPr>
                        <a:t>Local</a:t>
                      </a:r>
                      <a:r>
                        <a:rPr lang="en-US" sz="800" b="0" i="0" u="none" strike="noStrike" baseline="0" noProof="0" dirty="0">
                          <a:solidFill>
                            <a:schemeClr val="bg2">
                              <a:lumMod val="50000"/>
                            </a:schemeClr>
                          </a:solidFill>
                          <a:effectLst/>
                          <a:latin typeface="+mn-lt"/>
                        </a:rPr>
                        <a:t> Communication / Training Expert?</a:t>
                      </a:r>
                    </a:p>
                    <a:p>
                      <a:pPr marL="171450" indent="-171450" algn="l" eaLnBrk="1" fontAlgn="t">
                        <a:buFont typeface="Arial" panose="020B0604020202020204" pitchFamily="34" charset="0"/>
                        <a:buChar char="•"/>
                      </a:pPr>
                      <a:endParaRPr lang="en-US" sz="800" b="0" i="0" u="none" strike="noStrike" noProof="0" dirty="0">
                        <a:solidFill>
                          <a:schemeClr val="bg2">
                            <a:lumMod val="50000"/>
                          </a:schemeClr>
                        </a:solidFill>
                        <a:effectLst/>
                        <a:latin typeface="+mn-lt"/>
                      </a:endParaRPr>
                    </a:p>
                  </a:txBody>
                  <a:tcPr marL="72000" marR="72000" marT="72000" marB="72000">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marL="180975" indent="-180975" algn="l" fontAlgn="t">
                        <a:buFont typeface="Arial" panose="020B0604020202020204" pitchFamily="34" charset="0"/>
                        <a:buChar char="•"/>
                      </a:pPr>
                      <a:r>
                        <a:rPr lang="en-US" sz="800" b="0" i="0" u="none" strike="noStrike" baseline="0" noProof="0" dirty="0">
                          <a:solidFill>
                            <a:schemeClr val="bg2">
                              <a:lumMod val="50000"/>
                            </a:schemeClr>
                          </a:solidFill>
                          <a:effectLst/>
                          <a:latin typeface="+mn-lt"/>
                        </a:rPr>
                        <a:t>Support Kick-Off &amp; local meetings</a:t>
                      </a:r>
                    </a:p>
                    <a:p>
                      <a:pPr marL="180975" indent="-180975" algn="l" fontAlgn="t">
                        <a:buFont typeface="Arial" panose="020B0604020202020204" pitchFamily="34" charset="0"/>
                        <a:buChar char="•"/>
                      </a:pPr>
                      <a:r>
                        <a:rPr lang="en-US" sz="800" b="0" i="0" u="none" strike="noStrike" baseline="0" noProof="0" dirty="0">
                          <a:solidFill>
                            <a:schemeClr val="bg2">
                              <a:lumMod val="50000"/>
                            </a:schemeClr>
                          </a:solidFill>
                          <a:effectLst/>
                          <a:latin typeface="+mn-lt"/>
                        </a:rPr>
                        <a:t>Run Stakeholder &amp; Impact Analysis</a:t>
                      </a:r>
                    </a:p>
                    <a:p>
                      <a:pPr marL="180975" indent="-180975" algn="l" fontAlgn="t">
                        <a:buFont typeface="Arial" panose="020B0604020202020204" pitchFamily="34" charset="0"/>
                        <a:buChar char="•"/>
                      </a:pPr>
                      <a:r>
                        <a:rPr lang="en-US" sz="800" b="0" i="0" u="none" strike="noStrike" baseline="0" noProof="0" dirty="0">
                          <a:solidFill>
                            <a:schemeClr val="bg2">
                              <a:lumMod val="50000"/>
                            </a:schemeClr>
                          </a:solidFill>
                          <a:effectLst/>
                          <a:latin typeface="+mn-lt"/>
                        </a:rPr>
                        <a:t>Create communication</a:t>
                      </a:r>
                    </a:p>
                    <a:p>
                      <a:pPr marL="180975" indent="-180975" algn="l" fontAlgn="t">
                        <a:buFont typeface="Arial" panose="020B0604020202020204" pitchFamily="34" charset="0"/>
                        <a:buChar char="•"/>
                      </a:pPr>
                      <a:r>
                        <a:rPr lang="en-US" sz="800" b="0" i="0" u="none" strike="noStrike" baseline="0" noProof="0" dirty="0">
                          <a:solidFill>
                            <a:schemeClr val="bg2">
                              <a:lumMod val="50000"/>
                            </a:schemeClr>
                          </a:solidFill>
                          <a:effectLst/>
                          <a:latin typeface="+mn-lt"/>
                        </a:rPr>
                        <a:t>Develop local training plan &amp; training feedback capturing</a:t>
                      </a:r>
                    </a:p>
                    <a:p>
                      <a:pPr marL="180975" indent="-180975" algn="l" fontAlgn="t">
                        <a:buFont typeface="Arial" panose="020B0604020202020204" pitchFamily="34" charset="0"/>
                        <a:buChar char="•"/>
                      </a:pPr>
                      <a:r>
                        <a:rPr lang="en-US" sz="800" b="0" i="0" u="none" strike="noStrike" baseline="0" noProof="0" dirty="0">
                          <a:solidFill>
                            <a:schemeClr val="bg2">
                              <a:lumMod val="50000"/>
                            </a:schemeClr>
                          </a:solidFill>
                          <a:effectLst/>
                          <a:latin typeface="+mn-lt"/>
                        </a:rPr>
                        <a:t>Alignment with central team</a:t>
                      </a:r>
                    </a:p>
                    <a:p>
                      <a:pPr marL="180975" indent="-180975" algn="l" eaLnBrk="1" fontAlgn="t">
                        <a:buFont typeface="Arial" panose="020B0604020202020204" pitchFamily="34" charset="0"/>
                        <a:buChar char="•"/>
                      </a:pPr>
                      <a:endParaRPr lang="en-US" sz="800" b="0" i="0" u="none" strike="noStrike" baseline="0" noProof="0" dirty="0">
                        <a:solidFill>
                          <a:schemeClr val="bg2">
                            <a:lumMod val="50000"/>
                          </a:schemeClr>
                        </a:solidFill>
                        <a:effectLst/>
                        <a:latin typeface="+mn-lt"/>
                      </a:endParaRPr>
                    </a:p>
                  </a:txBody>
                  <a:tcPr marL="72000" marR="72000" marT="72000" marB="72000">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582606699"/>
                  </a:ext>
                </a:extLst>
              </a:tr>
              <a:tr h="738067">
                <a:tc>
                  <a:txBody>
                    <a:bodyPr/>
                    <a:lstStyle/>
                    <a:p>
                      <a:pPr algn="l" fontAlgn="t"/>
                      <a:r>
                        <a:rPr lang="en-US" sz="800" b="1" i="0" u="none" strike="noStrike" noProof="0" dirty="0">
                          <a:solidFill>
                            <a:schemeClr val="accent2">
                              <a:lumMod val="75000"/>
                            </a:schemeClr>
                          </a:solidFill>
                          <a:effectLst/>
                          <a:latin typeface="+mn-lt"/>
                        </a:rPr>
                        <a:t>Local Trainer/s</a:t>
                      </a:r>
                    </a:p>
                    <a:p>
                      <a:pPr marL="0" marR="0" lvl="0" indent="0" algn="l" defTabSz="914400" rtl="0" eaLnBrk="1" fontAlgn="t" latinLnBrk="0" hangingPunct="1">
                        <a:lnSpc>
                          <a:spcPct val="100000"/>
                        </a:lnSpc>
                        <a:spcBef>
                          <a:spcPts val="0"/>
                        </a:spcBef>
                        <a:spcAft>
                          <a:spcPts val="0"/>
                        </a:spcAft>
                        <a:buClrTx/>
                        <a:buSzTx/>
                        <a:buFontTx/>
                        <a:buNone/>
                        <a:tabLst/>
                        <a:defRPr/>
                      </a:pPr>
                      <a:r>
                        <a:rPr lang="en-US" sz="700" b="0" i="1" u="none" strike="noStrike" baseline="0" noProof="0" dirty="0">
                          <a:solidFill>
                            <a:schemeClr val="accent2">
                              <a:lumMod val="75000"/>
                            </a:schemeClr>
                          </a:solidFill>
                          <a:effectLst/>
                          <a:latin typeface="+mn-lt"/>
                        </a:rPr>
                        <a:t>(depending on the size / scope could also be done by Functional Experts</a:t>
                      </a:r>
                      <a:r>
                        <a:rPr lang="en-US" sz="800" b="0" i="0" u="none" strike="noStrike" baseline="0" noProof="0" dirty="0">
                          <a:solidFill>
                            <a:schemeClr val="accent2">
                              <a:lumMod val="75000"/>
                            </a:schemeClr>
                          </a:solidFill>
                          <a:effectLst/>
                          <a:latin typeface="+mn-lt"/>
                        </a:rPr>
                        <a:t>)</a:t>
                      </a:r>
                      <a:endParaRPr lang="en-US" sz="800" b="0" i="0" u="none" strike="noStrike" noProof="0" dirty="0">
                        <a:solidFill>
                          <a:schemeClr val="accent2">
                            <a:lumMod val="75000"/>
                          </a:schemeClr>
                        </a:solidFill>
                        <a:effectLst/>
                        <a:latin typeface="+mn-lt"/>
                      </a:endParaRPr>
                    </a:p>
                    <a:p>
                      <a:pPr algn="l" fontAlgn="t"/>
                      <a:endParaRPr lang="en-US" sz="800" b="1" i="0" u="none" strike="noStrike" noProof="0" dirty="0">
                        <a:solidFill>
                          <a:schemeClr val="accent2">
                            <a:lumMod val="75000"/>
                          </a:schemeClr>
                        </a:solidFill>
                        <a:effectLst/>
                        <a:latin typeface="+mn-lt"/>
                      </a:endParaRPr>
                    </a:p>
                  </a:txBody>
                  <a:tcPr marL="72000" marR="72000" marT="72000" marB="72000">
                    <a:lnT w="9525" cap="flat" cmpd="sng" algn="ctr">
                      <a:solidFill>
                        <a:schemeClr val="bg2"/>
                      </a:solidFill>
                      <a:prstDash val="sysDot"/>
                      <a:round/>
                      <a:headEnd type="none" w="med" len="med"/>
                      <a:tailEnd type="none" w="med" len="med"/>
                    </a:lnT>
                    <a:noFill/>
                  </a:tcPr>
                </a:tc>
                <a:tc>
                  <a:txBody>
                    <a:bodyPr/>
                    <a:lstStyle/>
                    <a:p>
                      <a:pPr marL="171450" indent="-171450" algn="l" eaLnBrk="1" fontAlgn="t">
                        <a:buFont typeface="Arial" panose="020B0604020202020204" pitchFamily="34" charset="0"/>
                        <a:buChar char="•"/>
                      </a:pPr>
                      <a:r>
                        <a:rPr lang="en-US" sz="800" b="0" i="0" u="none" strike="noStrike" noProof="0" dirty="0">
                          <a:solidFill>
                            <a:schemeClr val="bg2">
                              <a:lumMod val="50000"/>
                            </a:schemeClr>
                          </a:solidFill>
                          <a:effectLst/>
                          <a:latin typeface="+mn-lt"/>
                        </a:rPr>
                        <a:t>Receive train-the-trainer</a:t>
                      </a:r>
                      <a:r>
                        <a:rPr lang="en-US" sz="800" b="0" i="0" u="none" strike="noStrike" baseline="0" noProof="0" dirty="0">
                          <a:solidFill>
                            <a:schemeClr val="bg2">
                              <a:lumMod val="50000"/>
                            </a:schemeClr>
                          </a:solidFill>
                          <a:effectLst/>
                          <a:latin typeface="+mn-lt"/>
                        </a:rPr>
                        <a:t> onboarding</a:t>
                      </a:r>
                    </a:p>
                    <a:p>
                      <a:pPr marL="171450" indent="-171450" algn="l" eaLnBrk="1" fontAlgn="t">
                        <a:buFont typeface="Arial" panose="020B0604020202020204" pitchFamily="34" charset="0"/>
                        <a:buChar char="•"/>
                      </a:pPr>
                      <a:r>
                        <a:rPr lang="en-US" sz="800" b="0" i="0" u="none" strike="noStrike" baseline="0" noProof="0" dirty="0">
                          <a:solidFill>
                            <a:schemeClr val="bg2">
                              <a:lumMod val="50000"/>
                            </a:schemeClr>
                          </a:solidFill>
                          <a:effectLst/>
                          <a:latin typeface="+mn-lt"/>
                        </a:rPr>
                        <a:t>Be involved in testing (shadowing or testing)</a:t>
                      </a:r>
                    </a:p>
                    <a:p>
                      <a:pPr marL="171450" indent="-171450" algn="l" eaLnBrk="1" fontAlgn="t">
                        <a:buFont typeface="Arial" panose="020B0604020202020204" pitchFamily="34" charset="0"/>
                        <a:buChar char="•"/>
                      </a:pPr>
                      <a:r>
                        <a:rPr lang="en-US" sz="800" b="0" i="0" u="none" strike="noStrike" baseline="0" noProof="0" dirty="0">
                          <a:solidFill>
                            <a:schemeClr val="bg2">
                              <a:lumMod val="50000"/>
                            </a:schemeClr>
                          </a:solidFill>
                          <a:effectLst/>
                          <a:latin typeface="+mn-lt"/>
                        </a:rPr>
                        <a:t>Understand new system &amp; functionalities</a:t>
                      </a:r>
                    </a:p>
                    <a:p>
                      <a:pPr marL="171450" indent="-171450" algn="l" eaLnBrk="1" fontAlgn="t">
                        <a:buFont typeface="Arial" panose="020B0604020202020204" pitchFamily="34" charset="0"/>
                        <a:buChar char="•"/>
                      </a:pPr>
                      <a:r>
                        <a:rPr lang="en-US" sz="800" b="0" i="0" u="none" strike="noStrike" baseline="0" noProof="0" dirty="0">
                          <a:solidFill>
                            <a:schemeClr val="bg2">
                              <a:lumMod val="50000"/>
                            </a:schemeClr>
                          </a:solidFill>
                          <a:effectLst/>
                          <a:latin typeface="+mn-lt"/>
                        </a:rPr>
                        <a:t>Train end users</a:t>
                      </a:r>
                    </a:p>
                    <a:p>
                      <a:pPr marL="171450" indent="-171450" algn="l" eaLnBrk="1" fontAlgn="t">
                        <a:buFont typeface="Arial" panose="020B0604020202020204" pitchFamily="34" charset="0"/>
                        <a:buChar char="•"/>
                      </a:pPr>
                      <a:r>
                        <a:rPr lang="en-US" sz="800" b="0" i="0" u="none" strike="noStrike" baseline="0" noProof="0" dirty="0">
                          <a:solidFill>
                            <a:schemeClr val="bg2">
                              <a:lumMod val="50000"/>
                            </a:schemeClr>
                          </a:solidFill>
                          <a:effectLst/>
                          <a:latin typeface="+mn-lt"/>
                        </a:rPr>
                        <a:t>Become “super-user”</a:t>
                      </a:r>
                    </a:p>
                  </a:txBody>
                  <a:tcPr marL="72000" marR="72000" marT="72000" marB="72000">
                    <a:lnT w="9525" cap="flat" cmpd="sng" algn="ctr">
                      <a:solidFill>
                        <a:schemeClr val="bg2"/>
                      </a:solidFill>
                      <a:prstDash val="sysDot"/>
                      <a:round/>
                      <a:headEnd type="none" w="med" len="med"/>
                      <a:tailEnd type="none" w="med" len="med"/>
                    </a:lnT>
                    <a:noFill/>
                  </a:tcPr>
                </a:tc>
                <a:tc>
                  <a:txBody>
                    <a:bodyPr/>
                    <a:lstStyle/>
                    <a:p>
                      <a:pPr marL="171450" indent="-171450" algn="l" eaLnBrk="1" fontAlgn="t">
                        <a:buFont typeface="Arial" panose="020B0604020202020204" pitchFamily="34" charset="0"/>
                        <a:buChar char="•"/>
                      </a:pPr>
                      <a:r>
                        <a:rPr lang="en-US" sz="800" b="0" i="0" u="none" strike="noStrike" noProof="0" dirty="0">
                          <a:solidFill>
                            <a:schemeClr val="bg2">
                              <a:lumMod val="50000"/>
                            </a:schemeClr>
                          </a:solidFill>
                          <a:effectLst/>
                          <a:latin typeface="+mn-lt"/>
                        </a:rPr>
                        <a:t>Training /</a:t>
                      </a:r>
                      <a:r>
                        <a:rPr lang="en-US" sz="800" b="0" i="0" u="none" strike="noStrike" baseline="0" noProof="0" dirty="0">
                          <a:solidFill>
                            <a:schemeClr val="bg2">
                              <a:lumMod val="50000"/>
                            </a:schemeClr>
                          </a:solidFill>
                          <a:effectLst/>
                          <a:latin typeface="+mn-lt"/>
                        </a:rPr>
                        <a:t> Workshop Facilitation</a:t>
                      </a:r>
                      <a:endParaRPr lang="en-US" sz="800" b="0" i="0" u="none" strike="noStrike" noProof="0" dirty="0">
                        <a:solidFill>
                          <a:schemeClr val="bg2">
                            <a:lumMod val="50000"/>
                          </a:schemeClr>
                        </a:solidFill>
                        <a:effectLst/>
                        <a:latin typeface="+mn-lt"/>
                      </a:endParaRPr>
                    </a:p>
                  </a:txBody>
                  <a:tcPr marL="72000" marR="72000" marT="72000" marB="72000">
                    <a:lnT w="9525" cap="flat" cmpd="sng" algn="ctr">
                      <a:solidFill>
                        <a:schemeClr val="bg2"/>
                      </a:solidFill>
                      <a:prstDash val="sysDot"/>
                      <a:round/>
                      <a:headEnd type="none" w="med" len="med"/>
                      <a:tailEnd type="none" w="med" len="med"/>
                    </a:lnT>
                    <a:noFill/>
                  </a:tcPr>
                </a:tc>
                <a:tc>
                  <a:txBody>
                    <a:bodyPr/>
                    <a:lstStyle/>
                    <a:p>
                      <a:pPr marL="171450" indent="-171450" algn="l" fontAlgn="t">
                        <a:buFont typeface="Arial" panose="020B0604020202020204" pitchFamily="34" charset="0"/>
                        <a:buChar char="•"/>
                      </a:pPr>
                      <a:r>
                        <a:rPr lang="en-US" sz="800" b="0" i="0" u="none" strike="noStrike" noProof="0" dirty="0">
                          <a:solidFill>
                            <a:schemeClr val="bg2">
                              <a:lumMod val="50000"/>
                            </a:schemeClr>
                          </a:solidFill>
                          <a:effectLst/>
                          <a:latin typeface="+mn-lt"/>
                        </a:rPr>
                        <a:t>Territory</a:t>
                      </a:r>
                      <a:r>
                        <a:rPr lang="en-US" sz="800" b="0" i="0" u="none" strike="noStrike" baseline="0" noProof="0" dirty="0">
                          <a:solidFill>
                            <a:schemeClr val="bg2">
                              <a:lumMod val="50000"/>
                            </a:schemeClr>
                          </a:solidFill>
                          <a:effectLst/>
                          <a:latin typeface="+mn-lt"/>
                        </a:rPr>
                        <a:t> Heads?</a:t>
                      </a:r>
                    </a:p>
                    <a:p>
                      <a:pPr marL="171450" indent="-171450" algn="l" fontAlgn="t">
                        <a:buFont typeface="Arial" panose="020B0604020202020204" pitchFamily="34" charset="0"/>
                        <a:buChar char="•"/>
                      </a:pPr>
                      <a:r>
                        <a:rPr lang="en-US" sz="800" b="0" i="0" u="none" strike="noStrike" baseline="0" noProof="0" dirty="0">
                          <a:solidFill>
                            <a:schemeClr val="bg2">
                              <a:lumMod val="50000"/>
                            </a:schemeClr>
                          </a:solidFill>
                          <a:effectLst/>
                          <a:latin typeface="+mn-lt"/>
                        </a:rPr>
                        <a:t>Sales Leaders / influencers?</a:t>
                      </a:r>
                    </a:p>
                    <a:p>
                      <a:pPr marL="171450" indent="-171450" algn="l" fontAlgn="t">
                        <a:buFont typeface="Arial" panose="020B0604020202020204" pitchFamily="34" charset="0"/>
                        <a:buChar char="•"/>
                      </a:pPr>
                      <a:r>
                        <a:rPr lang="en-US" sz="800" b="0" i="0" u="none" strike="noStrike" baseline="0" noProof="0" dirty="0">
                          <a:solidFill>
                            <a:schemeClr val="bg2">
                              <a:lumMod val="50000"/>
                            </a:schemeClr>
                          </a:solidFill>
                          <a:effectLst/>
                          <a:latin typeface="+mn-lt"/>
                        </a:rPr>
                        <a:t>CRM Managers?</a:t>
                      </a:r>
                    </a:p>
                    <a:p>
                      <a:pPr marL="171450" indent="-171450" algn="l" fontAlgn="t">
                        <a:buFont typeface="Arial" panose="020B0604020202020204" pitchFamily="34" charset="0"/>
                        <a:buChar char="•"/>
                      </a:pPr>
                      <a:r>
                        <a:rPr lang="en-US" sz="800" b="0" i="0" u="none" strike="noStrike" baseline="0" noProof="0" dirty="0">
                          <a:solidFill>
                            <a:schemeClr val="bg2">
                              <a:lumMod val="50000"/>
                            </a:schemeClr>
                          </a:solidFill>
                          <a:effectLst/>
                          <a:latin typeface="+mn-lt"/>
                        </a:rPr>
                        <a:t>Testers</a:t>
                      </a:r>
                      <a:endParaRPr lang="en-US" sz="800" b="0" i="0" u="none" strike="noStrike" noProof="0" dirty="0">
                        <a:solidFill>
                          <a:schemeClr val="bg2">
                            <a:lumMod val="50000"/>
                          </a:schemeClr>
                        </a:solidFill>
                        <a:effectLst/>
                        <a:latin typeface="+mn-lt"/>
                      </a:endParaRPr>
                    </a:p>
                  </a:txBody>
                  <a:tcPr marL="72000" marR="72000" marT="72000" marB="72000">
                    <a:lnT w="9525" cap="flat" cmpd="sng" algn="ctr">
                      <a:solidFill>
                        <a:schemeClr val="bg2"/>
                      </a:solidFill>
                      <a:prstDash val="sysDot"/>
                      <a:round/>
                      <a:headEnd type="none" w="med" len="med"/>
                      <a:tailEnd type="none" w="med" len="med"/>
                    </a:lnT>
                    <a:noFill/>
                  </a:tcPr>
                </a:tc>
                <a:tc>
                  <a:txBody>
                    <a:bodyPr/>
                    <a:lstStyle/>
                    <a:p>
                      <a:pPr marL="171450" indent="-171450" algn="l" eaLnBrk="1" fontAlgn="t">
                        <a:buFont typeface="Arial" panose="020B0604020202020204" pitchFamily="34" charset="0"/>
                        <a:buChar char="•"/>
                      </a:pPr>
                      <a:r>
                        <a:rPr lang="en-US" sz="800" b="0" i="0" u="none" strike="noStrike" noProof="0" dirty="0">
                          <a:solidFill>
                            <a:schemeClr val="bg2">
                              <a:lumMod val="50000"/>
                            </a:schemeClr>
                          </a:solidFill>
                          <a:effectLst/>
                          <a:latin typeface="+mn-lt"/>
                        </a:rPr>
                        <a:t>Execute</a:t>
                      </a:r>
                      <a:r>
                        <a:rPr lang="en-US" sz="800" b="0" i="0" u="none" strike="noStrike" baseline="0" noProof="0" dirty="0">
                          <a:solidFill>
                            <a:schemeClr val="bg2">
                              <a:lumMod val="50000"/>
                            </a:schemeClr>
                          </a:solidFill>
                          <a:effectLst/>
                          <a:latin typeface="+mn-lt"/>
                        </a:rPr>
                        <a:t> end-user trainings</a:t>
                      </a:r>
                    </a:p>
                    <a:p>
                      <a:pPr marL="171450" indent="-171450" algn="l" eaLnBrk="1" fontAlgn="t">
                        <a:buFont typeface="Arial" panose="020B0604020202020204" pitchFamily="34" charset="0"/>
                        <a:buChar char="•"/>
                      </a:pPr>
                      <a:r>
                        <a:rPr lang="en-US" sz="800" b="0" i="0" u="none" strike="noStrike" baseline="0" noProof="0" dirty="0">
                          <a:solidFill>
                            <a:schemeClr val="bg2">
                              <a:lumMod val="50000"/>
                            </a:schemeClr>
                          </a:solidFill>
                          <a:effectLst/>
                          <a:latin typeface="+mn-lt"/>
                        </a:rPr>
                        <a:t>Run feedback survey</a:t>
                      </a:r>
                    </a:p>
                    <a:p>
                      <a:pPr marL="171450" indent="-171450" algn="l" eaLnBrk="1" fontAlgn="t">
                        <a:buFont typeface="Arial" panose="020B0604020202020204" pitchFamily="34" charset="0"/>
                        <a:buChar char="•"/>
                      </a:pPr>
                      <a:r>
                        <a:rPr lang="en-US" sz="800" b="0" i="0" u="none" strike="noStrike" baseline="0" noProof="0" dirty="0">
                          <a:solidFill>
                            <a:schemeClr val="bg2">
                              <a:lumMod val="50000"/>
                            </a:schemeClr>
                          </a:solidFill>
                          <a:effectLst/>
                          <a:latin typeface="+mn-lt"/>
                        </a:rPr>
                        <a:t>Support hypercare phase</a:t>
                      </a:r>
                    </a:p>
                  </a:txBody>
                  <a:tcPr marL="72000" marR="72000" marT="72000" marB="72000">
                    <a:lnT w="9525" cap="flat" cmpd="sng" algn="ctr">
                      <a:solidFill>
                        <a:schemeClr val="bg2"/>
                      </a:solidFill>
                      <a:prstDash val="sysDot"/>
                      <a:round/>
                      <a:headEnd type="none" w="med" len="med"/>
                      <a:tailEnd type="none" w="med" len="med"/>
                    </a:lnT>
                    <a:noFill/>
                  </a:tcPr>
                </a:tc>
                <a:extLst>
                  <a:ext uri="{0D108BD9-81ED-4DB2-BD59-A6C34878D82A}">
                    <a16:rowId xmlns:a16="http://schemas.microsoft.com/office/drawing/2014/main" val="3103074823"/>
                  </a:ext>
                </a:extLst>
              </a:tr>
            </a:tbl>
          </a:graphicData>
        </a:graphic>
      </p:graphicFrame>
    </p:spTree>
    <p:extLst>
      <p:ext uri="{BB962C8B-B14F-4D97-AF65-F5344CB8AC3E}">
        <p14:creationId xmlns:p14="http://schemas.microsoft.com/office/powerpoint/2010/main" val="44174938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sz="1800" b="0" dirty="0">
                <a:solidFill>
                  <a:schemeClr val="accent5">
                    <a:lumMod val="50000"/>
                  </a:schemeClr>
                </a:solidFill>
                <a:latin typeface="Arial" panose="020B0604020202020204" pitchFamily="34" charset="0"/>
                <a:cs typeface="Arial" panose="020B0604020202020204" pitchFamily="34" charset="0"/>
              </a:rPr>
              <a:t>Scout Resourcing Guide: Complexity</a:t>
            </a:r>
          </a:p>
        </p:txBody>
      </p:sp>
      <p:sp>
        <p:nvSpPr>
          <p:cNvPr id="4" name="Footer Placeholder 3"/>
          <p:cNvSpPr>
            <a:spLocks noGrp="1"/>
          </p:cNvSpPr>
          <p:nvPr>
            <p:ph type="ftr" sz="quarter" idx="10"/>
          </p:nvPr>
        </p:nvSpPr>
        <p:spPr/>
        <p:txBody>
          <a:bodyPr/>
          <a:lstStyle/>
          <a:p>
            <a:r>
              <a:rPr lang="en-US"/>
              <a:t>Scout l Roll-out Country Grouping l 6 August 2020</a:t>
            </a:r>
            <a:endParaRPr lang="fr-FR" dirty="0"/>
          </a:p>
        </p:txBody>
      </p:sp>
      <p:sp>
        <p:nvSpPr>
          <p:cNvPr id="5" name="Slide Number Placeholder 4"/>
          <p:cNvSpPr>
            <a:spLocks noGrp="1"/>
          </p:cNvSpPr>
          <p:nvPr>
            <p:ph type="sldNum" sz="quarter" idx="11"/>
          </p:nvPr>
        </p:nvSpPr>
        <p:spPr/>
        <p:txBody>
          <a:bodyPr/>
          <a:lstStyle/>
          <a:p>
            <a:fld id="{47547CF9-5B10-D24F-A8D7-45A9778164F7}" type="slidenum">
              <a:rPr lang="uk-UA" smtClean="0"/>
              <a:pPr/>
              <a:t>23</a:t>
            </a:fld>
            <a:endParaRPr lang="uk-UA" dirty="0"/>
          </a:p>
        </p:txBody>
      </p:sp>
      <p:sp>
        <p:nvSpPr>
          <p:cNvPr id="9" name="Content Placeholder 2"/>
          <p:cNvSpPr txBox="1">
            <a:spLocks/>
          </p:cNvSpPr>
          <p:nvPr/>
        </p:nvSpPr>
        <p:spPr>
          <a:xfrm>
            <a:off x="478854" y="971550"/>
            <a:ext cx="8485634" cy="3688431"/>
          </a:xfrm>
        </p:spPr>
        <p:txBody>
          <a:bodyPr>
            <a:normAutofit/>
          </a:bodyPr>
          <a:lstStyle>
            <a:lvl1pPr marL="228600" indent="-228600" algn="l" defTabSz="914400" rtl="0" eaLnBrk="1" latinLnBrk="0" hangingPunct="1">
              <a:spcBef>
                <a:spcPts val="900"/>
              </a:spcBef>
              <a:buClrTx/>
              <a:buSzPct val="100000"/>
              <a:buFont typeface="Wingdings" charset="2"/>
              <a:buChar char="§"/>
              <a:tabLst>
                <a:tab pos="3998913" algn="r"/>
                <a:tab pos="8229600" algn="r"/>
              </a:tabLst>
              <a:defRPr sz="1800" b="0" i="0" kern="1200" spc="0" baseline="0">
                <a:solidFill>
                  <a:schemeClr val="tx1"/>
                </a:solidFill>
                <a:latin typeface="+mn-lt"/>
                <a:ea typeface="+mn-ea"/>
                <a:cs typeface="+mn-cs"/>
              </a:defRPr>
            </a:lvl1pPr>
            <a:lvl2pPr marL="457200" indent="-228600" algn="l" defTabSz="914400" rtl="0" eaLnBrk="1" latinLnBrk="0" hangingPunct="1">
              <a:spcBef>
                <a:spcPts val="300"/>
              </a:spcBef>
              <a:buClrTx/>
              <a:buSzPct val="100000"/>
              <a:buFont typeface="Arial" pitchFamily="34" charset="0"/>
              <a:buChar char="–"/>
              <a:defRPr sz="1600" b="0" i="0" kern="1200" spc="0" baseline="0">
                <a:solidFill>
                  <a:schemeClr val="tx1"/>
                </a:solidFill>
                <a:latin typeface="+mn-lt"/>
                <a:ea typeface="+mn-ea"/>
                <a:cs typeface="+mn-cs"/>
              </a:defRPr>
            </a:lvl2pPr>
            <a:lvl3pPr marL="685800" indent="-228600" algn="l" defTabSz="914400" rtl="0" eaLnBrk="1" latinLnBrk="0" hangingPunct="1">
              <a:spcBef>
                <a:spcPts val="300"/>
              </a:spcBef>
              <a:buClrTx/>
              <a:buSzPct val="100000"/>
              <a:buFont typeface="Arial" pitchFamily="34" charset="0"/>
              <a:buChar char="–"/>
              <a:defRPr sz="1600" b="0" i="0" kern="1200" spc="0" baseline="0">
                <a:solidFill>
                  <a:schemeClr val="tx1"/>
                </a:solidFill>
                <a:latin typeface="+mn-lt"/>
                <a:ea typeface="+mn-ea"/>
                <a:cs typeface="+mn-cs"/>
              </a:defRPr>
            </a:lvl3pPr>
            <a:lvl4pPr marL="914400" indent="-228600" algn="l" defTabSz="914400" rtl="0" eaLnBrk="1" latinLnBrk="0" hangingPunct="1">
              <a:spcBef>
                <a:spcPts val="300"/>
              </a:spcBef>
              <a:buClrTx/>
              <a:buSzPct val="100000"/>
              <a:buFont typeface="Arial" pitchFamily="34" charset="0"/>
              <a:buChar char="–"/>
              <a:defRPr sz="1600" b="0" i="0" kern="1200" spc="0" baseline="0">
                <a:solidFill>
                  <a:schemeClr val="tx1"/>
                </a:solidFill>
                <a:latin typeface="+mn-lt"/>
                <a:ea typeface="+mn-ea"/>
                <a:cs typeface="+mn-cs"/>
              </a:defRPr>
            </a:lvl4pPr>
            <a:lvl5pPr marL="1143000" indent="-228600" algn="l" defTabSz="914400" rtl="0" eaLnBrk="1" latinLnBrk="0" hangingPunct="1">
              <a:spcBef>
                <a:spcPts val="300"/>
              </a:spcBef>
              <a:buClrTx/>
              <a:buSzPct val="100000"/>
              <a:buFont typeface="Arial" pitchFamily="34" charset="0"/>
              <a:buChar char="–"/>
              <a:defRPr sz="1600" b="0" i="0" kern="1200" spc="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GB" sz="1400" dirty="0"/>
              <a:t>This table and the next slide attempt to provide a guideline to the amount of support needed per country during a Scout CRM Roll-out (OM will require recalibration post-Pilot)</a:t>
            </a:r>
          </a:p>
          <a:p>
            <a:r>
              <a:rPr lang="en-GB" sz="1400" dirty="0"/>
              <a:t>Not all countries will exactly match all parameters per category but this can be used for estimating.</a:t>
            </a:r>
          </a:p>
          <a:p>
            <a:endParaRPr lang="en-GB" sz="1400" dirty="0"/>
          </a:p>
          <a:p>
            <a:endParaRPr lang="en-GB" sz="1400" dirty="0"/>
          </a:p>
          <a:p>
            <a:endParaRPr lang="en-GB" sz="1400" dirty="0"/>
          </a:p>
          <a:p>
            <a:endParaRPr lang="en-GB" sz="1400" dirty="0"/>
          </a:p>
          <a:p>
            <a:endParaRPr lang="en-GB" sz="1400" dirty="0"/>
          </a:p>
          <a:p>
            <a:r>
              <a:rPr lang="en-GB" sz="1400" dirty="0"/>
              <a:t>Axtria complexity is defined thus:</a:t>
            </a:r>
          </a:p>
          <a:p>
            <a:pPr lvl="1"/>
            <a:r>
              <a:rPr lang="en-GB" sz="1200" b="1" dirty="0"/>
              <a:t>Simple</a:t>
            </a:r>
            <a:r>
              <a:rPr lang="en-GB" sz="1200" dirty="0"/>
              <a:t>: 1 Team, 1-3 Territories, Single Rep/Territory, Manual Account&lt;&gt;Territory only, No Assignment Rules</a:t>
            </a:r>
          </a:p>
          <a:p>
            <a:pPr lvl="1"/>
            <a:r>
              <a:rPr lang="en-GB" sz="1200" b="1" dirty="0"/>
              <a:t>Medium</a:t>
            </a:r>
            <a:r>
              <a:rPr lang="en-GB" sz="1200" dirty="0"/>
              <a:t>: 1-3 Teams, 3-20 Territories, Single Rep/Territory, Brick&lt;&gt;</a:t>
            </a:r>
            <a:r>
              <a:rPr lang="en-GB" sz="1200" dirty="0" err="1"/>
              <a:t>Terr</a:t>
            </a:r>
            <a:r>
              <a:rPr lang="en-GB" sz="1200" dirty="0"/>
              <a:t> Account Assignment, No Assignment Rules</a:t>
            </a:r>
          </a:p>
          <a:p>
            <a:pPr lvl="1"/>
            <a:r>
              <a:rPr lang="en-GB" sz="1200" b="1" dirty="0"/>
              <a:t>Complex</a:t>
            </a:r>
            <a:r>
              <a:rPr lang="en-GB" sz="1200" dirty="0"/>
              <a:t>: 3+ Teams, 20+ Territories, Multiple Rep/Territory, Manual Account&lt;&gt;Territory only, Non-geographic Assignment Rules</a:t>
            </a:r>
          </a:p>
          <a:p>
            <a:endParaRPr lang="en-GB" sz="1400" dirty="0"/>
          </a:p>
          <a:p>
            <a:endParaRPr lang="en-GB" sz="1400" dirty="0"/>
          </a:p>
          <a:p>
            <a:endParaRPr lang="en-GB" sz="1400" dirty="0"/>
          </a:p>
          <a:p>
            <a:endParaRPr lang="en-GB" sz="1400" dirty="0"/>
          </a:p>
          <a:p>
            <a:endParaRPr lang="en-GB" sz="1400" dirty="0"/>
          </a:p>
          <a:p>
            <a:endParaRPr lang="en-US" sz="1400" dirty="0"/>
          </a:p>
        </p:txBody>
      </p:sp>
      <p:graphicFrame>
        <p:nvGraphicFramePr>
          <p:cNvPr id="10" name="Table 9"/>
          <p:cNvGraphicFramePr>
            <a:graphicFrameLocks noGrp="1"/>
          </p:cNvGraphicFramePr>
          <p:nvPr>
            <p:extLst>
              <p:ext uri="{D42A27DB-BD31-4B8C-83A1-F6EECF244321}">
                <p14:modId xmlns:p14="http://schemas.microsoft.com/office/powerpoint/2010/main" val="4091887590"/>
              </p:ext>
            </p:extLst>
          </p:nvPr>
        </p:nvGraphicFramePr>
        <p:xfrm>
          <a:off x="1477540" y="1851670"/>
          <a:ext cx="6118796" cy="1644678"/>
        </p:xfrm>
        <a:graphic>
          <a:graphicData uri="http://schemas.openxmlformats.org/drawingml/2006/table">
            <a:tbl>
              <a:tblPr/>
              <a:tblGrid>
                <a:gridCol w="1758077">
                  <a:extLst>
                    <a:ext uri="{9D8B030D-6E8A-4147-A177-3AD203B41FA5}">
                      <a16:colId xmlns:a16="http://schemas.microsoft.com/office/drawing/2014/main" val="3278104921"/>
                    </a:ext>
                  </a:extLst>
                </a:gridCol>
                <a:gridCol w="2223449">
                  <a:extLst>
                    <a:ext uri="{9D8B030D-6E8A-4147-A177-3AD203B41FA5}">
                      <a16:colId xmlns:a16="http://schemas.microsoft.com/office/drawing/2014/main" val="4235933067"/>
                    </a:ext>
                  </a:extLst>
                </a:gridCol>
                <a:gridCol w="2137270">
                  <a:extLst>
                    <a:ext uri="{9D8B030D-6E8A-4147-A177-3AD203B41FA5}">
                      <a16:colId xmlns:a16="http://schemas.microsoft.com/office/drawing/2014/main" val="1713269601"/>
                    </a:ext>
                  </a:extLst>
                </a:gridCol>
              </a:tblGrid>
              <a:tr h="234954">
                <a:tc>
                  <a:txBody>
                    <a:bodyPr/>
                    <a:lstStyle/>
                    <a:p>
                      <a:pPr algn="ctr" fontAlgn="b"/>
                      <a:r>
                        <a:rPr lang="en-US" sz="1000" b="1" i="0" u="none" strike="noStrike" dirty="0">
                          <a:solidFill>
                            <a:srgbClr val="000000"/>
                          </a:solidFill>
                          <a:effectLst/>
                          <a:latin typeface="Arial" panose="020B0604020202020204" pitchFamily="34" charset="0"/>
                        </a:rPr>
                        <a:t>Low Complexity</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b"/>
                      <a:r>
                        <a:rPr lang="en-US" sz="1000" b="1" i="0" u="none" strike="noStrike">
                          <a:solidFill>
                            <a:srgbClr val="000000"/>
                          </a:solidFill>
                          <a:effectLst/>
                          <a:latin typeface="Arial" panose="020B0604020202020204" pitchFamily="34" charset="0"/>
                        </a:rPr>
                        <a:t>Medium Complexity</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b"/>
                      <a:r>
                        <a:rPr lang="en-US" sz="1000" b="1" i="0" u="none" strike="noStrike" dirty="0">
                          <a:solidFill>
                            <a:srgbClr val="000000"/>
                          </a:solidFill>
                          <a:effectLst/>
                          <a:latin typeface="Arial" panose="020B0604020202020204" pitchFamily="34" charset="0"/>
                        </a:rPr>
                        <a:t>High Complexity</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extLst>
                  <a:ext uri="{0D108BD9-81ED-4DB2-BD59-A6C34878D82A}">
                    <a16:rowId xmlns:a16="http://schemas.microsoft.com/office/drawing/2014/main" val="998810097"/>
                  </a:ext>
                </a:extLst>
              </a:tr>
              <a:tr h="234954">
                <a:tc>
                  <a:txBody>
                    <a:bodyPr/>
                    <a:lstStyle/>
                    <a:p>
                      <a:pPr algn="l" fontAlgn="b"/>
                      <a:r>
                        <a:rPr lang="en-US" sz="1000" b="0" i="0" u="none" strike="noStrike" dirty="0">
                          <a:solidFill>
                            <a:srgbClr val="000000"/>
                          </a:solidFill>
                          <a:effectLst/>
                          <a:latin typeface="Arial" panose="020B0604020202020204" pitchFamily="34" charset="0"/>
                        </a:rPr>
                        <a:t>SPACE Packaged Solution</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rial" panose="020B0604020202020204" pitchFamily="34" charset="0"/>
                        </a:rPr>
                        <a:t>SPACE WE/CEE/APAC or Oncore</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Arial" panose="020B0604020202020204" pitchFamily="34" charset="0"/>
                        </a:rPr>
                        <a:t>Non-Veeva or multiple Legacy</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38599284"/>
                  </a:ext>
                </a:extLst>
              </a:tr>
              <a:tr h="234954">
                <a:tc>
                  <a:txBody>
                    <a:bodyPr/>
                    <a:lstStyle/>
                    <a:p>
                      <a:pPr algn="l" fontAlgn="b"/>
                      <a:r>
                        <a:rPr lang="en-US" sz="1000" b="0" i="0" u="none" strike="noStrike" dirty="0">
                          <a:solidFill>
                            <a:srgbClr val="000000"/>
                          </a:solidFill>
                          <a:effectLst/>
                          <a:latin typeface="Arial" panose="020B0604020202020204" pitchFamily="34" charset="0"/>
                        </a:rPr>
                        <a:t>Self maintained data / no data</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Arial" panose="020B0604020202020204" pitchFamily="34" charset="0"/>
                        </a:rPr>
                        <a:t>IQVIA Standard</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rial" panose="020B0604020202020204" pitchFamily="34" charset="0"/>
                        </a:rPr>
                        <a:t>IQVIA Standard</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94657510"/>
                  </a:ext>
                </a:extLst>
              </a:tr>
              <a:tr h="234954">
                <a:tc>
                  <a:txBody>
                    <a:bodyPr/>
                    <a:lstStyle/>
                    <a:p>
                      <a:pPr algn="l" fontAlgn="b"/>
                      <a:r>
                        <a:rPr lang="en-US" sz="1000" b="0" i="0" u="none" strike="noStrike">
                          <a:solidFill>
                            <a:srgbClr val="000000"/>
                          </a:solidFill>
                          <a:effectLst/>
                          <a:latin typeface="Arial" panose="020B0604020202020204" pitchFamily="34" charset="0"/>
                        </a:rPr>
                        <a:t>AXTRIA Minimal Set-up</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Arial" panose="020B0604020202020204" pitchFamily="34" charset="0"/>
                        </a:rPr>
                        <a:t>AXTRIA Medium Set-up</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Arial" panose="020B0604020202020204" pitchFamily="34" charset="0"/>
                        </a:rPr>
                        <a:t>AXTRIA Standard Set-up</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01292007"/>
                  </a:ext>
                </a:extLst>
              </a:tr>
              <a:tr h="234954">
                <a:tc>
                  <a:txBody>
                    <a:bodyPr/>
                    <a:lstStyle/>
                    <a:p>
                      <a:pPr algn="l" fontAlgn="b"/>
                      <a:r>
                        <a:rPr lang="en-US" sz="1000" b="0" i="0" u="none" strike="noStrike">
                          <a:solidFill>
                            <a:srgbClr val="000000"/>
                          </a:solidFill>
                          <a:effectLst/>
                          <a:latin typeface="Arial" panose="020B0604020202020204" pitchFamily="34" charset="0"/>
                        </a:rPr>
                        <a:t>No Sampling/Promo Item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Arial" panose="020B0604020202020204" pitchFamily="34" charset="0"/>
                        </a:rPr>
                        <a:t>No Sampling/Promo Item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Arial" panose="020B0604020202020204" pitchFamily="34" charset="0"/>
                        </a:rPr>
                        <a:t>Sampling/Promo Item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35123064"/>
                  </a:ext>
                </a:extLst>
              </a:tr>
              <a:tr h="234954">
                <a:tc>
                  <a:txBody>
                    <a:bodyPr/>
                    <a:lstStyle/>
                    <a:p>
                      <a:pPr algn="l" fontAlgn="b"/>
                      <a:r>
                        <a:rPr lang="en-GB" sz="1000" b="0" i="0" u="none" strike="noStrike" dirty="0">
                          <a:solidFill>
                            <a:srgbClr val="000000"/>
                          </a:solidFill>
                          <a:effectLst/>
                          <a:latin typeface="Arial" panose="020B0604020202020204" pitchFamily="34" charset="0"/>
                        </a:rPr>
                        <a:t>No</a:t>
                      </a:r>
                      <a:r>
                        <a:rPr lang="en-GB" sz="1000" b="0" i="0" u="none" strike="noStrike" baseline="0" dirty="0">
                          <a:solidFill>
                            <a:srgbClr val="000000"/>
                          </a:solidFill>
                          <a:effectLst/>
                          <a:latin typeface="Arial" panose="020B0604020202020204" pitchFamily="34" charset="0"/>
                        </a:rPr>
                        <a:t> Translations</a:t>
                      </a:r>
                      <a:endParaRPr lang="en-US" sz="1000" b="0" i="0" u="none" strike="noStrike" dirty="0">
                        <a:solidFill>
                          <a:srgbClr val="000000"/>
                        </a:solidFill>
                        <a:effectLst/>
                        <a:latin typeface="Arial" panose="020B060402020202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1000" b="0" i="0" u="none" strike="noStrike" dirty="0">
                          <a:solidFill>
                            <a:srgbClr val="000000"/>
                          </a:solidFill>
                          <a:effectLst/>
                          <a:latin typeface="Arial" panose="020B0604020202020204" pitchFamily="34" charset="0"/>
                        </a:rPr>
                        <a:t>System Translations</a:t>
                      </a:r>
                      <a:endParaRPr lang="en-US" sz="1000" b="0" i="0" u="none" strike="noStrike" dirty="0">
                        <a:solidFill>
                          <a:srgbClr val="000000"/>
                        </a:solidFill>
                        <a:effectLst/>
                        <a:latin typeface="Arial" panose="020B060402020202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1000" b="0" i="0" u="none" strike="noStrike" dirty="0">
                          <a:solidFill>
                            <a:srgbClr val="000000"/>
                          </a:solidFill>
                          <a:effectLst/>
                          <a:latin typeface="Arial" panose="020B0604020202020204" pitchFamily="34" charset="0"/>
                        </a:rPr>
                        <a:t>System Translations</a:t>
                      </a:r>
                      <a:endParaRPr lang="en-US" sz="1000" b="0" i="0" u="none" strike="noStrike" dirty="0">
                        <a:solidFill>
                          <a:srgbClr val="000000"/>
                        </a:solidFill>
                        <a:effectLst/>
                        <a:latin typeface="Arial" panose="020B060402020202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6520014"/>
                  </a:ext>
                </a:extLst>
              </a:tr>
              <a:tr h="234954">
                <a:tc>
                  <a:txBody>
                    <a:bodyPr/>
                    <a:lstStyle/>
                    <a:p>
                      <a:pPr algn="l" fontAlgn="b"/>
                      <a:r>
                        <a:rPr lang="en-US" sz="1000" b="0" i="0" u="none" strike="noStrike">
                          <a:solidFill>
                            <a:srgbClr val="000000"/>
                          </a:solidFill>
                          <a:effectLst/>
                          <a:latin typeface="Arial" panose="020B0604020202020204" pitchFamily="34" charset="0"/>
                        </a:rPr>
                        <a:t>Existing Business Admin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rial" panose="020B0604020202020204" pitchFamily="34" charset="0"/>
                        </a:rPr>
                        <a:t>Existing Business Admin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Arial" panose="020B0604020202020204" pitchFamily="34" charset="0"/>
                        </a:rPr>
                        <a:t>Existing Business Admin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10790762"/>
                  </a:ext>
                </a:extLst>
              </a:tr>
            </a:tbl>
          </a:graphicData>
        </a:graphic>
      </p:graphicFrame>
    </p:spTree>
    <p:extLst>
      <p:ext uri="{BB962C8B-B14F-4D97-AF65-F5344CB8AC3E}">
        <p14:creationId xmlns:p14="http://schemas.microsoft.com/office/powerpoint/2010/main" val="290331630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p:spPr>
        <p:txBody>
          <a:bodyPr vert="horz" lIns="0" tIns="0" rIns="0" bIns="0" rtlCol="0" anchor="t" anchorCtr="0">
            <a:normAutofit/>
          </a:bodyPr>
          <a:lstStyle/>
          <a:p>
            <a:r>
              <a:rPr lang="en-GB" dirty="0"/>
              <a:t>Country Roll-out resourcing guide</a:t>
            </a:r>
          </a:p>
        </p:txBody>
      </p:sp>
      <p:sp>
        <p:nvSpPr>
          <p:cNvPr id="3" name="Content Placeholder 2"/>
          <p:cNvSpPr>
            <a:spLocks noGrp="1"/>
          </p:cNvSpPr>
          <p:nvPr>
            <p:ph idx="1"/>
          </p:nvPr>
        </p:nvSpPr>
        <p:spPr>
          <a:xfrm>
            <a:off x="457200" y="1303088"/>
            <a:ext cx="8229600" cy="2218305"/>
          </a:xfrm>
        </p:spPr>
        <p:txBody>
          <a:bodyPr/>
          <a:lstStyle/>
          <a:p>
            <a:pPr marL="0" indent="0">
              <a:buNone/>
            </a:pPr>
            <a:endParaRPr lang="en-GB" sz="1600" dirty="0"/>
          </a:p>
          <a:p>
            <a:endParaRPr lang="en-GB" sz="1600" dirty="0"/>
          </a:p>
        </p:txBody>
      </p:sp>
      <p:sp>
        <p:nvSpPr>
          <p:cNvPr id="5" name="Slide Number Placeholder 4"/>
          <p:cNvSpPr>
            <a:spLocks noGrp="1"/>
          </p:cNvSpPr>
          <p:nvPr>
            <p:ph type="sldNum" sz="quarter" idx="11"/>
          </p:nvPr>
        </p:nvSpPr>
        <p:spPr/>
        <p:txBody>
          <a:bodyPr/>
          <a:lstStyle/>
          <a:p>
            <a:fld id="{47547CF9-5B10-D24F-A8D7-45A9778164F7}" type="slidenum">
              <a:rPr lang="uk-UA" smtClean="0"/>
              <a:pPr/>
              <a:t>24</a:t>
            </a:fld>
            <a:endParaRPr lang="uk-UA" dirty="0"/>
          </a:p>
        </p:txBody>
      </p:sp>
      <p:sp>
        <p:nvSpPr>
          <p:cNvPr id="9" name="Rectangle 8"/>
          <p:cNvSpPr>
            <a:spLocks/>
          </p:cNvSpPr>
          <p:nvPr/>
        </p:nvSpPr>
        <p:spPr>
          <a:xfrm>
            <a:off x="295734" y="979463"/>
            <a:ext cx="847266" cy="3733800"/>
          </a:xfrm>
          <a:prstGeom prst="rect">
            <a:avLst/>
          </a:prstGeom>
          <a:solidFill>
            <a:schemeClr val="accent1">
              <a:lumMod val="10000"/>
              <a:lumOff val="9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24465" tIns="24465" rIns="24465" bIns="24465" rtlCol="0" anchor="t"/>
          <a:lstStyle/>
          <a:p>
            <a:pPr algn="ctr" fontAlgn="base">
              <a:spcBef>
                <a:spcPct val="0"/>
              </a:spcBef>
              <a:spcAft>
                <a:spcPct val="0"/>
              </a:spcAft>
              <a:buClr>
                <a:srgbClr val="002776"/>
              </a:buClr>
              <a:defRPr/>
            </a:pPr>
            <a:endParaRPr lang="en-US" sz="800" b="1" dirty="0">
              <a:solidFill>
                <a:schemeClr val="tx1"/>
              </a:solidFill>
            </a:endParaRPr>
          </a:p>
          <a:p>
            <a:pPr algn="ctr" fontAlgn="base">
              <a:spcBef>
                <a:spcPct val="0"/>
              </a:spcBef>
              <a:spcAft>
                <a:spcPct val="0"/>
              </a:spcAft>
              <a:buClr>
                <a:srgbClr val="002776"/>
              </a:buClr>
              <a:defRPr/>
            </a:pPr>
            <a:r>
              <a:rPr lang="en-US" sz="800" b="1" dirty="0">
                <a:solidFill>
                  <a:schemeClr val="tx1"/>
                </a:solidFill>
              </a:rPr>
              <a:t>GROUP</a:t>
            </a:r>
          </a:p>
        </p:txBody>
      </p:sp>
      <p:sp>
        <p:nvSpPr>
          <p:cNvPr id="10" name="Rectangle 9"/>
          <p:cNvSpPr>
            <a:spLocks/>
          </p:cNvSpPr>
          <p:nvPr/>
        </p:nvSpPr>
        <p:spPr>
          <a:xfrm>
            <a:off x="321353" y="1625817"/>
            <a:ext cx="796027" cy="318321"/>
          </a:xfrm>
          <a:prstGeom prst="rect">
            <a:avLst/>
          </a:prstGeom>
          <a:solidFill>
            <a:schemeClr val="tx2"/>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 tIns="24465" rIns="0" bIns="24465" rtlCol="0" anchor="ctr"/>
          <a:lstStyle/>
          <a:p>
            <a:pPr algn="ctr" fontAlgn="base">
              <a:spcBef>
                <a:spcPct val="0"/>
              </a:spcBef>
              <a:spcAft>
                <a:spcPct val="0"/>
              </a:spcAft>
              <a:buClr>
                <a:schemeClr val="bg1"/>
              </a:buClr>
              <a:defRPr/>
            </a:pPr>
            <a:r>
              <a:rPr lang="en-US" sz="700" b="1" dirty="0">
                <a:solidFill>
                  <a:srgbClr val="FFFFFF"/>
                </a:solidFill>
              </a:rPr>
              <a:t>Country Scout Lead</a:t>
            </a:r>
          </a:p>
        </p:txBody>
      </p:sp>
      <p:sp>
        <p:nvSpPr>
          <p:cNvPr id="11" name="Rectangle 10"/>
          <p:cNvSpPr>
            <a:spLocks/>
          </p:cNvSpPr>
          <p:nvPr/>
        </p:nvSpPr>
        <p:spPr>
          <a:xfrm>
            <a:off x="322190" y="2722768"/>
            <a:ext cx="796027" cy="284142"/>
          </a:xfrm>
          <a:prstGeom prst="rect">
            <a:avLst/>
          </a:prstGeom>
          <a:solidFill>
            <a:schemeClr val="tx2"/>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24465" tIns="24465" rIns="24465" bIns="24465" rtlCol="0" anchor="ctr"/>
          <a:lstStyle/>
          <a:p>
            <a:pPr algn="ctr" fontAlgn="base">
              <a:spcBef>
                <a:spcPct val="0"/>
              </a:spcBef>
              <a:spcAft>
                <a:spcPct val="0"/>
              </a:spcAft>
              <a:buClr>
                <a:schemeClr val="bg1"/>
              </a:buClr>
              <a:defRPr/>
            </a:pPr>
            <a:r>
              <a:rPr lang="en-GB" sz="700" b="1" dirty="0">
                <a:solidFill>
                  <a:srgbClr val="FFFFFF"/>
                </a:solidFill>
              </a:rPr>
              <a:t>Local Functional Experts</a:t>
            </a:r>
          </a:p>
        </p:txBody>
      </p:sp>
      <p:sp>
        <p:nvSpPr>
          <p:cNvPr id="12" name="Rectangle 11"/>
          <p:cNvSpPr>
            <a:spLocks/>
          </p:cNvSpPr>
          <p:nvPr/>
        </p:nvSpPr>
        <p:spPr>
          <a:xfrm>
            <a:off x="320331" y="2358169"/>
            <a:ext cx="796027" cy="313513"/>
          </a:xfrm>
          <a:prstGeom prst="rect">
            <a:avLst/>
          </a:prstGeom>
          <a:solidFill>
            <a:schemeClr val="tx2"/>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 tIns="24465" rIns="0" bIns="24465" rtlCol="0" anchor="ctr"/>
          <a:lstStyle/>
          <a:p>
            <a:pPr algn="ctr" fontAlgn="base">
              <a:spcBef>
                <a:spcPct val="0"/>
              </a:spcBef>
              <a:spcAft>
                <a:spcPct val="0"/>
              </a:spcAft>
              <a:buClr>
                <a:schemeClr val="bg1"/>
              </a:buClr>
              <a:defRPr/>
            </a:pPr>
            <a:r>
              <a:rPr lang="en-US" sz="700" b="1" dirty="0">
                <a:solidFill>
                  <a:srgbClr val="FFFFFF"/>
                </a:solidFill>
              </a:rPr>
              <a:t>Local Data Expert</a:t>
            </a:r>
            <a:r>
              <a:rPr lang="en-US" sz="700" dirty="0">
                <a:solidFill>
                  <a:srgbClr val="FFFFFF"/>
                </a:solidFill>
              </a:rPr>
              <a:t>s</a:t>
            </a:r>
            <a:endParaRPr lang="en-US" sz="700" b="1" dirty="0">
              <a:solidFill>
                <a:srgbClr val="FFFFFF"/>
              </a:solidFill>
            </a:endParaRPr>
          </a:p>
        </p:txBody>
      </p:sp>
      <p:sp>
        <p:nvSpPr>
          <p:cNvPr id="13" name="Rectangle 12"/>
          <p:cNvSpPr>
            <a:spLocks/>
          </p:cNvSpPr>
          <p:nvPr/>
        </p:nvSpPr>
        <p:spPr>
          <a:xfrm>
            <a:off x="320330" y="3354834"/>
            <a:ext cx="796027" cy="377620"/>
          </a:xfrm>
          <a:prstGeom prst="rect">
            <a:avLst/>
          </a:prstGeom>
          <a:solidFill>
            <a:schemeClr val="tx2"/>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 tIns="24465" rIns="0" bIns="24465" rtlCol="0" anchor="ctr"/>
          <a:lstStyle/>
          <a:p>
            <a:pPr algn="ctr" fontAlgn="base">
              <a:spcBef>
                <a:spcPct val="0"/>
              </a:spcBef>
              <a:spcAft>
                <a:spcPct val="0"/>
              </a:spcAft>
              <a:buClr>
                <a:schemeClr val="bg1"/>
              </a:buClr>
              <a:defRPr/>
            </a:pPr>
            <a:r>
              <a:rPr lang="en-US" sz="700" b="1" dirty="0">
                <a:solidFill>
                  <a:srgbClr val="FFFFFF"/>
                </a:solidFill>
              </a:rPr>
              <a:t>Local Trainer/s</a:t>
            </a:r>
          </a:p>
        </p:txBody>
      </p:sp>
      <p:sp>
        <p:nvSpPr>
          <p:cNvPr id="14" name="Rectangle 13"/>
          <p:cNvSpPr>
            <a:spLocks/>
          </p:cNvSpPr>
          <p:nvPr/>
        </p:nvSpPr>
        <p:spPr>
          <a:xfrm>
            <a:off x="320331" y="1995224"/>
            <a:ext cx="796027" cy="311859"/>
          </a:xfrm>
          <a:prstGeom prst="rect">
            <a:avLst/>
          </a:prstGeom>
          <a:solidFill>
            <a:schemeClr val="tx2"/>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ase">
              <a:spcBef>
                <a:spcPct val="0"/>
              </a:spcBef>
              <a:spcAft>
                <a:spcPct val="0"/>
              </a:spcAft>
              <a:buClr>
                <a:schemeClr val="bg1"/>
              </a:buClr>
              <a:defRPr/>
            </a:pPr>
            <a:r>
              <a:rPr lang="en-US" sz="700" b="1" dirty="0">
                <a:solidFill>
                  <a:schemeClr val="bg1"/>
                </a:solidFill>
              </a:rPr>
              <a:t>CC&amp;T Lead</a:t>
            </a:r>
          </a:p>
        </p:txBody>
      </p:sp>
      <p:sp>
        <p:nvSpPr>
          <p:cNvPr id="15" name="Rectangle 14"/>
          <p:cNvSpPr>
            <a:spLocks/>
          </p:cNvSpPr>
          <p:nvPr/>
        </p:nvSpPr>
        <p:spPr>
          <a:xfrm>
            <a:off x="320733" y="3057996"/>
            <a:ext cx="796027" cy="245752"/>
          </a:xfrm>
          <a:prstGeom prst="rect">
            <a:avLst/>
          </a:prstGeom>
          <a:solidFill>
            <a:schemeClr val="tx2"/>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 tIns="24465" rIns="0" bIns="24465" rtlCol="0" anchor="ctr"/>
          <a:lstStyle/>
          <a:p>
            <a:pPr algn="ctr" fontAlgn="base">
              <a:spcBef>
                <a:spcPct val="0"/>
              </a:spcBef>
              <a:spcAft>
                <a:spcPct val="0"/>
              </a:spcAft>
              <a:buClr>
                <a:schemeClr val="bg1"/>
              </a:buClr>
              <a:defRPr/>
            </a:pPr>
            <a:r>
              <a:rPr lang="en-US" sz="700" b="1" dirty="0">
                <a:solidFill>
                  <a:srgbClr val="FFFFFF"/>
                </a:solidFill>
              </a:rPr>
              <a:t>Local Translator /Reviewer</a:t>
            </a:r>
          </a:p>
        </p:txBody>
      </p:sp>
      <p:sp>
        <p:nvSpPr>
          <p:cNvPr id="16" name="Rectangle 15"/>
          <p:cNvSpPr>
            <a:spLocks/>
          </p:cNvSpPr>
          <p:nvPr/>
        </p:nvSpPr>
        <p:spPr>
          <a:xfrm>
            <a:off x="320329" y="4256925"/>
            <a:ext cx="796027" cy="422298"/>
          </a:xfrm>
          <a:prstGeom prst="rect">
            <a:avLst/>
          </a:prstGeom>
          <a:solidFill>
            <a:schemeClr val="tx2"/>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 tIns="24465" rIns="0" bIns="24465" rtlCol="0" anchor="ctr"/>
          <a:lstStyle/>
          <a:p>
            <a:pPr algn="ctr" fontAlgn="base">
              <a:spcBef>
                <a:spcPct val="0"/>
              </a:spcBef>
              <a:spcAft>
                <a:spcPct val="0"/>
              </a:spcAft>
              <a:buClr>
                <a:schemeClr val="bg1"/>
              </a:buClr>
              <a:defRPr/>
            </a:pPr>
            <a:r>
              <a:rPr lang="en-US" sz="700" b="1" dirty="0">
                <a:solidFill>
                  <a:srgbClr val="FFFFFF"/>
                </a:solidFill>
              </a:rPr>
              <a:t>Local Tester/s</a:t>
            </a:r>
          </a:p>
        </p:txBody>
      </p:sp>
      <p:sp>
        <p:nvSpPr>
          <p:cNvPr id="17" name="Rectangle 16"/>
          <p:cNvSpPr>
            <a:spLocks/>
          </p:cNvSpPr>
          <p:nvPr/>
        </p:nvSpPr>
        <p:spPr>
          <a:xfrm>
            <a:off x="1219200" y="1625817"/>
            <a:ext cx="1981200" cy="316348"/>
          </a:xfrm>
          <a:prstGeom prst="rect">
            <a:avLst/>
          </a:prstGeom>
          <a:solidFill>
            <a:schemeClr val="accent5"/>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 tIns="24465" rIns="0" bIns="24465" rtlCol="0" anchor="ctr"/>
          <a:lstStyle/>
          <a:p>
            <a:pPr algn="ctr" fontAlgn="base">
              <a:spcBef>
                <a:spcPct val="0"/>
              </a:spcBef>
              <a:spcAft>
                <a:spcPct val="0"/>
              </a:spcAft>
              <a:buClr>
                <a:schemeClr val="bg1"/>
              </a:buClr>
              <a:defRPr/>
            </a:pPr>
            <a:r>
              <a:rPr lang="en-US" sz="700" dirty="0">
                <a:solidFill>
                  <a:schemeClr val="tx2">
                    <a:lumMod val="50000"/>
                  </a:schemeClr>
                </a:solidFill>
              </a:rPr>
              <a:t>Logistics, Planning, Governance, Coordination in country</a:t>
            </a:r>
          </a:p>
        </p:txBody>
      </p:sp>
      <p:sp>
        <p:nvSpPr>
          <p:cNvPr id="18" name="Rectangle 17"/>
          <p:cNvSpPr>
            <a:spLocks/>
          </p:cNvSpPr>
          <p:nvPr/>
        </p:nvSpPr>
        <p:spPr>
          <a:xfrm>
            <a:off x="1219200" y="1995224"/>
            <a:ext cx="1981200" cy="306407"/>
          </a:xfrm>
          <a:prstGeom prst="rect">
            <a:avLst/>
          </a:prstGeom>
          <a:solidFill>
            <a:schemeClr val="bg2"/>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24465" tIns="24465" rIns="24465" bIns="24465" rtlCol="0" anchor="ctr"/>
          <a:lstStyle/>
          <a:p>
            <a:pPr algn="ctr" fontAlgn="base">
              <a:spcBef>
                <a:spcPct val="0"/>
              </a:spcBef>
              <a:spcAft>
                <a:spcPct val="0"/>
              </a:spcAft>
              <a:buClr>
                <a:schemeClr val="bg1"/>
              </a:buClr>
              <a:defRPr/>
            </a:pPr>
            <a:r>
              <a:rPr lang="en-US" sz="700" dirty="0">
                <a:solidFill>
                  <a:schemeClr val="tx2">
                    <a:lumMod val="50000"/>
                  </a:schemeClr>
                </a:solidFill>
              </a:rPr>
              <a:t>Drive change activities: stakeholder analysis &amp; engagement, impact analysis, comms &amp; training</a:t>
            </a:r>
          </a:p>
        </p:txBody>
      </p:sp>
      <p:sp>
        <p:nvSpPr>
          <p:cNvPr id="19" name="Rectangle 18"/>
          <p:cNvSpPr>
            <a:spLocks/>
          </p:cNvSpPr>
          <p:nvPr/>
        </p:nvSpPr>
        <p:spPr>
          <a:xfrm>
            <a:off x="1219200" y="2358169"/>
            <a:ext cx="1981200" cy="287499"/>
          </a:xfrm>
          <a:prstGeom prst="rect">
            <a:avLst/>
          </a:prstGeom>
          <a:solidFill>
            <a:schemeClr val="accent5"/>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 tIns="24465" rIns="0" bIns="24465" rtlCol="0" anchor="ctr"/>
          <a:lstStyle/>
          <a:p>
            <a:pPr algn="ctr" fontAlgn="base">
              <a:spcBef>
                <a:spcPct val="0"/>
              </a:spcBef>
              <a:spcAft>
                <a:spcPct val="0"/>
              </a:spcAft>
              <a:buClr>
                <a:schemeClr val="bg1"/>
              </a:buClr>
              <a:defRPr/>
            </a:pPr>
            <a:r>
              <a:rPr lang="en-US" sz="700" dirty="0">
                <a:solidFill>
                  <a:schemeClr val="tx2">
                    <a:lumMod val="50000"/>
                  </a:schemeClr>
                </a:solidFill>
              </a:rPr>
              <a:t>Data Cleaning, Data Migration Templates. Local Validation and Testing of Data</a:t>
            </a:r>
          </a:p>
        </p:txBody>
      </p:sp>
      <p:sp>
        <p:nvSpPr>
          <p:cNvPr id="20" name="Rectangle 19"/>
          <p:cNvSpPr>
            <a:spLocks/>
          </p:cNvSpPr>
          <p:nvPr/>
        </p:nvSpPr>
        <p:spPr>
          <a:xfrm>
            <a:off x="1219200" y="2722768"/>
            <a:ext cx="1981200" cy="313233"/>
          </a:xfrm>
          <a:prstGeom prst="rect">
            <a:avLst/>
          </a:prstGeom>
          <a:solidFill>
            <a:schemeClr val="accent5"/>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 tIns="24465" rIns="0" bIns="24465" rtlCol="0" anchor="ctr"/>
          <a:lstStyle/>
          <a:p>
            <a:pPr algn="ctr" fontAlgn="base">
              <a:spcBef>
                <a:spcPct val="0"/>
              </a:spcBef>
              <a:spcAft>
                <a:spcPct val="0"/>
              </a:spcAft>
              <a:buClr>
                <a:schemeClr val="bg1"/>
              </a:buClr>
              <a:defRPr/>
            </a:pPr>
            <a:r>
              <a:rPr lang="en-US" sz="700" dirty="0">
                <a:solidFill>
                  <a:schemeClr val="tx2">
                    <a:lumMod val="50000"/>
                  </a:schemeClr>
                </a:solidFill>
              </a:rPr>
              <a:t>Country Specific Settings, User Permissions, Local Validation and Testing of functionality</a:t>
            </a:r>
          </a:p>
        </p:txBody>
      </p:sp>
      <p:sp>
        <p:nvSpPr>
          <p:cNvPr id="21" name="Rectangle 20"/>
          <p:cNvSpPr>
            <a:spLocks/>
          </p:cNvSpPr>
          <p:nvPr/>
        </p:nvSpPr>
        <p:spPr>
          <a:xfrm>
            <a:off x="1218180" y="3057996"/>
            <a:ext cx="1981200" cy="257134"/>
          </a:xfrm>
          <a:prstGeom prst="rect">
            <a:avLst/>
          </a:prstGeom>
          <a:solidFill>
            <a:schemeClr val="accent5"/>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 tIns="24465" rIns="0" bIns="24465" rtlCol="0" anchor="ctr"/>
          <a:lstStyle/>
          <a:p>
            <a:pPr algn="ctr" fontAlgn="base">
              <a:spcBef>
                <a:spcPct val="0"/>
              </a:spcBef>
              <a:spcAft>
                <a:spcPct val="0"/>
              </a:spcAft>
              <a:buClr>
                <a:schemeClr val="bg1"/>
              </a:buClr>
              <a:defRPr/>
            </a:pPr>
            <a:r>
              <a:rPr lang="en-US" sz="700" dirty="0">
                <a:solidFill>
                  <a:schemeClr val="tx2">
                    <a:lumMod val="50000"/>
                  </a:schemeClr>
                </a:solidFill>
              </a:rPr>
              <a:t>Salesforce and Pitcher Translation Activities, QA of the translated  training materials</a:t>
            </a:r>
          </a:p>
        </p:txBody>
      </p:sp>
      <p:sp>
        <p:nvSpPr>
          <p:cNvPr id="22" name="Rectangle 21"/>
          <p:cNvSpPr>
            <a:spLocks/>
          </p:cNvSpPr>
          <p:nvPr/>
        </p:nvSpPr>
        <p:spPr>
          <a:xfrm>
            <a:off x="1219199" y="3354834"/>
            <a:ext cx="1981200" cy="359451"/>
          </a:xfrm>
          <a:prstGeom prst="rect">
            <a:avLst/>
          </a:prstGeom>
          <a:solidFill>
            <a:schemeClr val="bg2"/>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 tIns="24465" rIns="0" bIns="24465" rtlCol="0" anchor="ctr"/>
          <a:lstStyle/>
          <a:p>
            <a:pPr algn="ctr" fontAlgn="base">
              <a:spcBef>
                <a:spcPct val="0"/>
              </a:spcBef>
              <a:spcAft>
                <a:spcPct val="0"/>
              </a:spcAft>
              <a:buClr>
                <a:schemeClr val="bg1"/>
              </a:buClr>
              <a:defRPr/>
            </a:pPr>
            <a:r>
              <a:rPr lang="en-US" sz="700" dirty="0">
                <a:solidFill>
                  <a:schemeClr val="tx2">
                    <a:lumMod val="50000"/>
                  </a:schemeClr>
                </a:solidFill>
              </a:rPr>
              <a:t>Attend Train the Trainer, deliver End User Training, support hypercare</a:t>
            </a:r>
          </a:p>
        </p:txBody>
      </p:sp>
      <p:sp>
        <p:nvSpPr>
          <p:cNvPr id="23" name="Rectangle 22"/>
          <p:cNvSpPr>
            <a:spLocks/>
          </p:cNvSpPr>
          <p:nvPr/>
        </p:nvSpPr>
        <p:spPr>
          <a:xfrm>
            <a:off x="1219199" y="4256925"/>
            <a:ext cx="1981200" cy="376761"/>
          </a:xfrm>
          <a:prstGeom prst="rect">
            <a:avLst/>
          </a:prstGeom>
          <a:solidFill>
            <a:schemeClr val="accent5"/>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 tIns="24465" rIns="0" bIns="24465" rtlCol="0" anchor="ctr"/>
          <a:lstStyle/>
          <a:p>
            <a:pPr algn="ctr" fontAlgn="base">
              <a:spcBef>
                <a:spcPct val="0"/>
              </a:spcBef>
              <a:spcAft>
                <a:spcPct val="0"/>
              </a:spcAft>
              <a:buClr>
                <a:schemeClr val="bg1"/>
              </a:buClr>
              <a:defRPr/>
            </a:pPr>
            <a:r>
              <a:rPr lang="en-US" sz="700" dirty="0">
                <a:solidFill>
                  <a:schemeClr val="tx2">
                    <a:lumMod val="50000"/>
                  </a:schemeClr>
                </a:solidFill>
              </a:rPr>
              <a:t>Local Validation and Testing of Translations, Set-up, Data</a:t>
            </a:r>
          </a:p>
        </p:txBody>
      </p:sp>
      <p:sp>
        <p:nvSpPr>
          <p:cNvPr id="24" name="Rectangle 23"/>
          <p:cNvSpPr>
            <a:spLocks/>
          </p:cNvSpPr>
          <p:nvPr/>
        </p:nvSpPr>
        <p:spPr>
          <a:xfrm>
            <a:off x="3276601" y="1625817"/>
            <a:ext cx="1295400" cy="316348"/>
          </a:xfrm>
          <a:prstGeom prst="rect">
            <a:avLst/>
          </a:prstGeom>
          <a:solidFill>
            <a:schemeClr val="accent4"/>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 tIns="24465" rIns="0" bIns="24465" rtlCol="0" anchor="ctr"/>
          <a:lstStyle/>
          <a:p>
            <a:pPr algn="ctr" fontAlgn="base">
              <a:spcBef>
                <a:spcPct val="0"/>
              </a:spcBef>
              <a:spcAft>
                <a:spcPct val="0"/>
              </a:spcAft>
              <a:buClr>
                <a:schemeClr val="bg1"/>
              </a:buClr>
              <a:defRPr/>
            </a:pPr>
            <a:r>
              <a:rPr lang="en-GB" sz="700" dirty="0">
                <a:solidFill>
                  <a:schemeClr val="tx2">
                    <a:lumMod val="50000"/>
                  </a:schemeClr>
                </a:solidFill>
              </a:rPr>
              <a:t>One per Country</a:t>
            </a:r>
          </a:p>
        </p:txBody>
      </p:sp>
      <p:sp>
        <p:nvSpPr>
          <p:cNvPr id="25" name="Rectangle 24"/>
          <p:cNvSpPr>
            <a:spLocks/>
          </p:cNvSpPr>
          <p:nvPr/>
        </p:nvSpPr>
        <p:spPr>
          <a:xfrm>
            <a:off x="3276601" y="1995224"/>
            <a:ext cx="1295400" cy="306407"/>
          </a:xfrm>
          <a:prstGeom prst="rect">
            <a:avLst/>
          </a:prstGeom>
          <a:solidFill>
            <a:schemeClr val="accent4"/>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24465" tIns="24465" rIns="24465" bIns="24465" rtlCol="0" anchor="ctr"/>
          <a:lstStyle/>
          <a:p>
            <a:pPr algn="ctr" fontAlgn="base">
              <a:spcBef>
                <a:spcPct val="0"/>
              </a:spcBef>
              <a:spcAft>
                <a:spcPct val="0"/>
              </a:spcAft>
              <a:buClr>
                <a:schemeClr val="bg1"/>
              </a:buClr>
              <a:defRPr/>
            </a:pPr>
            <a:r>
              <a:rPr lang="en-GB" sz="700" dirty="0">
                <a:solidFill>
                  <a:schemeClr val="tx2">
                    <a:lumMod val="50000"/>
                  </a:schemeClr>
                </a:solidFill>
              </a:rPr>
              <a:t>One per Country</a:t>
            </a:r>
          </a:p>
        </p:txBody>
      </p:sp>
      <p:sp>
        <p:nvSpPr>
          <p:cNvPr id="26" name="Rectangle 25"/>
          <p:cNvSpPr>
            <a:spLocks/>
          </p:cNvSpPr>
          <p:nvPr/>
        </p:nvSpPr>
        <p:spPr>
          <a:xfrm>
            <a:off x="3276601" y="2358169"/>
            <a:ext cx="1295400" cy="287499"/>
          </a:xfrm>
          <a:prstGeom prst="rect">
            <a:avLst/>
          </a:prstGeom>
          <a:solidFill>
            <a:schemeClr val="accent4"/>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 tIns="24465" rIns="0" bIns="24465" rtlCol="0" anchor="ctr"/>
          <a:lstStyle/>
          <a:p>
            <a:pPr algn="ctr" fontAlgn="base">
              <a:spcBef>
                <a:spcPct val="0"/>
              </a:spcBef>
              <a:spcAft>
                <a:spcPct val="0"/>
              </a:spcAft>
              <a:buClr>
                <a:schemeClr val="bg1"/>
              </a:buClr>
              <a:defRPr/>
            </a:pPr>
            <a:r>
              <a:rPr lang="en-US" sz="700" dirty="0">
                <a:solidFill>
                  <a:schemeClr val="tx2">
                    <a:lumMod val="50000"/>
                  </a:schemeClr>
                </a:solidFill>
              </a:rPr>
              <a:t>One per Country</a:t>
            </a:r>
          </a:p>
        </p:txBody>
      </p:sp>
      <p:sp>
        <p:nvSpPr>
          <p:cNvPr id="27" name="Rectangle 26"/>
          <p:cNvSpPr>
            <a:spLocks/>
          </p:cNvSpPr>
          <p:nvPr/>
        </p:nvSpPr>
        <p:spPr>
          <a:xfrm>
            <a:off x="3276601" y="2722768"/>
            <a:ext cx="1295400" cy="313233"/>
          </a:xfrm>
          <a:prstGeom prst="rect">
            <a:avLst/>
          </a:prstGeom>
          <a:solidFill>
            <a:schemeClr val="accent4"/>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 tIns="24465" rIns="0" bIns="24465" rtlCol="0" anchor="ctr"/>
          <a:lstStyle/>
          <a:p>
            <a:pPr algn="ctr" fontAlgn="base">
              <a:spcBef>
                <a:spcPct val="0"/>
              </a:spcBef>
              <a:spcAft>
                <a:spcPct val="0"/>
              </a:spcAft>
              <a:buClr>
                <a:schemeClr val="bg1"/>
              </a:buClr>
              <a:defRPr/>
            </a:pPr>
            <a:r>
              <a:rPr lang="en-US" sz="700" dirty="0">
                <a:solidFill>
                  <a:schemeClr val="tx2">
                    <a:lumMod val="50000"/>
                  </a:schemeClr>
                </a:solidFill>
              </a:rPr>
              <a:t>At least one per Country</a:t>
            </a:r>
          </a:p>
        </p:txBody>
      </p:sp>
      <p:sp>
        <p:nvSpPr>
          <p:cNvPr id="28" name="Rectangle 27"/>
          <p:cNvSpPr>
            <a:spLocks/>
          </p:cNvSpPr>
          <p:nvPr/>
        </p:nvSpPr>
        <p:spPr>
          <a:xfrm>
            <a:off x="3275581" y="3057996"/>
            <a:ext cx="1295400" cy="257134"/>
          </a:xfrm>
          <a:prstGeom prst="rect">
            <a:avLst/>
          </a:prstGeom>
          <a:solidFill>
            <a:schemeClr val="accent4"/>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 tIns="24465" rIns="0" bIns="24465" rtlCol="0" anchor="ctr"/>
          <a:lstStyle/>
          <a:p>
            <a:pPr algn="ctr" fontAlgn="base">
              <a:spcBef>
                <a:spcPct val="0"/>
              </a:spcBef>
              <a:spcAft>
                <a:spcPct val="0"/>
              </a:spcAft>
              <a:buClr>
                <a:schemeClr val="bg1"/>
              </a:buClr>
              <a:defRPr/>
            </a:pPr>
            <a:r>
              <a:rPr lang="en-US" sz="700" dirty="0">
                <a:solidFill>
                  <a:schemeClr val="tx2">
                    <a:lumMod val="50000"/>
                  </a:schemeClr>
                </a:solidFill>
              </a:rPr>
              <a:t>Multiple to review training materials as it is time-consuming</a:t>
            </a:r>
          </a:p>
        </p:txBody>
      </p:sp>
      <p:sp>
        <p:nvSpPr>
          <p:cNvPr id="29" name="Rectangle 28"/>
          <p:cNvSpPr>
            <a:spLocks/>
          </p:cNvSpPr>
          <p:nvPr/>
        </p:nvSpPr>
        <p:spPr>
          <a:xfrm>
            <a:off x="3276600" y="3354834"/>
            <a:ext cx="1295400" cy="359451"/>
          </a:xfrm>
          <a:prstGeom prst="rect">
            <a:avLst/>
          </a:prstGeom>
          <a:solidFill>
            <a:schemeClr val="accent4"/>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 tIns="24465" rIns="0" bIns="24465" rtlCol="0" anchor="ctr"/>
          <a:lstStyle/>
          <a:p>
            <a:pPr algn="ctr" fontAlgn="base">
              <a:spcBef>
                <a:spcPct val="0"/>
              </a:spcBef>
              <a:spcAft>
                <a:spcPct val="0"/>
              </a:spcAft>
              <a:buClr>
                <a:schemeClr val="bg1"/>
              </a:buClr>
              <a:defRPr/>
            </a:pPr>
            <a:r>
              <a:rPr lang="en-US" sz="700" dirty="0">
                <a:solidFill>
                  <a:schemeClr val="tx2">
                    <a:lumMod val="50000"/>
                  </a:schemeClr>
                </a:solidFill>
              </a:rPr>
              <a:t>Multiple per country, depending on number of end user and language requirements </a:t>
            </a:r>
          </a:p>
        </p:txBody>
      </p:sp>
      <p:sp>
        <p:nvSpPr>
          <p:cNvPr id="30" name="Rectangle 29"/>
          <p:cNvSpPr>
            <a:spLocks/>
          </p:cNvSpPr>
          <p:nvPr/>
        </p:nvSpPr>
        <p:spPr>
          <a:xfrm>
            <a:off x="3276600" y="4256925"/>
            <a:ext cx="1295400" cy="376761"/>
          </a:xfrm>
          <a:prstGeom prst="rect">
            <a:avLst/>
          </a:prstGeom>
          <a:solidFill>
            <a:schemeClr val="accent4"/>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 tIns="24465" rIns="0" bIns="24465" rtlCol="0" anchor="ctr"/>
          <a:lstStyle/>
          <a:p>
            <a:pPr algn="ctr" fontAlgn="base">
              <a:spcBef>
                <a:spcPct val="0"/>
              </a:spcBef>
              <a:spcAft>
                <a:spcPct val="0"/>
              </a:spcAft>
              <a:buClr>
                <a:schemeClr val="bg1"/>
              </a:buClr>
              <a:defRPr/>
            </a:pPr>
            <a:r>
              <a:rPr lang="en-US" sz="700" dirty="0">
                <a:solidFill>
                  <a:schemeClr val="tx2">
                    <a:lumMod val="50000"/>
                  </a:schemeClr>
                </a:solidFill>
              </a:rPr>
              <a:t>Multiple per Country, # depending on complexity, , only required during Test Phase</a:t>
            </a:r>
          </a:p>
        </p:txBody>
      </p:sp>
      <p:sp>
        <p:nvSpPr>
          <p:cNvPr id="31" name="TextBox 30"/>
          <p:cNvSpPr txBox="1"/>
          <p:nvPr/>
        </p:nvSpPr>
        <p:spPr>
          <a:xfrm>
            <a:off x="1447801" y="991295"/>
            <a:ext cx="1524000" cy="215444"/>
          </a:xfrm>
          <a:prstGeom prst="rect">
            <a:avLst/>
          </a:prstGeom>
          <a:noFill/>
        </p:spPr>
        <p:txBody>
          <a:bodyPr wrap="square" rtlCol="0">
            <a:spAutoFit/>
          </a:bodyPr>
          <a:lstStyle/>
          <a:p>
            <a:pPr algn="ctr"/>
            <a:r>
              <a:rPr lang="en-GB" sz="800" b="1" dirty="0"/>
              <a:t>ACTIVITIES</a:t>
            </a:r>
          </a:p>
        </p:txBody>
      </p:sp>
      <p:sp>
        <p:nvSpPr>
          <p:cNvPr id="32" name="TextBox 31"/>
          <p:cNvSpPr txBox="1"/>
          <p:nvPr/>
        </p:nvSpPr>
        <p:spPr>
          <a:xfrm>
            <a:off x="3276602" y="979462"/>
            <a:ext cx="1295399" cy="215444"/>
          </a:xfrm>
          <a:prstGeom prst="rect">
            <a:avLst/>
          </a:prstGeom>
          <a:noFill/>
        </p:spPr>
        <p:txBody>
          <a:bodyPr wrap="square" rtlCol="0">
            <a:spAutoFit/>
          </a:bodyPr>
          <a:lstStyle/>
          <a:p>
            <a:pPr algn="ctr"/>
            <a:r>
              <a:rPr lang="en-GB" sz="800" b="1" dirty="0"/>
              <a:t>HOW MANY?</a:t>
            </a:r>
          </a:p>
        </p:txBody>
      </p:sp>
      <p:sp>
        <p:nvSpPr>
          <p:cNvPr id="33" name="Rectangle 32"/>
          <p:cNvSpPr>
            <a:spLocks/>
          </p:cNvSpPr>
          <p:nvPr/>
        </p:nvSpPr>
        <p:spPr>
          <a:xfrm>
            <a:off x="4748235" y="1625817"/>
            <a:ext cx="1188720" cy="316348"/>
          </a:xfrm>
          <a:prstGeom prst="rect">
            <a:avLst/>
          </a:prstGeom>
          <a:solidFill>
            <a:schemeClr val="accent4"/>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 tIns="24465" rIns="0" bIns="24465" rtlCol="0" anchor="ctr"/>
          <a:lstStyle/>
          <a:p>
            <a:pPr algn="ctr" fontAlgn="base">
              <a:spcBef>
                <a:spcPct val="0"/>
              </a:spcBef>
              <a:spcAft>
                <a:spcPct val="0"/>
              </a:spcAft>
              <a:buClr>
                <a:schemeClr val="bg1"/>
              </a:buClr>
              <a:defRPr/>
            </a:pPr>
            <a:r>
              <a:rPr lang="en-GB" sz="700" dirty="0">
                <a:solidFill>
                  <a:schemeClr val="tx2">
                    <a:lumMod val="50000"/>
                  </a:schemeClr>
                </a:solidFill>
              </a:rPr>
              <a:t>20% except for during Training &amp; </a:t>
            </a:r>
          </a:p>
          <a:p>
            <a:pPr algn="ctr" fontAlgn="base">
              <a:spcBef>
                <a:spcPct val="0"/>
              </a:spcBef>
              <a:spcAft>
                <a:spcPct val="0"/>
              </a:spcAft>
              <a:buClr>
                <a:schemeClr val="bg1"/>
              </a:buClr>
              <a:defRPr/>
            </a:pPr>
            <a:r>
              <a:rPr lang="en-GB" sz="700" dirty="0">
                <a:solidFill>
                  <a:schemeClr val="tx2">
                    <a:lumMod val="50000"/>
                  </a:schemeClr>
                </a:solidFill>
              </a:rPr>
              <a:t>Testing 60-80%</a:t>
            </a:r>
          </a:p>
        </p:txBody>
      </p:sp>
      <p:sp>
        <p:nvSpPr>
          <p:cNvPr id="34" name="Rectangle 33"/>
          <p:cNvSpPr>
            <a:spLocks/>
          </p:cNvSpPr>
          <p:nvPr/>
        </p:nvSpPr>
        <p:spPr>
          <a:xfrm>
            <a:off x="4748235" y="1995224"/>
            <a:ext cx="1188720" cy="306407"/>
          </a:xfrm>
          <a:prstGeom prst="rect">
            <a:avLst/>
          </a:prstGeom>
          <a:solidFill>
            <a:schemeClr val="accent4"/>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ase">
              <a:spcBef>
                <a:spcPct val="0"/>
              </a:spcBef>
              <a:spcAft>
                <a:spcPct val="0"/>
              </a:spcAft>
              <a:buClr>
                <a:schemeClr val="bg1"/>
              </a:buClr>
              <a:defRPr/>
            </a:pPr>
            <a:r>
              <a:rPr lang="de-DE" sz="700" dirty="0">
                <a:solidFill>
                  <a:schemeClr val="tx2">
                    <a:lumMod val="50000"/>
                  </a:schemeClr>
                </a:solidFill>
              </a:rPr>
              <a:t>20%-30%</a:t>
            </a:r>
            <a:endParaRPr lang="en-US" sz="700" dirty="0">
              <a:solidFill>
                <a:schemeClr val="tx2">
                  <a:lumMod val="50000"/>
                </a:schemeClr>
              </a:solidFill>
            </a:endParaRPr>
          </a:p>
        </p:txBody>
      </p:sp>
      <p:sp>
        <p:nvSpPr>
          <p:cNvPr id="35" name="Rectangle 34"/>
          <p:cNvSpPr>
            <a:spLocks/>
          </p:cNvSpPr>
          <p:nvPr/>
        </p:nvSpPr>
        <p:spPr>
          <a:xfrm>
            <a:off x="4748235" y="2358169"/>
            <a:ext cx="1188720" cy="287499"/>
          </a:xfrm>
          <a:prstGeom prst="rect">
            <a:avLst/>
          </a:prstGeom>
          <a:solidFill>
            <a:schemeClr val="accent4"/>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 tIns="24465" rIns="0" bIns="24465" rtlCol="0" anchor="ctr"/>
          <a:lstStyle/>
          <a:p>
            <a:pPr algn="ctr" fontAlgn="base">
              <a:spcBef>
                <a:spcPct val="0"/>
              </a:spcBef>
              <a:spcAft>
                <a:spcPct val="0"/>
              </a:spcAft>
              <a:buClr>
                <a:schemeClr val="bg1"/>
              </a:buClr>
              <a:defRPr/>
            </a:pPr>
            <a:r>
              <a:rPr lang="en-US" sz="700" dirty="0">
                <a:solidFill>
                  <a:schemeClr val="tx2">
                    <a:lumMod val="50000"/>
                  </a:schemeClr>
                </a:solidFill>
              </a:rPr>
              <a:t>5-10% throughout</a:t>
            </a:r>
          </a:p>
          <a:p>
            <a:pPr algn="ctr" fontAlgn="base">
              <a:spcBef>
                <a:spcPct val="0"/>
              </a:spcBef>
              <a:spcAft>
                <a:spcPct val="0"/>
              </a:spcAft>
              <a:buClr>
                <a:schemeClr val="bg1"/>
              </a:buClr>
              <a:defRPr/>
            </a:pPr>
            <a:r>
              <a:rPr lang="en-US" sz="700" dirty="0">
                <a:solidFill>
                  <a:schemeClr val="tx2">
                    <a:lumMod val="50000"/>
                  </a:schemeClr>
                </a:solidFill>
              </a:rPr>
              <a:t>60-80% during testing</a:t>
            </a:r>
          </a:p>
        </p:txBody>
      </p:sp>
      <p:sp>
        <p:nvSpPr>
          <p:cNvPr id="36" name="Rectangle 35"/>
          <p:cNvSpPr>
            <a:spLocks/>
          </p:cNvSpPr>
          <p:nvPr/>
        </p:nvSpPr>
        <p:spPr>
          <a:xfrm>
            <a:off x="4748235" y="2722768"/>
            <a:ext cx="1188720" cy="313233"/>
          </a:xfrm>
          <a:prstGeom prst="rect">
            <a:avLst/>
          </a:prstGeom>
          <a:solidFill>
            <a:schemeClr val="accent4"/>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 tIns="24465" rIns="0" bIns="24465" rtlCol="0" anchor="ctr"/>
          <a:lstStyle/>
          <a:p>
            <a:pPr algn="ctr" fontAlgn="base">
              <a:spcBef>
                <a:spcPct val="0"/>
              </a:spcBef>
              <a:spcAft>
                <a:spcPct val="0"/>
              </a:spcAft>
              <a:buClr>
                <a:schemeClr val="bg1"/>
              </a:buClr>
              <a:defRPr/>
            </a:pPr>
            <a:r>
              <a:rPr lang="en-US" sz="700" dirty="0">
                <a:solidFill>
                  <a:schemeClr val="tx2">
                    <a:lumMod val="50000"/>
                  </a:schemeClr>
                </a:solidFill>
              </a:rPr>
              <a:t>5-10% throughout then 60-80% during testing</a:t>
            </a:r>
          </a:p>
        </p:txBody>
      </p:sp>
      <p:sp>
        <p:nvSpPr>
          <p:cNvPr id="37" name="Rectangle 36"/>
          <p:cNvSpPr>
            <a:spLocks/>
          </p:cNvSpPr>
          <p:nvPr/>
        </p:nvSpPr>
        <p:spPr>
          <a:xfrm>
            <a:off x="4747215" y="3057996"/>
            <a:ext cx="1188720" cy="257134"/>
          </a:xfrm>
          <a:prstGeom prst="rect">
            <a:avLst/>
          </a:prstGeom>
          <a:solidFill>
            <a:schemeClr val="accent4"/>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 tIns="24465" rIns="0" bIns="24465" rtlCol="0" anchor="ctr"/>
          <a:lstStyle/>
          <a:p>
            <a:pPr algn="ctr" fontAlgn="base">
              <a:spcBef>
                <a:spcPct val="0"/>
              </a:spcBef>
              <a:spcAft>
                <a:spcPct val="0"/>
              </a:spcAft>
              <a:buClr>
                <a:schemeClr val="bg1"/>
              </a:buClr>
              <a:defRPr/>
            </a:pPr>
            <a:r>
              <a:rPr lang="en-US" sz="700" dirty="0">
                <a:solidFill>
                  <a:schemeClr val="tx2">
                    <a:lumMod val="50000"/>
                  </a:schemeClr>
                </a:solidFill>
              </a:rPr>
              <a:t>0%</a:t>
            </a:r>
          </a:p>
        </p:txBody>
      </p:sp>
      <p:sp>
        <p:nvSpPr>
          <p:cNvPr id="38" name="Rectangle 37"/>
          <p:cNvSpPr>
            <a:spLocks/>
          </p:cNvSpPr>
          <p:nvPr/>
        </p:nvSpPr>
        <p:spPr>
          <a:xfrm>
            <a:off x="4748234" y="3354834"/>
            <a:ext cx="1188720" cy="359451"/>
          </a:xfrm>
          <a:prstGeom prst="rect">
            <a:avLst/>
          </a:prstGeom>
          <a:solidFill>
            <a:schemeClr val="accent4"/>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ase">
              <a:spcBef>
                <a:spcPct val="0"/>
              </a:spcBef>
              <a:spcAft>
                <a:spcPct val="0"/>
              </a:spcAft>
              <a:buClr>
                <a:schemeClr val="bg1"/>
              </a:buClr>
              <a:defRPr/>
            </a:pPr>
            <a:r>
              <a:rPr lang="en-US" sz="700" dirty="0">
                <a:solidFill>
                  <a:schemeClr val="tx2">
                    <a:lumMod val="50000"/>
                  </a:schemeClr>
                </a:solidFill>
              </a:rPr>
              <a:t>~5-10%</a:t>
            </a:r>
          </a:p>
          <a:p>
            <a:pPr algn="ctr" fontAlgn="base">
              <a:spcBef>
                <a:spcPct val="0"/>
              </a:spcBef>
              <a:spcAft>
                <a:spcPct val="0"/>
              </a:spcAft>
              <a:buClr>
                <a:schemeClr val="bg1"/>
              </a:buClr>
              <a:defRPr/>
            </a:pPr>
            <a:r>
              <a:rPr lang="en-US" sz="700" dirty="0">
                <a:solidFill>
                  <a:schemeClr val="tx2">
                    <a:lumMod val="50000"/>
                  </a:schemeClr>
                </a:solidFill>
              </a:rPr>
              <a:t>80% during training</a:t>
            </a:r>
          </a:p>
        </p:txBody>
      </p:sp>
      <p:sp>
        <p:nvSpPr>
          <p:cNvPr id="39" name="Rectangle 38"/>
          <p:cNvSpPr>
            <a:spLocks/>
          </p:cNvSpPr>
          <p:nvPr/>
        </p:nvSpPr>
        <p:spPr>
          <a:xfrm>
            <a:off x="4748234" y="4256925"/>
            <a:ext cx="1188720" cy="376761"/>
          </a:xfrm>
          <a:prstGeom prst="rect">
            <a:avLst/>
          </a:prstGeom>
          <a:solidFill>
            <a:schemeClr val="accent4"/>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 tIns="24465" rIns="0" bIns="24465" rtlCol="0" anchor="ctr"/>
          <a:lstStyle/>
          <a:p>
            <a:pPr algn="ctr" fontAlgn="base">
              <a:spcBef>
                <a:spcPct val="0"/>
              </a:spcBef>
              <a:spcAft>
                <a:spcPct val="0"/>
              </a:spcAft>
              <a:buClr>
                <a:schemeClr val="bg1"/>
              </a:buClr>
              <a:defRPr/>
            </a:pPr>
            <a:r>
              <a:rPr lang="en-US" sz="700" dirty="0">
                <a:solidFill>
                  <a:schemeClr val="tx2">
                    <a:lumMod val="50000"/>
                  </a:schemeClr>
                </a:solidFill>
              </a:rPr>
              <a:t>80% initial test cycle, 40% second test cycle, 20% Hypercare</a:t>
            </a:r>
          </a:p>
        </p:txBody>
      </p:sp>
      <p:sp>
        <p:nvSpPr>
          <p:cNvPr id="40" name="TextBox 39"/>
          <p:cNvSpPr txBox="1"/>
          <p:nvPr/>
        </p:nvSpPr>
        <p:spPr>
          <a:xfrm>
            <a:off x="4781857" y="954822"/>
            <a:ext cx="1067820" cy="307777"/>
          </a:xfrm>
          <a:prstGeom prst="rect">
            <a:avLst/>
          </a:prstGeom>
          <a:solidFill>
            <a:srgbClr val="CCFF99"/>
          </a:solidFill>
        </p:spPr>
        <p:txBody>
          <a:bodyPr wrap="square" rtlCol="0" anchor="ctr">
            <a:spAutoFit/>
          </a:bodyPr>
          <a:lstStyle/>
          <a:p>
            <a:pPr algn="ctr"/>
            <a:r>
              <a:rPr lang="en-GB" sz="700" b="1" dirty="0"/>
              <a:t>ALLOCATION</a:t>
            </a:r>
          </a:p>
          <a:p>
            <a:pPr algn="ctr"/>
            <a:r>
              <a:rPr lang="en-GB" sz="700" b="1" dirty="0"/>
              <a:t>LOW COMPLEXITY</a:t>
            </a:r>
          </a:p>
        </p:txBody>
      </p:sp>
      <p:sp>
        <p:nvSpPr>
          <p:cNvPr id="41" name="Rectangle 40"/>
          <p:cNvSpPr>
            <a:spLocks/>
          </p:cNvSpPr>
          <p:nvPr/>
        </p:nvSpPr>
        <p:spPr>
          <a:xfrm>
            <a:off x="323528" y="1286518"/>
            <a:ext cx="796027" cy="288213"/>
          </a:xfrm>
          <a:prstGeom prst="rect">
            <a:avLst/>
          </a:prstGeom>
          <a:solidFill>
            <a:schemeClr val="accent2">
              <a:lumMod val="60000"/>
              <a:lumOff val="40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ase">
              <a:spcBef>
                <a:spcPct val="0"/>
              </a:spcBef>
              <a:spcAft>
                <a:spcPct val="0"/>
              </a:spcAft>
              <a:buClr>
                <a:schemeClr val="bg1"/>
              </a:buClr>
              <a:defRPr/>
            </a:pPr>
            <a:r>
              <a:rPr lang="en-US" sz="700" b="1" dirty="0">
                <a:solidFill>
                  <a:schemeClr val="bg1"/>
                </a:solidFill>
              </a:rPr>
              <a:t>Country/Cluster ComEx Lead</a:t>
            </a:r>
          </a:p>
        </p:txBody>
      </p:sp>
      <p:sp>
        <p:nvSpPr>
          <p:cNvPr id="42" name="Rectangle 41"/>
          <p:cNvSpPr>
            <a:spLocks/>
          </p:cNvSpPr>
          <p:nvPr/>
        </p:nvSpPr>
        <p:spPr>
          <a:xfrm>
            <a:off x="1222397" y="1286518"/>
            <a:ext cx="1981200" cy="257134"/>
          </a:xfrm>
          <a:prstGeom prst="rect">
            <a:avLst/>
          </a:prstGeom>
          <a:solidFill>
            <a:schemeClr val="bg2"/>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24465" tIns="24465" rIns="24465" bIns="24465" rtlCol="0" anchor="ctr"/>
          <a:lstStyle/>
          <a:p>
            <a:pPr algn="ctr" fontAlgn="base">
              <a:spcBef>
                <a:spcPct val="0"/>
              </a:spcBef>
              <a:spcAft>
                <a:spcPct val="0"/>
              </a:spcAft>
              <a:buClr>
                <a:schemeClr val="bg1"/>
              </a:buClr>
              <a:defRPr/>
            </a:pPr>
            <a:r>
              <a:rPr lang="en-US" sz="700" dirty="0">
                <a:solidFill>
                  <a:schemeClr val="tx2">
                    <a:lumMod val="50000"/>
                  </a:schemeClr>
                </a:solidFill>
              </a:rPr>
              <a:t>Logistics, Planning, Governance, Coordination for multiple countries</a:t>
            </a:r>
          </a:p>
        </p:txBody>
      </p:sp>
      <p:sp>
        <p:nvSpPr>
          <p:cNvPr id="43" name="Rectangle 42"/>
          <p:cNvSpPr>
            <a:spLocks/>
          </p:cNvSpPr>
          <p:nvPr/>
        </p:nvSpPr>
        <p:spPr>
          <a:xfrm>
            <a:off x="3279798" y="1286518"/>
            <a:ext cx="1295400" cy="257134"/>
          </a:xfrm>
          <a:prstGeom prst="rect">
            <a:avLst/>
          </a:prstGeom>
          <a:solidFill>
            <a:schemeClr val="accent4"/>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24465" tIns="24465" rIns="24465" bIns="24465" rtlCol="0" anchor="ctr"/>
          <a:lstStyle/>
          <a:p>
            <a:pPr algn="ctr" fontAlgn="base">
              <a:spcBef>
                <a:spcPct val="0"/>
              </a:spcBef>
              <a:spcAft>
                <a:spcPct val="0"/>
              </a:spcAft>
              <a:buClr>
                <a:schemeClr val="bg1"/>
              </a:buClr>
              <a:defRPr/>
            </a:pPr>
            <a:r>
              <a:rPr lang="en-GB" sz="700" dirty="0">
                <a:solidFill>
                  <a:schemeClr val="tx2">
                    <a:lumMod val="50000"/>
                  </a:schemeClr>
                </a:solidFill>
              </a:rPr>
              <a:t>One per Cluster or Country</a:t>
            </a:r>
          </a:p>
        </p:txBody>
      </p:sp>
      <p:sp>
        <p:nvSpPr>
          <p:cNvPr id="44" name="Rectangle 43"/>
          <p:cNvSpPr>
            <a:spLocks/>
          </p:cNvSpPr>
          <p:nvPr/>
        </p:nvSpPr>
        <p:spPr>
          <a:xfrm>
            <a:off x="4751432" y="1286518"/>
            <a:ext cx="1188720" cy="257134"/>
          </a:xfrm>
          <a:prstGeom prst="rect">
            <a:avLst/>
          </a:prstGeom>
          <a:solidFill>
            <a:schemeClr val="accent4"/>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ase">
              <a:spcBef>
                <a:spcPct val="0"/>
              </a:spcBef>
              <a:spcAft>
                <a:spcPct val="0"/>
              </a:spcAft>
              <a:buClr>
                <a:schemeClr val="bg1"/>
              </a:buClr>
              <a:defRPr/>
            </a:pPr>
            <a:r>
              <a:rPr lang="en-GB" sz="700" dirty="0">
                <a:solidFill>
                  <a:schemeClr val="tx2">
                    <a:lumMod val="50000"/>
                  </a:schemeClr>
                </a:solidFill>
              </a:rPr>
              <a:t>Guidance &amp; Governance across the Wave</a:t>
            </a:r>
            <a:endParaRPr lang="en-US" sz="700" dirty="0">
              <a:solidFill>
                <a:schemeClr val="tx2">
                  <a:lumMod val="50000"/>
                </a:schemeClr>
              </a:solidFill>
            </a:endParaRPr>
          </a:p>
        </p:txBody>
      </p:sp>
      <p:sp>
        <p:nvSpPr>
          <p:cNvPr id="45" name="Rectangle 44"/>
          <p:cNvSpPr>
            <a:spLocks/>
          </p:cNvSpPr>
          <p:nvPr/>
        </p:nvSpPr>
        <p:spPr>
          <a:xfrm>
            <a:off x="6059532" y="1625817"/>
            <a:ext cx="1173567" cy="307905"/>
          </a:xfrm>
          <a:prstGeom prst="rect">
            <a:avLst/>
          </a:prstGeom>
          <a:solidFill>
            <a:schemeClr val="accent4"/>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 tIns="24465" rIns="0" bIns="24465" rtlCol="0" anchor="ctr"/>
          <a:lstStyle/>
          <a:p>
            <a:pPr algn="ctr" fontAlgn="base">
              <a:spcBef>
                <a:spcPct val="0"/>
              </a:spcBef>
              <a:spcAft>
                <a:spcPct val="0"/>
              </a:spcAft>
              <a:buClr>
                <a:schemeClr val="bg1"/>
              </a:buClr>
              <a:defRPr/>
            </a:pPr>
            <a:r>
              <a:rPr lang="en-GB" sz="700" dirty="0">
                <a:solidFill>
                  <a:schemeClr val="tx2">
                    <a:lumMod val="50000"/>
                  </a:schemeClr>
                </a:solidFill>
              </a:rPr>
              <a:t>40% except for during Training &amp; </a:t>
            </a:r>
          </a:p>
          <a:p>
            <a:pPr algn="ctr" fontAlgn="base">
              <a:spcBef>
                <a:spcPct val="0"/>
              </a:spcBef>
              <a:spcAft>
                <a:spcPct val="0"/>
              </a:spcAft>
              <a:buClr>
                <a:schemeClr val="bg1"/>
              </a:buClr>
              <a:defRPr/>
            </a:pPr>
            <a:r>
              <a:rPr lang="en-GB" sz="700" dirty="0">
                <a:solidFill>
                  <a:schemeClr val="tx2">
                    <a:lumMod val="50000"/>
                  </a:schemeClr>
                </a:solidFill>
              </a:rPr>
              <a:t>Testing 60-80%</a:t>
            </a:r>
          </a:p>
        </p:txBody>
      </p:sp>
      <p:sp>
        <p:nvSpPr>
          <p:cNvPr id="46" name="Rectangle 45"/>
          <p:cNvSpPr>
            <a:spLocks/>
          </p:cNvSpPr>
          <p:nvPr/>
        </p:nvSpPr>
        <p:spPr>
          <a:xfrm>
            <a:off x="6059532" y="1995224"/>
            <a:ext cx="1173567" cy="298229"/>
          </a:xfrm>
          <a:prstGeom prst="rect">
            <a:avLst/>
          </a:prstGeom>
          <a:solidFill>
            <a:schemeClr val="accent4"/>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ase">
              <a:spcBef>
                <a:spcPct val="0"/>
              </a:spcBef>
              <a:spcAft>
                <a:spcPct val="0"/>
              </a:spcAft>
              <a:buClr>
                <a:schemeClr val="bg1"/>
              </a:buClr>
              <a:defRPr/>
            </a:pPr>
            <a:r>
              <a:rPr lang="de-DE" sz="700" dirty="0">
                <a:solidFill>
                  <a:schemeClr val="tx2">
                    <a:lumMod val="50000"/>
                  </a:schemeClr>
                </a:solidFill>
              </a:rPr>
              <a:t>20%-30%</a:t>
            </a:r>
            <a:endParaRPr lang="en-US" sz="700" dirty="0">
              <a:solidFill>
                <a:schemeClr val="tx2">
                  <a:lumMod val="50000"/>
                </a:schemeClr>
              </a:solidFill>
            </a:endParaRPr>
          </a:p>
        </p:txBody>
      </p:sp>
      <p:sp>
        <p:nvSpPr>
          <p:cNvPr id="47" name="Rectangle 46"/>
          <p:cNvSpPr>
            <a:spLocks/>
          </p:cNvSpPr>
          <p:nvPr/>
        </p:nvSpPr>
        <p:spPr>
          <a:xfrm>
            <a:off x="6059532" y="2358169"/>
            <a:ext cx="1173567" cy="279826"/>
          </a:xfrm>
          <a:prstGeom prst="rect">
            <a:avLst/>
          </a:prstGeom>
          <a:solidFill>
            <a:schemeClr val="accent4"/>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 tIns="24465" rIns="0" bIns="24465" rtlCol="0" anchor="ctr"/>
          <a:lstStyle/>
          <a:p>
            <a:pPr algn="ctr" fontAlgn="base">
              <a:spcBef>
                <a:spcPct val="0"/>
              </a:spcBef>
              <a:spcAft>
                <a:spcPct val="0"/>
              </a:spcAft>
              <a:buClr>
                <a:schemeClr val="bg1"/>
              </a:buClr>
              <a:defRPr/>
            </a:pPr>
            <a:r>
              <a:rPr lang="en-US" sz="700" dirty="0">
                <a:solidFill>
                  <a:schemeClr val="tx2">
                    <a:lumMod val="50000"/>
                  </a:schemeClr>
                </a:solidFill>
              </a:rPr>
              <a:t>10-20% depending on legacy system, 60-80% during testing</a:t>
            </a:r>
          </a:p>
        </p:txBody>
      </p:sp>
      <p:sp>
        <p:nvSpPr>
          <p:cNvPr id="48" name="Rectangle 47"/>
          <p:cNvSpPr>
            <a:spLocks/>
          </p:cNvSpPr>
          <p:nvPr/>
        </p:nvSpPr>
        <p:spPr>
          <a:xfrm>
            <a:off x="6059532" y="2722768"/>
            <a:ext cx="1173567" cy="304873"/>
          </a:xfrm>
          <a:prstGeom prst="rect">
            <a:avLst/>
          </a:prstGeom>
          <a:solidFill>
            <a:schemeClr val="accent4"/>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 tIns="24465" rIns="0" bIns="24465" rtlCol="0" anchor="ctr"/>
          <a:lstStyle/>
          <a:p>
            <a:pPr algn="ctr" fontAlgn="base">
              <a:spcBef>
                <a:spcPct val="0"/>
              </a:spcBef>
              <a:spcAft>
                <a:spcPct val="0"/>
              </a:spcAft>
              <a:buClr>
                <a:schemeClr val="bg1"/>
              </a:buClr>
              <a:defRPr/>
            </a:pPr>
            <a:r>
              <a:rPr lang="en-US" sz="700" dirty="0">
                <a:solidFill>
                  <a:schemeClr val="tx2">
                    <a:lumMod val="50000"/>
                  </a:schemeClr>
                </a:solidFill>
              </a:rPr>
              <a:t>10-20% throughout then 60-80% during testing</a:t>
            </a:r>
          </a:p>
        </p:txBody>
      </p:sp>
      <p:sp>
        <p:nvSpPr>
          <p:cNvPr id="49" name="Rectangle 48"/>
          <p:cNvSpPr>
            <a:spLocks/>
          </p:cNvSpPr>
          <p:nvPr/>
        </p:nvSpPr>
        <p:spPr>
          <a:xfrm>
            <a:off x="6058512" y="3057996"/>
            <a:ext cx="1173567" cy="250270"/>
          </a:xfrm>
          <a:prstGeom prst="rect">
            <a:avLst/>
          </a:prstGeom>
          <a:solidFill>
            <a:schemeClr val="accent4"/>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 tIns="24465" rIns="0" bIns="24465" rtlCol="0" anchor="ctr"/>
          <a:lstStyle/>
          <a:p>
            <a:pPr algn="ctr" fontAlgn="base">
              <a:spcBef>
                <a:spcPct val="0"/>
              </a:spcBef>
              <a:spcAft>
                <a:spcPct val="0"/>
              </a:spcAft>
              <a:buClr>
                <a:schemeClr val="bg1"/>
              </a:buClr>
              <a:defRPr/>
            </a:pPr>
            <a:r>
              <a:rPr lang="en-US" sz="700" dirty="0">
                <a:solidFill>
                  <a:schemeClr val="tx2">
                    <a:lumMod val="50000"/>
                  </a:schemeClr>
                </a:solidFill>
              </a:rPr>
              <a:t>20%</a:t>
            </a:r>
          </a:p>
        </p:txBody>
      </p:sp>
      <p:sp>
        <p:nvSpPr>
          <p:cNvPr id="50" name="Rectangle 49"/>
          <p:cNvSpPr>
            <a:spLocks/>
          </p:cNvSpPr>
          <p:nvPr/>
        </p:nvSpPr>
        <p:spPr>
          <a:xfrm>
            <a:off x="6059531" y="3354834"/>
            <a:ext cx="1173567" cy="349857"/>
          </a:xfrm>
          <a:prstGeom prst="rect">
            <a:avLst/>
          </a:prstGeom>
          <a:solidFill>
            <a:schemeClr val="accent4"/>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ase">
              <a:spcBef>
                <a:spcPct val="0"/>
              </a:spcBef>
              <a:spcAft>
                <a:spcPct val="0"/>
              </a:spcAft>
              <a:buClr>
                <a:schemeClr val="bg1"/>
              </a:buClr>
              <a:defRPr/>
            </a:pPr>
            <a:r>
              <a:rPr lang="en-US" sz="700" dirty="0">
                <a:solidFill>
                  <a:schemeClr val="tx2">
                    <a:lumMod val="50000"/>
                  </a:schemeClr>
                </a:solidFill>
              </a:rPr>
              <a:t>~5-10%</a:t>
            </a:r>
          </a:p>
          <a:p>
            <a:pPr algn="ctr" fontAlgn="base">
              <a:spcBef>
                <a:spcPct val="0"/>
              </a:spcBef>
              <a:spcAft>
                <a:spcPct val="0"/>
              </a:spcAft>
              <a:buClr>
                <a:schemeClr val="bg1"/>
              </a:buClr>
              <a:defRPr/>
            </a:pPr>
            <a:r>
              <a:rPr lang="en-US" sz="700" dirty="0">
                <a:solidFill>
                  <a:schemeClr val="tx2">
                    <a:lumMod val="50000"/>
                  </a:schemeClr>
                </a:solidFill>
              </a:rPr>
              <a:t>80% during training</a:t>
            </a:r>
          </a:p>
        </p:txBody>
      </p:sp>
      <p:sp>
        <p:nvSpPr>
          <p:cNvPr id="51" name="Rectangle 50"/>
          <p:cNvSpPr>
            <a:spLocks/>
          </p:cNvSpPr>
          <p:nvPr/>
        </p:nvSpPr>
        <p:spPr>
          <a:xfrm>
            <a:off x="6059531" y="4256925"/>
            <a:ext cx="1173567" cy="366705"/>
          </a:xfrm>
          <a:prstGeom prst="rect">
            <a:avLst/>
          </a:prstGeom>
          <a:solidFill>
            <a:schemeClr val="accent4"/>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 tIns="24465" rIns="0" bIns="24465" rtlCol="0" anchor="ctr"/>
          <a:lstStyle/>
          <a:p>
            <a:pPr algn="ctr" fontAlgn="base">
              <a:spcBef>
                <a:spcPct val="0"/>
              </a:spcBef>
              <a:spcAft>
                <a:spcPct val="0"/>
              </a:spcAft>
              <a:buClr>
                <a:schemeClr val="bg1"/>
              </a:buClr>
              <a:defRPr/>
            </a:pPr>
            <a:r>
              <a:rPr lang="en-US" sz="700" dirty="0">
                <a:solidFill>
                  <a:schemeClr val="tx2">
                    <a:lumMod val="50000"/>
                  </a:schemeClr>
                </a:solidFill>
              </a:rPr>
              <a:t>80% initial test cycle, 40% second test cycle, 20% Hypercare</a:t>
            </a:r>
          </a:p>
        </p:txBody>
      </p:sp>
      <p:sp>
        <p:nvSpPr>
          <p:cNvPr id="52" name="TextBox 51"/>
          <p:cNvSpPr txBox="1"/>
          <p:nvPr/>
        </p:nvSpPr>
        <p:spPr>
          <a:xfrm>
            <a:off x="6059534" y="954822"/>
            <a:ext cx="1173566" cy="307777"/>
          </a:xfrm>
          <a:prstGeom prst="rect">
            <a:avLst/>
          </a:prstGeom>
          <a:solidFill>
            <a:srgbClr val="FFFF99"/>
          </a:solidFill>
        </p:spPr>
        <p:txBody>
          <a:bodyPr wrap="square" rtlCol="0" anchor="ctr">
            <a:spAutoFit/>
          </a:bodyPr>
          <a:lstStyle/>
          <a:p>
            <a:pPr algn="ctr"/>
            <a:r>
              <a:rPr lang="en-GB" sz="700" b="1" dirty="0"/>
              <a:t>ALLOCATION</a:t>
            </a:r>
          </a:p>
          <a:p>
            <a:pPr algn="ctr"/>
            <a:r>
              <a:rPr lang="en-GB" sz="700" b="1" dirty="0"/>
              <a:t>MEDIUM COMPLEXITY</a:t>
            </a:r>
          </a:p>
        </p:txBody>
      </p:sp>
      <p:sp>
        <p:nvSpPr>
          <p:cNvPr id="53" name="Rectangle 52"/>
          <p:cNvSpPr>
            <a:spLocks/>
          </p:cNvSpPr>
          <p:nvPr/>
        </p:nvSpPr>
        <p:spPr>
          <a:xfrm>
            <a:off x="6062729" y="1286518"/>
            <a:ext cx="1173567" cy="250270"/>
          </a:xfrm>
          <a:prstGeom prst="rect">
            <a:avLst/>
          </a:prstGeom>
          <a:solidFill>
            <a:schemeClr val="accent4"/>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ase">
              <a:spcBef>
                <a:spcPct val="0"/>
              </a:spcBef>
              <a:spcAft>
                <a:spcPct val="0"/>
              </a:spcAft>
              <a:buClr>
                <a:schemeClr val="bg1"/>
              </a:buClr>
              <a:defRPr/>
            </a:pPr>
            <a:r>
              <a:rPr lang="en-GB" sz="700" dirty="0">
                <a:solidFill>
                  <a:schemeClr val="tx2">
                    <a:lumMod val="50000"/>
                  </a:schemeClr>
                </a:solidFill>
              </a:rPr>
              <a:t>Guidance &amp; Governance across the Wave</a:t>
            </a:r>
            <a:endParaRPr lang="en-US" sz="700" dirty="0">
              <a:solidFill>
                <a:schemeClr val="tx2">
                  <a:lumMod val="50000"/>
                </a:schemeClr>
              </a:solidFill>
            </a:endParaRPr>
          </a:p>
        </p:txBody>
      </p:sp>
      <p:sp>
        <p:nvSpPr>
          <p:cNvPr id="54" name="Rectangle 53"/>
          <p:cNvSpPr>
            <a:spLocks/>
          </p:cNvSpPr>
          <p:nvPr/>
        </p:nvSpPr>
        <p:spPr>
          <a:xfrm>
            <a:off x="7340523" y="1625817"/>
            <a:ext cx="1188720" cy="316348"/>
          </a:xfrm>
          <a:prstGeom prst="rect">
            <a:avLst/>
          </a:prstGeom>
          <a:solidFill>
            <a:schemeClr val="accent4"/>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 tIns="24465" rIns="0" bIns="24465" rtlCol="0" anchor="ctr"/>
          <a:lstStyle/>
          <a:p>
            <a:pPr algn="ctr" fontAlgn="base">
              <a:spcBef>
                <a:spcPct val="0"/>
              </a:spcBef>
              <a:spcAft>
                <a:spcPct val="0"/>
              </a:spcAft>
              <a:buClr>
                <a:schemeClr val="bg1"/>
              </a:buClr>
              <a:defRPr/>
            </a:pPr>
            <a:r>
              <a:rPr lang="en-GB" sz="700" dirty="0">
                <a:solidFill>
                  <a:schemeClr val="tx2">
                    <a:lumMod val="50000"/>
                  </a:schemeClr>
                </a:solidFill>
              </a:rPr>
              <a:t>60+% except for during Training &amp; </a:t>
            </a:r>
          </a:p>
          <a:p>
            <a:pPr algn="ctr" fontAlgn="base">
              <a:spcBef>
                <a:spcPct val="0"/>
              </a:spcBef>
              <a:spcAft>
                <a:spcPct val="0"/>
              </a:spcAft>
              <a:buClr>
                <a:schemeClr val="bg1"/>
              </a:buClr>
              <a:defRPr/>
            </a:pPr>
            <a:r>
              <a:rPr lang="en-GB" sz="700" dirty="0">
                <a:solidFill>
                  <a:schemeClr val="tx2">
                    <a:lumMod val="50000"/>
                  </a:schemeClr>
                </a:solidFill>
              </a:rPr>
              <a:t>Testing 60-80%</a:t>
            </a:r>
          </a:p>
        </p:txBody>
      </p:sp>
      <p:sp>
        <p:nvSpPr>
          <p:cNvPr id="55" name="Rectangle 54"/>
          <p:cNvSpPr>
            <a:spLocks/>
          </p:cNvSpPr>
          <p:nvPr/>
        </p:nvSpPr>
        <p:spPr>
          <a:xfrm>
            <a:off x="7340523" y="1995224"/>
            <a:ext cx="1188720" cy="306407"/>
          </a:xfrm>
          <a:prstGeom prst="rect">
            <a:avLst/>
          </a:prstGeom>
          <a:solidFill>
            <a:schemeClr val="accent4"/>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ase">
              <a:spcBef>
                <a:spcPct val="0"/>
              </a:spcBef>
              <a:spcAft>
                <a:spcPct val="0"/>
              </a:spcAft>
              <a:buClr>
                <a:schemeClr val="bg1"/>
              </a:buClr>
              <a:defRPr/>
            </a:pPr>
            <a:r>
              <a:rPr lang="de-DE" sz="700" dirty="0">
                <a:solidFill>
                  <a:schemeClr val="tx2">
                    <a:lumMod val="50000"/>
                  </a:schemeClr>
                </a:solidFill>
              </a:rPr>
              <a:t>20%-30%</a:t>
            </a:r>
            <a:endParaRPr lang="en-US" sz="700" dirty="0">
              <a:solidFill>
                <a:schemeClr val="tx2">
                  <a:lumMod val="50000"/>
                </a:schemeClr>
              </a:solidFill>
            </a:endParaRPr>
          </a:p>
        </p:txBody>
      </p:sp>
      <p:sp>
        <p:nvSpPr>
          <p:cNvPr id="56" name="Rectangle 55"/>
          <p:cNvSpPr>
            <a:spLocks/>
          </p:cNvSpPr>
          <p:nvPr/>
        </p:nvSpPr>
        <p:spPr>
          <a:xfrm>
            <a:off x="7340523" y="2358169"/>
            <a:ext cx="1188720" cy="287499"/>
          </a:xfrm>
          <a:prstGeom prst="rect">
            <a:avLst/>
          </a:prstGeom>
          <a:solidFill>
            <a:schemeClr val="accent4"/>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 tIns="24465" rIns="0" bIns="24465" rtlCol="0" anchor="ctr"/>
          <a:lstStyle/>
          <a:p>
            <a:pPr algn="ctr" fontAlgn="base">
              <a:spcBef>
                <a:spcPct val="0"/>
              </a:spcBef>
              <a:spcAft>
                <a:spcPct val="0"/>
              </a:spcAft>
              <a:buClr>
                <a:schemeClr val="bg1"/>
              </a:buClr>
              <a:defRPr/>
            </a:pPr>
            <a:r>
              <a:rPr lang="en-US" sz="700" dirty="0">
                <a:solidFill>
                  <a:schemeClr val="tx2">
                    <a:lumMod val="50000"/>
                  </a:schemeClr>
                </a:solidFill>
              </a:rPr>
              <a:t>20-40% depending on legacy system, 60-80% during testing</a:t>
            </a:r>
          </a:p>
        </p:txBody>
      </p:sp>
      <p:sp>
        <p:nvSpPr>
          <p:cNvPr id="57" name="Rectangle 56"/>
          <p:cNvSpPr>
            <a:spLocks/>
          </p:cNvSpPr>
          <p:nvPr/>
        </p:nvSpPr>
        <p:spPr>
          <a:xfrm>
            <a:off x="7340523" y="2722768"/>
            <a:ext cx="1188720" cy="313233"/>
          </a:xfrm>
          <a:prstGeom prst="rect">
            <a:avLst/>
          </a:prstGeom>
          <a:solidFill>
            <a:schemeClr val="accent4"/>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 tIns="24465" rIns="0" bIns="24465" rtlCol="0" anchor="ctr"/>
          <a:lstStyle/>
          <a:p>
            <a:pPr algn="ctr" fontAlgn="base">
              <a:spcBef>
                <a:spcPct val="0"/>
              </a:spcBef>
              <a:spcAft>
                <a:spcPct val="0"/>
              </a:spcAft>
              <a:buClr>
                <a:schemeClr val="bg1"/>
              </a:buClr>
              <a:defRPr/>
            </a:pPr>
            <a:r>
              <a:rPr lang="en-US" sz="700" dirty="0">
                <a:solidFill>
                  <a:schemeClr val="tx2">
                    <a:lumMod val="50000"/>
                  </a:schemeClr>
                </a:solidFill>
              </a:rPr>
              <a:t>20-40% throughout then 80-100% during testing</a:t>
            </a:r>
          </a:p>
        </p:txBody>
      </p:sp>
      <p:sp>
        <p:nvSpPr>
          <p:cNvPr id="58" name="Rectangle 57"/>
          <p:cNvSpPr>
            <a:spLocks/>
          </p:cNvSpPr>
          <p:nvPr/>
        </p:nvSpPr>
        <p:spPr>
          <a:xfrm>
            <a:off x="7339503" y="3057996"/>
            <a:ext cx="1188720" cy="257134"/>
          </a:xfrm>
          <a:prstGeom prst="rect">
            <a:avLst/>
          </a:prstGeom>
          <a:solidFill>
            <a:schemeClr val="accent4"/>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 tIns="24465" rIns="0" bIns="24465" rtlCol="0" anchor="ctr"/>
          <a:lstStyle/>
          <a:p>
            <a:pPr algn="ctr" fontAlgn="base">
              <a:spcBef>
                <a:spcPct val="0"/>
              </a:spcBef>
              <a:spcAft>
                <a:spcPct val="0"/>
              </a:spcAft>
              <a:buClr>
                <a:schemeClr val="bg1"/>
              </a:buClr>
              <a:defRPr/>
            </a:pPr>
            <a:r>
              <a:rPr lang="en-US" sz="700" dirty="0">
                <a:solidFill>
                  <a:schemeClr val="tx2">
                    <a:lumMod val="50000"/>
                  </a:schemeClr>
                </a:solidFill>
              </a:rPr>
              <a:t>20%</a:t>
            </a:r>
          </a:p>
        </p:txBody>
      </p:sp>
      <p:sp>
        <p:nvSpPr>
          <p:cNvPr id="59" name="Rectangle 58"/>
          <p:cNvSpPr>
            <a:spLocks/>
          </p:cNvSpPr>
          <p:nvPr/>
        </p:nvSpPr>
        <p:spPr>
          <a:xfrm>
            <a:off x="7340522" y="3354834"/>
            <a:ext cx="1188720" cy="359451"/>
          </a:xfrm>
          <a:prstGeom prst="rect">
            <a:avLst/>
          </a:prstGeom>
          <a:solidFill>
            <a:schemeClr val="accent4"/>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ase">
              <a:spcBef>
                <a:spcPct val="0"/>
              </a:spcBef>
              <a:spcAft>
                <a:spcPct val="0"/>
              </a:spcAft>
              <a:buClr>
                <a:schemeClr val="bg1"/>
              </a:buClr>
              <a:defRPr/>
            </a:pPr>
            <a:r>
              <a:rPr lang="en-US" sz="700" dirty="0">
                <a:solidFill>
                  <a:schemeClr val="tx2">
                    <a:lumMod val="50000"/>
                  </a:schemeClr>
                </a:solidFill>
              </a:rPr>
              <a:t>~5-10%</a:t>
            </a:r>
          </a:p>
          <a:p>
            <a:pPr algn="ctr" fontAlgn="base">
              <a:spcBef>
                <a:spcPct val="0"/>
              </a:spcBef>
              <a:spcAft>
                <a:spcPct val="0"/>
              </a:spcAft>
              <a:buClr>
                <a:schemeClr val="bg1"/>
              </a:buClr>
              <a:defRPr/>
            </a:pPr>
            <a:r>
              <a:rPr lang="en-US" sz="700" dirty="0">
                <a:solidFill>
                  <a:schemeClr val="tx2">
                    <a:lumMod val="50000"/>
                  </a:schemeClr>
                </a:solidFill>
              </a:rPr>
              <a:t>80% during training</a:t>
            </a:r>
          </a:p>
        </p:txBody>
      </p:sp>
      <p:sp>
        <p:nvSpPr>
          <p:cNvPr id="60" name="Rectangle 59"/>
          <p:cNvSpPr>
            <a:spLocks/>
          </p:cNvSpPr>
          <p:nvPr/>
        </p:nvSpPr>
        <p:spPr>
          <a:xfrm>
            <a:off x="7340522" y="4256925"/>
            <a:ext cx="1188720" cy="376761"/>
          </a:xfrm>
          <a:prstGeom prst="rect">
            <a:avLst/>
          </a:prstGeom>
          <a:solidFill>
            <a:schemeClr val="accent4"/>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 tIns="24465" rIns="0" bIns="24465" rtlCol="0" anchor="ctr"/>
          <a:lstStyle/>
          <a:p>
            <a:pPr algn="ctr" fontAlgn="base">
              <a:spcBef>
                <a:spcPct val="0"/>
              </a:spcBef>
              <a:spcAft>
                <a:spcPct val="0"/>
              </a:spcAft>
              <a:buClr>
                <a:schemeClr val="bg1"/>
              </a:buClr>
              <a:defRPr/>
            </a:pPr>
            <a:r>
              <a:rPr lang="en-US" sz="700" dirty="0">
                <a:solidFill>
                  <a:schemeClr val="tx2">
                    <a:lumMod val="50000"/>
                  </a:schemeClr>
                </a:solidFill>
              </a:rPr>
              <a:t>80% initial test cycle, 40% second test cycle, 20% Hypercare</a:t>
            </a:r>
          </a:p>
        </p:txBody>
      </p:sp>
      <p:sp>
        <p:nvSpPr>
          <p:cNvPr id="61" name="TextBox 60"/>
          <p:cNvSpPr txBox="1"/>
          <p:nvPr/>
        </p:nvSpPr>
        <p:spPr>
          <a:xfrm>
            <a:off x="7392301" y="954822"/>
            <a:ext cx="1067820" cy="307777"/>
          </a:xfrm>
          <a:prstGeom prst="rect">
            <a:avLst/>
          </a:prstGeom>
          <a:solidFill>
            <a:srgbClr val="FFCC99"/>
          </a:solidFill>
        </p:spPr>
        <p:txBody>
          <a:bodyPr wrap="square" rtlCol="0" anchor="ctr">
            <a:spAutoFit/>
          </a:bodyPr>
          <a:lstStyle/>
          <a:p>
            <a:pPr algn="ctr"/>
            <a:r>
              <a:rPr lang="en-GB" sz="700" b="1" dirty="0"/>
              <a:t>ALLOCATION</a:t>
            </a:r>
          </a:p>
          <a:p>
            <a:pPr algn="ctr"/>
            <a:r>
              <a:rPr lang="en-GB" sz="700" b="1" dirty="0"/>
              <a:t>HIGH COMPLEXITY</a:t>
            </a:r>
          </a:p>
        </p:txBody>
      </p:sp>
      <p:sp>
        <p:nvSpPr>
          <p:cNvPr id="62" name="Rectangle 61"/>
          <p:cNvSpPr>
            <a:spLocks/>
          </p:cNvSpPr>
          <p:nvPr/>
        </p:nvSpPr>
        <p:spPr>
          <a:xfrm>
            <a:off x="7343720" y="1286518"/>
            <a:ext cx="1188720" cy="257134"/>
          </a:xfrm>
          <a:prstGeom prst="rect">
            <a:avLst/>
          </a:prstGeom>
          <a:solidFill>
            <a:schemeClr val="accent4"/>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ase">
              <a:spcBef>
                <a:spcPct val="0"/>
              </a:spcBef>
              <a:spcAft>
                <a:spcPct val="0"/>
              </a:spcAft>
              <a:buClr>
                <a:schemeClr val="bg1"/>
              </a:buClr>
              <a:defRPr/>
            </a:pPr>
            <a:r>
              <a:rPr lang="en-GB" sz="700" dirty="0">
                <a:solidFill>
                  <a:schemeClr val="tx2">
                    <a:lumMod val="50000"/>
                  </a:schemeClr>
                </a:solidFill>
              </a:rPr>
              <a:t>Guidance &amp; Governance across the Wave</a:t>
            </a:r>
            <a:endParaRPr lang="en-US" sz="700" dirty="0">
              <a:solidFill>
                <a:schemeClr val="tx2">
                  <a:lumMod val="50000"/>
                </a:schemeClr>
              </a:solidFill>
            </a:endParaRPr>
          </a:p>
        </p:txBody>
      </p:sp>
      <p:sp>
        <p:nvSpPr>
          <p:cNvPr id="71" name="Rectangle 70"/>
          <p:cNvSpPr>
            <a:spLocks/>
          </p:cNvSpPr>
          <p:nvPr/>
        </p:nvSpPr>
        <p:spPr>
          <a:xfrm>
            <a:off x="322218" y="3783540"/>
            <a:ext cx="796027" cy="422298"/>
          </a:xfrm>
          <a:prstGeom prst="rect">
            <a:avLst/>
          </a:prstGeom>
          <a:solidFill>
            <a:schemeClr val="tx2"/>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 tIns="24465" rIns="0" bIns="24465" rtlCol="0" anchor="ctr"/>
          <a:lstStyle/>
          <a:p>
            <a:pPr algn="ctr" fontAlgn="base">
              <a:spcBef>
                <a:spcPct val="0"/>
              </a:spcBef>
              <a:spcAft>
                <a:spcPct val="0"/>
              </a:spcAft>
              <a:buClr>
                <a:schemeClr val="bg1"/>
              </a:buClr>
              <a:defRPr/>
            </a:pPr>
            <a:r>
              <a:rPr lang="en-US" sz="700" b="1" dirty="0">
                <a:solidFill>
                  <a:srgbClr val="FFFFFF"/>
                </a:solidFill>
              </a:rPr>
              <a:t>Local Scout Pioneers</a:t>
            </a:r>
          </a:p>
        </p:txBody>
      </p:sp>
      <p:sp>
        <p:nvSpPr>
          <p:cNvPr id="72" name="Rectangle 71"/>
          <p:cNvSpPr>
            <a:spLocks/>
          </p:cNvSpPr>
          <p:nvPr/>
        </p:nvSpPr>
        <p:spPr>
          <a:xfrm>
            <a:off x="1221088" y="3783540"/>
            <a:ext cx="1981200" cy="376761"/>
          </a:xfrm>
          <a:prstGeom prst="rect">
            <a:avLst/>
          </a:prstGeom>
          <a:solidFill>
            <a:schemeClr val="accent5"/>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 tIns="24465" rIns="0" bIns="24465" rtlCol="0" anchor="ctr"/>
          <a:lstStyle/>
          <a:p>
            <a:pPr lvl="0" algn="ctr" fontAlgn="base">
              <a:spcBef>
                <a:spcPct val="0"/>
              </a:spcBef>
              <a:spcAft>
                <a:spcPct val="0"/>
              </a:spcAft>
              <a:buClr>
                <a:srgbClr val="FFFFFF"/>
              </a:buClr>
              <a:defRPr/>
            </a:pPr>
            <a:r>
              <a:rPr lang="en-US" sz="700" dirty="0">
                <a:solidFill>
                  <a:srgbClr val="9D9D9C">
                    <a:lumMod val="50000"/>
                  </a:srgbClr>
                </a:solidFill>
              </a:rPr>
              <a:t>Ambassador for change, act as local multiplier and go-to-person, support </a:t>
            </a:r>
            <a:r>
              <a:rPr lang="en-US" sz="700" dirty="0" err="1">
                <a:solidFill>
                  <a:srgbClr val="9D9D9C">
                    <a:lumMod val="50000"/>
                  </a:srgbClr>
                </a:solidFill>
              </a:rPr>
              <a:t>hypercare</a:t>
            </a:r>
            <a:endParaRPr lang="en-US" sz="700" dirty="0">
              <a:solidFill>
                <a:srgbClr val="9D9D9C">
                  <a:lumMod val="50000"/>
                </a:srgbClr>
              </a:solidFill>
            </a:endParaRPr>
          </a:p>
        </p:txBody>
      </p:sp>
      <p:sp>
        <p:nvSpPr>
          <p:cNvPr id="73" name="Rectangle 72"/>
          <p:cNvSpPr>
            <a:spLocks/>
          </p:cNvSpPr>
          <p:nvPr/>
        </p:nvSpPr>
        <p:spPr>
          <a:xfrm>
            <a:off x="3278489" y="3783540"/>
            <a:ext cx="1295400" cy="376761"/>
          </a:xfrm>
          <a:prstGeom prst="rect">
            <a:avLst/>
          </a:prstGeom>
          <a:solidFill>
            <a:schemeClr val="accent4"/>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 tIns="24465" rIns="0" bIns="24465" rtlCol="0" anchor="ctr"/>
          <a:lstStyle/>
          <a:p>
            <a:pPr lvl="0" algn="ctr" fontAlgn="base">
              <a:spcBef>
                <a:spcPct val="0"/>
              </a:spcBef>
              <a:spcAft>
                <a:spcPct val="0"/>
              </a:spcAft>
              <a:buClr>
                <a:srgbClr val="FFFFFF"/>
              </a:buClr>
              <a:defRPr/>
            </a:pPr>
            <a:r>
              <a:rPr lang="en-US" sz="700" dirty="0">
                <a:solidFill>
                  <a:srgbClr val="9D9D9C">
                    <a:lumMod val="50000"/>
                  </a:srgbClr>
                </a:solidFill>
              </a:rPr>
              <a:t>Recommendation of 1 Pioneer / 25 end-users, number highly dependent on country set-up</a:t>
            </a:r>
          </a:p>
        </p:txBody>
      </p:sp>
      <p:sp>
        <p:nvSpPr>
          <p:cNvPr id="74" name="Rectangle 73"/>
          <p:cNvSpPr>
            <a:spLocks/>
          </p:cNvSpPr>
          <p:nvPr/>
        </p:nvSpPr>
        <p:spPr>
          <a:xfrm>
            <a:off x="4750123" y="3783540"/>
            <a:ext cx="1188720" cy="376761"/>
          </a:xfrm>
          <a:prstGeom prst="rect">
            <a:avLst/>
          </a:prstGeom>
          <a:solidFill>
            <a:schemeClr val="accent4"/>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 tIns="24465" rIns="0" bIns="24465" rtlCol="0" anchor="ctr"/>
          <a:lstStyle/>
          <a:p>
            <a:pPr lvl="0" algn="ctr" fontAlgn="base">
              <a:spcBef>
                <a:spcPct val="0"/>
              </a:spcBef>
              <a:spcAft>
                <a:spcPct val="0"/>
              </a:spcAft>
              <a:buClr>
                <a:srgbClr val="FFFFFF"/>
              </a:buClr>
              <a:defRPr/>
            </a:pPr>
            <a:r>
              <a:rPr lang="en-US" sz="700" dirty="0">
                <a:solidFill>
                  <a:srgbClr val="9D9D9C">
                    <a:lumMod val="50000"/>
                  </a:srgbClr>
                </a:solidFill>
              </a:rPr>
              <a:t>~5-10%</a:t>
            </a:r>
          </a:p>
        </p:txBody>
      </p:sp>
      <p:sp>
        <p:nvSpPr>
          <p:cNvPr id="75" name="Rectangle 74"/>
          <p:cNvSpPr>
            <a:spLocks/>
          </p:cNvSpPr>
          <p:nvPr/>
        </p:nvSpPr>
        <p:spPr>
          <a:xfrm>
            <a:off x="6061420" y="3783540"/>
            <a:ext cx="1173567" cy="366705"/>
          </a:xfrm>
          <a:prstGeom prst="rect">
            <a:avLst/>
          </a:prstGeom>
          <a:solidFill>
            <a:schemeClr val="accent4"/>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 tIns="24465" rIns="0" bIns="24465" rtlCol="0" anchor="ctr"/>
          <a:lstStyle/>
          <a:p>
            <a:pPr lvl="0" algn="ctr" fontAlgn="base">
              <a:spcBef>
                <a:spcPct val="0"/>
              </a:spcBef>
              <a:spcAft>
                <a:spcPct val="0"/>
              </a:spcAft>
              <a:buClr>
                <a:srgbClr val="FFFFFF"/>
              </a:buClr>
              <a:defRPr/>
            </a:pPr>
            <a:r>
              <a:rPr lang="en-US" sz="700" dirty="0">
                <a:solidFill>
                  <a:srgbClr val="9D9D9C">
                    <a:lumMod val="50000"/>
                  </a:srgbClr>
                </a:solidFill>
              </a:rPr>
              <a:t>~5-10%</a:t>
            </a:r>
          </a:p>
        </p:txBody>
      </p:sp>
      <p:sp>
        <p:nvSpPr>
          <p:cNvPr id="76" name="Rectangle 75"/>
          <p:cNvSpPr>
            <a:spLocks/>
          </p:cNvSpPr>
          <p:nvPr/>
        </p:nvSpPr>
        <p:spPr>
          <a:xfrm>
            <a:off x="7342411" y="3783540"/>
            <a:ext cx="1188720" cy="376761"/>
          </a:xfrm>
          <a:prstGeom prst="rect">
            <a:avLst/>
          </a:prstGeom>
          <a:solidFill>
            <a:schemeClr val="accent4"/>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 tIns="24465" rIns="0" bIns="24465" rtlCol="0" anchor="ctr"/>
          <a:lstStyle/>
          <a:p>
            <a:pPr lvl="0" algn="ctr" fontAlgn="base">
              <a:spcBef>
                <a:spcPct val="0"/>
              </a:spcBef>
              <a:spcAft>
                <a:spcPct val="0"/>
              </a:spcAft>
              <a:buClr>
                <a:srgbClr val="FFFFFF"/>
              </a:buClr>
              <a:defRPr/>
            </a:pPr>
            <a:r>
              <a:rPr lang="en-US" sz="700" dirty="0">
                <a:solidFill>
                  <a:srgbClr val="9D9D9C">
                    <a:lumMod val="50000"/>
                  </a:srgbClr>
                </a:solidFill>
              </a:rPr>
              <a:t>~5-10%</a:t>
            </a:r>
          </a:p>
        </p:txBody>
      </p:sp>
      <p:sp>
        <p:nvSpPr>
          <p:cNvPr id="77" name="Footer Placeholder 3"/>
          <p:cNvSpPr>
            <a:spLocks noGrp="1"/>
          </p:cNvSpPr>
          <p:nvPr>
            <p:ph type="ftr" sz="quarter" idx="10"/>
          </p:nvPr>
        </p:nvSpPr>
        <p:spPr>
          <a:xfrm>
            <a:off x="688022" y="4781550"/>
            <a:ext cx="3792538" cy="228600"/>
          </a:xfrm>
        </p:spPr>
        <p:txBody>
          <a:bodyPr/>
          <a:lstStyle/>
          <a:p>
            <a:r>
              <a:rPr lang="en-US"/>
              <a:t>Business Use Only</a:t>
            </a:r>
          </a:p>
        </p:txBody>
      </p:sp>
    </p:spTree>
    <p:extLst>
      <p:ext uri="{BB962C8B-B14F-4D97-AF65-F5344CB8AC3E}">
        <p14:creationId xmlns:p14="http://schemas.microsoft.com/office/powerpoint/2010/main" val="119835960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GB" dirty="0">
                <a:solidFill>
                  <a:schemeClr val="tx1"/>
                </a:solidFill>
              </a:rPr>
              <a:t>Roll-out: Upgrade Release Support (1)</a:t>
            </a:r>
          </a:p>
        </p:txBody>
      </p:sp>
      <p:sp>
        <p:nvSpPr>
          <p:cNvPr id="3" name="Slide Number Placeholder 2"/>
          <p:cNvSpPr>
            <a:spLocks noGrp="1"/>
          </p:cNvSpPr>
          <p:nvPr>
            <p:ph type="sldNum" sz="quarter" idx="10"/>
          </p:nvPr>
        </p:nvSpPr>
        <p:spPr/>
        <p:txBody>
          <a:bodyPr/>
          <a:lstStyle/>
          <a:p>
            <a:fld id="{47547CF9-5B10-D24F-A8D7-45A9778164F7}" type="slidenum">
              <a:rPr lang="en-US" smtClean="0"/>
              <a:pPr/>
              <a:t>25</a:t>
            </a:fld>
            <a:endParaRPr lang="en-US" dirty="0"/>
          </a:p>
        </p:txBody>
      </p:sp>
      <p:sp>
        <p:nvSpPr>
          <p:cNvPr id="9" name="Text Placeholder 5"/>
          <p:cNvSpPr txBox="1">
            <a:spLocks/>
          </p:cNvSpPr>
          <p:nvPr/>
        </p:nvSpPr>
        <p:spPr>
          <a:xfrm>
            <a:off x="488146" y="1019692"/>
            <a:ext cx="8046253" cy="3914258"/>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n-GB" sz="1400" b="1" i="0" u="none" strike="noStrike" kern="1200" cap="none" spc="0" normalizeH="0" baseline="0" noProof="0" dirty="0">
                <a:ln>
                  <a:noFill/>
                </a:ln>
                <a:solidFill>
                  <a:srgbClr val="023760"/>
                </a:solidFill>
                <a:effectLst/>
                <a:uLnTx/>
                <a:uFillTx/>
              </a:rPr>
              <a:t>Already Live</a:t>
            </a:r>
            <a:r>
              <a:rPr kumimoji="0" lang="en-GB" sz="1400" b="1" i="0" u="none" strike="noStrike" kern="1200" cap="none" spc="0" normalizeH="0" noProof="0" dirty="0">
                <a:ln>
                  <a:noFill/>
                </a:ln>
                <a:solidFill>
                  <a:srgbClr val="023760"/>
                </a:solidFill>
                <a:effectLst/>
                <a:uLnTx/>
                <a:uFillTx/>
              </a:rPr>
              <a:t> Countries</a:t>
            </a:r>
            <a:endParaRPr kumimoji="0" lang="en-US" sz="1400" b="1" i="0" u="none" strike="noStrike" kern="1200" cap="none" spc="0" normalizeH="0" baseline="0" noProof="0" dirty="0">
              <a:ln>
                <a:noFill/>
              </a:ln>
              <a:solidFill>
                <a:srgbClr val="023760"/>
              </a:solidFill>
              <a:effectLst/>
              <a:uLnTx/>
              <a:uFillTx/>
            </a:endParaRPr>
          </a:p>
          <a:p>
            <a:pPr marL="285750" marR="0" lvl="2" indent="-28575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lang="en-GB" sz="1400" noProof="0" dirty="0">
                <a:solidFill>
                  <a:sysClr val="windowText" lastClr="000000"/>
                </a:solidFill>
              </a:rPr>
              <a:t>Countries who are deployed onto the Scout platform as part of the Roll-out</a:t>
            </a:r>
            <a:r>
              <a:rPr lang="en-GB" sz="1400" dirty="0">
                <a:solidFill>
                  <a:sysClr val="windowText" lastClr="000000"/>
                </a:solidFill>
              </a:rPr>
              <a:t> plan and timeline will also need to be managed through future Releases</a:t>
            </a:r>
            <a:endParaRPr lang="en-GB" sz="1400" noProof="0" dirty="0">
              <a:solidFill>
                <a:sysClr val="windowText" lastClr="000000"/>
              </a:solidFill>
            </a:endParaRPr>
          </a:p>
          <a:p>
            <a:pPr marL="285750" marR="0" lvl="2" indent="-28575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lang="en-GB" sz="1400" dirty="0">
                <a:solidFill>
                  <a:sysClr val="windowText" lastClr="000000"/>
                </a:solidFill>
              </a:rPr>
              <a:t>The following activities will or may be required in each live country in preparation  for each new Release</a:t>
            </a:r>
          </a:p>
          <a:p>
            <a:pPr marL="642150" lvl="4" indent="-285750">
              <a:defRPr/>
            </a:pPr>
            <a:r>
              <a:rPr lang="en-GB" dirty="0">
                <a:solidFill>
                  <a:sysClr val="windowText" lastClr="000000"/>
                </a:solidFill>
              </a:rPr>
              <a:t>Attend Webinar presenting new Release functionality / review Release Notes to understand the coming changes and how they will impact the country</a:t>
            </a:r>
          </a:p>
          <a:p>
            <a:pPr marL="642150" lvl="4" indent="-285750">
              <a:defRPr/>
            </a:pPr>
            <a:r>
              <a:rPr lang="en-GB" dirty="0">
                <a:solidFill>
                  <a:sysClr val="windowText" lastClr="000000"/>
                </a:solidFill>
              </a:rPr>
              <a:t>Receive and complete a workbook for any new Country Specific Settings / User Permissions related to the new Release </a:t>
            </a:r>
          </a:p>
          <a:p>
            <a:pPr marL="642150" lvl="4" indent="-285750">
              <a:defRPr/>
            </a:pPr>
            <a:r>
              <a:rPr lang="en-GB" dirty="0">
                <a:solidFill>
                  <a:sysClr val="windowText" lastClr="000000"/>
                </a:solidFill>
              </a:rPr>
              <a:t>Receive and complete a workbook for any new Translations related to the new Release </a:t>
            </a:r>
          </a:p>
          <a:p>
            <a:pPr marL="642150" lvl="4" indent="-285750">
              <a:defRPr/>
            </a:pPr>
            <a:r>
              <a:rPr lang="en-GB" dirty="0">
                <a:solidFill>
                  <a:sysClr val="windowText" lastClr="000000"/>
                </a:solidFill>
              </a:rPr>
              <a:t>Be involved in PQ testing for the new Release (to be confirmed with testing strategy)</a:t>
            </a:r>
          </a:p>
          <a:p>
            <a:pPr marL="462150" lvl="3" indent="-285750">
              <a:defRPr/>
            </a:pPr>
            <a:r>
              <a:rPr lang="en-GB" dirty="0">
                <a:solidFill>
                  <a:sysClr val="windowText" lastClr="000000"/>
                </a:solidFill>
              </a:rPr>
              <a:t>It is expected that these activities will be coordinated by the Regional ComEx Scout Support Team, with support from the Program Roll-out Team regarding documentation and ways of working only</a:t>
            </a:r>
          </a:p>
          <a:p>
            <a:pPr marL="462150" lvl="3" indent="-285750">
              <a:defRPr/>
            </a:pPr>
            <a:r>
              <a:rPr lang="en-GB" dirty="0">
                <a:solidFill>
                  <a:sysClr val="windowText" lastClr="000000"/>
                </a:solidFill>
              </a:rPr>
              <a:t>See next slides for more details</a:t>
            </a:r>
          </a:p>
          <a:p>
            <a:pPr marL="642150" lvl="4" indent="-285750">
              <a:defRPr/>
            </a:pPr>
            <a:endParaRPr lang="en-GB" dirty="0">
              <a:solidFill>
                <a:sysClr val="windowText" lastClr="000000"/>
              </a:solidFill>
            </a:endParaRPr>
          </a:p>
          <a:p>
            <a:pPr marL="642150" lvl="4" indent="-285750">
              <a:defRPr/>
            </a:pPr>
            <a:endParaRPr lang="en-GB" dirty="0">
              <a:solidFill>
                <a:sysClr val="windowText" lastClr="000000"/>
              </a:solidFill>
            </a:endParaRPr>
          </a:p>
          <a:p>
            <a:pPr marL="462150" lvl="3" indent="-285750">
              <a:defRPr/>
            </a:pPr>
            <a:endParaRPr lang="en-GB" dirty="0">
              <a:solidFill>
                <a:sysClr val="windowText" lastClr="000000"/>
              </a:solidFill>
            </a:endParaRPr>
          </a:p>
          <a:p>
            <a:pPr marL="462150" lvl="3" indent="-285750">
              <a:defRPr/>
            </a:pPr>
            <a:endParaRPr lang="en-GB" sz="1400" dirty="0">
              <a:solidFill>
                <a:sysClr val="windowText" lastClr="000000"/>
              </a:solidFill>
            </a:endParaRPr>
          </a:p>
          <a:p>
            <a:pPr marL="462150" lvl="3" indent="-285750">
              <a:defRPr/>
            </a:pPr>
            <a:endParaRPr lang="en-GB" sz="1400" dirty="0">
              <a:solidFill>
                <a:sysClr val="windowText" lastClr="000000"/>
              </a:solidFill>
            </a:endParaRPr>
          </a:p>
          <a:p>
            <a:pPr marL="462150" lvl="3" indent="-285750">
              <a:defRPr/>
            </a:pPr>
            <a:endParaRPr lang="en-GB" sz="1400" noProof="0" dirty="0">
              <a:solidFill>
                <a:sysClr val="windowText" lastClr="000000"/>
              </a:solidFill>
            </a:endParaRPr>
          </a:p>
          <a:p>
            <a:pPr marL="285750" marR="0" lvl="2" indent="-28575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endParaRPr kumimoji="0" lang="en-GB" sz="1400" b="0" i="0" u="none" strike="noStrike" kern="1200" cap="none" spc="0" normalizeH="0" noProof="0" dirty="0">
              <a:ln>
                <a:noFill/>
              </a:ln>
              <a:solidFill>
                <a:sysClr val="windowText" lastClr="000000"/>
              </a:solidFill>
              <a:effectLst/>
              <a:uLnTx/>
              <a:uFillTx/>
            </a:endParaRPr>
          </a:p>
          <a:p>
            <a:pPr marL="285750" marR="0" lvl="2" indent="-28575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endParaRPr kumimoji="0" lang="en-GB" b="0" i="0" u="none" strike="noStrike" kern="1200" cap="none" spc="0" normalizeH="0" baseline="0" noProof="0" dirty="0">
              <a:ln>
                <a:noFill/>
              </a:ln>
              <a:solidFill>
                <a:sysClr val="windowText" lastClr="000000"/>
              </a:solidFill>
              <a:effectLst/>
              <a:uLnTx/>
              <a:uFillTx/>
            </a:endParaRPr>
          </a:p>
          <a:p>
            <a:pPr marL="0" marR="0" lvl="0"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endParaRPr kumimoji="0" lang="en-US" sz="1400" b="1" i="0" u="none" strike="noStrike" kern="1200" cap="none" spc="0" normalizeH="0" baseline="0" noProof="0" dirty="0">
              <a:ln>
                <a:noFill/>
              </a:ln>
              <a:solidFill>
                <a:srgbClr val="86BC25"/>
              </a:solidFill>
              <a:effectLst/>
              <a:uLnTx/>
              <a:uFillTx/>
            </a:endParaRPr>
          </a:p>
          <a:p>
            <a:pPr marL="0" marR="0" lvl="0"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endParaRPr kumimoji="0" lang="en-GB" sz="1400" b="1" i="0" u="none" strike="noStrike" kern="1200" cap="none" spc="0" normalizeH="0" baseline="0" noProof="0" dirty="0">
              <a:ln>
                <a:noFill/>
              </a:ln>
              <a:solidFill>
                <a:srgbClr val="86BC25"/>
              </a:solidFill>
              <a:effectLst/>
              <a:uLnTx/>
              <a:uFillTx/>
            </a:endParaRPr>
          </a:p>
        </p:txBody>
      </p:sp>
      <p:sp>
        <p:nvSpPr>
          <p:cNvPr id="6" name="Footer Placeholder 5"/>
          <p:cNvSpPr>
            <a:spLocks noGrp="1"/>
          </p:cNvSpPr>
          <p:nvPr>
            <p:ph type="ftr" sz="quarter" idx="11"/>
          </p:nvPr>
        </p:nvSpPr>
        <p:spPr/>
        <p:txBody>
          <a:bodyPr/>
          <a:lstStyle/>
          <a:p>
            <a:r>
              <a:rPr lang="en-GB"/>
              <a:t>Scout l Roll-out Approach l March 2020</a:t>
            </a:r>
            <a:endParaRPr lang="fr-FR" dirty="0"/>
          </a:p>
        </p:txBody>
      </p:sp>
    </p:spTree>
    <p:extLst>
      <p:ext uri="{BB962C8B-B14F-4D97-AF65-F5344CB8AC3E}">
        <p14:creationId xmlns:p14="http://schemas.microsoft.com/office/powerpoint/2010/main" val="382047014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p:spPr>
        <p:txBody>
          <a:bodyPr/>
          <a:lstStyle/>
          <a:p>
            <a:r>
              <a:rPr lang="en-GB" dirty="0">
                <a:solidFill>
                  <a:schemeClr val="tx1"/>
                </a:solidFill>
              </a:rPr>
              <a:t>Roll-out: Upgrade Release Support (2)</a:t>
            </a:r>
            <a:endParaRPr lang="en-GB" dirty="0"/>
          </a:p>
        </p:txBody>
      </p:sp>
      <p:sp>
        <p:nvSpPr>
          <p:cNvPr id="3" name="Slide Number Placeholder 2"/>
          <p:cNvSpPr>
            <a:spLocks noGrp="1"/>
          </p:cNvSpPr>
          <p:nvPr>
            <p:ph type="sldNum" sz="quarter" idx="10"/>
          </p:nvPr>
        </p:nvSpPr>
        <p:spPr/>
        <p:txBody>
          <a:bodyPr/>
          <a:lstStyle/>
          <a:p>
            <a:fld id="{47547CF9-5B10-D24F-A8D7-45A9778164F7}" type="slidenum">
              <a:rPr lang="en-US" smtClean="0"/>
              <a:pPr/>
              <a:t>26</a:t>
            </a:fld>
            <a:endParaRPr lang="en-US" dirty="0"/>
          </a:p>
        </p:txBody>
      </p:sp>
      <p:sp>
        <p:nvSpPr>
          <p:cNvPr id="4" name="Footer Placeholder 3"/>
          <p:cNvSpPr>
            <a:spLocks noGrp="1"/>
          </p:cNvSpPr>
          <p:nvPr>
            <p:ph type="ftr" sz="quarter" idx="11"/>
          </p:nvPr>
        </p:nvSpPr>
        <p:spPr/>
        <p:txBody>
          <a:bodyPr/>
          <a:lstStyle/>
          <a:p>
            <a:r>
              <a:rPr lang="en-GB"/>
              <a:t>Scout l Roll-out Approach l March 2020</a:t>
            </a:r>
            <a:endParaRPr lang="en-US" dirty="0"/>
          </a:p>
        </p:txBody>
      </p:sp>
      <p:cxnSp>
        <p:nvCxnSpPr>
          <p:cNvPr id="17" name="Straight Connector 16"/>
          <p:cNvCxnSpPr/>
          <p:nvPr/>
        </p:nvCxnSpPr>
        <p:spPr>
          <a:xfrm>
            <a:off x="990600" y="2647950"/>
            <a:ext cx="7543800" cy="0"/>
          </a:xfrm>
          <a:prstGeom prst="line">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1371600" y="1733550"/>
            <a:ext cx="0" cy="914400"/>
          </a:xfrm>
          <a:prstGeom prst="line">
            <a:avLst/>
          </a:prstGeom>
          <a:ln w="1905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3613868" y="1733550"/>
            <a:ext cx="0" cy="914400"/>
          </a:xfrm>
          <a:prstGeom prst="line">
            <a:avLst/>
          </a:prstGeom>
          <a:ln w="1905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5257800" y="1733550"/>
            <a:ext cx="0" cy="914400"/>
          </a:xfrm>
          <a:prstGeom prst="line">
            <a:avLst/>
          </a:prstGeom>
          <a:ln w="1905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8001000" y="1733550"/>
            <a:ext cx="0" cy="914400"/>
          </a:xfrm>
          <a:prstGeom prst="line">
            <a:avLst/>
          </a:prstGeom>
          <a:ln w="1905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2209800" y="2647950"/>
            <a:ext cx="0" cy="914400"/>
          </a:xfrm>
          <a:prstGeom prst="line">
            <a:avLst/>
          </a:prstGeom>
          <a:ln w="1905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a:off x="6910113" y="2647950"/>
            <a:ext cx="0" cy="914400"/>
          </a:xfrm>
          <a:prstGeom prst="line">
            <a:avLst/>
          </a:prstGeom>
          <a:ln w="19050">
            <a:solidFill>
              <a:srgbClr val="0070C0"/>
            </a:solidFill>
          </a:ln>
        </p:spPr>
        <p:style>
          <a:lnRef idx="1">
            <a:schemeClr val="accent1"/>
          </a:lnRef>
          <a:fillRef idx="0">
            <a:schemeClr val="accent1"/>
          </a:fillRef>
          <a:effectRef idx="0">
            <a:schemeClr val="accent1"/>
          </a:effectRef>
          <a:fontRef idx="minor">
            <a:schemeClr val="tx1"/>
          </a:fontRef>
        </p:style>
      </p:cxnSp>
      <p:sp>
        <p:nvSpPr>
          <p:cNvPr id="33" name="TextBox 32"/>
          <p:cNvSpPr txBox="1"/>
          <p:nvPr/>
        </p:nvSpPr>
        <p:spPr>
          <a:xfrm>
            <a:off x="877411" y="1136746"/>
            <a:ext cx="988378" cy="600164"/>
          </a:xfrm>
          <a:prstGeom prst="rect">
            <a:avLst/>
          </a:prstGeom>
          <a:noFill/>
        </p:spPr>
        <p:txBody>
          <a:bodyPr wrap="square" rtlCol="0">
            <a:spAutoFit/>
          </a:bodyPr>
          <a:lstStyle/>
          <a:p>
            <a:pPr algn="ctr"/>
            <a:r>
              <a:rPr lang="en-GB" sz="900" b="1" dirty="0">
                <a:solidFill>
                  <a:srgbClr val="7030A0"/>
                </a:solidFill>
              </a:rPr>
              <a:t>WAVE 1</a:t>
            </a:r>
          </a:p>
          <a:p>
            <a:pPr algn="ctr"/>
            <a:r>
              <a:rPr lang="en-GB" sz="800" b="1" dirty="0"/>
              <a:t>26</a:t>
            </a:r>
            <a:r>
              <a:rPr lang="en-GB" sz="800" b="1" baseline="30000" dirty="0"/>
              <a:t>th</a:t>
            </a:r>
            <a:r>
              <a:rPr lang="en-GB" sz="800" b="1" dirty="0"/>
              <a:t> October</a:t>
            </a:r>
          </a:p>
          <a:p>
            <a:pPr algn="ctr"/>
            <a:r>
              <a:rPr lang="en-GB" sz="800" b="1" dirty="0"/>
              <a:t>18 New Countries</a:t>
            </a:r>
            <a:endParaRPr lang="en-US" sz="800" b="1" dirty="0"/>
          </a:p>
        </p:txBody>
      </p:sp>
      <p:sp>
        <p:nvSpPr>
          <p:cNvPr id="60" name="TextBox 59"/>
          <p:cNvSpPr txBox="1"/>
          <p:nvPr/>
        </p:nvSpPr>
        <p:spPr>
          <a:xfrm>
            <a:off x="3126422" y="1047750"/>
            <a:ext cx="988378" cy="723275"/>
          </a:xfrm>
          <a:prstGeom prst="rect">
            <a:avLst/>
          </a:prstGeom>
          <a:noFill/>
        </p:spPr>
        <p:txBody>
          <a:bodyPr wrap="square" rtlCol="0">
            <a:spAutoFit/>
          </a:bodyPr>
          <a:lstStyle/>
          <a:p>
            <a:pPr algn="ctr"/>
            <a:r>
              <a:rPr lang="en-GB" sz="900" b="1" dirty="0">
                <a:solidFill>
                  <a:srgbClr val="7030A0"/>
                </a:solidFill>
              </a:rPr>
              <a:t>WAVE 1A</a:t>
            </a:r>
          </a:p>
          <a:p>
            <a:pPr algn="ctr"/>
            <a:r>
              <a:rPr lang="en-GB" sz="800" b="1" dirty="0"/>
              <a:t>10</a:t>
            </a:r>
            <a:r>
              <a:rPr lang="en-GB" sz="800" b="1" baseline="30000" dirty="0"/>
              <a:t>th</a:t>
            </a:r>
            <a:r>
              <a:rPr lang="en-GB" sz="800" b="1" dirty="0"/>
              <a:t> May</a:t>
            </a:r>
          </a:p>
          <a:p>
            <a:pPr algn="ctr"/>
            <a:r>
              <a:rPr lang="en-GB" sz="800" b="1" dirty="0"/>
              <a:t>17 New Countries</a:t>
            </a:r>
          </a:p>
          <a:p>
            <a:pPr algn="ctr"/>
            <a:r>
              <a:rPr lang="en-GB" sz="800" b="1" dirty="0"/>
              <a:t>Receive CRM R1</a:t>
            </a:r>
            <a:endParaRPr lang="en-US" sz="800" b="1" dirty="0"/>
          </a:p>
        </p:txBody>
      </p:sp>
      <p:sp>
        <p:nvSpPr>
          <p:cNvPr id="61" name="TextBox 60"/>
          <p:cNvSpPr txBox="1"/>
          <p:nvPr/>
        </p:nvSpPr>
        <p:spPr>
          <a:xfrm>
            <a:off x="4770373" y="1047750"/>
            <a:ext cx="988378" cy="723275"/>
          </a:xfrm>
          <a:prstGeom prst="rect">
            <a:avLst/>
          </a:prstGeom>
          <a:noFill/>
        </p:spPr>
        <p:txBody>
          <a:bodyPr wrap="square" rtlCol="0">
            <a:spAutoFit/>
          </a:bodyPr>
          <a:lstStyle/>
          <a:p>
            <a:pPr algn="ctr"/>
            <a:r>
              <a:rPr lang="en-GB" sz="900" b="1" dirty="0">
                <a:solidFill>
                  <a:srgbClr val="7030A0"/>
                </a:solidFill>
              </a:rPr>
              <a:t>WAVE 2 / 2A</a:t>
            </a:r>
            <a:endParaRPr lang="en-GB" sz="800" b="1" dirty="0">
              <a:solidFill>
                <a:srgbClr val="7030A0"/>
              </a:solidFill>
            </a:endParaRPr>
          </a:p>
          <a:p>
            <a:pPr algn="ctr"/>
            <a:r>
              <a:rPr lang="en-GB" sz="800" b="1" dirty="0"/>
              <a:t>June 14th</a:t>
            </a:r>
          </a:p>
          <a:p>
            <a:pPr algn="ctr"/>
            <a:r>
              <a:rPr lang="en-GB" sz="800" b="1" dirty="0"/>
              <a:t>14 New Countries: Receive CRM R1</a:t>
            </a:r>
            <a:endParaRPr lang="en-US" sz="800" b="1" dirty="0"/>
          </a:p>
        </p:txBody>
      </p:sp>
      <p:sp>
        <p:nvSpPr>
          <p:cNvPr id="62" name="TextBox 61"/>
          <p:cNvSpPr txBox="1"/>
          <p:nvPr/>
        </p:nvSpPr>
        <p:spPr>
          <a:xfrm>
            <a:off x="7506810" y="895350"/>
            <a:ext cx="1088665" cy="969496"/>
          </a:xfrm>
          <a:prstGeom prst="rect">
            <a:avLst/>
          </a:prstGeom>
          <a:noFill/>
        </p:spPr>
        <p:txBody>
          <a:bodyPr wrap="square" rtlCol="0">
            <a:spAutoFit/>
          </a:bodyPr>
          <a:lstStyle/>
          <a:p>
            <a:pPr algn="ctr"/>
            <a:r>
              <a:rPr lang="en-GB" sz="900" b="1" dirty="0">
                <a:solidFill>
                  <a:srgbClr val="7030A0"/>
                </a:solidFill>
              </a:rPr>
              <a:t>WAVE 3 / 3A</a:t>
            </a:r>
          </a:p>
          <a:p>
            <a:pPr algn="ctr"/>
            <a:r>
              <a:rPr lang="en-GB" sz="800" b="1" dirty="0">
                <a:solidFill>
                  <a:srgbClr val="7030A0"/>
                </a:solidFill>
              </a:rPr>
              <a:t> </a:t>
            </a:r>
            <a:r>
              <a:rPr lang="en-GB" sz="800" b="1" dirty="0"/>
              <a:t>18th Oct</a:t>
            </a:r>
          </a:p>
          <a:p>
            <a:pPr algn="ctr"/>
            <a:r>
              <a:rPr lang="en-GB" sz="800" b="1" dirty="0"/>
              <a:t>10 New Countries + US and Germany: </a:t>
            </a:r>
          </a:p>
          <a:p>
            <a:pPr algn="ctr"/>
            <a:r>
              <a:rPr lang="en-GB" sz="800" b="1" dirty="0"/>
              <a:t>Receive CRM or CRM &amp; OM</a:t>
            </a:r>
            <a:endParaRPr lang="en-US" sz="800" b="1" dirty="0"/>
          </a:p>
        </p:txBody>
      </p:sp>
      <p:sp>
        <p:nvSpPr>
          <p:cNvPr id="63" name="TextBox 62"/>
          <p:cNvSpPr txBox="1"/>
          <p:nvPr/>
        </p:nvSpPr>
        <p:spPr>
          <a:xfrm>
            <a:off x="1110532" y="3562352"/>
            <a:ext cx="2094389" cy="800219"/>
          </a:xfrm>
          <a:prstGeom prst="rect">
            <a:avLst/>
          </a:prstGeom>
          <a:noFill/>
        </p:spPr>
        <p:txBody>
          <a:bodyPr wrap="square" rtlCol="0">
            <a:spAutoFit/>
          </a:bodyPr>
          <a:lstStyle/>
          <a:p>
            <a:pPr algn="ctr"/>
            <a:r>
              <a:rPr lang="en-GB" sz="1000" b="1" dirty="0">
                <a:solidFill>
                  <a:srgbClr val="0070C0"/>
                </a:solidFill>
              </a:rPr>
              <a:t>SFE RELEASE 1:</a:t>
            </a:r>
          </a:p>
          <a:p>
            <a:pPr algn="ctr"/>
            <a:r>
              <a:rPr lang="en-GB" sz="900" b="1" dirty="0"/>
              <a:t>19 Live countries to be </a:t>
            </a:r>
            <a:r>
              <a:rPr lang="en-GB" sz="900" b="1" dirty="0" err="1"/>
              <a:t>onboarded</a:t>
            </a:r>
            <a:r>
              <a:rPr lang="en-GB" sz="900" b="1" dirty="0"/>
              <a:t>, cut-over and supported through Go-live on new SFE functionality &amp; Marketing Cloud functionality </a:t>
            </a:r>
            <a:endParaRPr lang="en-US" sz="800" b="1" dirty="0"/>
          </a:p>
        </p:txBody>
      </p:sp>
      <p:sp>
        <p:nvSpPr>
          <p:cNvPr id="65" name="TextBox 64"/>
          <p:cNvSpPr txBox="1"/>
          <p:nvPr/>
        </p:nvSpPr>
        <p:spPr>
          <a:xfrm>
            <a:off x="5867400" y="3562352"/>
            <a:ext cx="2094389" cy="246221"/>
          </a:xfrm>
          <a:prstGeom prst="rect">
            <a:avLst/>
          </a:prstGeom>
          <a:noFill/>
        </p:spPr>
        <p:txBody>
          <a:bodyPr wrap="square" rtlCol="0">
            <a:spAutoFit/>
          </a:bodyPr>
          <a:lstStyle/>
          <a:p>
            <a:pPr algn="ctr"/>
            <a:r>
              <a:rPr lang="en-GB" sz="1000" b="1" dirty="0">
                <a:solidFill>
                  <a:srgbClr val="0070C0"/>
                </a:solidFill>
              </a:rPr>
              <a:t>OM RELEASE 1</a:t>
            </a:r>
          </a:p>
        </p:txBody>
      </p:sp>
      <p:sp>
        <p:nvSpPr>
          <p:cNvPr id="5" name="TextBox 4"/>
          <p:cNvSpPr txBox="1"/>
          <p:nvPr/>
        </p:nvSpPr>
        <p:spPr>
          <a:xfrm>
            <a:off x="235168" y="1200150"/>
            <a:ext cx="338554" cy="1371600"/>
          </a:xfrm>
          <a:prstGeom prst="rect">
            <a:avLst/>
          </a:prstGeom>
          <a:solidFill>
            <a:schemeClr val="accent1">
              <a:lumMod val="25000"/>
              <a:lumOff val="75000"/>
            </a:schemeClr>
          </a:solidFill>
        </p:spPr>
        <p:txBody>
          <a:bodyPr vert="vert270" wrap="square" rtlCol="0">
            <a:spAutoFit/>
          </a:bodyPr>
          <a:lstStyle/>
          <a:p>
            <a:pPr algn="ctr"/>
            <a:r>
              <a:rPr lang="en-GB" sz="1000" dirty="0"/>
              <a:t>Managed By Roll-out</a:t>
            </a:r>
            <a:endParaRPr lang="en-US" sz="1000" dirty="0"/>
          </a:p>
        </p:txBody>
      </p:sp>
      <p:sp>
        <p:nvSpPr>
          <p:cNvPr id="21" name="TextBox 20"/>
          <p:cNvSpPr txBox="1"/>
          <p:nvPr/>
        </p:nvSpPr>
        <p:spPr>
          <a:xfrm>
            <a:off x="271046" y="2876549"/>
            <a:ext cx="338554" cy="1828799"/>
          </a:xfrm>
          <a:prstGeom prst="rect">
            <a:avLst/>
          </a:prstGeom>
          <a:solidFill>
            <a:schemeClr val="accent1">
              <a:lumMod val="25000"/>
              <a:lumOff val="75000"/>
            </a:schemeClr>
          </a:solidFill>
        </p:spPr>
        <p:txBody>
          <a:bodyPr vert="vert270" wrap="square" rtlCol="0">
            <a:spAutoFit/>
          </a:bodyPr>
          <a:lstStyle/>
          <a:p>
            <a:pPr algn="ctr"/>
            <a:r>
              <a:rPr lang="en-GB" sz="1000" dirty="0"/>
              <a:t>Managed By Release / Region</a:t>
            </a:r>
            <a:endParaRPr lang="en-US" sz="1000" dirty="0"/>
          </a:p>
        </p:txBody>
      </p:sp>
    </p:spTree>
    <p:extLst>
      <p:ext uri="{BB962C8B-B14F-4D97-AF65-F5344CB8AC3E}">
        <p14:creationId xmlns:p14="http://schemas.microsoft.com/office/powerpoint/2010/main" val="153186058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GB" dirty="0">
                <a:solidFill>
                  <a:schemeClr val="tx1"/>
                </a:solidFill>
              </a:rPr>
              <a:t>Roll-out: Upgrade Release Support (3)</a:t>
            </a:r>
            <a:endParaRPr lang="en-GB" dirty="0"/>
          </a:p>
        </p:txBody>
      </p:sp>
      <p:sp>
        <p:nvSpPr>
          <p:cNvPr id="3" name="Slide Number Placeholder 2"/>
          <p:cNvSpPr>
            <a:spLocks noGrp="1"/>
          </p:cNvSpPr>
          <p:nvPr>
            <p:ph type="sldNum" sz="quarter" idx="10"/>
          </p:nvPr>
        </p:nvSpPr>
        <p:spPr/>
        <p:txBody>
          <a:bodyPr/>
          <a:lstStyle/>
          <a:p>
            <a:fld id="{47547CF9-5B10-D24F-A8D7-45A9778164F7}" type="slidenum">
              <a:rPr lang="en-US" smtClean="0"/>
              <a:pPr/>
              <a:t>27</a:t>
            </a:fld>
            <a:endParaRPr lang="en-US" dirty="0"/>
          </a:p>
        </p:txBody>
      </p:sp>
      <p:sp>
        <p:nvSpPr>
          <p:cNvPr id="9" name="Text Placeholder 5"/>
          <p:cNvSpPr txBox="1">
            <a:spLocks/>
          </p:cNvSpPr>
          <p:nvPr/>
        </p:nvSpPr>
        <p:spPr>
          <a:xfrm>
            <a:off x="488146" y="1019692"/>
            <a:ext cx="8046253" cy="3914258"/>
          </a:xfrm>
          <a:prstGeom prst="rect">
            <a:avLst/>
          </a:prstGeom>
          <a:noFill/>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n-GB" sz="1400" b="1" i="0" u="none" strike="noStrike" kern="1200" cap="none" spc="0" normalizeH="0" baseline="0" noProof="0" dirty="0">
                <a:ln>
                  <a:noFill/>
                </a:ln>
                <a:solidFill>
                  <a:srgbClr val="023760"/>
                </a:solidFill>
                <a:effectLst/>
                <a:uLnTx/>
                <a:uFillTx/>
              </a:rPr>
              <a:t>Ongoing Support Model for Scout</a:t>
            </a:r>
            <a:endParaRPr kumimoji="0" lang="en-US" sz="1400" b="1" i="0" u="none" strike="noStrike" kern="1200" cap="none" spc="0" normalizeH="0" baseline="0" noProof="0" dirty="0">
              <a:ln>
                <a:noFill/>
              </a:ln>
              <a:solidFill>
                <a:srgbClr val="023760"/>
              </a:solidFill>
              <a:effectLst/>
              <a:uLnTx/>
              <a:uFillTx/>
            </a:endParaRPr>
          </a:p>
          <a:p>
            <a:pPr marL="285750" marR="0" lvl="2" indent="-28575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lang="en-GB" sz="1400" noProof="0" dirty="0">
                <a:solidFill>
                  <a:sysClr val="windowText" lastClr="000000"/>
                </a:solidFill>
              </a:rPr>
              <a:t>Regional </a:t>
            </a:r>
            <a:r>
              <a:rPr lang="en-GB" sz="1400" noProof="0" dirty="0" err="1">
                <a:solidFill>
                  <a:sysClr val="windowText" lastClr="000000"/>
                </a:solidFill>
              </a:rPr>
              <a:t>ComEx</a:t>
            </a:r>
            <a:r>
              <a:rPr lang="en-GB" sz="1400" noProof="0" dirty="0">
                <a:solidFill>
                  <a:sysClr val="windowText" lastClr="000000"/>
                </a:solidFill>
              </a:rPr>
              <a:t> is ramping up a Product Support model for the Scout Product in the form of Business Transformation Managers and Scout Support</a:t>
            </a:r>
          </a:p>
          <a:p>
            <a:pPr marL="285750" marR="0" lvl="2" indent="-28575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lang="en-GB" sz="1400" dirty="0">
                <a:solidFill>
                  <a:sysClr val="windowText" lastClr="000000"/>
                </a:solidFill>
              </a:rPr>
              <a:t>The expectation is that after their initial Wave Go-live, countries will be handed over from the Program Roll-out Team to our counterparts in the Regional </a:t>
            </a:r>
            <a:r>
              <a:rPr lang="en-GB" sz="1400" dirty="0" err="1">
                <a:solidFill>
                  <a:sysClr val="windowText" lastClr="000000"/>
                </a:solidFill>
              </a:rPr>
              <a:t>ComEx</a:t>
            </a:r>
            <a:r>
              <a:rPr lang="en-GB" sz="1400" dirty="0">
                <a:solidFill>
                  <a:sysClr val="windowText" lastClr="000000"/>
                </a:solidFill>
              </a:rPr>
              <a:t> Teams so that they can be managed through future Release activities.</a:t>
            </a:r>
            <a:endParaRPr lang="en-GB" dirty="0">
              <a:solidFill>
                <a:sysClr val="windowText" lastClr="000000"/>
              </a:solidFill>
            </a:endParaRPr>
          </a:p>
          <a:p>
            <a:pPr marL="642150" lvl="4" indent="-285750">
              <a:defRPr/>
            </a:pPr>
            <a:endParaRPr lang="en-GB" dirty="0">
              <a:solidFill>
                <a:sysClr val="windowText" lastClr="000000"/>
              </a:solidFill>
            </a:endParaRPr>
          </a:p>
          <a:p>
            <a:pPr marL="642150" lvl="4" indent="-285750">
              <a:defRPr/>
            </a:pPr>
            <a:endParaRPr lang="en-GB" dirty="0">
              <a:solidFill>
                <a:sysClr val="windowText" lastClr="000000"/>
              </a:solidFill>
            </a:endParaRPr>
          </a:p>
          <a:p>
            <a:pPr marL="462150" lvl="3" indent="-285750">
              <a:defRPr/>
            </a:pPr>
            <a:endParaRPr lang="en-GB" dirty="0">
              <a:solidFill>
                <a:sysClr val="windowText" lastClr="000000"/>
              </a:solidFill>
            </a:endParaRPr>
          </a:p>
          <a:p>
            <a:pPr marL="462150" lvl="3" indent="-285750">
              <a:defRPr/>
            </a:pPr>
            <a:endParaRPr lang="en-GB" sz="1400" dirty="0">
              <a:solidFill>
                <a:sysClr val="windowText" lastClr="000000"/>
              </a:solidFill>
            </a:endParaRPr>
          </a:p>
          <a:p>
            <a:pPr marL="462150" lvl="3" indent="-285750">
              <a:defRPr/>
            </a:pPr>
            <a:endParaRPr lang="en-GB" sz="1400" dirty="0">
              <a:solidFill>
                <a:sysClr val="windowText" lastClr="000000"/>
              </a:solidFill>
            </a:endParaRPr>
          </a:p>
          <a:p>
            <a:pPr marL="462150" lvl="3" indent="-285750">
              <a:defRPr/>
            </a:pPr>
            <a:endParaRPr lang="en-GB" sz="1400" noProof="0" dirty="0">
              <a:solidFill>
                <a:sysClr val="windowText" lastClr="000000"/>
              </a:solidFill>
            </a:endParaRPr>
          </a:p>
          <a:p>
            <a:pPr marL="285750" marR="0" lvl="2" indent="-28575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endParaRPr kumimoji="0" lang="en-GB" sz="1400" b="0" i="0" u="none" strike="noStrike" kern="1200" cap="none" spc="0" normalizeH="0" noProof="0" dirty="0">
              <a:ln>
                <a:noFill/>
              </a:ln>
              <a:solidFill>
                <a:sysClr val="windowText" lastClr="000000"/>
              </a:solidFill>
              <a:effectLst/>
              <a:uLnTx/>
              <a:uFillTx/>
            </a:endParaRPr>
          </a:p>
          <a:p>
            <a:pPr marL="285750" marR="0" lvl="2" indent="-28575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endParaRPr kumimoji="0" lang="en-GB" b="0" i="0" u="none" strike="noStrike" kern="1200" cap="none" spc="0" normalizeH="0" baseline="0" noProof="0" dirty="0">
              <a:ln>
                <a:noFill/>
              </a:ln>
              <a:solidFill>
                <a:sysClr val="windowText" lastClr="000000"/>
              </a:solidFill>
              <a:effectLst/>
              <a:uLnTx/>
              <a:uFillTx/>
            </a:endParaRPr>
          </a:p>
          <a:p>
            <a:pPr marL="0" marR="0" lvl="0"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endParaRPr kumimoji="0" lang="en-US" sz="1400" b="1" i="0" u="none" strike="noStrike" kern="1200" cap="none" spc="0" normalizeH="0" baseline="0" noProof="0" dirty="0">
              <a:ln>
                <a:noFill/>
              </a:ln>
              <a:solidFill>
                <a:srgbClr val="86BC25"/>
              </a:solidFill>
              <a:effectLst/>
              <a:uLnTx/>
              <a:uFillTx/>
            </a:endParaRPr>
          </a:p>
          <a:p>
            <a:pPr marL="0" marR="0" lvl="0"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endParaRPr kumimoji="0" lang="en-GB" sz="1400" b="1" i="0" u="none" strike="noStrike" kern="1200" cap="none" spc="0" normalizeH="0" baseline="0" noProof="0" dirty="0">
              <a:ln>
                <a:noFill/>
              </a:ln>
              <a:solidFill>
                <a:srgbClr val="86BC25"/>
              </a:solidFill>
              <a:effectLst/>
              <a:uLnTx/>
              <a:uFillTx/>
            </a:endParaRPr>
          </a:p>
        </p:txBody>
      </p:sp>
      <p:sp>
        <p:nvSpPr>
          <p:cNvPr id="6" name="Footer Placeholder 5"/>
          <p:cNvSpPr>
            <a:spLocks noGrp="1"/>
          </p:cNvSpPr>
          <p:nvPr>
            <p:ph type="ftr" sz="quarter" idx="11"/>
          </p:nvPr>
        </p:nvSpPr>
        <p:spPr/>
        <p:txBody>
          <a:bodyPr/>
          <a:lstStyle/>
          <a:p>
            <a:r>
              <a:rPr lang="en-GB"/>
              <a:t>Scout l Roll-out Approach l March 2020</a:t>
            </a:r>
            <a:endParaRPr lang="fr-FR" dirty="0"/>
          </a:p>
        </p:txBody>
      </p:sp>
    </p:spTree>
    <p:extLst>
      <p:ext uri="{BB962C8B-B14F-4D97-AF65-F5344CB8AC3E}">
        <p14:creationId xmlns:p14="http://schemas.microsoft.com/office/powerpoint/2010/main" val="233190694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solidFill>
                  <a:schemeClr val="tx1"/>
                </a:solidFill>
              </a:rPr>
              <a:t>Roll-out: Upgrade Release Support (4)</a:t>
            </a:r>
            <a:endParaRPr lang="en-GB" dirty="0"/>
          </a:p>
        </p:txBody>
      </p:sp>
      <p:sp>
        <p:nvSpPr>
          <p:cNvPr id="3" name="Slide Number Placeholder 2"/>
          <p:cNvSpPr>
            <a:spLocks noGrp="1"/>
          </p:cNvSpPr>
          <p:nvPr>
            <p:ph type="sldNum" sz="quarter" idx="10"/>
          </p:nvPr>
        </p:nvSpPr>
        <p:spPr/>
        <p:txBody>
          <a:bodyPr/>
          <a:lstStyle/>
          <a:p>
            <a:fld id="{47547CF9-5B10-D24F-A8D7-45A9778164F7}" type="slidenum">
              <a:rPr lang="en-US" smtClean="0"/>
              <a:pPr/>
              <a:t>28</a:t>
            </a:fld>
            <a:endParaRPr lang="en-US" dirty="0"/>
          </a:p>
        </p:txBody>
      </p:sp>
      <p:sp>
        <p:nvSpPr>
          <p:cNvPr id="4" name="Footer Placeholder 3"/>
          <p:cNvSpPr>
            <a:spLocks noGrp="1"/>
          </p:cNvSpPr>
          <p:nvPr>
            <p:ph type="ftr" sz="quarter" idx="11"/>
          </p:nvPr>
        </p:nvSpPr>
        <p:spPr/>
        <p:txBody>
          <a:bodyPr/>
          <a:lstStyle/>
          <a:p>
            <a:r>
              <a:rPr lang="en-GB"/>
              <a:t>Scout l Roll-out Approach l March 2020</a:t>
            </a:r>
            <a:endParaRPr lang="fr-FR" dirty="0"/>
          </a:p>
        </p:txBody>
      </p:sp>
      <p:graphicFrame>
        <p:nvGraphicFramePr>
          <p:cNvPr id="5" name="Table 4"/>
          <p:cNvGraphicFramePr>
            <a:graphicFrameLocks noGrp="1"/>
          </p:cNvGraphicFramePr>
          <p:nvPr/>
        </p:nvGraphicFramePr>
        <p:xfrm>
          <a:off x="540268" y="742950"/>
          <a:ext cx="7960678" cy="3982720"/>
        </p:xfrm>
        <a:graphic>
          <a:graphicData uri="http://schemas.openxmlformats.org/drawingml/2006/table">
            <a:tbl>
              <a:tblPr firstRow="1" bandRow="1">
                <a:tableStyleId>{5940675A-B579-460E-94D1-54222C63F5DA}</a:tableStyleId>
              </a:tblPr>
              <a:tblGrid>
                <a:gridCol w="3650732">
                  <a:extLst>
                    <a:ext uri="{9D8B030D-6E8A-4147-A177-3AD203B41FA5}">
                      <a16:colId xmlns:a16="http://schemas.microsoft.com/office/drawing/2014/main" val="3853855053"/>
                    </a:ext>
                  </a:extLst>
                </a:gridCol>
                <a:gridCol w="2394646">
                  <a:extLst>
                    <a:ext uri="{9D8B030D-6E8A-4147-A177-3AD203B41FA5}">
                      <a16:colId xmlns:a16="http://schemas.microsoft.com/office/drawing/2014/main" val="3466391601"/>
                    </a:ext>
                  </a:extLst>
                </a:gridCol>
                <a:gridCol w="1915300">
                  <a:extLst>
                    <a:ext uri="{9D8B030D-6E8A-4147-A177-3AD203B41FA5}">
                      <a16:colId xmlns:a16="http://schemas.microsoft.com/office/drawing/2014/main" val="2325521760"/>
                    </a:ext>
                  </a:extLst>
                </a:gridCol>
              </a:tblGrid>
              <a:tr h="370840">
                <a:tc>
                  <a:txBody>
                    <a:bodyPr/>
                    <a:lstStyle/>
                    <a:p>
                      <a:pPr algn="ctr"/>
                      <a:r>
                        <a:rPr lang="en-GB" sz="1100" b="1" dirty="0">
                          <a:solidFill>
                            <a:schemeClr val="bg1"/>
                          </a:solidFill>
                        </a:rPr>
                        <a:t>What</a:t>
                      </a:r>
                    </a:p>
                  </a:txBody>
                  <a:tcPr anchor="ctr">
                    <a:solidFill>
                      <a:srgbClr val="023760"/>
                    </a:solidFill>
                  </a:tcPr>
                </a:tc>
                <a:tc>
                  <a:txBody>
                    <a:bodyPr/>
                    <a:lstStyle/>
                    <a:p>
                      <a:pPr algn="ctr"/>
                      <a:r>
                        <a:rPr lang="en-GB" sz="1100" b="1" dirty="0">
                          <a:solidFill>
                            <a:schemeClr val="bg1"/>
                          </a:solidFill>
                        </a:rPr>
                        <a:t>Who</a:t>
                      </a:r>
                    </a:p>
                  </a:txBody>
                  <a:tcPr anchor="ctr">
                    <a:solidFill>
                      <a:srgbClr val="023760"/>
                    </a:solidFill>
                  </a:tcPr>
                </a:tc>
                <a:tc>
                  <a:txBody>
                    <a:bodyPr/>
                    <a:lstStyle/>
                    <a:p>
                      <a:pPr algn="ctr"/>
                      <a:r>
                        <a:rPr lang="en-GB" sz="1100" b="1" dirty="0">
                          <a:solidFill>
                            <a:schemeClr val="bg1"/>
                          </a:solidFill>
                        </a:rPr>
                        <a:t>When</a:t>
                      </a:r>
                    </a:p>
                  </a:txBody>
                  <a:tcPr anchor="ctr">
                    <a:solidFill>
                      <a:srgbClr val="023760"/>
                    </a:solidFill>
                  </a:tcPr>
                </a:tc>
                <a:extLst>
                  <a:ext uri="{0D108BD9-81ED-4DB2-BD59-A6C34878D82A}">
                    <a16:rowId xmlns:a16="http://schemas.microsoft.com/office/drawing/2014/main" val="2307886845"/>
                  </a:ext>
                </a:extLst>
              </a:tr>
              <a:tr h="370840">
                <a:tc>
                  <a:txBody>
                    <a:bodyPr/>
                    <a:lstStyle/>
                    <a:p>
                      <a:r>
                        <a:rPr lang="en-GB" sz="1050" dirty="0"/>
                        <a:t>Webinar</a:t>
                      </a:r>
                      <a:r>
                        <a:rPr lang="en-GB" sz="1050" baseline="0" dirty="0"/>
                        <a:t> / presentation on the scope of the release/upgrade</a:t>
                      </a:r>
                      <a:endParaRPr lang="en-GB" sz="1050" dirty="0"/>
                    </a:p>
                  </a:txBody>
                  <a:tcPr/>
                </a:tc>
                <a:tc>
                  <a:txBody>
                    <a:bodyPr/>
                    <a:lstStyle/>
                    <a:p>
                      <a:r>
                        <a:rPr lang="en-GB" sz="1050" dirty="0"/>
                        <a:t>Business Design Team to</a:t>
                      </a:r>
                      <a:r>
                        <a:rPr lang="en-GB" sz="1050" baseline="0" dirty="0"/>
                        <a:t> Program Roll-out Team and Regional Scout Teams</a:t>
                      </a:r>
                      <a:endParaRPr lang="en-GB" sz="1050" dirty="0"/>
                    </a:p>
                  </a:txBody>
                  <a:tcPr/>
                </a:tc>
                <a:tc>
                  <a:txBody>
                    <a:bodyPr/>
                    <a:lstStyle/>
                    <a:p>
                      <a:r>
                        <a:rPr lang="en-GB" sz="1050" dirty="0"/>
                        <a:t>After last sprint of release</a:t>
                      </a:r>
                      <a:r>
                        <a:rPr lang="en-GB" sz="1050" baseline="0" dirty="0"/>
                        <a:t> is planned</a:t>
                      </a:r>
                      <a:endParaRPr lang="en-GB" sz="1050" dirty="0"/>
                    </a:p>
                  </a:txBody>
                  <a:tcPr/>
                </a:tc>
                <a:extLst>
                  <a:ext uri="{0D108BD9-81ED-4DB2-BD59-A6C34878D82A}">
                    <a16:rowId xmlns:a16="http://schemas.microsoft.com/office/drawing/2014/main" val="2960589510"/>
                  </a:ext>
                </a:extLst>
              </a:tr>
              <a:tr h="370840">
                <a:tc>
                  <a:txBody>
                    <a:bodyPr/>
                    <a:lstStyle/>
                    <a:p>
                      <a:r>
                        <a:rPr lang="en-GB" sz="1050" dirty="0"/>
                        <a:t>Feedback on which features will be used in country</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50" dirty="0"/>
                        <a:t>Each Country to</a:t>
                      </a:r>
                      <a:r>
                        <a:rPr lang="en-GB" sz="1050" baseline="0" dirty="0"/>
                        <a:t> Regional Scout Teams</a:t>
                      </a:r>
                      <a:endParaRPr lang="en-GB" sz="1050" dirty="0"/>
                    </a:p>
                  </a:txBody>
                  <a:tcPr/>
                </a:tc>
                <a:tc>
                  <a:txBody>
                    <a:bodyPr/>
                    <a:lstStyle/>
                    <a:p>
                      <a:r>
                        <a:rPr lang="en-GB" sz="1050" dirty="0"/>
                        <a:t>1 week after webinar</a:t>
                      </a:r>
                    </a:p>
                  </a:txBody>
                  <a:tcPr/>
                </a:tc>
                <a:extLst>
                  <a:ext uri="{0D108BD9-81ED-4DB2-BD59-A6C34878D82A}">
                    <a16:rowId xmlns:a16="http://schemas.microsoft.com/office/drawing/2014/main" val="1494195392"/>
                  </a:ext>
                </a:extLst>
              </a:tr>
              <a:tr h="370840">
                <a:tc>
                  <a:txBody>
                    <a:bodyPr/>
                    <a:lstStyle/>
                    <a:p>
                      <a:r>
                        <a:rPr lang="en-GB" sz="1050" dirty="0"/>
                        <a:t>Request for any additional settings/translations needed to</a:t>
                      </a:r>
                      <a:r>
                        <a:rPr lang="en-GB" sz="1050" baseline="0" dirty="0"/>
                        <a:t> ensure the functionality works </a:t>
                      </a:r>
                      <a:endParaRPr lang="en-GB" sz="105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50" dirty="0"/>
                        <a:t>Business Design Team to</a:t>
                      </a:r>
                      <a:r>
                        <a:rPr lang="en-GB" sz="1050" baseline="0" dirty="0"/>
                        <a:t> Regional Scout Teams</a:t>
                      </a:r>
                      <a:r>
                        <a:rPr lang="en-GB" sz="1050" dirty="0"/>
                        <a:t> </a:t>
                      </a:r>
                    </a:p>
                  </a:txBody>
                  <a:tcPr/>
                </a:tc>
                <a:tc>
                  <a:txBody>
                    <a:bodyPr/>
                    <a:lstStyle/>
                    <a:p>
                      <a:r>
                        <a:rPr lang="en-GB" sz="1050" dirty="0"/>
                        <a:t>2 weeks after webinar</a:t>
                      </a:r>
                    </a:p>
                  </a:txBody>
                  <a:tcPr/>
                </a:tc>
                <a:extLst>
                  <a:ext uri="{0D108BD9-81ED-4DB2-BD59-A6C34878D82A}">
                    <a16:rowId xmlns:a16="http://schemas.microsoft.com/office/drawing/2014/main" val="802123752"/>
                  </a:ext>
                </a:extLst>
              </a:tr>
              <a:tr h="370840">
                <a:tc>
                  <a:txBody>
                    <a:bodyPr/>
                    <a:lstStyle/>
                    <a:p>
                      <a:r>
                        <a:rPr lang="en-GB" sz="1050" dirty="0"/>
                        <a:t>Implementation</a:t>
                      </a:r>
                      <a:r>
                        <a:rPr lang="en-GB" sz="1050" baseline="0" dirty="0"/>
                        <a:t> of all settings/translations as part of release/upgrade</a:t>
                      </a:r>
                      <a:endParaRPr lang="en-GB" sz="1050" dirty="0"/>
                    </a:p>
                  </a:txBody>
                  <a:tcPr/>
                </a:tc>
                <a:tc>
                  <a:txBody>
                    <a:bodyPr/>
                    <a:lstStyle/>
                    <a:p>
                      <a:r>
                        <a:rPr lang="en-GB" sz="1050" dirty="0"/>
                        <a:t>Development Team</a:t>
                      </a:r>
                    </a:p>
                  </a:txBody>
                  <a:tcPr/>
                </a:tc>
                <a:tc>
                  <a:txBody>
                    <a:bodyPr/>
                    <a:lstStyle/>
                    <a:p>
                      <a:r>
                        <a:rPr lang="en-GB" sz="1050" dirty="0"/>
                        <a:t>During</a:t>
                      </a:r>
                      <a:r>
                        <a:rPr lang="en-GB" sz="1050" baseline="0" dirty="0"/>
                        <a:t> final sprint of release / set-up mini-sprint</a:t>
                      </a:r>
                      <a:endParaRPr lang="en-GB" sz="1050" dirty="0"/>
                    </a:p>
                  </a:txBody>
                  <a:tcPr/>
                </a:tc>
                <a:extLst>
                  <a:ext uri="{0D108BD9-81ED-4DB2-BD59-A6C34878D82A}">
                    <a16:rowId xmlns:a16="http://schemas.microsoft.com/office/drawing/2014/main" val="1216558526"/>
                  </a:ext>
                </a:extLst>
              </a:tr>
              <a:tr h="370840">
                <a:tc>
                  <a:txBody>
                    <a:bodyPr/>
                    <a:lstStyle/>
                    <a:p>
                      <a:r>
                        <a:rPr lang="en-GB" sz="1050" dirty="0"/>
                        <a:t>Testing of global functionality with localised settings/language</a:t>
                      </a:r>
                    </a:p>
                  </a:txBody>
                  <a:tcPr/>
                </a:tc>
                <a:tc>
                  <a:txBody>
                    <a:bodyPr/>
                    <a:lstStyle/>
                    <a:p>
                      <a:r>
                        <a:rPr lang="en-GB" sz="1050" dirty="0"/>
                        <a:t>Not required</a:t>
                      </a:r>
                      <a:r>
                        <a:rPr lang="en-GB" sz="1050" baseline="0" dirty="0"/>
                        <a:t> (covered by program team in PQ of the release/upgrade)</a:t>
                      </a:r>
                      <a:endParaRPr lang="en-GB" sz="1050" dirty="0"/>
                    </a:p>
                  </a:txBody>
                  <a:tcPr/>
                </a:tc>
                <a:tc>
                  <a:txBody>
                    <a:bodyPr/>
                    <a:lstStyle/>
                    <a:p>
                      <a:r>
                        <a:rPr lang="en-GB" sz="1050" dirty="0"/>
                        <a:t>During</a:t>
                      </a:r>
                      <a:r>
                        <a:rPr lang="en-GB" sz="1050" baseline="0" dirty="0"/>
                        <a:t> PQ of the release/upgrade</a:t>
                      </a:r>
                      <a:endParaRPr lang="en-GB" sz="1050" dirty="0"/>
                    </a:p>
                  </a:txBody>
                  <a:tcPr/>
                </a:tc>
                <a:extLst>
                  <a:ext uri="{0D108BD9-81ED-4DB2-BD59-A6C34878D82A}">
                    <a16:rowId xmlns:a16="http://schemas.microsoft.com/office/drawing/2014/main" val="3336287593"/>
                  </a:ext>
                </a:extLst>
              </a:tr>
              <a:tr h="370840">
                <a:tc>
                  <a:txBody>
                    <a:bodyPr/>
                    <a:lstStyle/>
                    <a:p>
                      <a:r>
                        <a:rPr lang="en-GB" sz="1050" dirty="0"/>
                        <a:t>Testing of local, country-specific functionality</a:t>
                      </a:r>
                    </a:p>
                  </a:txBody>
                  <a:tcPr/>
                </a:tc>
                <a:tc>
                  <a:txBody>
                    <a:bodyPr/>
                    <a:lstStyle/>
                    <a:p>
                      <a:r>
                        <a:rPr lang="en-GB" sz="1050" dirty="0"/>
                        <a:t>Local country</a:t>
                      </a:r>
                      <a:r>
                        <a:rPr lang="en-GB" sz="1050" baseline="0" dirty="0"/>
                        <a:t> resource to test during the PQ of the release/upgrade</a:t>
                      </a:r>
                      <a:endParaRPr lang="en-GB" sz="105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50" dirty="0"/>
                        <a:t>During</a:t>
                      </a:r>
                      <a:r>
                        <a:rPr lang="en-GB" sz="1050" baseline="0" dirty="0"/>
                        <a:t> PQ of the release/upgrade</a:t>
                      </a:r>
                      <a:endParaRPr lang="en-GB" sz="1050" dirty="0"/>
                    </a:p>
                    <a:p>
                      <a:endParaRPr lang="en-GB" sz="1050" dirty="0"/>
                    </a:p>
                  </a:txBody>
                  <a:tcPr/>
                </a:tc>
                <a:extLst>
                  <a:ext uri="{0D108BD9-81ED-4DB2-BD59-A6C34878D82A}">
                    <a16:rowId xmlns:a16="http://schemas.microsoft.com/office/drawing/2014/main" val="2742490559"/>
                  </a:ext>
                </a:extLst>
              </a:tr>
              <a:tr h="370840">
                <a:tc>
                  <a:txBody>
                    <a:bodyPr/>
                    <a:lstStyle/>
                    <a:p>
                      <a:r>
                        <a:rPr lang="en-GB" sz="1050" dirty="0"/>
                        <a:t>Training</a:t>
                      </a:r>
                      <a:r>
                        <a:rPr lang="en-GB" sz="1050" baseline="0" dirty="0"/>
                        <a:t> on new release/upgrade</a:t>
                      </a:r>
                      <a:endParaRPr lang="en-GB" sz="1050" dirty="0"/>
                    </a:p>
                  </a:txBody>
                  <a:tcPr/>
                </a:tc>
                <a:tc>
                  <a:txBody>
                    <a:bodyPr/>
                    <a:lstStyle/>
                    <a:p>
                      <a:r>
                        <a:rPr lang="en-GB" sz="1050" dirty="0"/>
                        <a:t>English-language materials will</a:t>
                      </a:r>
                      <a:r>
                        <a:rPr lang="en-GB" sz="1050" baseline="0" dirty="0"/>
                        <a:t> be provided by program team</a:t>
                      </a:r>
                      <a:endParaRPr lang="en-GB" sz="1050" dirty="0"/>
                    </a:p>
                  </a:txBody>
                  <a:tcPr/>
                </a:tc>
                <a:tc>
                  <a:txBody>
                    <a:bodyPr/>
                    <a:lstStyle/>
                    <a:p>
                      <a:r>
                        <a:rPr lang="en-GB" sz="1050" dirty="0"/>
                        <a:t>During</a:t>
                      </a:r>
                      <a:r>
                        <a:rPr lang="en-GB" sz="1050" baseline="0" dirty="0"/>
                        <a:t> PQ of the release/upgrade</a:t>
                      </a:r>
                      <a:endParaRPr lang="en-GB" sz="1050" dirty="0"/>
                    </a:p>
                  </a:txBody>
                  <a:tcPr/>
                </a:tc>
                <a:extLst>
                  <a:ext uri="{0D108BD9-81ED-4DB2-BD59-A6C34878D82A}">
                    <a16:rowId xmlns:a16="http://schemas.microsoft.com/office/drawing/2014/main" val="505214254"/>
                  </a:ext>
                </a:extLst>
              </a:tr>
              <a:tr h="370840">
                <a:tc>
                  <a:txBody>
                    <a:bodyPr/>
                    <a:lstStyle/>
                    <a:p>
                      <a:r>
                        <a:rPr lang="en-GB" sz="1050" dirty="0"/>
                        <a:t>Communications</a:t>
                      </a:r>
                      <a:r>
                        <a:rPr lang="en-GB" sz="1050" baseline="0" dirty="0"/>
                        <a:t> about new release/upgrade including system freeze for cutover</a:t>
                      </a:r>
                      <a:endParaRPr lang="en-GB" sz="1050" dirty="0"/>
                    </a:p>
                  </a:txBody>
                  <a:tcPr/>
                </a:tc>
                <a:tc>
                  <a:txBody>
                    <a:bodyPr/>
                    <a:lstStyle/>
                    <a:p>
                      <a:r>
                        <a:rPr lang="en-GB" sz="1050" dirty="0"/>
                        <a:t>English-language materials will</a:t>
                      </a:r>
                      <a:r>
                        <a:rPr lang="en-GB" sz="1050" baseline="0" dirty="0"/>
                        <a:t> be provided by program team</a:t>
                      </a:r>
                      <a:endParaRPr lang="en-GB" sz="1050" dirty="0"/>
                    </a:p>
                  </a:txBody>
                  <a:tcPr/>
                </a:tc>
                <a:tc>
                  <a:txBody>
                    <a:bodyPr/>
                    <a:lstStyle/>
                    <a:p>
                      <a:r>
                        <a:rPr lang="en-GB" sz="1050" dirty="0"/>
                        <a:t>Throughout release, TBD</a:t>
                      </a:r>
                    </a:p>
                  </a:txBody>
                  <a:tcPr/>
                </a:tc>
                <a:extLst>
                  <a:ext uri="{0D108BD9-81ED-4DB2-BD59-A6C34878D82A}">
                    <a16:rowId xmlns:a16="http://schemas.microsoft.com/office/drawing/2014/main" val="412166548"/>
                  </a:ext>
                </a:extLst>
              </a:tr>
            </a:tbl>
          </a:graphicData>
        </a:graphic>
      </p:graphicFrame>
    </p:spTree>
    <p:extLst>
      <p:ext uri="{BB962C8B-B14F-4D97-AF65-F5344CB8AC3E}">
        <p14:creationId xmlns:p14="http://schemas.microsoft.com/office/powerpoint/2010/main" val="30440651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75" name="think-cell Slide" r:id="rId6" imgW="347" imgH="348" progId="TCLayout.ActiveDocument.1">
                  <p:embed/>
                </p:oleObj>
              </mc:Choice>
              <mc:Fallback>
                <p:oleObj name="think-cell Slide" r:id="rId6" imgW="347" imgH="348" progId="TCLayout.ActiveDocument.1">
                  <p:embed/>
                  <p:pic>
                    <p:nvPicPr>
                      <p:cNvPr id="22" name="Object 2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1" name="Rectangle 20" hidden="1"/>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200" b="1">
              <a:latin typeface="Arial Black" panose="020B0A04020102020204" pitchFamily="34" charset="0"/>
              <a:sym typeface="Arial Black" panose="020B0A04020102020204" pitchFamily="34" charset="0"/>
            </a:endParaRPr>
          </a:p>
        </p:txBody>
      </p:sp>
      <p:sp>
        <p:nvSpPr>
          <p:cNvPr id="2" name="Title 1"/>
          <p:cNvSpPr>
            <a:spLocks noGrp="1"/>
          </p:cNvSpPr>
          <p:nvPr>
            <p:ph type="title"/>
          </p:nvPr>
        </p:nvSpPr>
        <p:spPr/>
        <p:txBody>
          <a:bodyPr/>
          <a:lstStyle/>
          <a:p>
            <a:r>
              <a:rPr lang="en-US"/>
              <a:t>Discover the Scout product</a:t>
            </a:r>
          </a:p>
        </p:txBody>
      </p:sp>
      <p:sp>
        <p:nvSpPr>
          <p:cNvPr id="4" name="Footer Placeholder 3"/>
          <p:cNvSpPr>
            <a:spLocks noGrp="1"/>
          </p:cNvSpPr>
          <p:nvPr>
            <p:ph type="ftr" sz="quarter" idx="10"/>
          </p:nvPr>
        </p:nvSpPr>
        <p:spPr/>
        <p:txBody>
          <a:bodyPr/>
          <a:lstStyle/>
          <a:p>
            <a:r>
              <a:rPr lang="en-US"/>
              <a:t>Business Use Only</a:t>
            </a:r>
          </a:p>
        </p:txBody>
      </p:sp>
      <p:sp>
        <p:nvSpPr>
          <p:cNvPr id="5" name="Slide Number Placeholder 4"/>
          <p:cNvSpPr>
            <a:spLocks noGrp="1"/>
          </p:cNvSpPr>
          <p:nvPr>
            <p:ph type="sldNum" sz="quarter" idx="11"/>
          </p:nvPr>
        </p:nvSpPr>
        <p:spPr/>
        <p:txBody>
          <a:bodyPr/>
          <a:lstStyle/>
          <a:p>
            <a:fld id="{47547CF9-5B10-D24F-A8D7-45A9778164F7}" type="slidenum">
              <a:rPr lang="uk-UA" smtClean="0"/>
              <a:pPr/>
              <a:t>29</a:t>
            </a:fld>
            <a:endParaRPr lang="uk-UA"/>
          </a:p>
        </p:txBody>
      </p:sp>
      <p:sp>
        <p:nvSpPr>
          <p:cNvPr id="33" name="Text Placeholder 2"/>
          <p:cNvSpPr txBox="1">
            <a:spLocks/>
          </p:cNvSpPr>
          <p:nvPr/>
        </p:nvSpPr>
        <p:spPr>
          <a:xfrm>
            <a:off x="354678" y="1276350"/>
            <a:ext cx="8560722" cy="361445"/>
          </a:xfrm>
          <a:prstGeom prst="rect">
            <a:avLst/>
          </a:prstGeom>
        </p:spPr>
        <p:txBody>
          <a:bodyPr/>
          <a:lstStyle>
            <a:lvl1pPr marL="228600" indent="-228600" algn="l" defTabSz="914400" rtl="0" eaLnBrk="1" latinLnBrk="0" hangingPunct="1">
              <a:spcBef>
                <a:spcPts val="900"/>
              </a:spcBef>
              <a:buClrTx/>
              <a:buSzPct val="100000"/>
              <a:buFont typeface="Wingdings" charset="2"/>
              <a:buChar char="§"/>
              <a:tabLst>
                <a:tab pos="3998913" algn="r"/>
                <a:tab pos="8229600" algn="r"/>
              </a:tabLst>
              <a:defRPr sz="1800" b="0" i="0" kern="1200" spc="0" baseline="0">
                <a:solidFill>
                  <a:schemeClr val="tx1"/>
                </a:solidFill>
                <a:latin typeface="+mn-lt"/>
                <a:ea typeface="+mn-ea"/>
                <a:cs typeface="+mn-cs"/>
              </a:defRPr>
            </a:lvl1pPr>
            <a:lvl2pPr marL="457200" indent="-228600" algn="l" defTabSz="914400" rtl="0" eaLnBrk="1" latinLnBrk="0" hangingPunct="1">
              <a:spcBef>
                <a:spcPts val="300"/>
              </a:spcBef>
              <a:buClrTx/>
              <a:buSzPct val="100000"/>
              <a:buFont typeface="Arial" pitchFamily="34" charset="0"/>
              <a:buChar char="–"/>
              <a:defRPr sz="1600" b="0" i="0" kern="1200" spc="0" baseline="0">
                <a:solidFill>
                  <a:schemeClr val="tx1"/>
                </a:solidFill>
                <a:latin typeface="+mn-lt"/>
                <a:ea typeface="+mn-ea"/>
                <a:cs typeface="+mn-cs"/>
              </a:defRPr>
            </a:lvl2pPr>
            <a:lvl3pPr marL="685800" indent="-228600" algn="l" defTabSz="914400" rtl="0" eaLnBrk="1" latinLnBrk="0" hangingPunct="1">
              <a:spcBef>
                <a:spcPts val="300"/>
              </a:spcBef>
              <a:buClrTx/>
              <a:buSzPct val="100000"/>
              <a:buFont typeface="Arial" pitchFamily="34" charset="0"/>
              <a:buChar char="–"/>
              <a:defRPr sz="1600" b="0" i="0" kern="1200" spc="0" baseline="0">
                <a:solidFill>
                  <a:schemeClr val="tx1"/>
                </a:solidFill>
                <a:latin typeface="+mn-lt"/>
                <a:ea typeface="+mn-ea"/>
                <a:cs typeface="+mn-cs"/>
              </a:defRPr>
            </a:lvl3pPr>
            <a:lvl4pPr marL="914400" indent="-228600" algn="l" defTabSz="914400" rtl="0" eaLnBrk="1" latinLnBrk="0" hangingPunct="1">
              <a:spcBef>
                <a:spcPts val="300"/>
              </a:spcBef>
              <a:buClrTx/>
              <a:buSzPct val="100000"/>
              <a:buFont typeface="Arial" pitchFamily="34" charset="0"/>
              <a:buChar char="–"/>
              <a:defRPr sz="1600" b="0" i="0" kern="1200" spc="0" baseline="0">
                <a:solidFill>
                  <a:schemeClr val="tx1"/>
                </a:solidFill>
                <a:latin typeface="+mn-lt"/>
                <a:ea typeface="+mn-ea"/>
                <a:cs typeface="+mn-cs"/>
              </a:defRPr>
            </a:lvl4pPr>
            <a:lvl5pPr marL="1143000" indent="-228600" algn="l" defTabSz="914400" rtl="0" eaLnBrk="1" latinLnBrk="0" hangingPunct="1">
              <a:spcBef>
                <a:spcPts val="300"/>
              </a:spcBef>
              <a:buClrTx/>
              <a:buSzPct val="100000"/>
              <a:buFont typeface="Arial" pitchFamily="34" charset="0"/>
              <a:buChar char="–"/>
              <a:defRPr sz="1600" b="0" i="0" kern="1200" spc="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600"/>
              <a:t>Scout will integrate our core functional areas into </a:t>
            </a:r>
            <a:r>
              <a:rPr lang="en-US" sz="1600" b="1"/>
              <a:t>one fully integrated environment </a:t>
            </a:r>
            <a:r>
              <a:rPr lang="en-US" sz="1600"/>
              <a:t>that combines all our </a:t>
            </a:r>
            <a:r>
              <a:rPr lang="en-US" sz="1600" b="1"/>
              <a:t>customer actions and engagement </a:t>
            </a:r>
            <a:r>
              <a:rPr lang="en-US" sz="1600"/>
              <a:t>based on market leading tools.</a:t>
            </a:r>
          </a:p>
        </p:txBody>
      </p:sp>
      <p:grpSp>
        <p:nvGrpSpPr>
          <p:cNvPr id="9" name="Group 8"/>
          <p:cNvGrpSpPr/>
          <p:nvPr/>
        </p:nvGrpSpPr>
        <p:grpSpPr>
          <a:xfrm>
            <a:off x="355600" y="2241195"/>
            <a:ext cx="8268505" cy="2151058"/>
            <a:chOff x="355600" y="2241195"/>
            <a:chExt cx="8268505" cy="2151058"/>
          </a:xfrm>
        </p:grpSpPr>
        <p:grpSp>
          <p:nvGrpSpPr>
            <p:cNvPr id="7" name="Group 6"/>
            <p:cNvGrpSpPr/>
            <p:nvPr/>
          </p:nvGrpSpPr>
          <p:grpSpPr>
            <a:xfrm>
              <a:off x="355600" y="2241195"/>
              <a:ext cx="8268505" cy="2151058"/>
              <a:chOff x="355600" y="2241195"/>
              <a:chExt cx="8268505" cy="2151058"/>
            </a:xfrm>
          </p:grpSpPr>
          <p:pic>
            <p:nvPicPr>
              <p:cNvPr id="6" name="Picture 6">
                <a:extLst>
                  <a:ext uri="{FF2B5EF4-FFF2-40B4-BE49-F238E27FC236}">
                    <a16:creationId xmlns:a16="http://schemas.microsoft.com/office/drawing/2014/main" id="{51B070E2-3645-4AFA-A6E2-BCC0587F8D06}"/>
                  </a:ext>
                </a:extLst>
              </p:cNvPr>
              <p:cNvPicPr>
                <a:picLocks noChangeAspect="1"/>
              </p:cNvPicPr>
              <p:nvPr/>
            </p:nvPicPr>
            <p:blipFill>
              <a:blip r:embed="rId8"/>
              <a:stretch>
                <a:fillRect/>
              </a:stretch>
            </p:blipFill>
            <p:spPr>
              <a:xfrm>
                <a:off x="355600" y="3178993"/>
                <a:ext cx="1854200" cy="315863"/>
              </a:xfrm>
              <a:prstGeom prst="rect">
                <a:avLst/>
              </a:prstGeom>
            </p:spPr>
          </p:pic>
          <p:grpSp>
            <p:nvGrpSpPr>
              <p:cNvPr id="3" name="Group 2"/>
              <p:cNvGrpSpPr/>
              <p:nvPr/>
            </p:nvGrpSpPr>
            <p:grpSpPr>
              <a:xfrm>
                <a:off x="685800" y="2241195"/>
                <a:ext cx="7938305" cy="2151058"/>
                <a:chOff x="685800" y="2241195"/>
                <a:chExt cx="7938305" cy="2151058"/>
              </a:xfrm>
            </p:grpSpPr>
            <p:grpSp>
              <p:nvGrpSpPr>
                <p:cNvPr id="17" name="Group 16"/>
                <p:cNvGrpSpPr/>
                <p:nvPr/>
              </p:nvGrpSpPr>
              <p:grpSpPr>
                <a:xfrm>
                  <a:off x="2667000" y="2241195"/>
                  <a:ext cx="3725664" cy="2083155"/>
                  <a:chOff x="2883971" y="1911213"/>
                  <a:chExt cx="3725664" cy="2083155"/>
                </a:xfrm>
              </p:grpSpPr>
              <p:pic>
                <p:nvPicPr>
                  <p:cNvPr id="20" name="Picture 3" descr="F:\Trabajos\Envato\Graphic River\Duckson\Elements\laptop.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883971" y="1911213"/>
                    <a:ext cx="3725664" cy="2083155"/>
                  </a:xfrm>
                  <a:prstGeom prst="rect">
                    <a:avLst/>
                  </a:prstGeom>
                  <a:noFill/>
                  <a:extLst>
                    <a:ext uri="{909E8E84-426E-40DD-AFC4-6F175D3DCCD1}">
                      <a14:hiddenFill xmlns:a14="http://schemas.microsoft.com/office/drawing/2010/main">
                        <a:solidFill>
                          <a:srgbClr val="FFFFFF"/>
                        </a:solidFill>
                      </a14:hiddenFill>
                    </a:ext>
                  </a:extLst>
                </p:spPr>
              </p:pic>
              <p:sp>
                <p:nvSpPr>
                  <p:cNvPr id="25" name="TextBox 24"/>
                  <p:cNvSpPr txBox="1"/>
                  <p:nvPr/>
                </p:nvSpPr>
                <p:spPr>
                  <a:xfrm flipH="1">
                    <a:off x="3910702" y="2436224"/>
                    <a:ext cx="1979440" cy="261610"/>
                  </a:xfrm>
                  <a:prstGeom prst="rect">
                    <a:avLst/>
                  </a:prstGeom>
                  <a:noFill/>
                </p:spPr>
                <p:txBody>
                  <a:bodyPr wrap="square" rtlCol="0">
                    <a:spAutoFit/>
                  </a:bodyPr>
                  <a:lstStyle/>
                  <a:p>
                    <a:r>
                      <a:rPr lang="en-US" sz="1100" b="1" dirty="0">
                        <a:solidFill>
                          <a:schemeClr val="accent2"/>
                        </a:solidFill>
                      </a:rPr>
                      <a:t>Current focus areas</a:t>
                    </a:r>
                  </a:p>
                </p:txBody>
              </p:sp>
              <p:sp>
                <p:nvSpPr>
                  <p:cNvPr id="26" name="TextBox 25"/>
                  <p:cNvSpPr txBox="1"/>
                  <p:nvPr/>
                </p:nvSpPr>
                <p:spPr>
                  <a:xfrm>
                    <a:off x="3656617" y="2636213"/>
                    <a:ext cx="2439383" cy="1000274"/>
                  </a:xfrm>
                  <a:prstGeom prst="rect">
                    <a:avLst/>
                  </a:prstGeom>
                  <a:noFill/>
                </p:spPr>
                <p:txBody>
                  <a:bodyPr wrap="square" rtlCol="0">
                    <a:spAutoFit/>
                  </a:bodyPr>
                  <a:lstStyle/>
                  <a:p>
                    <a:pPr marL="171450" lvl="0" indent="-171450">
                      <a:buFont typeface="Wingdings" panose="05000000000000000000" pitchFamily="2" charset="2"/>
                      <a:buChar char="§"/>
                    </a:pPr>
                    <a:r>
                      <a:rPr lang="en-US" sz="1000" dirty="0"/>
                      <a:t>Master data</a:t>
                    </a:r>
                  </a:p>
                  <a:p>
                    <a:pPr marL="171450" lvl="0" indent="-171450">
                      <a:buFont typeface="Wingdings" panose="05000000000000000000" pitchFamily="2" charset="2"/>
                      <a:buChar char="§"/>
                    </a:pPr>
                    <a:r>
                      <a:rPr lang="en-US" sz="1000" dirty="0"/>
                      <a:t>Sales force effectiveness</a:t>
                    </a:r>
                  </a:p>
                  <a:p>
                    <a:pPr marL="171450" lvl="0" indent="-171450">
                      <a:buFont typeface="Wingdings" panose="05000000000000000000" pitchFamily="2" charset="2"/>
                      <a:buChar char="§"/>
                    </a:pPr>
                    <a:r>
                      <a:rPr lang="en-US" sz="1000" dirty="0"/>
                      <a:t>Marketing &amp; </a:t>
                    </a:r>
                    <a:r>
                      <a:rPr lang="en-US" sz="1000" dirty="0" err="1"/>
                      <a:t>omni</a:t>
                    </a:r>
                    <a:r>
                      <a:rPr lang="en-US" sz="1000" dirty="0"/>
                      <a:t> channel</a:t>
                    </a:r>
                  </a:p>
                  <a:p>
                    <a:pPr marL="171450" lvl="0" indent="-171450">
                      <a:buFont typeface="Wingdings" panose="05000000000000000000" pitchFamily="2" charset="2"/>
                      <a:buChar char="§"/>
                    </a:pPr>
                    <a:r>
                      <a:rPr lang="en-US" sz="1000" dirty="0"/>
                      <a:t>Order management</a:t>
                    </a:r>
                  </a:p>
                  <a:p>
                    <a:pPr marL="171450" lvl="0" indent="-171450">
                      <a:buFont typeface="Wingdings" panose="05000000000000000000" pitchFamily="2" charset="2"/>
                      <a:buChar char="§"/>
                    </a:pPr>
                    <a:r>
                      <a:rPr lang="en-US" sz="1000" dirty="0"/>
                      <a:t>Contract management </a:t>
                    </a:r>
                  </a:p>
                  <a:p>
                    <a:pPr marL="171450" lvl="0" indent="-171450">
                      <a:buFont typeface="Wingdings" panose="05000000000000000000" pitchFamily="2" charset="2"/>
                      <a:buChar char="§"/>
                    </a:pPr>
                    <a:endParaRPr lang="en-US" sz="900" dirty="0"/>
                  </a:p>
                </p:txBody>
              </p:sp>
            </p:grpSp>
            <p:pic>
              <p:nvPicPr>
                <p:cNvPr id="27" name="Picture 2" descr="Image result for Salesforce logo&quot;"/>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85800" y="2332995"/>
                  <a:ext cx="718842" cy="503190"/>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14" descr="Image result for Pitcher logo&quot;"/>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620000" y="3330387"/>
                  <a:ext cx="936104" cy="460563"/>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16" descr="Image result for Axtria logo&quot;"/>
                <p:cNvPicPr>
                  <a:picLocks noChangeAspect="1" noChangeArrowheads="1"/>
                </p:cNvPicPr>
                <p:nvPr/>
              </p:nvPicPr>
              <p:blipFill rotWithShape="1">
                <a:blip r:embed="rId12">
                  <a:extLst>
                    <a:ext uri="{28A0092B-C50C-407E-A947-70E740481C1C}">
                      <a14:useLocalDpi xmlns:a14="http://schemas.microsoft.com/office/drawing/2010/main" val="0"/>
                    </a:ext>
                  </a:extLst>
                </a:blip>
                <a:srcRect t="20198" b="22431"/>
                <a:stretch/>
              </p:blipFill>
              <p:spPr bwMode="auto">
                <a:xfrm>
                  <a:off x="7620000" y="2300486"/>
                  <a:ext cx="1004105" cy="576064"/>
                </a:xfrm>
                <a:prstGeom prst="rect">
                  <a:avLst/>
                </a:prstGeom>
                <a:noFill/>
                <a:extLst>
                  <a:ext uri="{909E8E84-426E-40DD-AFC4-6F175D3DCCD1}">
                    <a14:hiddenFill xmlns:a14="http://schemas.microsoft.com/office/drawing/2010/main">
                      <a:solidFill>
                        <a:srgbClr val="FFFFFF"/>
                      </a:solidFill>
                    </a14:hiddenFill>
                  </a:ext>
                </a:extLst>
              </p:spPr>
            </p:pic>
            <p:sp>
              <p:nvSpPr>
                <p:cNvPr id="31" name="TextBox 30"/>
                <p:cNvSpPr txBox="1"/>
                <p:nvPr/>
              </p:nvSpPr>
              <p:spPr>
                <a:xfrm>
                  <a:off x="1524001" y="2596523"/>
                  <a:ext cx="1369390" cy="400110"/>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000" b="0" u="none" strike="noStrike" kern="1200" cap="none" spc="0" normalizeH="0" baseline="0" noProof="0">
                      <a:ln>
                        <a:noFill/>
                      </a:ln>
                      <a:solidFill>
                        <a:srgbClr val="000000"/>
                      </a:solidFill>
                      <a:effectLst/>
                      <a:uLnTx/>
                      <a:uFillTx/>
                      <a:latin typeface="Arial" panose="020B0604020202020204"/>
                      <a:ea typeface="+mn-ea"/>
                      <a:cs typeface="+mn-cs"/>
                    </a:rPr>
                    <a:t>Underlying platform capabilities</a:t>
                  </a:r>
                </a:p>
              </p:txBody>
            </p:sp>
            <p:cxnSp>
              <p:nvCxnSpPr>
                <p:cNvPr id="32" name="Straight Arrow Connector 31"/>
                <p:cNvCxnSpPr/>
                <p:nvPr/>
              </p:nvCxnSpPr>
              <p:spPr>
                <a:xfrm flipH="1">
                  <a:off x="1567053" y="2571750"/>
                  <a:ext cx="1620000" cy="0"/>
                </a:xfrm>
                <a:prstGeom prst="straightConnector1">
                  <a:avLst/>
                </a:prstGeom>
                <a:ln w="9525">
                  <a:solidFill>
                    <a:schemeClr val="accent2"/>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a:off x="1524000" y="3543240"/>
                  <a:ext cx="1488695" cy="553998"/>
                </a:xfrm>
                <a:prstGeom prst="rect">
                  <a:avLst/>
                </a:prstGeom>
                <a:noFill/>
              </p:spPr>
              <p:txBody>
                <a:bodyPr wrap="square" rtlCol="0" anchor="t">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000" b="0" u="none" strike="noStrike" kern="1200" cap="none" spc="0" normalizeH="0" baseline="0" noProof="0">
                      <a:ln>
                        <a:noFill/>
                      </a:ln>
                      <a:solidFill>
                        <a:srgbClr val="000000"/>
                      </a:solidFill>
                      <a:effectLst/>
                      <a:uLnTx/>
                      <a:uFillTx/>
                      <a:latin typeface="Arial" panose="020B0604020202020204"/>
                      <a:ea typeface="+mn-ea"/>
                      <a:cs typeface="+mn-cs"/>
                    </a:rPr>
                    <a:t>Order </a:t>
                  </a:r>
                  <a:r>
                    <a:rPr lang="en-GB" sz="1000">
                      <a:solidFill>
                        <a:srgbClr val="000000"/>
                      </a:solidFill>
                      <a:latin typeface="Arial" panose="020B0604020202020204"/>
                    </a:rPr>
                    <a:t>management</a:t>
                  </a:r>
                  <a:r>
                    <a:rPr kumimoji="0" lang="en-GB" sz="1000" b="0" u="none" strike="noStrike" kern="1200" cap="none" spc="0" normalizeH="0" baseline="0" noProof="0">
                      <a:ln>
                        <a:noFill/>
                      </a:ln>
                      <a:solidFill>
                        <a:srgbClr val="000000"/>
                      </a:solidFill>
                      <a:effectLst/>
                      <a:uLnTx/>
                      <a:uFillTx/>
                      <a:latin typeface="Arial" panose="020B0604020202020204"/>
                      <a:ea typeface="+mn-ea"/>
                      <a:cs typeface="+mn-cs"/>
                    </a:rPr>
                    <a:t> &amp; </a:t>
                  </a:r>
                </a:p>
                <a:p>
                  <a:pPr marL="0" marR="0" lvl="0" indent="0" defTabSz="914400" rtl="0" eaLnBrk="1" fontAlgn="auto" latinLnBrk="0" hangingPunct="1">
                    <a:lnSpc>
                      <a:spcPct val="100000"/>
                    </a:lnSpc>
                    <a:spcBef>
                      <a:spcPts val="0"/>
                    </a:spcBef>
                    <a:spcAft>
                      <a:spcPts val="0"/>
                    </a:spcAft>
                    <a:buClrTx/>
                    <a:buSzTx/>
                    <a:buFontTx/>
                    <a:buNone/>
                    <a:tabLst/>
                    <a:defRPr/>
                  </a:pPr>
                  <a:r>
                    <a:rPr lang="en-GB" sz="1000">
                      <a:solidFill>
                        <a:srgbClr val="000000"/>
                      </a:solidFill>
                      <a:latin typeface="Arial" panose="020B0604020202020204"/>
                    </a:rPr>
                    <a:t>contract</a:t>
                  </a:r>
                  <a:r>
                    <a:rPr kumimoji="0" lang="en-GB" sz="1000" b="0" u="none" strike="noStrike" kern="1200" cap="none" spc="0" normalizeH="0" baseline="0" noProof="0">
                      <a:ln>
                        <a:noFill/>
                      </a:ln>
                      <a:solidFill>
                        <a:srgbClr val="000000"/>
                      </a:solidFill>
                      <a:effectLst/>
                      <a:uLnTx/>
                      <a:uFillTx/>
                      <a:latin typeface="Arial" panose="020B0604020202020204"/>
                      <a:ea typeface="+mn-ea"/>
                      <a:cs typeface="+mn-cs"/>
                    </a:rPr>
                    <a:t> management capabilities</a:t>
                  </a:r>
                </a:p>
              </p:txBody>
            </p:sp>
            <p:cxnSp>
              <p:nvCxnSpPr>
                <p:cNvPr id="35" name="Straight Arrow Connector 34"/>
                <p:cNvCxnSpPr/>
                <p:nvPr/>
              </p:nvCxnSpPr>
              <p:spPr>
                <a:xfrm flipH="1">
                  <a:off x="1567053" y="3518467"/>
                  <a:ext cx="1620000" cy="0"/>
                </a:xfrm>
                <a:prstGeom prst="straightConnector1">
                  <a:avLst/>
                </a:prstGeom>
                <a:ln w="9525">
                  <a:solidFill>
                    <a:schemeClr val="accent2"/>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a:off x="6172200" y="2596523"/>
                  <a:ext cx="1369390" cy="40011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000">
                      <a:solidFill>
                        <a:srgbClr val="000000"/>
                      </a:solidFill>
                      <a:latin typeface="Arial" panose="020B0604020202020204"/>
                    </a:rPr>
                    <a:t>Territory alignment &amp;</a:t>
                  </a:r>
                </a:p>
                <a:p>
                  <a:pPr marL="0" marR="0" lvl="0" indent="0" algn="r" defTabSz="914400" rtl="0" eaLnBrk="1" fontAlgn="auto" latinLnBrk="0" hangingPunct="1">
                    <a:lnSpc>
                      <a:spcPct val="100000"/>
                    </a:lnSpc>
                    <a:spcBef>
                      <a:spcPts val="0"/>
                    </a:spcBef>
                    <a:spcAft>
                      <a:spcPts val="0"/>
                    </a:spcAft>
                    <a:buClrTx/>
                    <a:buSzTx/>
                    <a:buFontTx/>
                    <a:buNone/>
                    <a:tabLst/>
                    <a:defRPr/>
                  </a:pPr>
                  <a:r>
                    <a:rPr lang="en-GB" sz="1000">
                      <a:solidFill>
                        <a:srgbClr val="000000"/>
                      </a:solidFill>
                      <a:latin typeface="Arial" panose="020B0604020202020204"/>
                    </a:rPr>
                    <a:t>cycle planning</a:t>
                  </a:r>
                  <a:endParaRPr kumimoji="0" lang="en-GB" sz="1000" b="0" u="none" strike="noStrike" kern="1200" cap="none" spc="0" normalizeH="0" baseline="0" noProof="0">
                    <a:ln>
                      <a:noFill/>
                    </a:ln>
                    <a:solidFill>
                      <a:srgbClr val="000000"/>
                    </a:solidFill>
                    <a:effectLst/>
                    <a:uLnTx/>
                    <a:uFillTx/>
                    <a:latin typeface="Arial" panose="020B0604020202020204"/>
                    <a:ea typeface="+mn-ea"/>
                    <a:cs typeface="+mn-cs"/>
                  </a:endParaRPr>
                </a:p>
              </p:txBody>
            </p:sp>
            <p:cxnSp>
              <p:nvCxnSpPr>
                <p:cNvPr id="39" name="Straight Arrow Connector 38"/>
                <p:cNvCxnSpPr/>
                <p:nvPr/>
              </p:nvCxnSpPr>
              <p:spPr>
                <a:xfrm flipH="1">
                  <a:off x="5847600" y="2571750"/>
                  <a:ext cx="1620000" cy="0"/>
                </a:xfrm>
                <a:prstGeom prst="straightConnector1">
                  <a:avLst/>
                </a:prstGeom>
                <a:ln w="9525">
                  <a:solidFill>
                    <a:schemeClr val="accent2"/>
                  </a:solidFill>
                  <a:headEnd type="oval"/>
                  <a:tailEnd type="none"/>
                </a:ln>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a:xfrm>
                  <a:off x="5847599" y="3530479"/>
                  <a:ext cx="1749795" cy="861774"/>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1" u="none" strike="noStrike" kern="1200" cap="none" spc="0" normalizeH="0" baseline="0" noProof="0" dirty="0">
                      <a:ln>
                        <a:noFill/>
                      </a:ln>
                      <a:solidFill>
                        <a:srgbClr val="000000"/>
                      </a:solidFill>
                      <a:effectLst/>
                      <a:uLnTx/>
                      <a:uFillTx/>
                      <a:latin typeface="Arial" panose="020B0604020202020204"/>
                      <a:ea typeface="+mn-ea"/>
                      <a:cs typeface="+mn-cs"/>
                    </a:rPr>
                    <a:t>Pitcher Impact: </a:t>
                  </a:r>
                  <a:r>
                    <a:rPr kumimoji="0" lang="en-GB" sz="1000" b="0" u="none" strike="noStrike" kern="1200" cap="none" spc="0" normalizeH="0" baseline="0" noProof="0" dirty="0">
                      <a:ln>
                        <a:noFill/>
                      </a:ln>
                      <a:solidFill>
                        <a:srgbClr val="000000"/>
                      </a:solidFill>
                      <a:effectLst/>
                      <a:uLnTx/>
                      <a:uFillTx/>
                      <a:latin typeface="Arial" panose="020B0604020202020204"/>
                      <a:ea typeface="+mn-ea"/>
                      <a:cs typeface="+mn-cs"/>
                    </a:rPr>
                    <a:t>Field</a:t>
                  </a:r>
                  <a:r>
                    <a:rPr kumimoji="0" lang="en-GB" sz="1000" b="0" u="none" strike="noStrike" kern="1200" cap="none" spc="0" normalizeH="0" noProof="0" dirty="0">
                      <a:ln>
                        <a:noFill/>
                      </a:ln>
                      <a:solidFill>
                        <a:srgbClr val="000000"/>
                      </a:solidFill>
                      <a:effectLst/>
                      <a:uLnTx/>
                      <a:uFillTx/>
                      <a:latin typeface="Arial" panose="020B0604020202020204"/>
                      <a:ea typeface="+mn-ea"/>
                      <a:cs typeface="+mn-cs"/>
                    </a:rPr>
                    <a:t> Force Offline App</a:t>
                  </a:r>
                </a:p>
                <a:p>
                  <a:pPr marL="0" marR="0" lvl="0" indent="0" algn="r" defTabSz="914400" rtl="0" eaLnBrk="1" fontAlgn="auto" latinLnBrk="0" hangingPunct="1">
                    <a:lnSpc>
                      <a:spcPct val="100000"/>
                    </a:lnSpc>
                    <a:spcBef>
                      <a:spcPts val="0"/>
                    </a:spcBef>
                    <a:spcAft>
                      <a:spcPts val="0"/>
                    </a:spcAft>
                    <a:buClrTx/>
                    <a:buSzTx/>
                    <a:buFontTx/>
                    <a:buNone/>
                    <a:tabLst/>
                    <a:defRPr/>
                  </a:pPr>
                  <a:r>
                    <a:rPr lang="en-GB" sz="1000" b="1" baseline="0" dirty="0">
                      <a:solidFill>
                        <a:srgbClr val="000000"/>
                      </a:solidFill>
                      <a:latin typeface="Arial" panose="020B0604020202020204"/>
                    </a:rPr>
                    <a:t>Pitcher</a:t>
                  </a:r>
                  <a:r>
                    <a:rPr lang="en-GB" sz="1000" b="1" dirty="0">
                      <a:solidFill>
                        <a:srgbClr val="000000"/>
                      </a:solidFill>
                      <a:latin typeface="Arial" panose="020B0604020202020204"/>
                    </a:rPr>
                    <a:t> Connect</a:t>
                  </a:r>
                  <a:r>
                    <a:rPr lang="en-GB" sz="1000" dirty="0">
                      <a:solidFill>
                        <a:srgbClr val="000000"/>
                      </a:solidFill>
                      <a:latin typeface="Arial" panose="020B0604020202020204"/>
                    </a:rPr>
                    <a:t>: HCP Portal for content, consent and remote interactions</a:t>
                  </a:r>
                  <a:endParaRPr kumimoji="0" lang="en-GB" sz="1000" b="0" u="none" strike="noStrike" kern="1200" cap="none" spc="0" normalizeH="0" baseline="0" noProof="0" dirty="0">
                    <a:ln>
                      <a:noFill/>
                    </a:ln>
                    <a:solidFill>
                      <a:srgbClr val="000000"/>
                    </a:solidFill>
                    <a:effectLst/>
                    <a:uLnTx/>
                    <a:uFillTx/>
                    <a:latin typeface="Arial" panose="020B0604020202020204"/>
                    <a:ea typeface="+mn-ea"/>
                    <a:cs typeface="+mn-cs"/>
                  </a:endParaRPr>
                </a:p>
              </p:txBody>
            </p:sp>
            <p:cxnSp>
              <p:nvCxnSpPr>
                <p:cNvPr id="41" name="Straight Arrow Connector 40"/>
                <p:cNvCxnSpPr/>
                <p:nvPr/>
              </p:nvCxnSpPr>
              <p:spPr>
                <a:xfrm flipH="1">
                  <a:off x="5847600" y="3518467"/>
                  <a:ext cx="1620000" cy="0"/>
                </a:xfrm>
                <a:prstGeom prst="straightConnector1">
                  <a:avLst/>
                </a:prstGeom>
                <a:ln w="9525">
                  <a:solidFill>
                    <a:schemeClr val="accent2"/>
                  </a:solidFill>
                  <a:headEnd type="oval"/>
                  <a:tailEnd type="none"/>
                </a:ln>
              </p:spPr>
              <p:style>
                <a:lnRef idx="1">
                  <a:schemeClr val="accent1"/>
                </a:lnRef>
                <a:fillRef idx="0">
                  <a:schemeClr val="accent1"/>
                </a:fillRef>
                <a:effectRef idx="0">
                  <a:schemeClr val="accent1"/>
                </a:effectRef>
                <a:fontRef idx="minor">
                  <a:schemeClr val="tx1"/>
                </a:fontRef>
              </p:style>
            </p:cxnSp>
          </p:grpSp>
        </p:grpSp>
        <p:pic>
          <p:nvPicPr>
            <p:cNvPr id="8" name="Picture 7"/>
            <p:cNvPicPr>
              <a:picLocks noChangeAspect="1"/>
            </p:cNvPicPr>
            <p:nvPr/>
          </p:nvPicPr>
          <p:blipFill>
            <a:blip r:embed="rId13"/>
            <a:stretch>
              <a:fillRect/>
            </a:stretch>
          </p:blipFill>
          <p:spPr>
            <a:xfrm>
              <a:off x="4060211" y="2449777"/>
              <a:ext cx="840697" cy="316429"/>
            </a:xfrm>
            <a:prstGeom prst="rect">
              <a:avLst/>
            </a:prstGeom>
          </p:spPr>
        </p:pic>
      </p:grpSp>
    </p:spTree>
    <p:extLst>
      <p:ext uri="{BB962C8B-B14F-4D97-AF65-F5344CB8AC3E}">
        <p14:creationId xmlns:p14="http://schemas.microsoft.com/office/powerpoint/2010/main" val="289460208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2400" dirty="0">
                <a:solidFill>
                  <a:schemeClr val="accent6">
                    <a:lumMod val="50000"/>
                  </a:schemeClr>
                </a:solidFill>
              </a:rPr>
              <a:t>What is Roll-out?</a:t>
            </a:r>
          </a:p>
        </p:txBody>
      </p:sp>
      <p:sp>
        <p:nvSpPr>
          <p:cNvPr id="3" name="Slide Number Placeholder 2"/>
          <p:cNvSpPr>
            <a:spLocks noGrp="1"/>
          </p:cNvSpPr>
          <p:nvPr>
            <p:ph type="sldNum" sz="quarter" idx="10"/>
          </p:nvPr>
        </p:nvSpPr>
        <p:spPr/>
        <p:txBody>
          <a:bodyPr/>
          <a:lstStyle/>
          <a:p>
            <a:fld id="{47547CF9-5B10-D24F-A8D7-45A9778164F7}" type="slidenum">
              <a:rPr lang="en-US" smtClean="0"/>
              <a:pPr/>
              <a:t>3</a:t>
            </a:fld>
            <a:endParaRPr lang="en-US" dirty="0"/>
          </a:p>
        </p:txBody>
      </p:sp>
      <p:sp>
        <p:nvSpPr>
          <p:cNvPr id="4" name="Footer Placeholder 3"/>
          <p:cNvSpPr>
            <a:spLocks noGrp="1"/>
          </p:cNvSpPr>
          <p:nvPr>
            <p:ph type="ftr" sz="quarter" idx="11"/>
          </p:nvPr>
        </p:nvSpPr>
        <p:spPr/>
        <p:txBody>
          <a:bodyPr/>
          <a:lstStyle/>
          <a:p>
            <a:r>
              <a:rPr lang="en-US"/>
              <a:t>Scout l What is Roll-out? l August 2020</a:t>
            </a:r>
            <a:endParaRPr lang="en-GB" dirty="0"/>
          </a:p>
        </p:txBody>
      </p:sp>
      <p:pic>
        <p:nvPicPr>
          <p:cNvPr id="14" name="Picture 13"/>
          <p:cNvPicPr>
            <a:picLocks noChangeAspect="1"/>
          </p:cNvPicPr>
          <p:nvPr/>
        </p:nvPicPr>
        <p:blipFill>
          <a:blip r:embed="rId2"/>
          <a:stretch>
            <a:fillRect/>
          </a:stretch>
        </p:blipFill>
        <p:spPr>
          <a:xfrm>
            <a:off x="4343400" y="3499597"/>
            <a:ext cx="3657600" cy="1072836"/>
          </a:xfrm>
          <a:prstGeom prst="rect">
            <a:avLst/>
          </a:prstGeom>
        </p:spPr>
      </p:pic>
      <p:pic>
        <p:nvPicPr>
          <p:cNvPr id="15" name="Picture 14"/>
          <p:cNvPicPr>
            <a:picLocks noChangeAspect="1"/>
          </p:cNvPicPr>
          <p:nvPr/>
        </p:nvPicPr>
        <p:blipFill>
          <a:blip r:embed="rId3"/>
          <a:stretch>
            <a:fillRect/>
          </a:stretch>
        </p:blipFill>
        <p:spPr>
          <a:xfrm>
            <a:off x="1066800" y="3473876"/>
            <a:ext cx="2840597" cy="1155274"/>
          </a:xfrm>
          <a:prstGeom prst="rect">
            <a:avLst/>
          </a:prstGeom>
        </p:spPr>
      </p:pic>
      <p:grpSp>
        <p:nvGrpSpPr>
          <p:cNvPr id="20" name="Group 19"/>
          <p:cNvGrpSpPr/>
          <p:nvPr/>
        </p:nvGrpSpPr>
        <p:grpSpPr>
          <a:xfrm>
            <a:off x="2057400" y="2800350"/>
            <a:ext cx="4860987" cy="609600"/>
            <a:chOff x="1828800" y="2800350"/>
            <a:chExt cx="5089587" cy="671459"/>
          </a:xfrm>
          <a:solidFill>
            <a:srgbClr val="023760"/>
          </a:solidFill>
        </p:grpSpPr>
        <p:sp>
          <p:nvSpPr>
            <p:cNvPr id="6" name="Chevron 5"/>
            <p:cNvSpPr/>
            <p:nvPr/>
          </p:nvSpPr>
          <p:spPr>
            <a:xfrm>
              <a:off x="1828800" y="3186059"/>
              <a:ext cx="1082891" cy="28575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900" b="1" dirty="0">
                  <a:solidFill>
                    <a:schemeClr val="bg1"/>
                  </a:solidFill>
                </a:rPr>
                <a:t>Pre Roll-out</a:t>
              </a:r>
            </a:p>
          </p:txBody>
        </p:sp>
        <p:sp>
          <p:nvSpPr>
            <p:cNvPr id="7" name="Chevron 6"/>
            <p:cNvSpPr/>
            <p:nvPr/>
          </p:nvSpPr>
          <p:spPr>
            <a:xfrm>
              <a:off x="2803402" y="3180387"/>
              <a:ext cx="1082891" cy="28575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900" b="1" dirty="0">
                  <a:solidFill>
                    <a:schemeClr val="bg1"/>
                  </a:solidFill>
                </a:rPr>
                <a:t>Preparation</a:t>
              </a:r>
            </a:p>
          </p:txBody>
        </p:sp>
        <p:sp>
          <p:nvSpPr>
            <p:cNvPr id="8" name="Chevron 7"/>
            <p:cNvSpPr/>
            <p:nvPr/>
          </p:nvSpPr>
          <p:spPr>
            <a:xfrm>
              <a:off x="3778004" y="3173186"/>
              <a:ext cx="1191180" cy="280079"/>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900" b="1" dirty="0">
                  <a:solidFill>
                    <a:schemeClr val="bg1"/>
                  </a:solidFill>
                </a:rPr>
                <a:t>Implementation</a:t>
              </a:r>
            </a:p>
          </p:txBody>
        </p:sp>
        <p:sp>
          <p:nvSpPr>
            <p:cNvPr id="9" name="Chevron 8"/>
            <p:cNvSpPr/>
            <p:nvPr/>
          </p:nvSpPr>
          <p:spPr>
            <a:xfrm>
              <a:off x="4860894" y="3167515"/>
              <a:ext cx="1082891" cy="28575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900" b="1" dirty="0">
                  <a:solidFill>
                    <a:schemeClr val="bg1"/>
                  </a:solidFill>
                </a:rPr>
                <a:t>Roll-out</a:t>
              </a:r>
            </a:p>
          </p:txBody>
        </p:sp>
        <p:sp>
          <p:nvSpPr>
            <p:cNvPr id="10" name="Chevron 9"/>
            <p:cNvSpPr/>
            <p:nvPr/>
          </p:nvSpPr>
          <p:spPr>
            <a:xfrm>
              <a:off x="5835496" y="3167515"/>
              <a:ext cx="1082891" cy="28575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850" b="1" dirty="0">
                  <a:solidFill>
                    <a:schemeClr val="bg1"/>
                  </a:solidFill>
                </a:rPr>
                <a:t>Operate/Adopt</a:t>
              </a:r>
            </a:p>
          </p:txBody>
        </p:sp>
        <p:sp>
          <p:nvSpPr>
            <p:cNvPr id="11" name="Pentagon 10"/>
            <p:cNvSpPr/>
            <p:nvPr/>
          </p:nvSpPr>
          <p:spPr>
            <a:xfrm>
              <a:off x="1828800" y="2800350"/>
              <a:ext cx="5089587" cy="290458"/>
            </a:xfrm>
            <a:prstGeom prst="homePlat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dirty="0"/>
                <a:t>WAVE</a:t>
              </a:r>
            </a:p>
          </p:txBody>
        </p:sp>
        <p:sp>
          <p:nvSpPr>
            <p:cNvPr id="16" name="Flowchart: Decision 15"/>
            <p:cNvSpPr/>
            <p:nvPr/>
          </p:nvSpPr>
          <p:spPr>
            <a:xfrm>
              <a:off x="5835838" y="3243946"/>
              <a:ext cx="183962" cy="163285"/>
            </a:xfrm>
            <a:prstGeom prst="flowChartDecision">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900"/>
            </a:p>
          </p:txBody>
        </p:sp>
      </p:grpSp>
      <p:sp>
        <p:nvSpPr>
          <p:cNvPr id="18" name="Content Placeholder 2"/>
          <p:cNvSpPr txBox="1">
            <a:spLocks/>
          </p:cNvSpPr>
          <p:nvPr/>
        </p:nvSpPr>
        <p:spPr>
          <a:xfrm>
            <a:off x="573722" y="1020549"/>
            <a:ext cx="8229600" cy="1604258"/>
          </a:xfrm>
          <a:prstGeom prst="rect">
            <a:avLst/>
          </a:prstGeom>
        </p:spPr>
        <p:txBody>
          <a:bodyPr vert="horz" lIns="0" tIns="0" rIns="0" bIns="0" spcCol="182880" rtlCol="0">
            <a:noAutofit/>
          </a:bodyPr>
          <a:lstStyle>
            <a:lvl1pPr marL="228600" indent="-228600" algn="l" defTabSz="914400" rtl="0" eaLnBrk="1" latinLnBrk="0" hangingPunct="1">
              <a:spcBef>
                <a:spcPts val="900"/>
              </a:spcBef>
              <a:buClrTx/>
              <a:buSzPct val="100000"/>
              <a:buFont typeface="Wingdings" charset="2"/>
              <a:buChar char="§"/>
              <a:tabLst>
                <a:tab pos="3998913" algn="r"/>
                <a:tab pos="8229600" algn="r"/>
              </a:tabLst>
              <a:defRPr sz="1800" b="0" i="0" kern="1200" spc="0" baseline="0">
                <a:solidFill>
                  <a:schemeClr val="tx1"/>
                </a:solidFill>
                <a:latin typeface="+mn-lt"/>
                <a:ea typeface="+mn-ea"/>
                <a:cs typeface="+mn-cs"/>
              </a:defRPr>
            </a:lvl1pPr>
            <a:lvl2pPr marL="457200" indent="-228600" algn="l" defTabSz="914400" rtl="0" eaLnBrk="1" latinLnBrk="0" hangingPunct="1">
              <a:spcBef>
                <a:spcPts val="300"/>
              </a:spcBef>
              <a:buClrTx/>
              <a:buSzPct val="100000"/>
              <a:buFont typeface="Arial" pitchFamily="34" charset="0"/>
              <a:buChar char="–"/>
              <a:defRPr sz="1600" b="0" i="0" kern="1200" spc="0" baseline="0">
                <a:solidFill>
                  <a:schemeClr val="tx1"/>
                </a:solidFill>
                <a:latin typeface="+mn-lt"/>
                <a:ea typeface="+mn-ea"/>
                <a:cs typeface="+mn-cs"/>
              </a:defRPr>
            </a:lvl2pPr>
            <a:lvl3pPr marL="685800" indent="-228600" algn="l" defTabSz="914400" rtl="0" eaLnBrk="1" latinLnBrk="0" hangingPunct="1">
              <a:spcBef>
                <a:spcPts val="300"/>
              </a:spcBef>
              <a:buClrTx/>
              <a:buSzPct val="100000"/>
              <a:buFont typeface="Arial" pitchFamily="34" charset="0"/>
              <a:buChar char="–"/>
              <a:defRPr sz="1600" b="0" i="0" kern="1200" spc="0" baseline="0">
                <a:solidFill>
                  <a:schemeClr val="tx1"/>
                </a:solidFill>
                <a:latin typeface="+mn-lt"/>
                <a:ea typeface="+mn-ea"/>
                <a:cs typeface="+mn-cs"/>
              </a:defRPr>
            </a:lvl3pPr>
            <a:lvl4pPr marL="914400" indent="-228600" algn="l" defTabSz="914400" rtl="0" eaLnBrk="1" latinLnBrk="0" hangingPunct="1">
              <a:spcBef>
                <a:spcPts val="300"/>
              </a:spcBef>
              <a:buClrTx/>
              <a:buSzPct val="100000"/>
              <a:buFont typeface="Arial" pitchFamily="34" charset="0"/>
              <a:buChar char="–"/>
              <a:defRPr sz="1600" b="0" i="0" kern="1200" spc="0" baseline="0">
                <a:solidFill>
                  <a:schemeClr val="tx1"/>
                </a:solidFill>
                <a:latin typeface="+mn-lt"/>
                <a:ea typeface="+mn-ea"/>
                <a:cs typeface="+mn-cs"/>
              </a:defRPr>
            </a:lvl4pPr>
            <a:lvl5pPr marL="1143000" indent="-228600" algn="l" defTabSz="914400" rtl="0" eaLnBrk="1" latinLnBrk="0" hangingPunct="1">
              <a:spcBef>
                <a:spcPts val="300"/>
              </a:spcBef>
              <a:buClrTx/>
              <a:buSzPct val="100000"/>
              <a:buFont typeface="Arial" pitchFamily="34" charset="0"/>
              <a:buChar char="–"/>
              <a:defRPr sz="1600" b="0" i="0" kern="1200" spc="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GB" sz="1550" dirty="0"/>
              <a:t>To manage this challenge, we will ‘roll-out’ Scout to groups of countries in six ‘Waves’, three for Region Europe/North America and three for SIR (International Markets)</a:t>
            </a:r>
          </a:p>
          <a:p>
            <a:r>
              <a:rPr lang="en-GB" sz="1550" dirty="0"/>
              <a:t>In addition, countries who have already gone live on Scout have to be managed through future Releases or ‘upgrades’</a:t>
            </a:r>
          </a:p>
          <a:p>
            <a:r>
              <a:rPr lang="en-GB" sz="1550" dirty="0"/>
              <a:t>Waves are off-set from Releases to avoid cutover of multiple NEW countries and multiple LIVE countries at the same time</a:t>
            </a:r>
          </a:p>
        </p:txBody>
      </p:sp>
      <p:grpSp>
        <p:nvGrpSpPr>
          <p:cNvPr id="21" name="Group 20"/>
          <p:cNvGrpSpPr>
            <a:grpSpLocks/>
          </p:cNvGrpSpPr>
          <p:nvPr/>
        </p:nvGrpSpPr>
        <p:grpSpPr bwMode="auto">
          <a:xfrm>
            <a:off x="4236399" y="4510181"/>
            <a:ext cx="1207715" cy="639136"/>
            <a:chOff x="438151" y="2405063"/>
            <a:chExt cx="901700" cy="604838"/>
          </a:xfrm>
        </p:grpSpPr>
        <p:grpSp>
          <p:nvGrpSpPr>
            <p:cNvPr id="22" name="Group 128"/>
            <p:cNvGrpSpPr>
              <a:grpSpLocks/>
            </p:cNvGrpSpPr>
            <p:nvPr/>
          </p:nvGrpSpPr>
          <p:grpSpPr bwMode="auto">
            <a:xfrm>
              <a:off x="438151" y="2405063"/>
              <a:ext cx="901700" cy="604838"/>
              <a:chOff x="438151" y="2405063"/>
              <a:chExt cx="901700" cy="604838"/>
            </a:xfrm>
          </p:grpSpPr>
          <p:sp>
            <p:nvSpPr>
              <p:cNvPr id="24" name="Freeform 51"/>
              <p:cNvSpPr>
                <a:spLocks/>
              </p:cNvSpPr>
              <p:nvPr/>
            </p:nvSpPr>
            <p:spPr bwMode="auto">
              <a:xfrm>
                <a:off x="438151" y="2405063"/>
                <a:ext cx="901700" cy="604838"/>
              </a:xfrm>
              <a:custGeom>
                <a:avLst/>
                <a:gdLst>
                  <a:gd name="T0" fmla="*/ 568 w 568"/>
                  <a:gd name="T1" fmla="*/ 381 h 381"/>
                  <a:gd name="T2" fmla="*/ 283 w 568"/>
                  <a:gd name="T3" fmla="*/ 0 h 381"/>
                  <a:gd name="T4" fmla="*/ 0 w 568"/>
                  <a:gd name="T5" fmla="*/ 381 h 381"/>
                  <a:gd name="T6" fmla="*/ 568 w 568"/>
                  <a:gd name="T7" fmla="*/ 381 h 381"/>
                </a:gdLst>
                <a:ahLst/>
                <a:cxnLst>
                  <a:cxn ang="0">
                    <a:pos x="T0" y="T1"/>
                  </a:cxn>
                  <a:cxn ang="0">
                    <a:pos x="T2" y="T3"/>
                  </a:cxn>
                  <a:cxn ang="0">
                    <a:pos x="T4" y="T5"/>
                  </a:cxn>
                  <a:cxn ang="0">
                    <a:pos x="T6" y="T7"/>
                  </a:cxn>
                </a:cxnLst>
                <a:rect l="0" t="0" r="r" b="b"/>
                <a:pathLst>
                  <a:path w="568" h="381">
                    <a:moveTo>
                      <a:pt x="568" y="381"/>
                    </a:moveTo>
                    <a:lnTo>
                      <a:pt x="283" y="0"/>
                    </a:lnTo>
                    <a:lnTo>
                      <a:pt x="0" y="381"/>
                    </a:lnTo>
                    <a:lnTo>
                      <a:pt x="568" y="381"/>
                    </a:ln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5" name="Freeform 53"/>
              <p:cNvSpPr>
                <a:spLocks/>
              </p:cNvSpPr>
              <p:nvPr/>
            </p:nvSpPr>
            <p:spPr bwMode="auto">
              <a:xfrm>
                <a:off x="762000" y="2405063"/>
                <a:ext cx="249767" cy="175531"/>
              </a:xfrm>
              <a:custGeom>
                <a:avLst/>
                <a:gdLst>
                  <a:gd name="T0" fmla="*/ 79 w 157"/>
                  <a:gd name="T1" fmla="*/ 0 h 110"/>
                  <a:gd name="T2" fmla="*/ 0 w 157"/>
                  <a:gd name="T3" fmla="*/ 106 h 110"/>
                  <a:gd name="T4" fmla="*/ 5 w 157"/>
                  <a:gd name="T5" fmla="*/ 110 h 110"/>
                  <a:gd name="T6" fmla="*/ 29 w 157"/>
                  <a:gd name="T7" fmla="*/ 91 h 110"/>
                  <a:gd name="T8" fmla="*/ 53 w 157"/>
                  <a:gd name="T9" fmla="*/ 110 h 110"/>
                  <a:gd name="T10" fmla="*/ 77 w 157"/>
                  <a:gd name="T11" fmla="*/ 91 h 110"/>
                  <a:gd name="T12" fmla="*/ 101 w 157"/>
                  <a:gd name="T13" fmla="*/ 110 h 110"/>
                  <a:gd name="T14" fmla="*/ 126 w 157"/>
                  <a:gd name="T15" fmla="*/ 91 h 110"/>
                  <a:gd name="T16" fmla="*/ 150 w 157"/>
                  <a:gd name="T17" fmla="*/ 110 h 110"/>
                  <a:gd name="T18" fmla="*/ 157 w 157"/>
                  <a:gd name="T19" fmla="*/ 104 h 110"/>
                  <a:gd name="T20" fmla="*/ 79 w 157"/>
                  <a:gd name="T21"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7" h="110">
                    <a:moveTo>
                      <a:pt x="79" y="0"/>
                    </a:moveTo>
                    <a:lnTo>
                      <a:pt x="0" y="106"/>
                    </a:lnTo>
                    <a:lnTo>
                      <a:pt x="5" y="110"/>
                    </a:lnTo>
                    <a:lnTo>
                      <a:pt x="29" y="91"/>
                    </a:lnTo>
                    <a:lnTo>
                      <a:pt x="53" y="110"/>
                    </a:lnTo>
                    <a:lnTo>
                      <a:pt x="77" y="91"/>
                    </a:lnTo>
                    <a:lnTo>
                      <a:pt x="101" y="110"/>
                    </a:lnTo>
                    <a:lnTo>
                      <a:pt x="126" y="91"/>
                    </a:lnTo>
                    <a:lnTo>
                      <a:pt x="150" y="110"/>
                    </a:lnTo>
                    <a:lnTo>
                      <a:pt x="157" y="104"/>
                    </a:lnTo>
                    <a:lnTo>
                      <a:pt x="79" y="0"/>
                    </a:lnTo>
                    <a:close/>
                  </a:path>
                </a:pathLst>
              </a:custGeom>
              <a:solidFill>
                <a:srgbClr val="D7EEEE"/>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6" name="Freeform 57"/>
              <p:cNvSpPr>
                <a:spLocks/>
              </p:cNvSpPr>
              <p:nvPr/>
            </p:nvSpPr>
            <p:spPr bwMode="auto">
              <a:xfrm>
                <a:off x="438151" y="2405063"/>
                <a:ext cx="455083" cy="604838"/>
              </a:xfrm>
              <a:custGeom>
                <a:avLst/>
                <a:gdLst>
                  <a:gd name="T0" fmla="*/ 283 w 287"/>
                  <a:gd name="T1" fmla="*/ 0 h 381"/>
                  <a:gd name="T2" fmla="*/ 283 w 287"/>
                  <a:gd name="T3" fmla="*/ 0 h 381"/>
                  <a:gd name="T4" fmla="*/ 0 w 287"/>
                  <a:gd name="T5" fmla="*/ 381 h 381"/>
                  <a:gd name="T6" fmla="*/ 287 w 287"/>
                  <a:gd name="T7" fmla="*/ 381 h 381"/>
                  <a:gd name="T8" fmla="*/ 284 w 287"/>
                  <a:gd name="T9" fmla="*/ 93 h 381"/>
                  <a:gd name="T10" fmla="*/ 281 w 287"/>
                  <a:gd name="T11" fmla="*/ 91 h 381"/>
                  <a:gd name="T12" fmla="*/ 257 w 287"/>
                  <a:gd name="T13" fmla="*/ 110 h 381"/>
                  <a:gd name="T14" fmla="*/ 233 w 287"/>
                  <a:gd name="T15" fmla="*/ 91 h 381"/>
                  <a:gd name="T16" fmla="*/ 209 w 287"/>
                  <a:gd name="T17" fmla="*/ 110 h 381"/>
                  <a:gd name="T18" fmla="*/ 204 w 287"/>
                  <a:gd name="T19" fmla="*/ 106 h 381"/>
                  <a:gd name="T20" fmla="*/ 283 w 287"/>
                  <a:gd name="T21" fmla="*/ 0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7" h="381">
                    <a:moveTo>
                      <a:pt x="283" y="0"/>
                    </a:moveTo>
                    <a:lnTo>
                      <a:pt x="283" y="0"/>
                    </a:lnTo>
                    <a:lnTo>
                      <a:pt x="0" y="381"/>
                    </a:lnTo>
                    <a:lnTo>
                      <a:pt x="287" y="381"/>
                    </a:lnTo>
                    <a:lnTo>
                      <a:pt x="284" y="93"/>
                    </a:lnTo>
                    <a:lnTo>
                      <a:pt x="281" y="91"/>
                    </a:lnTo>
                    <a:lnTo>
                      <a:pt x="257" y="110"/>
                    </a:lnTo>
                    <a:lnTo>
                      <a:pt x="233" y="91"/>
                    </a:lnTo>
                    <a:lnTo>
                      <a:pt x="209" y="110"/>
                    </a:lnTo>
                    <a:lnTo>
                      <a:pt x="204" y="106"/>
                    </a:lnTo>
                    <a:lnTo>
                      <a:pt x="283"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sp>
          <p:nvSpPr>
            <p:cNvPr id="23" name="Freeform 59"/>
            <p:cNvSpPr>
              <a:spLocks/>
            </p:cNvSpPr>
            <p:nvPr/>
          </p:nvSpPr>
          <p:spPr bwMode="auto">
            <a:xfrm>
              <a:off x="762000" y="2405063"/>
              <a:ext cx="127000" cy="175531"/>
            </a:xfrm>
            <a:custGeom>
              <a:avLst/>
              <a:gdLst>
                <a:gd name="T0" fmla="*/ 79 w 80"/>
                <a:gd name="T1" fmla="*/ 0 h 110"/>
                <a:gd name="T2" fmla="*/ 79 w 80"/>
                <a:gd name="T3" fmla="*/ 0 h 110"/>
                <a:gd name="T4" fmla="*/ 0 w 80"/>
                <a:gd name="T5" fmla="*/ 106 h 110"/>
                <a:gd name="T6" fmla="*/ 5 w 80"/>
                <a:gd name="T7" fmla="*/ 110 h 110"/>
                <a:gd name="T8" fmla="*/ 29 w 80"/>
                <a:gd name="T9" fmla="*/ 91 h 110"/>
                <a:gd name="T10" fmla="*/ 53 w 80"/>
                <a:gd name="T11" fmla="*/ 110 h 110"/>
                <a:gd name="T12" fmla="*/ 77 w 80"/>
                <a:gd name="T13" fmla="*/ 91 h 110"/>
                <a:gd name="T14" fmla="*/ 80 w 80"/>
                <a:gd name="T15" fmla="*/ 93 h 110"/>
                <a:gd name="T16" fmla="*/ 79 w 80"/>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110">
                  <a:moveTo>
                    <a:pt x="79" y="0"/>
                  </a:moveTo>
                  <a:lnTo>
                    <a:pt x="79" y="0"/>
                  </a:lnTo>
                  <a:lnTo>
                    <a:pt x="0" y="106"/>
                  </a:lnTo>
                  <a:lnTo>
                    <a:pt x="5" y="110"/>
                  </a:lnTo>
                  <a:lnTo>
                    <a:pt x="29" y="91"/>
                  </a:lnTo>
                  <a:lnTo>
                    <a:pt x="53" y="110"/>
                  </a:lnTo>
                  <a:lnTo>
                    <a:pt x="77" y="91"/>
                  </a:lnTo>
                  <a:lnTo>
                    <a:pt x="80" y="93"/>
                  </a:lnTo>
                  <a:lnTo>
                    <a:pt x="79"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27" name="Group 26"/>
          <p:cNvGrpSpPr>
            <a:grpSpLocks/>
          </p:cNvGrpSpPr>
          <p:nvPr/>
        </p:nvGrpSpPr>
        <p:grpSpPr bwMode="auto">
          <a:xfrm>
            <a:off x="4899397" y="4349314"/>
            <a:ext cx="1425203" cy="797614"/>
            <a:chOff x="1489076" y="2028826"/>
            <a:chExt cx="1460500" cy="979488"/>
          </a:xfrm>
        </p:grpSpPr>
        <p:sp>
          <p:nvSpPr>
            <p:cNvPr id="28" name="Freeform 41"/>
            <p:cNvSpPr>
              <a:spLocks/>
            </p:cNvSpPr>
            <p:nvPr/>
          </p:nvSpPr>
          <p:spPr bwMode="auto">
            <a:xfrm>
              <a:off x="1489076" y="2028826"/>
              <a:ext cx="1460500" cy="979488"/>
            </a:xfrm>
            <a:custGeom>
              <a:avLst/>
              <a:gdLst>
                <a:gd name="T0" fmla="*/ 920 w 920"/>
                <a:gd name="T1" fmla="*/ 617 h 617"/>
                <a:gd name="T2" fmla="*/ 460 w 920"/>
                <a:gd name="T3" fmla="*/ 0 h 617"/>
                <a:gd name="T4" fmla="*/ 0 w 920"/>
                <a:gd name="T5" fmla="*/ 617 h 617"/>
                <a:gd name="T6" fmla="*/ 920 w 920"/>
                <a:gd name="T7" fmla="*/ 617 h 617"/>
              </a:gdLst>
              <a:ahLst/>
              <a:cxnLst>
                <a:cxn ang="0">
                  <a:pos x="T0" y="T1"/>
                </a:cxn>
                <a:cxn ang="0">
                  <a:pos x="T2" y="T3"/>
                </a:cxn>
                <a:cxn ang="0">
                  <a:pos x="T4" y="T5"/>
                </a:cxn>
                <a:cxn ang="0">
                  <a:pos x="T6" y="T7"/>
                </a:cxn>
              </a:cxnLst>
              <a:rect l="0" t="0" r="r" b="b"/>
              <a:pathLst>
                <a:path w="920" h="617">
                  <a:moveTo>
                    <a:pt x="920" y="617"/>
                  </a:moveTo>
                  <a:lnTo>
                    <a:pt x="460" y="0"/>
                  </a:lnTo>
                  <a:lnTo>
                    <a:pt x="0" y="617"/>
                  </a:lnTo>
                  <a:lnTo>
                    <a:pt x="920" y="617"/>
                  </a:ln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9" name="Freeform 28"/>
            <p:cNvSpPr>
              <a:spLocks/>
            </p:cNvSpPr>
            <p:nvPr/>
          </p:nvSpPr>
          <p:spPr bwMode="auto">
            <a:xfrm>
              <a:off x="2014009" y="2028826"/>
              <a:ext cx="406400" cy="281973"/>
            </a:xfrm>
            <a:custGeom>
              <a:avLst/>
              <a:gdLst>
                <a:gd name="T0" fmla="*/ 129 w 255"/>
                <a:gd name="T1" fmla="*/ 0 h 178"/>
                <a:gd name="T2" fmla="*/ 0 w 255"/>
                <a:gd name="T3" fmla="*/ 173 h 178"/>
                <a:gd name="T4" fmla="*/ 8 w 255"/>
                <a:gd name="T5" fmla="*/ 178 h 178"/>
                <a:gd name="T6" fmla="*/ 46 w 255"/>
                <a:gd name="T7" fmla="*/ 148 h 178"/>
                <a:gd name="T8" fmla="*/ 86 w 255"/>
                <a:gd name="T9" fmla="*/ 178 h 178"/>
                <a:gd name="T10" fmla="*/ 124 w 255"/>
                <a:gd name="T11" fmla="*/ 148 h 178"/>
                <a:gd name="T12" fmla="*/ 164 w 255"/>
                <a:gd name="T13" fmla="*/ 178 h 178"/>
                <a:gd name="T14" fmla="*/ 202 w 255"/>
                <a:gd name="T15" fmla="*/ 148 h 178"/>
                <a:gd name="T16" fmla="*/ 242 w 255"/>
                <a:gd name="T17" fmla="*/ 178 h 178"/>
                <a:gd name="T18" fmla="*/ 255 w 255"/>
                <a:gd name="T19" fmla="*/ 169 h 178"/>
                <a:gd name="T20" fmla="*/ 129 w 255"/>
                <a:gd name="T21"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5" h="178">
                  <a:moveTo>
                    <a:pt x="129" y="0"/>
                  </a:moveTo>
                  <a:lnTo>
                    <a:pt x="0" y="173"/>
                  </a:lnTo>
                  <a:lnTo>
                    <a:pt x="8" y="178"/>
                  </a:lnTo>
                  <a:lnTo>
                    <a:pt x="46" y="148"/>
                  </a:lnTo>
                  <a:lnTo>
                    <a:pt x="86" y="178"/>
                  </a:lnTo>
                  <a:lnTo>
                    <a:pt x="124" y="148"/>
                  </a:lnTo>
                  <a:lnTo>
                    <a:pt x="164" y="178"/>
                  </a:lnTo>
                  <a:lnTo>
                    <a:pt x="202" y="148"/>
                  </a:lnTo>
                  <a:lnTo>
                    <a:pt x="242" y="178"/>
                  </a:lnTo>
                  <a:lnTo>
                    <a:pt x="255" y="169"/>
                  </a:lnTo>
                  <a:lnTo>
                    <a:pt x="129" y="0"/>
                  </a:lnTo>
                  <a:close/>
                </a:path>
              </a:pathLst>
            </a:custGeom>
            <a:solidFill>
              <a:srgbClr val="D7EEEE"/>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0" name="Freeform 47"/>
            <p:cNvSpPr>
              <a:spLocks/>
            </p:cNvSpPr>
            <p:nvPr/>
          </p:nvSpPr>
          <p:spPr bwMode="auto">
            <a:xfrm>
              <a:off x="1489076" y="2028826"/>
              <a:ext cx="736600" cy="979488"/>
            </a:xfrm>
            <a:custGeom>
              <a:avLst/>
              <a:gdLst>
                <a:gd name="T0" fmla="*/ 460 w 464"/>
                <a:gd name="T1" fmla="*/ 0 h 617"/>
                <a:gd name="T2" fmla="*/ 212 w 464"/>
                <a:gd name="T3" fmla="*/ 333 h 617"/>
                <a:gd name="T4" fmla="*/ 212 w 464"/>
                <a:gd name="T5" fmla="*/ 583 h 617"/>
                <a:gd name="T6" fmla="*/ 27 w 464"/>
                <a:gd name="T7" fmla="*/ 583 h 617"/>
                <a:gd name="T8" fmla="*/ 0 w 464"/>
                <a:gd name="T9" fmla="*/ 617 h 617"/>
                <a:gd name="T10" fmla="*/ 464 w 464"/>
                <a:gd name="T11" fmla="*/ 617 h 617"/>
                <a:gd name="T12" fmla="*/ 461 w 464"/>
                <a:gd name="T13" fmla="*/ 152 h 617"/>
                <a:gd name="T14" fmla="*/ 455 w 464"/>
                <a:gd name="T15" fmla="*/ 148 h 617"/>
                <a:gd name="T16" fmla="*/ 417 w 464"/>
                <a:gd name="T17" fmla="*/ 178 h 617"/>
                <a:gd name="T18" fmla="*/ 377 w 464"/>
                <a:gd name="T19" fmla="*/ 148 h 617"/>
                <a:gd name="T20" fmla="*/ 339 w 464"/>
                <a:gd name="T21" fmla="*/ 178 h 617"/>
                <a:gd name="T22" fmla="*/ 331 w 464"/>
                <a:gd name="T23" fmla="*/ 173 h 617"/>
                <a:gd name="T24" fmla="*/ 460 w 464"/>
                <a:gd name="T25"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4" h="617">
                  <a:moveTo>
                    <a:pt x="460" y="0"/>
                  </a:moveTo>
                  <a:lnTo>
                    <a:pt x="212" y="333"/>
                  </a:lnTo>
                  <a:lnTo>
                    <a:pt x="212" y="583"/>
                  </a:lnTo>
                  <a:lnTo>
                    <a:pt x="27" y="583"/>
                  </a:lnTo>
                  <a:lnTo>
                    <a:pt x="0" y="617"/>
                  </a:lnTo>
                  <a:lnTo>
                    <a:pt x="464" y="617"/>
                  </a:lnTo>
                  <a:lnTo>
                    <a:pt x="461" y="152"/>
                  </a:lnTo>
                  <a:lnTo>
                    <a:pt x="455" y="148"/>
                  </a:lnTo>
                  <a:lnTo>
                    <a:pt x="417" y="178"/>
                  </a:lnTo>
                  <a:lnTo>
                    <a:pt x="377" y="148"/>
                  </a:lnTo>
                  <a:lnTo>
                    <a:pt x="339" y="178"/>
                  </a:lnTo>
                  <a:lnTo>
                    <a:pt x="331" y="173"/>
                  </a:lnTo>
                  <a:lnTo>
                    <a:pt x="460"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1" name="Freeform 49"/>
            <p:cNvSpPr>
              <a:spLocks/>
            </p:cNvSpPr>
            <p:nvPr/>
          </p:nvSpPr>
          <p:spPr bwMode="auto">
            <a:xfrm>
              <a:off x="2014009" y="2028826"/>
              <a:ext cx="207433" cy="281973"/>
            </a:xfrm>
            <a:custGeom>
              <a:avLst/>
              <a:gdLst>
                <a:gd name="T0" fmla="*/ 129 w 130"/>
                <a:gd name="T1" fmla="*/ 0 h 178"/>
                <a:gd name="T2" fmla="*/ 129 w 130"/>
                <a:gd name="T3" fmla="*/ 0 h 178"/>
                <a:gd name="T4" fmla="*/ 0 w 130"/>
                <a:gd name="T5" fmla="*/ 173 h 178"/>
                <a:gd name="T6" fmla="*/ 8 w 130"/>
                <a:gd name="T7" fmla="*/ 178 h 178"/>
                <a:gd name="T8" fmla="*/ 46 w 130"/>
                <a:gd name="T9" fmla="*/ 148 h 178"/>
                <a:gd name="T10" fmla="*/ 86 w 130"/>
                <a:gd name="T11" fmla="*/ 178 h 178"/>
                <a:gd name="T12" fmla="*/ 124 w 130"/>
                <a:gd name="T13" fmla="*/ 148 h 178"/>
                <a:gd name="T14" fmla="*/ 130 w 130"/>
                <a:gd name="T15" fmla="*/ 152 h 178"/>
                <a:gd name="T16" fmla="*/ 129 w 130"/>
                <a:gd name="T17" fmla="*/ 0 h 178"/>
                <a:gd name="T18" fmla="*/ 129 w 130"/>
                <a:gd name="T19"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0" h="178">
                  <a:moveTo>
                    <a:pt x="129" y="0"/>
                  </a:moveTo>
                  <a:lnTo>
                    <a:pt x="129" y="0"/>
                  </a:lnTo>
                  <a:lnTo>
                    <a:pt x="0" y="173"/>
                  </a:lnTo>
                  <a:lnTo>
                    <a:pt x="8" y="178"/>
                  </a:lnTo>
                  <a:lnTo>
                    <a:pt x="46" y="148"/>
                  </a:lnTo>
                  <a:lnTo>
                    <a:pt x="86" y="178"/>
                  </a:lnTo>
                  <a:lnTo>
                    <a:pt x="124" y="148"/>
                  </a:lnTo>
                  <a:lnTo>
                    <a:pt x="130" y="152"/>
                  </a:lnTo>
                  <a:lnTo>
                    <a:pt x="129" y="0"/>
                  </a:lnTo>
                  <a:lnTo>
                    <a:pt x="129"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32" name="Group 31"/>
          <p:cNvGrpSpPr>
            <a:grpSpLocks/>
          </p:cNvGrpSpPr>
          <p:nvPr/>
        </p:nvGrpSpPr>
        <p:grpSpPr bwMode="auto">
          <a:xfrm>
            <a:off x="3237117" y="4705350"/>
            <a:ext cx="1207715" cy="445388"/>
            <a:chOff x="438151" y="2405063"/>
            <a:chExt cx="901700" cy="604838"/>
          </a:xfrm>
        </p:grpSpPr>
        <p:grpSp>
          <p:nvGrpSpPr>
            <p:cNvPr id="33" name="Group 128"/>
            <p:cNvGrpSpPr>
              <a:grpSpLocks/>
            </p:cNvGrpSpPr>
            <p:nvPr/>
          </p:nvGrpSpPr>
          <p:grpSpPr bwMode="auto">
            <a:xfrm>
              <a:off x="438151" y="2405063"/>
              <a:ext cx="901700" cy="604838"/>
              <a:chOff x="438151" y="2405063"/>
              <a:chExt cx="901700" cy="604838"/>
            </a:xfrm>
          </p:grpSpPr>
          <p:sp>
            <p:nvSpPr>
              <p:cNvPr id="35" name="Freeform 51"/>
              <p:cNvSpPr>
                <a:spLocks/>
              </p:cNvSpPr>
              <p:nvPr/>
            </p:nvSpPr>
            <p:spPr bwMode="auto">
              <a:xfrm>
                <a:off x="438151" y="2405063"/>
                <a:ext cx="901700" cy="604838"/>
              </a:xfrm>
              <a:custGeom>
                <a:avLst/>
                <a:gdLst>
                  <a:gd name="T0" fmla="*/ 568 w 568"/>
                  <a:gd name="T1" fmla="*/ 381 h 381"/>
                  <a:gd name="T2" fmla="*/ 283 w 568"/>
                  <a:gd name="T3" fmla="*/ 0 h 381"/>
                  <a:gd name="T4" fmla="*/ 0 w 568"/>
                  <a:gd name="T5" fmla="*/ 381 h 381"/>
                  <a:gd name="T6" fmla="*/ 568 w 568"/>
                  <a:gd name="T7" fmla="*/ 381 h 381"/>
                </a:gdLst>
                <a:ahLst/>
                <a:cxnLst>
                  <a:cxn ang="0">
                    <a:pos x="T0" y="T1"/>
                  </a:cxn>
                  <a:cxn ang="0">
                    <a:pos x="T2" y="T3"/>
                  </a:cxn>
                  <a:cxn ang="0">
                    <a:pos x="T4" y="T5"/>
                  </a:cxn>
                  <a:cxn ang="0">
                    <a:pos x="T6" y="T7"/>
                  </a:cxn>
                </a:cxnLst>
                <a:rect l="0" t="0" r="r" b="b"/>
                <a:pathLst>
                  <a:path w="568" h="381">
                    <a:moveTo>
                      <a:pt x="568" y="381"/>
                    </a:moveTo>
                    <a:lnTo>
                      <a:pt x="283" y="0"/>
                    </a:lnTo>
                    <a:lnTo>
                      <a:pt x="0" y="381"/>
                    </a:lnTo>
                    <a:lnTo>
                      <a:pt x="568" y="381"/>
                    </a:ln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6" name="Freeform 53"/>
              <p:cNvSpPr>
                <a:spLocks/>
              </p:cNvSpPr>
              <p:nvPr/>
            </p:nvSpPr>
            <p:spPr bwMode="auto">
              <a:xfrm>
                <a:off x="762000" y="2405063"/>
                <a:ext cx="249767" cy="175531"/>
              </a:xfrm>
              <a:custGeom>
                <a:avLst/>
                <a:gdLst>
                  <a:gd name="T0" fmla="*/ 79 w 157"/>
                  <a:gd name="T1" fmla="*/ 0 h 110"/>
                  <a:gd name="T2" fmla="*/ 0 w 157"/>
                  <a:gd name="T3" fmla="*/ 106 h 110"/>
                  <a:gd name="T4" fmla="*/ 5 w 157"/>
                  <a:gd name="T5" fmla="*/ 110 h 110"/>
                  <a:gd name="T6" fmla="*/ 29 w 157"/>
                  <a:gd name="T7" fmla="*/ 91 h 110"/>
                  <a:gd name="T8" fmla="*/ 53 w 157"/>
                  <a:gd name="T9" fmla="*/ 110 h 110"/>
                  <a:gd name="T10" fmla="*/ 77 w 157"/>
                  <a:gd name="T11" fmla="*/ 91 h 110"/>
                  <a:gd name="T12" fmla="*/ 101 w 157"/>
                  <a:gd name="T13" fmla="*/ 110 h 110"/>
                  <a:gd name="T14" fmla="*/ 126 w 157"/>
                  <a:gd name="T15" fmla="*/ 91 h 110"/>
                  <a:gd name="T16" fmla="*/ 150 w 157"/>
                  <a:gd name="T17" fmla="*/ 110 h 110"/>
                  <a:gd name="T18" fmla="*/ 157 w 157"/>
                  <a:gd name="T19" fmla="*/ 104 h 110"/>
                  <a:gd name="T20" fmla="*/ 79 w 157"/>
                  <a:gd name="T21"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7" h="110">
                    <a:moveTo>
                      <a:pt x="79" y="0"/>
                    </a:moveTo>
                    <a:lnTo>
                      <a:pt x="0" y="106"/>
                    </a:lnTo>
                    <a:lnTo>
                      <a:pt x="5" y="110"/>
                    </a:lnTo>
                    <a:lnTo>
                      <a:pt x="29" y="91"/>
                    </a:lnTo>
                    <a:lnTo>
                      <a:pt x="53" y="110"/>
                    </a:lnTo>
                    <a:lnTo>
                      <a:pt x="77" y="91"/>
                    </a:lnTo>
                    <a:lnTo>
                      <a:pt x="101" y="110"/>
                    </a:lnTo>
                    <a:lnTo>
                      <a:pt x="126" y="91"/>
                    </a:lnTo>
                    <a:lnTo>
                      <a:pt x="150" y="110"/>
                    </a:lnTo>
                    <a:lnTo>
                      <a:pt x="157" y="104"/>
                    </a:lnTo>
                    <a:lnTo>
                      <a:pt x="79" y="0"/>
                    </a:lnTo>
                    <a:close/>
                  </a:path>
                </a:pathLst>
              </a:custGeom>
              <a:solidFill>
                <a:srgbClr val="D7EEEE"/>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7" name="Freeform 57"/>
              <p:cNvSpPr>
                <a:spLocks/>
              </p:cNvSpPr>
              <p:nvPr/>
            </p:nvSpPr>
            <p:spPr bwMode="auto">
              <a:xfrm>
                <a:off x="438151" y="2405063"/>
                <a:ext cx="455083" cy="604838"/>
              </a:xfrm>
              <a:custGeom>
                <a:avLst/>
                <a:gdLst>
                  <a:gd name="T0" fmla="*/ 283 w 287"/>
                  <a:gd name="T1" fmla="*/ 0 h 381"/>
                  <a:gd name="T2" fmla="*/ 283 w 287"/>
                  <a:gd name="T3" fmla="*/ 0 h 381"/>
                  <a:gd name="T4" fmla="*/ 0 w 287"/>
                  <a:gd name="T5" fmla="*/ 381 h 381"/>
                  <a:gd name="T6" fmla="*/ 287 w 287"/>
                  <a:gd name="T7" fmla="*/ 381 h 381"/>
                  <a:gd name="T8" fmla="*/ 284 w 287"/>
                  <a:gd name="T9" fmla="*/ 93 h 381"/>
                  <a:gd name="T10" fmla="*/ 281 w 287"/>
                  <a:gd name="T11" fmla="*/ 91 h 381"/>
                  <a:gd name="T12" fmla="*/ 257 w 287"/>
                  <a:gd name="T13" fmla="*/ 110 h 381"/>
                  <a:gd name="T14" fmla="*/ 233 w 287"/>
                  <a:gd name="T15" fmla="*/ 91 h 381"/>
                  <a:gd name="T16" fmla="*/ 209 w 287"/>
                  <a:gd name="T17" fmla="*/ 110 h 381"/>
                  <a:gd name="T18" fmla="*/ 204 w 287"/>
                  <a:gd name="T19" fmla="*/ 106 h 381"/>
                  <a:gd name="T20" fmla="*/ 283 w 287"/>
                  <a:gd name="T21" fmla="*/ 0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7" h="381">
                    <a:moveTo>
                      <a:pt x="283" y="0"/>
                    </a:moveTo>
                    <a:lnTo>
                      <a:pt x="283" y="0"/>
                    </a:lnTo>
                    <a:lnTo>
                      <a:pt x="0" y="381"/>
                    </a:lnTo>
                    <a:lnTo>
                      <a:pt x="287" y="381"/>
                    </a:lnTo>
                    <a:lnTo>
                      <a:pt x="284" y="93"/>
                    </a:lnTo>
                    <a:lnTo>
                      <a:pt x="281" y="91"/>
                    </a:lnTo>
                    <a:lnTo>
                      <a:pt x="257" y="110"/>
                    </a:lnTo>
                    <a:lnTo>
                      <a:pt x="233" y="91"/>
                    </a:lnTo>
                    <a:lnTo>
                      <a:pt x="209" y="110"/>
                    </a:lnTo>
                    <a:lnTo>
                      <a:pt x="204" y="106"/>
                    </a:lnTo>
                    <a:lnTo>
                      <a:pt x="283"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sp>
          <p:nvSpPr>
            <p:cNvPr id="34" name="Freeform 59"/>
            <p:cNvSpPr>
              <a:spLocks/>
            </p:cNvSpPr>
            <p:nvPr/>
          </p:nvSpPr>
          <p:spPr bwMode="auto">
            <a:xfrm>
              <a:off x="762000" y="2405063"/>
              <a:ext cx="127000" cy="175531"/>
            </a:xfrm>
            <a:custGeom>
              <a:avLst/>
              <a:gdLst>
                <a:gd name="T0" fmla="*/ 79 w 80"/>
                <a:gd name="T1" fmla="*/ 0 h 110"/>
                <a:gd name="T2" fmla="*/ 79 w 80"/>
                <a:gd name="T3" fmla="*/ 0 h 110"/>
                <a:gd name="T4" fmla="*/ 0 w 80"/>
                <a:gd name="T5" fmla="*/ 106 h 110"/>
                <a:gd name="T6" fmla="*/ 5 w 80"/>
                <a:gd name="T7" fmla="*/ 110 h 110"/>
                <a:gd name="T8" fmla="*/ 29 w 80"/>
                <a:gd name="T9" fmla="*/ 91 h 110"/>
                <a:gd name="T10" fmla="*/ 53 w 80"/>
                <a:gd name="T11" fmla="*/ 110 h 110"/>
                <a:gd name="T12" fmla="*/ 77 w 80"/>
                <a:gd name="T13" fmla="*/ 91 h 110"/>
                <a:gd name="T14" fmla="*/ 80 w 80"/>
                <a:gd name="T15" fmla="*/ 93 h 110"/>
                <a:gd name="T16" fmla="*/ 79 w 80"/>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110">
                  <a:moveTo>
                    <a:pt x="79" y="0"/>
                  </a:moveTo>
                  <a:lnTo>
                    <a:pt x="79" y="0"/>
                  </a:lnTo>
                  <a:lnTo>
                    <a:pt x="0" y="106"/>
                  </a:lnTo>
                  <a:lnTo>
                    <a:pt x="5" y="110"/>
                  </a:lnTo>
                  <a:lnTo>
                    <a:pt x="29" y="91"/>
                  </a:lnTo>
                  <a:lnTo>
                    <a:pt x="53" y="110"/>
                  </a:lnTo>
                  <a:lnTo>
                    <a:pt x="77" y="91"/>
                  </a:lnTo>
                  <a:lnTo>
                    <a:pt x="80" y="93"/>
                  </a:lnTo>
                  <a:lnTo>
                    <a:pt x="79"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38" name="Group 37"/>
          <p:cNvGrpSpPr>
            <a:grpSpLocks/>
          </p:cNvGrpSpPr>
          <p:nvPr/>
        </p:nvGrpSpPr>
        <p:grpSpPr>
          <a:xfrm>
            <a:off x="4073497" y="4813224"/>
            <a:ext cx="1507316" cy="330277"/>
            <a:chOff x="3387057" y="4645045"/>
            <a:chExt cx="1760964" cy="507114"/>
          </a:xfrm>
        </p:grpSpPr>
        <p:sp>
          <p:nvSpPr>
            <p:cNvPr id="39" name="Freeform 61"/>
            <p:cNvSpPr>
              <a:spLocks/>
            </p:cNvSpPr>
            <p:nvPr/>
          </p:nvSpPr>
          <p:spPr bwMode="auto">
            <a:xfrm>
              <a:off x="3387057" y="4645045"/>
              <a:ext cx="1760964" cy="496002"/>
            </a:xfrm>
            <a:custGeom>
              <a:avLst/>
              <a:gdLst>
                <a:gd name="T0" fmla="*/ 0 w 1089"/>
                <a:gd name="T1" fmla="*/ 279 h 279"/>
                <a:gd name="T2" fmla="*/ 545 w 1089"/>
                <a:gd name="T3" fmla="*/ 0 h 279"/>
                <a:gd name="T4" fmla="*/ 1089 w 1089"/>
                <a:gd name="T5" fmla="*/ 279 h 279"/>
                <a:gd name="T6" fmla="*/ 0 w 1089"/>
                <a:gd name="T7" fmla="*/ 279 h 279"/>
              </a:gdLst>
              <a:ahLst/>
              <a:cxnLst>
                <a:cxn ang="0">
                  <a:pos x="T0" y="T1"/>
                </a:cxn>
                <a:cxn ang="0">
                  <a:pos x="T2" y="T3"/>
                </a:cxn>
                <a:cxn ang="0">
                  <a:pos x="T4" y="T5"/>
                </a:cxn>
                <a:cxn ang="0">
                  <a:pos x="T6" y="T7"/>
                </a:cxn>
              </a:cxnLst>
              <a:rect l="0" t="0" r="r" b="b"/>
              <a:pathLst>
                <a:path w="1089" h="279">
                  <a:moveTo>
                    <a:pt x="0" y="279"/>
                  </a:moveTo>
                  <a:cubicBezTo>
                    <a:pt x="139" y="166"/>
                    <a:pt x="363" y="0"/>
                    <a:pt x="545" y="0"/>
                  </a:cubicBezTo>
                  <a:cubicBezTo>
                    <a:pt x="727" y="0"/>
                    <a:pt x="1051" y="193"/>
                    <a:pt x="1089" y="279"/>
                  </a:cubicBezTo>
                  <a:lnTo>
                    <a:pt x="0" y="279"/>
                  </a:lnTo>
                  <a:close/>
                </a:path>
              </a:pathLst>
            </a:custGeom>
            <a:solidFill>
              <a:srgbClr val="86C44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nvGrpSpPr>
            <p:cNvPr id="40" name="Group 39"/>
            <p:cNvGrpSpPr>
              <a:grpSpLocks/>
            </p:cNvGrpSpPr>
            <p:nvPr/>
          </p:nvGrpSpPr>
          <p:grpSpPr bwMode="auto">
            <a:xfrm>
              <a:off x="3434622" y="4993267"/>
              <a:ext cx="616436" cy="158892"/>
              <a:chOff x="438151" y="2865438"/>
              <a:chExt cx="665163" cy="157163"/>
            </a:xfrm>
          </p:grpSpPr>
          <p:sp>
            <p:nvSpPr>
              <p:cNvPr id="44" name="Rectangle 55"/>
              <p:cNvSpPr>
                <a:spLocks noChangeArrowheads="1"/>
              </p:cNvSpPr>
              <p:nvPr/>
            </p:nvSpPr>
            <p:spPr bwMode="auto">
              <a:xfrm>
                <a:off x="438151" y="3009858"/>
                <a:ext cx="455445" cy="2124"/>
              </a:xfrm>
              <a:prstGeom prst="rect">
                <a:avLst/>
              </a:prstGeom>
              <a:solidFill>
                <a:srgbClr val="ABA7A7"/>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45" name="Freeform 56"/>
              <p:cNvSpPr>
                <a:spLocks/>
              </p:cNvSpPr>
              <p:nvPr/>
            </p:nvSpPr>
            <p:spPr bwMode="auto">
              <a:xfrm>
                <a:off x="438151" y="3009858"/>
                <a:ext cx="455445" cy="0"/>
              </a:xfrm>
              <a:custGeom>
                <a:avLst/>
                <a:gdLst>
                  <a:gd name="T0" fmla="*/ 287 w 287"/>
                  <a:gd name="T1" fmla="*/ 0 w 287"/>
                  <a:gd name="T2" fmla="*/ 0 w 287"/>
                  <a:gd name="T3" fmla="*/ 287 w 287"/>
                </a:gdLst>
                <a:ahLst/>
                <a:cxnLst>
                  <a:cxn ang="0">
                    <a:pos x="T0" y="0"/>
                  </a:cxn>
                  <a:cxn ang="0">
                    <a:pos x="T1" y="0"/>
                  </a:cxn>
                  <a:cxn ang="0">
                    <a:pos x="T2" y="0"/>
                  </a:cxn>
                  <a:cxn ang="0">
                    <a:pos x="T3" y="0"/>
                  </a:cxn>
                </a:cxnLst>
                <a:rect l="0" t="0" r="r" b="b"/>
                <a:pathLst>
                  <a:path w="287">
                    <a:moveTo>
                      <a:pt x="287" y="0"/>
                    </a:moveTo>
                    <a:lnTo>
                      <a:pt x="0" y="0"/>
                    </a:lnTo>
                    <a:lnTo>
                      <a:pt x="0" y="0"/>
                    </a:lnTo>
                    <a:lnTo>
                      <a:pt x="28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46" name="Freeform 116"/>
              <p:cNvSpPr>
                <a:spLocks/>
              </p:cNvSpPr>
              <p:nvPr/>
            </p:nvSpPr>
            <p:spPr bwMode="auto">
              <a:xfrm>
                <a:off x="927490" y="2897296"/>
                <a:ext cx="175824" cy="93448"/>
              </a:xfrm>
              <a:custGeom>
                <a:avLst/>
                <a:gdLst>
                  <a:gd name="T0" fmla="*/ 0 w 111"/>
                  <a:gd name="T1" fmla="*/ 47 h 59"/>
                  <a:gd name="T2" fmla="*/ 17 w 111"/>
                  <a:gd name="T3" fmla="*/ 17 h 59"/>
                  <a:gd name="T4" fmla="*/ 49 w 111"/>
                  <a:gd name="T5" fmla="*/ 7 h 59"/>
                  <a:gd name="T6" fmla="*/ 75 w 111"/>
                  <a:gd name="T7" fmla="*/ 0 h 59"/>
                  <a:gd name="T8" fmla="*/ 103 w 111"/>
                  <a:gd name="T9" fmla="*/ 17 h 59"/>
                  <a:gd name="T10" fmla="*/ 111 w 111"/>
                  <a:gd name="T11" fmla="*/ 59 h 59"/>
                  <a:gd name="T12" fmla="*/ 0 w 111"/>
                  <a:gd name="T13" fmla="*/ 47 h 59"/>
                </a:gdLst>
                <a:ahLst/>
                <a:cxnLst>
                  <a:cxn ang="0">
                    <a:pos x="T0" y="T1"/>
                  </a:cxn>
                  <a:cxn ang="0">
                    <a:pos x="T2" y="T3"/>
                  </a:cxn>
                  <a:cxn ang="0">
                    <a:pos x="T4" y="T5"/>
                  </a:cxn>
                  <a:cxn ang="0">
                    <a:pos x="T6" y="T7"/>
                  </a:cxn>
                  <a:cxn ang="0">
                    <a:pos x="T8" y="T9"/>
                  </a:cxn>
                  <a:cxn ang="0">
                    <a:pos x="T10" y="T11"/>
                  </a:cxn>
                  <a:cxn ang="0">
                    <a:pos x="T12" y="T13"/>
                  </a:cxn>
                </a:cxnLst>
                <a:rect l="0" t="0" r="r" b="b"/>
                <a:pathLst>
                  <a:path w="111" h="59">
                    <a:moveTo>
                      <a:pt x="0" y="47"/>
                    </a:moveTo>
                    <a:lnTo>
                      <a:pt x="17" y="17"/>
                    </a:lnTo>
                    <a:lnTo>
                      <a:pt x="49" y="7"/>
                    </a:lnTo>
                    <a:lnTo>
                      <a:pt x="75" y="0"/>
                    </a:lnTo>
                    <a:lnTo>
                      <a:pt x="103" y="17"/>
                    </a:lnTo>
                    <a:lnTo>
                      <a:pt x="111" y="59"/>
                    </a:lnTo>
                    <a:lnTo>
                      <a:pt x="0" y="47"/>
                    </a:lnTo>
                    <a:close/>
                  </a:path>
                </a:pathLst>
              </a:custGeom>
              <a:solidFill>
                <a:srgbClr val="AD864A"/>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47" name="Freeform 117"/>
              <p:cNvSpPr>
                <a:spLocks/>
              </p:cNvSpPr>
              <p:nvPr/>
            </p:nvSpPr>
            <p:spPr bwMode="auto">
              <a:xfrm>
                <a:off x="666933" y="2865438"/>
                <a:ext cx="330463" cy="157163"/>
              </a:xfrm>
              <a:custGeom>
                <a:avLst/>
                <a:gdLst>
                  <a:gd name="T0" fmla="*/ 0 w 208"/>
                  <a:gd name="T1" fmla="*/ 99 h 99"/>
                  <a:gd name="T2" fmla="*/ 25 w 208"/>
                  <a:gd name="T3" fmla="*/ 36 h 99"/>
                  <a:gd name="T4" fmla="*/ 70 w 208"/>
                  <a:gd name="T5" fmla="*/ 0 h 99"/>
                  <a:gd name="T6" fmla="*/ 159 w 208"/>
                  <a:gd name="T7" fmla="*/ 0 h 99"/>
                  <a:gd name="T8" fmla="*/ 197 w 208"/>
                  <a:gd name="T9" fmla="*/ 30 h 99"/>
                  <a:gd name="T10" fmla="*/ 208 w 208"/>
                  <a:gd name="T11" fmla="*/ 99 h 99"/>
                  <a:gd name="T12" fmla="*/ 0 w 208"/>
                  <a:gd name="T13" fmla="*/ 99 h 99"/>
                </a:gdLst>
                <a:ahLst/>
                <a:cxnLst>
                  <a:cxn ang="0">
                    <a:pos x="T0" y="T1"/>
                  </a:cxn>
                  <a:cxn ang="0">
                    <a:pos x="T2" y="T3"/>
                  </a:cxn>
                  <a:cxn ang="0">
                    <a:pos x="T4" y="T5"/>
                  </a:cxn>
                  <a:cxn ang="0">
                    <a:pos x="T6" y="T7"/>
                  </a:cxn>
                  <a:cxn ang="0">
                    <a:pos x="T8" y="T9"/>
                  </a:cxn>
                  <a:cxn ang="0">
                    <a:pos x="T10" y="T11"/>
                  </a:cxn>
                  <a:cxn ang="0">
                    <a:pos x="T12" y="T13"/>
                  </a:cxn>
                </a:cxnLst>
                <a:rect l="0" t="0" r="r" b="b"/>
                <a:pathLst>
                  <a:path w="208" h="99">
                    <a:moveTo>
                      <a:pt x="0" y="99"/>
                    </a:moveTo>
                    <a:lnTo>
                      <a:pt x="25" y="36"/>
                    </a:lnTo>
                    <a:lnTo>
                      <a:pt x="70" y="0"/>
                    </a:lnTo>
                    <a:lnTo>
                      <a:pt x="159" y="0"/>
                    </a:lnTo>
                    <a:lnTo>
                      <a:pt x="197" y="30"/>
                    </a:lnTo>
                    <a:lnTo>
                      <a:pt x="208" y="99"/>
                    </a:lnTo>
                    <a:lnTo>
                      <a:pt x="0" y="99"/>
                    </a:lnTo>
                    <a:close/>
                  </a:path>
                </a:pathLst>
              </a:custGeom>
              <a:solidFill>
                <a:srgbClr val="EC9A1E"/>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41" name="Group 40"/>
            <p:cNvGrpSpPr>
              <a:grpSpLocks/>
            </p:cNvGrpSpPr>
            <p:nvPr/>
          </p:nvGrpSpPr>
          <p:grpSpPr bwMode="auto">
            <a:xfrm>
              <a:off x="4725392" y="4952561"/>
              <a:ext cx="408340" cy="193247"/>
              <a:chOff x="2105026" y="2824163"/>
              <a:chExt cx="441325" cy="188913"/>
            </a:xfrm>
          </p:grpSpPr>
          <p:sp>
            <p:nvSpPr>
              <p:cNvPr id="42" name="Freeform 115"/>
              <p:cNvSpPr>
                <a:spLocks/>
              </p:cNvSpPr>
              <p:nvPr/>
            </p:nvSpPr>
            <p:spPr bwMode="auto">
              <a:xfrm>
                <a:off x="2372367" y="2908124"/>
                <a:ext cx="173984" cy="94457"/>
              </a:xfrm>
              <a:custGeom>
                <a:avLst/>
                <a:gdLst>
                  <a:gd name="T0" fmla="*/ 110 w 110"/>
                  <a:gd name="T1" fmla="*/ 60 h 60"/>
                  <a:gd name="T2" fmla="*/ 102 w 110"/>
                  <a:gd name="T3" fmla="*/ 18 h 60"/>
                  <a:gd name="T4" fmla="*/ 76 w 110"/>
                  <a:gd name="T5" fmla="*/ 0 h 60"/>
                  <a:gd name="T6" fmla="*/ 50 w 110"/>
                  <a:gd name="T7" fmla="*/ 9 h 60"/>
                  <a:gd name="T8" fmla="*/ 17 w 110"/>
                  <a:gd name="T9" fmla="*/ 18 h 60"/>
                  <a:gd name="T10" fmla="*/ 0 w 110"/>
                  <a:gd name="T11" fmla="*/ 49 h 60"/>
                  <a:gd name="T12" fmla="*/ 110 w 110"/>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10" h="60">
                    <a:moveTo>
                      <a:pt x="110" y="60"/>
                    </a:moveTo>
                    <a:lnTo>
                      <a:pt x="102" y="18"/>
                    </a:lnTo>
                    <a:lnTo>
                      <a:pt x="76" y="0"/>
                    </a:lnTo>
                    <a:lnTo>
                      <a:pt x="50" y="9"/>
                    </a:lnTo>
                    <a:lnTo>
                      <a:pt x="17" y="18"/>
                    </a:lnTo>
                    <a:lnTo>
                      <a:pt x="0" y="49"/>
                    </a:lnTo>
                    <a:lnTo>
                      <a:pt x="110" y="60"/>
                    </a:lnTo>
                    <a:close/>
                  </a:path>
                </a:pathLst>
              </a:custGeom>
              <a:solidFill>
                <a:srgbClr val="AD864A"/>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43" name="Freeform 118"/>
              <p:cNvSpPr>
                <a:spLocks/>
              </p:cNvSpPr>
              <p:nvPr/>
            </p:nvSpPr>
            <p:spPr bwMode="auto">
              <a:xfrm>
                <a:off x="2105026" y="2824163"/>
                <a:ext cx="362819" cy="188913"/>
              </a:xfrm>
              <a:custGeom>
                <a:avLst/>
                <a:gdLst>
                  <a:gd name="T0" fmla="*/ 229 w 229"/>
                  <a:gd name="T1" fmla="*/ 119 h 119"/>
                  <a:gd name="T2" fmla="*/ 212 w 229"/>
                  <a:gd name="T3" fmla="*/ 35 h 119"/>
                  <a:gd name="T4" fmla="*/ 158 w 229"/>
                  <a:gd name="T5" fmla="*/ 0 h 119"/>
                  <a:gd name="T6" fmla="*/ 106 w 229"/>
                  <a:gd name="T7" fmla="*/ 16 h 119"/>
                  <a:gd name="T8" fmla="*/ 41 w 229"/>
                  <a:gd name="T9" fmla="*/ 35 h 119"/>
                  <a:gd name="T10" fmla="*/ 0 w 229"/>
                  <a:gd name="T11" fmla="*/ 117 h 119"/>
                  <a:gd name="T12" fmla="*/ 229 w 229"/>
                  <a:gd name="T13" fmla="*/ 119 h 119"/>
                </a:gdLst>
                <a:ahLst/>
                <a:cxnLst>
                  <a:cxn ang="0">
                    <a:pos x="T0" y="T1"/>
                  </a:cxn>
                  <a:cxn ang="0">
                    <a:pos x="T2" y="T3"/>
                  </a:cxn>
                  <a:cxn ang="0">
                    <a:pos x="T4" y="T5"/>
                  </a:cxn>
                  <a:cxn ang="0">
                    <a:pos x="T6" y="T7"/>
                  </a:cxn>
                  <a:cxn ang="0">
                    <a:pos x="T8" y="T9"/>
                  </a:cxn>
                  <a:cxn ang="0">
                    <a:pos x="T10" y="T11"/>
                  </a:cxn>
                  <a:cxn ang="0">
                    <a:pos x="T12" y="T13"/>
                  </a:cxn>
                </a:cxnLst>
                <a:rect l="0" t="0" r="r" b="b"/>
                <a:pathLst>
                  <a:path w="229" h="119">
                    <a:moveTo>
                      <a:pt x="229" y="119"/>
                    </a:moveTo>
                    <a:lnTo>
                      <a:pt x="212" y="35"/>
                    </a:lnTo>
                    <a:lnTo>
                      <a:pt x="158" y="0"/>
                    </a:lnTo>
                    <a:lnTo>
                      <a:pt x="106" y="16"/>
                    </a:lnTo>
                    <a:lnTo>
                      <a:pt x="41" y="35"/>
                    </a:lnTo>
                    <a:lnTo>
                      <a:pt x="0" y="117"/>
                    </a:lnTo>
                    <a:lnTo>
                      <a:pt x="229" y="119"/>
                    </a:lnTo>
                    <a:close/>
                  </a:path>
                </a:pathLst>
              </a:custGeom>
              <a:solidFill>
                <a:srgbClr val="EC9A1E"/>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grpSp>
      <p:grpSp>
        <p:nvGrpSpPr>
          <p:cNvPr id="48" name="Group 47"/>
          <p:cNvGrpSpPr>
            <a:grpSpLocks/>
          </p:cNvGrpSpPr>
          <p:nvPr/>
        </p:nvGrpSpPr>
        <p:grpSpPr bwMode="auto">
          <a:xfrm>
            <a:off x="2493081" y="4589392"/>
            <a:ext cx="1356936" cy="554108"/>
            <a:chOff x="438151" y="2405063"/>
            <a:chExt cx="901700" cy="604838"/>
          </a:xfrm>
        </p:grpSpPr>
        <p:grpSp>
          <p:nvGrpSpPr>
            <p:cNvPr id="49" name="Group 128"/>
            <p:cNvGrpSpPr>
              <a:grpSpLocks/>
            </p:cNvGrpSpPr>
            <p:nvPr/>
          </p:nvGrpSpPr>
          <p:grpSpPr bwMode="auto">
            <a:xfrm>
              <a:off x="438151" y="2405063"/>
              <a:ext cx="901700" cy="604838"/>
              <a:chOff x="438151" y="2405063"/>
              <a:chExt cx="901700" cy="604838"/>
            </a:xfrm>
          </p:grpSpPr>
          <p:sp>
            <p:nvSpPr>
              <p:cNvPr id="51" name="Freeform 51"/>
              <p:cNvSpPr>
                <a:spLocks/>
              </p:cNvSpPr>
              <p:nvPr/>
            </p:nvSpPr>
            <p:spPr bwMode="auto">
              <a:xfrm>
                <a:off x="438151" y="2405063"/>
                <a:ext cx="901700" cy="604838"/>
              </a:xfrm>
              <a:custGeom>
                <a:avLst/>
                <a:gdLst>
                  <a:gd name="T0" fmla="*/ 568 w 568"/>
                  <a:gd name="T1" fmla="*/ 381 h 381"/>
                  <a:gd name="T2" fmla="*/ 283 w 568"/>
                  <a:gd name="T3" fmla="*/ 0 h 381"/>
                  <a:gd name="T4" fmla="*/ 0 w 568"/>
                  <a:gd name="T5" fmla="*/ 381 h 381"/>
                  <a:gd name="T6" fmla="*/ 568 w 568"/>
                  <a:gd name="T7" fmla="*/ 381 h 381"/>
                </a:gdLst>
                <a:ahLst/>
                <a:cxnLst>
                  <a:cxn ang="0">
                    <a:pos x="T0" y="T1"/>
                  </a:cxn>
                  <a:cxn ang="0">
                    <a:pos x="T2" y="T3"/>
                  </a:cxn>
                  <a:cxn ang="0">
                    <a:pos x="T4" y="T5"/>
                  </a:cxn>
                  <a:cxn ang="0">
                    <a:pos x="T6" y="T7"/>
                  </a:cxn>
                </a:cxnLst>
                <a:rect l="0" t="0" r="r" b="b"/>
                <a:pathLst>
                  <a:path w="568" h="381">
                    <a:moveTo>
                      <a:pt x="568" y="381"/>
                    </a:moveTo>
                    <a:lnTo>
                      <a:pt x="283" y="0"/>
                    </a:lnTo>
                    <a:lnTo>
                      <a:pt x="0" y="381"/>
                    </a:lnTo>
                    <a:lnTo>
                      <a:pt x="568" y="381"/>
                    </a:ln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52" name="Freeform 53"/>
              <p:cNvSpPr>
                <a:spLocks/>
              </p:cNvSpPr>
              <p:nvPr/>
            </p:nvSpPr>
            <p:spPr bwMode="auto">
              <a:xfrm>
                <a:off x="762000" y="2405063"/>
                <a:ext cx="249767" cy="175531"/>
              </a:xfrm>
              <a:custGeom>
                <a:avLst/>
                <a:gdLst>
                  <a:gd name="T0" fmla="*/ 79 w 157"/>
                  <a:gd name="T1" fmla="*/ 0 h 110"/>
                  <a:gd name="T2" fmla="*/ 0 w 157"/>
                  <a:gd name="T3" fmla="*/ 106 h 110"/>
                  <a:gd name="T4" fmla="*/ 5 w 157"/>
                  <a:gd name="T5" fmla="*/ 110 h 110"/>
                  <a:gd name="T6" fmla="*/ 29 w 157"/>
                  <a:gd name="T7" fmla="*/ 91 h 110"/>
                  <a:gd name="T8" fmla="*/ 53 w 157"/>
                  <a:gd name="T9" fmla="*/ 110 h 110"/>
                  <a:gd name="T10" fmla="*/ 77 w 157"/>
                  <a:gd name="T11" fmla="*/ 91 h 110"/>
                  <a:gd name="T12" fmla="*/ 101 w 157"/>
                  <a:gd name="T13" fmla="*/ 110 h 110"/>
                  <a:gd name="T14" fmla="*/ 126 w 157"/>
                  <a:gd name="T15" fmla="*/ 91 h 110"/>
                  <a:gd name="T16" fmla="*/ 150 w 157"/>
                  <a:gd name="T17" fmla="*/ 110 h 110"/>
                  <a:gd name="T18" fmla="*/ 157 w 157"/>
                  <a:gd name="T19" fmla="*/ 104 h 110"/>
                  <a:gd name="T20" fmla="*/ 79 w 157"/>
                  <a:gd name="T21"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7" h="110">
                    <a:moveTo>
                      <a:pt x="79" y="0"/>
                    </a:moveTo>
                    <a:lnTo>
                      <a:pt x="0" y="106"/>
                    </a:lnTo>
                    <a:lnTo>
                      <a:pt x="5" y="110"/>
                    </a:lnTo>
                    <a:lnTo>
                      <a:pt x="29" y="91"/>
                    </a:lnTo>
                    <a:lnTo>
                      <a:pt x="53" y="110"/>
                    </a:lnTo>
                    <a:lnTo>
                      <a:pt x="77" y="91"/>
                    </a:lnTo>
                    <a:lnTo>
                      <a:pt x="101" y="110"/>
                    </a:lnTo>
                    <a:lnTo>
                      <a:pt x="126" y="91"/>
                    </a:lnTo>
                    <a:lnTo>
                      <a:pt x="150" y="110"/>
                    </a:lnTo>
                    <a:lnTo>
                      <a:pt x="157" y="104"/>
                    </a:lnTo>
                    <a:lnTo>
                      <a:pt x="79" y="0"/>
                    </a:lnTo>
                    <a:close/>
                  </a:path>
                </a:pathLst>
              </a:custGeom>
              <a:solidFill>
                <a:srgbClr val="D7EEEE"/>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53" name="Freeform 57"/>
              <p:cNvSpPr>
                <a:spLocks/>
              </p:cNvSpPr>
              <p:nvPr/>
            </p:nvSpPr>
            <p:spPr bwMode="auto">
              <a:xfrm>
                <a:off x="438151" y="2405063"/>
                <a:ext cx="455083" cy="604838"/>
              </a:xfrm>
              <a:custGeom>
                <a:avLst/>
                <a:gdLst>
                  <a:gd name="T0" fmla="*/ 283 w 287"/>
                  <a:gd name="T1" fmla="*/ 0 h 381"/>
                  <a:gd name="T2" fmla="*/ 283 w 287"/>
                  <a:gd name="T3" fmla="*/ 0 h 381"/>
                  <a:gd name="T4" fmla="*/ 0 w 287"/>
                  <a:gd name="T5" fmla="*/ 381 h 381"/>
                  <a:gd name="T6" fmla="*/ 287 w 287"/>
                  <a:gd name="T7" fmla="*/ 381 h 381"/>
                  <a:gd name="T8" fmla="*/ 284 w 287"/>
                  <a:gd name="T9" fmla="*/ 93 h 381"/>
                  <a:gd name="T10" fmla="*/ 281 w 287"/>
                  <a:gd name="T11" fmla="*/ 91 h 381"/>
                  <a:gd name="T12" fmla="*/ 257 w 287"/>
                  <a:gd name="T13" fmla="*/ 110 h 381"/>
                  <a:gd name="T14" fmla="*/ 233 w 287"/>
                  <a:gd name="T15" fmla="*/ 91 h 381"/>
                  <a:gd name="T16" fmla="*/ 209 w 287"/>
                  <a:gd name="T17" fmla="*/ 110 h 381"/>
                  <a:gd name="T18" fmla="*/ 204 w 287"/>
                  <a:gd name="T19" fmla="*/ 106 h 381"/>
                  <a:gd name="T20" fmla="*/ 283 w 287"/>
                  <a:gd name="T21" fmla="*/ 0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7" h="381">
                    <a:moveTo>
                      <a:pt x="283" y="0"/>
                    </a:moveTo>
                    <a:lnTo>
                      <a:pt x="283" y="0"/>
                    </a:lnTo>
                    <a:lnTo>
                      <a:pt x="0" y="381"/>
                    </a:lnTo>
                    <a:lnTo>
                      <a:pt x="287" y="381"/>
                    </a:lnTo>
                    <a:lnTo>
                      <a:pt x="284" y="93"/>
                    </a:lnTo>
                    <a:lnTo>
                      <a:pt x="281" y="91"/>
                    </a:lnTo>
                    <a:lnTo>
                      <a:pt x="257" y="110"/>
                    </a:lnTo>
                    <a:lnTo>
                      <a:pt x="233" y="91"/>
                    </a:lnTo>
                    <a:lnTo>
                      <a:pt x="209" y="110"/>
                    </a:lnTo>
                    <a:lnTo>
                      <a:pt x="204" y="106"/>
                    </a:lnTo>
                    <a:lnTo>
                      <a:pt x="283"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sp>
          <p:nvSpPr>
            <p:cNvPr id="50" name="Freeform 59"/>
            <p:cNvSpPr>
              <a:spLocks/>
            </p:cNvSpPr>
            <p:nvPr/>
          </p:nvSpPr>
          <p:spPr bwMode="auto">
            <a:xfrm>
              <a:off x="762000" y="2405063"/>
              <a:ext cx="127000" cy="175531"/>
            </a:xfrm>
            <a:custGeom>
              <a:avLst/>
              <a:gdLst>
                <a:gd name="T0" fmla="*/ 79 w 80"/>
                <a:gd name="T1" fmla="*/ 0 h 110"/>
                <a:gd name="T2" fmla="*/ 79 w 80"/>
                <a:gd name="T3" fmla="*/ 0 h 110"/>
                <a:gd name="T4" fmla="*/ 0 w 80"/>
                <a:gd name="T5" fmla="*/ 106 h 110"/>
                <a:gd name="T6" fmla="*/ 5 w 80"/>
                <a:gd name="T7" fmla="*/ 110 h 110"/>
                <a:gd name="T8" fmla="*/ 29 w 80"/>
                <a:gd name="T9" fmla="*/ 91 h 110"/>
                <a:gd name="T10" fmla="*/ 53 w 80"/>
                <a:gd name="T11" fmla="*/ 110 h 110"/>
                <a:gd name="T12" fmla="*/ 77 w 80"/>
                <a:gd name="T13" fmla="*/ 91 h 110"/>
                <a:gd name="T14" fmla="*/ 80 w 80"/>
                <a:gd name="T15" fmla="*/ 93 h 110"/>
                <a:gd name="T16" fmla="*/ 79 w 80"/>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110">
                  <a:moveTo>
                    <a:pt x="79" y="0"/>
                  </a:moveTo>
                  <a:lnTo>
                    <a:pt x="79" y="0"/>
                  </a:lnTo>
                  <a:lnTo>
                    <a:pt x="0" y="106"/>
                  </a:lnTo>
                  <a:lnTo>
                    <a:pt x="5" y="110"/>
                  </a:lnTo>
                  <a:lnTo>
                    <a:pt x="29" y="91"/>
                  </a:lnTo>
                  <a:lnTo>
                    <a:pt x="53" y="110"/>
                  </a:lnTo>
                  <a:lnTo>
                    <a:pt x="77" y="91"/>
                  </a:lnTo>
                  <a:lnTo>
                    <a:pt x="80" y="93"/>
                  </a:lnTo>
                  <a:lnTo>
                    <a:pt x="79"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sp>
        <p:nvSpPr>
          <p:cNvPr id="54" name="Rectangle 14"/>
          <p:cNvSpPr>
            <a:spLocks noChangeArrowheads="1"/>
          </p:cNvSpPr>
          <p:nvPr/>
        </p:nvSpPr>
        <p:spPr bwMode="auto">
          <a:xfrm>
            <a:off x="5115324" y="4673203"/>
            <a:ext cx="35719" cy="3214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55" name="Freeform 15"/>
          <p:cNvSpPr>
            <a:spLocks/>
          </p:cNvSpPr>
          <p:nvPr/>
        </p:nvSpPr>
        <p:spPr bwMode="auto">
          <a:xfrm>
            <a:off x="5240339" y="4663678"/>
            <a:ext cx="41672" cy="39291"/>
          </a:xfrm>
          <a:custGeom>
            <a:avLst/>
            <a:gdLst>
              <a:gd name="T0" fmla="*/ 11 w 14"/>
              <a:gd name="T1" fmla="*/ 0 h 13"/>
              <a:gd name="T2" fmla="*/ 0 w 14"/>
              <a:gd name="T3" fmla="*/ 3 h 13"/>
              <a:gd name="T4" fmla="*/ 2 w 14"/>
              <a:gd name="T5" fmla="*/ 13 h 13"/>
              <a:gd name="T6" fmla="*/ 14 w 14"/>
              <a:gd name="T7" fmla="*/ 11 h 13"/>
              <a:gd name="T8" fmla="*/ 11 w 14"/>
              <a:gd name="T9" fmla="*/ 0 h 13"/>
            </a:gdLst>
            <a:ahLst/>
            <a:cxnLst>
              <a:cxn ang="0">
                <a:pos x="T0" y="T1"/>
              </a:cxn>
              <a:cxn ang="0">
                <a:pos x="T2" y="T3"/>
              </a:cxn>
              <a:cxn ang="0">
                <a:pos x="T4" y="T5"/>
              </a:cxn>
              <a:cxn ang="0">
                <a:pos x="T6" y="T7"/>
              </a:cxn>
              <a:cxn ang="0">
                <a:pos x="T8" y="T9"/>
              </a:cxn>
            </a:cxnLst>
            <a:rect l="0" t="0" r="r" b="b"/>
            <a:pathLst>
              <a:path w="14" h="13">
                <a:moveTo>
                  <a:pt x="11" y="0"/>
                </a:moveTo>
                <a:cubicBezTo>
                  <a:pt x="8" y="1"/>
                  <a:pt x="4" y="2"/>
                  <a:pt x="0" y="3"/>
                </a:cubicBezTo>
                <a:cubicBezTo>
                  <a:pt x="2" y="13"/>
                  <a:pt x="2" y="13"/>
                  <a:pt x="2" y="13"/>
                </a:cubicBezTo>
                <a:cubicBezTo>
                  <a:pt x="6" y="13"/>
                  <a:pt x="10" y="12"/>
                  <a:pt x="14" y="11"/>
                </a:cubicBezTo>
                <a:lnTo>
                  <a:pt x="11"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5" name="7-Point Star 4"/>
          <p:cNvSpPr/>
          <p:nvPr/>
        </p:nvSpPr>
        <p:spPr>
          <a:xfrm>
            <a:off x="2813839" y="3643222"/>
            <a:ext cx="417717" cy="381000"/>
          </a:xfrm>
          <a:prstGeom prst="star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100" dirty="0">
                <a:solidFill>
                  <a:schemeClr val="tx1"/>
                </a:solidFill>
              </a:rPr>
              <a:t>R1</a:t>
            </a:r>
          </a:p>
        </p:txBody>
      </p:sp>
      <p:sp>
        <p:nvSpPr>
          <p:cNvPr id="64" name="7-Point Star 63"/>
          <p:cNvSpPr/>
          <p:nvPr/>
        </p:nvSpPr>
        <p:spPr>
          <a:xfrm>
            <a:off x="5709825" y="3055588"/>
            <a:ext cx="417717" cy="381000"/>
          </a:xfrm>
          <a:prstGeom prst="star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100" dirty="0">
                <a:solidFill>
                  <a:schemeClr val="tx1"/>
                </a:solidFill>
              </a:rPr>
              <a:t>R1</a:t>
            </a:r>
          </a:p>
        </p:txBody>
      </p:sp>
    </p:spTree>
    <p:extLst>
      <p:ext uri="{BB962C8B-B14F-4D97-AF65-F5344CB8AC3E}">
        <p14:creationId xmlns:p14="http://schemas.microsoft.com/office/powerpoint/2010/main" val="18588721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8">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8">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5"/>
                                        </p:tgtEl>
                                        <p:attrNameLst>
                                          <p:attrName>style.visibility</p:attrName>
                                        </p:attrNameLst>
                                      </p:cBhvr>
                                      <p:to>
                                        <p:strVal val="visible"/>
                                      </p:to>
                                    </p:set>
                                    <p:animEffect transition="in" filter="fade">
                                      <p:cBhvr>
                                        <p:cTn id="15" dur="500"/>
                                        <p:tgtEl>
                                          <p:spTgt spid="15"/>
                                        </p:tgtEl>
                                      </p:cBhvr>
                                    </p:animEffec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grpId="0" nodeType="clickEffect">
                                  <p:stCondLst>
                                    <p:cond delay="0"/>
                                  </p:stCondLst>
                                  <p:childTnLst>
                                    <p:set>
                                      <p:cBhvr>
                                        <p:cTn id="19" dur="1" fill="hold">
                                          <p:stCondLst>
                                            <p:cond delay="0"/>
                                          </p:stCondLst>
                                        </p:cTn>
                                        <p:tgtEl>
                                          <p:spTgt spid="5"/>
                                        </p:tgtEl>
                                        <p:attrNameLst>
                                          <p:attrName>style.visibility</p:attrName>
                                        </p:attrNameLst>
                                      </p:cBhvr>
                                      <p:to>
                                        <p:strVal val="visible"/>
                                      </p:to>
                                    </p:se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14"/>
                                        </p:tgtEl>
                                        <p:attrNameLst>
                                          <p:attrName>style.visibility</p:attrName>
                                        </p:attrNameLst>
                                      </p:cBhvr>
                                      <p:to>
                                        <p:strVal val="visible"/>
                                      </p:to>
                                    </p:set>
                                    <p:animEffect transition="in" filter="fade">
                                      <p:cBhvr>
                                        <p:cTn id="24" dur="500"/>
                                        <p:tgtEl>
                                          <p:spTgt spid="14"/>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20"/>
                                        </p:tgtEl>
                                        <p:attrNameLst>
                                          <p:attrName>style.visibility</p:attrName>
                                        </p:attrNameLst>
                                      </p:cBhvr>
                                      <p:to>
                                        <p:strVal val="visible"/>
                                      </p:to>
                                    </p:set>
                                    <p:animEffect transition="in" filter="fade">
                                      <p:cBhvr>
                                        <p:cTn id="29" dur="500"/>
                                        <p:tgtEl>
                                          <p:spTgt spid="20"/>
                                        </p:tgtEl>
                                      </p:cBhvr>
                                    </p:animEffect>
                                  </p:childTnLst>
                                </p:cTn>
                              </p:par>
                            </p:childTnLst>
                          </p:cTn>
                        </p:par>
                      </p:childTnLst>
                    </p:cTn>
                  </p:par>
                  <p:par>
                    <p:cTn id="30" fill="hold">
                      <p:stCondLst>
                        <p:cond delay="indefinite"/>
                      </p:stCondLst>
                      <p:childTnLst>
                        <p:par>
                          <p:cTn id="31" fill="hold">
                            <p:stCondLst>
                              <p:cond delay="0"/>
                            </p:stCondLst>
                            <p:childTnLst>
                              <p:par>
                                <p:cTn id="32" presetID="1" presetClass="entr" presetSubtype="0" fill="hold" grpId="0" nodeType="clickEffect">
                                  <p:stCondLst>
                                    <p:cond delay="0"/>
                                  </p:stCondLst>
                                  <p:childTnLst>
                                    <p:set>
                                      <p:cBhvr>
                                        <p:cTn id="33" dur="1" fill="hold">
                                          <p:stCondLst>
                                            <p:cond delay="0"/>
                                          </p:stCondLst>
                                        </p:cTn>
                                        <p:tgtEl>
                                          <p:spTgt spid="6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4"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7" name="think-cell Slide" r:id="rId11" imgW="360" imgH="360" progId="TCLayout.ActiveDocument.1">
                  <p:embed/>
                </p:oleObj>
              </mc:Choice>
              <mc:Fallback>
                <p:oleObj name="think-cell Slide" r:id="rId11" imgW="360" imgH="360" progId="TCLayout.ActiveDocument.1">
                  <p:embed/>
                  <p:pic>
                    <p:nvPicPr>
                      <p:cNvPr id="3" name="Object 2" hidden="1"/>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9" name="Rectangle 8" hidden="1"/>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1" i="0" u="none" strike="noStrike" kern="1200" cap="none" spc="0" normalizeH="0" baseline="0" noProof="0" dirty="0">
              <a:ln>
                <a:noFill/>
              </a:ln>
              <a:solidFill>
                <a:srgbClr val="FFFFFF"/>
              </a:solidFill>
              <a:effectLst/>
              <a:uLnTx/>
              <a:uFillTx/>
              <a:latin typeface="Arial Black" panose="020B0A04020102020204" pitchFamily="34" charset="0"/>
              <a:ea typeface="+mn-ea"/>
              <a:cs typeface="+mn-cs"/>
              <a:sym typeface="Arial Black" panose="020B0A04020102020204" pitchFamily="34" charset="0"/>
            </a:endParaRPr>
          </a:p>
        </p:txBody>
      </p:sp>
      <p:sp>
        <p:nvSpPr>
          <p:cNvPr id="2" name="Title 1"/>
          <p:cNvSpPr>
            <a:spLocks noGrp="1"/>
          </p:cNvSpPr>
          <p:nvPr>
            <p:ph type="title"/>
          </p:nvPr>
        </p:nvSpPr>
        <p:spPr/>
        <p:txBody>
          <a:bodyPr>
            <a:normAutofit/>
          </a:bodyPr>
          <a:lstStyle/>
          <a:p>
            <a:r>
              <a:rPr lang="en-GB" sz="2400" dirty="0">
                <a:solidFill>
                  <a:schemeClr val="accent6">
                    <a:lumMod val="50000"/>
                  </a:schemeClr>
                </a:solidFill>
              </a:rPr>
              <a:t>Scout Program - Deployment Timeline</a:t>
            </a:r>
          </a:p>
        </p:txBody>
      </p:sp>
      <p:sp>
        <p:nvSpPr>
          <p:cNvPr id="4" name="Footer Placeholder 3"/>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7F7F7F"/>
                </a:solidFill>
                <a:effectLst/>
                <a:uLnTx/>
                <a:uFillTx/>
                <a:latin typeface="Arial" panose="020B0604020202020204"/>
                <a:ea typeface="+mn-ea"/>
                <a:cs typeface="+mn-cs"/>
              </a:rPr>
              <a:t>Business Use Only</a:t>
            </a:r>
          </a:p>
        </p:txBody>
      </p:sp>
      <p:sp>
        <p:nvSpPr>
          <p:cNvPr id="5" name="Slide Number Placeholder 4"/>
          <p:cNvSpPr>
            <a:spLocks noGrp="1"/>
          </p:cNvSpPr>
          <p:nvPr>
            <p:ph type="sldNum"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7547CF9-5B10-D24F-A8D7-45A9778164F7}" type="slidenum">
              <a:rPr kumimoji="0" lang="uk-UA" sz="900" b="0" i="0" u="none" strike="noStrike" kern="1200" cap="none" spc="0" normalizeH="0" baseline="0" noProof="0" smtClean="0">
                <a:ln>
                  <a:noFill/>
                </a:ln>
                <a:solidFill>
                  <a:srgbClr val="7F7F7F"/>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uk-UA" sz="900" b="0" i="0" u="none" strike="noStrike" kern="1200" cap="none" spc="0" normalizeH="0" baseline="0" noProof="0" dirty="0">
              <a:ln>
                <a:noFill/>
              </a:ln>
              <a:solidFill>
                <a:srgbClr val="7F7F7F"/>
              </a:solidFill>
              <a:effectLst/>
              <a:uLnTx/>
              <a:uFillTx/>
              <a:latin typeface="Arial" panose="020B0604020202020204"/>
              <a:ea typeface="+mn-ea"/>
              <a:cs typeface="+mn-cs"/>
            </a:endParaRPr>
          </a:p>
        </p:txBody>
      </p:sp>
      <p:graphicFrame>
        <p:nvGraphicFramePr>
          <p:cNvPr id="35" name="Table 34"/>
          <p:cNvGraphicFramePr>
            <a:graphicFrameLocks noGrp="1"/>
          </p:cNvGraphicFramePr>
          <p:nvPr/>
        </p:nvGraphicFramePr>
        <p:xfrm>
          <a:off x="380999" y="865854"/>
          <a:ext cx="8160557" cy="3809017"/>
        </p:xfrm>
        <a:graphic>
          <a:graphicData uri="http://schemas.openxmlformats.org/drawingml/2006/table">
            <a:tbl>
              <a:tblPr/>
              <a:tblGrid>
                <a:gridCol w="565270">
                  <a:extLst>
                    <a:ext uri="{9D8B030D-6E8A-4147-A177-3AD203B41FA5}">
                      <a16:colId xmlns:a16="http://schemas.microsoft.com/office/drawing/2014/main" val="2733571498"/>
                    </a:ext>
                  </a:extLst>
                </a:gridCol>
                <a:gridCol w="120531">
                  <a:extLst>
                    <a:ext uri="{9D8B030D-6E8A-4147-A177-3AD203B41FA5}">
                      <a16:colId xmlns:a16="http://schemas.microsoft.com/office/drawing/2014/main" val="4016726890"/>
                    </a:ext>
                  </a:extLst>
                </a:gridCol>
                <a:gridCol w="375304">
                  <a:extLst>
                    <a:ext uri="{9D8B030D-6E8A-4147-A177-3AD203B41FA5}">
                      <a16:colId xmlns:a16="http://schemas.microsoft.com/office/drawing/2014/main" val="1212610524"/>
                    </a:ext>
                  </a:extLst>
                </a:gridCol>
                <a:gridCol w="394414">
                  <a:extLst>
                    <a:ext uri="{9D8B030D-6E8A-4147-A177-3AD203B41FA5}">
                      <a16:colId xmlns:a16="http://schemas.microsoft.com/office/drawing/2014/main" val="1395208504"/>
                    </a:ext>
                  </a:extLst>
                </a:gridCol>
                <a:gridCol w="394414">
                  <a:extLst>
                    <a:ext uri="{9D8B030D-6E8A-4147-A177-3AD203B41FA5}">
                      <a16:colId xmlns:a16="http://schemas.microsoft.com/office/drawing/2014/main" val="1287529442"/>
                    </a:ext>
                  </a:extLst>
                </a:gridCol>
                <a:gridCol w="394414">
                  <a:extLst>
                    <a:ext uri="{9D8B030D-6E8A-4147-A177-3AD203B41FA5}">
                      <a16:colId xmlns:a16="http://schemas.microsoft.com/office/drawing/2014/main" val="1010675680"/>
                    </a:ext>
                  </a:extLst>
                </a:gridCol>
                <a:gridCol w="394414">
                  <a:extLst>
                    <a:ext uri="{9D8B030D-6E8A-4147-A177-3AD203B41FA5}">
                      <a16:colId xmlns:a16="http://schemas.microsoft.com/office/drawing/2014/main" val="3390144393"/>
                    </a:ext>
                  </a:extLst>
                </a:gridCol>
                <a:gridCol w="394414">
                  <a:extLst>
                    <a:ext uri="{9D8B030D-6E8A-4147-A177-3AD203B41FA5}">
                      <a16:colId xmlns:a16="http://schemas.microsoft.com/office/drawing/2014/main" val="2868058242"/>
                    </a:ext>
                  </a:extLst>
                </a:gridCol>
                <a:gridCol w="394414">
                  <a:extLst>
                    <a:ext uri="{9D8B030D-6E8A-4147-A177-3AD203B41FA5}">
                      <a16:colId xmlns:a16="http://schemas.microsoft.com/office/drawing/2014/main" val="2060961232"/>
                    </a:ext>
                  </a:extLst>
                </a:gridCol>
                <a:gridCol w="394414">
                  <a:extLst>
                    <a:ext uri="{9D8B030D-6E8A-4147-A177-3AD203B41FA5}">
                      <a16:colId xmlns:a16="http://schemas.microsoft.com/office/drawing/2014/main" val="2870007971"/>
                    </a:ext>
                  </a:extLst>
                </a:gridCol>
                <a:gridCol w="394414">
                  <a:extLst>
                    <a:ext uri="{9D8B030D-6E8A-4147-A177-3AD203B41FA5}">
                      <a16:colId xmlns:a16="http://schemas.microsoft.com/office/drawing/2014/main" val="603134885"/>
                    </a:ext>
                  </a:extLst>
                </a:gridCol>
                <a:gridCol w="394414">
                  <a:extLst>
                    <a:ext uri="{9D8B030D-6E8A-4147-A177-3AD203B41FA5}">
                      <a16:colId xmlns:a16="http://schemas.microsoft.com/office/drawing/2014/main" val="2555273457"/>
                    </a:ext>
                  </a:extLst>
                </a:gridCol>
                <a:gridCol w="394414">
                  <a:extLst>
                    <a:ext uri="{9D8B030D-6E8A-4147-A177-3AD203B41FA5}">
                      <a16:colId xmlns:a16="http://schemas.microsoft.com/office/drawing/2014/main" val="263440694"/>
                    </a:ext>
                  </a:extLst>
                </a:gridCol>
                <a:gridCol w="394414">
                  <a:extLst>
                    <a:ext uri="{9D8B030D-6E8A-4147-A177-3AD203B41FA5}">
                      <a16:colId xmlns:a16="http://schemas.microsoft.com/office/drawing/2014/main" val="1297456174"/>
                    </a:ext>
                  </a:extLst>
                </a:gridCol>
                <a:gridCol w="394414">
                  <a:extLst>
                    <a:ext uri="{9D8B030D-6E8A-4147-A177-3AD203B41FA5}">
                      <a16:colId xmlns:a16="http://schemas.microsoft.com/office/drawing/2014/main" val="383975077"/>
                    </a:ext>
                  </a:extLst>
                </a:gridCol>
                <a:gridCol w="394414">
                  <a:extLst>
                    <a:ext uri="{9D8B030D-6E8A-4147-A177-3AD203B41FA5}">
                      <a16:colId xmlns:a16="http://schemas.microsoft.com/office/drawing/2014/main" val="535749226"/>
                    </a:ext>
                  </a:extLst>
                </a:gridCol>
                <a:gridCol w="394414">
                  <a:extLst>
                    <a:ext uri="{9D8B030D-6E8A-4147-A177-3AD203B41FA5}">
                      <a16:colId xmlns:a16="http://schemas.microsoft.com/office/drawing/2014/main" val="2975140557"/>
                    </a:ext>
                  </a:extLst>
                </a:gridCol>
                <a:gridCol w="394414">
                  <a:extLst>
                    <a:ext uri="{9D8B030D-6E8A-4147-A177-3AD203B41FA5}">
                      <a16:colId xmlns:a16="http://schemas.microsoft.com/office/drawing/2014/main" val="3268233208"/>
                    </a:ext>
                  </a:extLst>
                </a:gridCol>
                <a:gridCol w="394414">
                  <a:extLst>
                    <a:ext uri="{9D8B030D-6E8A-4147-A177-3AD203B41FA5}">
                      <a16:colId xmlns:a16="http://schemas.microsoft.com/office/drawing/2014/main" val="2892056825"/>
                    </a:ext>
                  </a:extLst>
                </a:gridCol>
                <a:gridCol w="394414">
                  <a:extLst>
                    <a:ext uri="{9D8B030D-6E8A-4147-A177-3AD203B41FA5}">
                      <a16:colId xmlns:a16="http://schemas.microsoft.com/office/drawing/2014/main" val="3845479107"/>
                    </a:ext>
                  </a:extLst>
                </a:gridCol>
                <a:gridCol w="394414">
                  <a:extLst>
                    <a:ext uri="{9D8B030D-6E8A-4147-A177-3AD203B41FA5}">
                      <a16:colId xmlns:a16="http://schemas.microsoft.com/office/drawing/2014/main" val="2665819293"/>
                    </a:ext>
                  </a:extLst>
                </a:gridCol>
              </a:tblGrid>
              <a:tr h="188225">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endParaRPr lang="en-GB" sz="900" b="0" i="0" u="none" strike="noStrike">
                        <a:solidFill>
                          <a:srgbClr val="000000"/>
                        </a:solidFill>
                        <a:effectLst/>
                        <a:latin typeface="Calibri" panose="020F0502020204030204" pitchFamily="34" charset="0"/>
                      </a:endParaRPr>
                    </a:p>
                  </a:txBody>
                  <a:tcPr marL="5428" marR="5428" marT="5428"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endParaRPr lang="en-GB" sz="900" b="0" i="0" u="none" strike="noStrike">
                        <a:solidFill>
                          <a:srgbClr val="000000"/>
                        </a:solidFill>
                        <a:effectLst/>
                        <a:latin typeface="Calibri" panose="020F0502020204030204" pitchFamily="34" charset="0"/>
                      </a:endParaRPr>
                    </a:p>
                  </a:txBody>
                  <a:tcPr marL="5428" marR="5428" marT="5428" marB="0" anchor="b">
                    <a:lnL>
                      <a:noFill/>
                    </a:lnL>
                    <a:lnR w="6350" cap="flat" cmpd="sng" algn="ctr">
                      <a:solidFill>
                        <a:srgbClr val="000000"/>
                      </a:solid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ctr" fontAlgn="ctr"/>
                      <a:r>
                        <a:rPr lang="en-GB" sz="900" b="0" i="0" u="none" strike="noStrike" dirty="0">
                          <a:solidFill>
                            <a:srgbClr val="000000"/>
                          </a:solidFill>
                          <a:effectLst/>
                          <a:latin typeface="Calibri" panose="020F0502020204030204" pitchFamily="34" charset="0"/>
                        </a:rPr>
                        <a:t>Jun</a:t>
                      </a:r>
                    </a:p>
                  </a:txBody>
                  <a:tcPr marL="5428" marR="5428" marT="54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ctr" fontAlgn="ctr"/>
                      <a:r>
                        <a:rPr lang="en-GB" sz="900" b="0" i="0" u="none" strike="noStrike" dirty="0">
                          <a:solidFill>
                            <a:srgbClr val="000000"/>
                          </a:solidFill>
                          <a:effectLst/>
                          <a:latin typeface="Calibri" panose="020F0502020204030204" pitchFamily="34" charset="0"/>
                        </a:rPr>
                        <a:t>Jul</a:t>
                      </a:r>
                    </a:p>
                  </a:txBody>
                  <a:tcPr marL="5428" marR="5428" marT="54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ctr" fontAlgn="ctr"/>
                      <a:r>
                        <a:rPr lang="en-GB" sz="900" b="0" i="0" u="none" strike="noStrike" dirty="0">
                          <a:solidFill>
                            <a:srgbClr val="000000"/>
                          </a:solidFill>
                          <a:effectLst/>
                          <a:latin typeface="Calibri" panose="020F0502020204030204" pitchFamily="34" charset="0"/>
                        </a:rPr>
                        <a:t>Aug</a:t>
                      </a:r>
                    </a:p>
                  </a:txBody>
                  <a:tcPr marL="5428" marR="5428" marT="54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ctr" fontAlgn="ctr"/>
                      <a:r>
                        <a:rPr lang="en-GB" sz="900" b="0" i="0" u="none" strike="noStrike" dirty="0">
                          <a:solidFill>
                            <a:srgbClr val="000000"/>
                          </a:solidFill>
                          <a:effectLst/>
                          <a:latin typeface="Calibri" panose="020F0502020204030204" pitchFamily="34" charset="0"/>
                        </a:rPr>
                        <a:t>Sep</a:t>
                      </a:r>
                    </a:p>
                  </a:txBody>
                  <a:tcPr marL="5428" marR="5428" marT="54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ctr" fontAlgn="ctr"/>
                      <a:r>
                        <a:rPr lang="en-GB" sz="900" b="0" i="0" u="none" strike="noStrike">
                          <a:solidFill>
                            <a:srgbClr val="000000"/>
                          </a:solidFill>
                          <a:effectLst/>
                          <a:latin typeface="Calibri" panose="020F0502020204030204" pitchFamily="34" charset="0"/>
                        </a:rPr>
                        <a:t>Oct</a:t>
                      </a:r>
                    </a:p>
                  </a:txBody>
                  <a:tcPr marL="5428" marR="5428" marT="54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ctr" fontAlgn="ctr"/>
                      <a:r>
                        <a:rPr lang="en-GB" sz="900" b="0" i="0" u="none" strike="noStrike" dirty="0">
                          <a:solidFill>
                            <a:srgbClr val="000000"/>
                          </a:solidFill>
                          <a:effectLst/>
                          <a:latin typeface="Calibri" panose="020F0502020204030204" pitchFamily="34" charset="0"/>
                        </a:rPr>
                        <a:t>Nov</a:t>
                      </a:r>
                    </a:p>
                  </a:txBody>
                  <a:tcPr marL="5428" marR="5428" marT="54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ctr" fontAlgn="ctr"/>
                      <a:r>
                        <a:rPr lang="en-GB" sz="900" b="0" i="0" u="none" strike="noStrike">
                          <a:solidFill>
                            <a:srgbClr val="000000"/>
                          </a:solidFill>
                          <a:effectLst/>
                          <a:latin typeface="Calibri" panose="020F0502020204030204" pitchFamily="34" charset="0"/>
                        </a:rPr>
                        <a:t>Dec</a:t>
                      </a:r>
                    </a:p>
                  </a:txBody>
                  <a:tcPr marL="5428" marR="5428" marT="54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ctr" fontAlgn="ctr"/>
                      <a:r>
                        <a:rPr lang="en-GB" sz="900" b="0" i="0" u="none" strike="noStrike">
                          <a:solidFill>
                            <a:srgbClr val="000000"/>
                          </a:solidFill>
                          <a:effectLst/>
                          <a:latin typeface="Calibri" panose="020F0502020204030204" pitchFamily="34" charset="0"/>
                        </a:rPr>
                        <a:t>Jan</a:t>
                      </a:r>
                    </a:p>
                  </a:txBody>
                  <a:tcPr marL="5428" marR="5428" marT="54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ctr" fontAlgn="ctr"/>
                      <a:r>
                        <a:rPr lang="en-GB" sz="900" b="0" i="0" u="none" strike="noStrike">
                          <a:solidFill>
                            <a:srgbClr val="000000"/>
                          </a:solidFill>
                          <a:effectLst/>
                          <a:latin typeface="Calibri" panose="020F0502020204030204" pitchFamily="34" charset="0"/>
                        </a:rPr>
                        <a:t>Feb</a:t>
                      </a:r>
                    </a:p>
                  </a:txBody>
                  <a:tcPr marL="5428" marR="5428" marT="54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ctr" fontAlgn="ctr"/>
                      <a:r>
                        <a:rPr lang="en-GB" sz="900" b="0" i="0" u="none" strike="noStrike">
                          <a:solidFill>
                            <a:srgbClr val="000000"/>
                          </a:solidFill>
                          <a:effectLst/>
                          <a:latin typeface="Calibri" panose="020F0502020204030204" pitchFamily="34" charset="0"/>
                        </a:rPr>
                        <a:t>Mar</a:t>
                      </a:r>
                    </a:p>
                  </a:txBody>
                  <a:tcPr marL="5428" marR="5428" marT="54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ctr" fontAlgn="ctr"/>
                      <a:r>
                        <a:rPr lang="en-GB" sz="900" b="0" i="0" u="none" strike="noStrike">
                          <a:solidFill>
                            <a:srgbClr val="000000"/>
                          </a:solidFill>
                          <a:effectLst/>
                          <a:latin typeface="Calibri" panose="020F0502020204030204" pitchFamily="34" charset="0"/>
                        </a:rPr>
                        <a:t>Apr</a:t>
                      </a:r>
                    </a:p>
                  </a:txBody>
                  <a:tcPr marL="5428" marR="5428" marT="54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ctr" fontAlgn="ctr"/>
                      <a:r>
                        <a:rPr lang="en-GB" sz="900" b="0" i="0" u="none" strike="noStrike">
                          <a:solidFill>
                            <a:srgbClr val="000000"/>
                          </a:solidFill>
                          <a:effectLst/>
                          <a:latin typeface="Calibri" panose="020F0502020204030204" pitchFamily="34" charset="0"/>
                        </a:rPr>
                        <a:t>May</a:t>
                      </a:r>
                    </a:p>
                  </a:txBody>
                  <a:tcPr marL="5428" marR="5428" marT="54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ctr" fontAlgn="ctr"/>
                      <a:r>
                        <a:rPr lang="en-GB" sz="900" b="0" i="0" u="none" strike="noStrike">
                          <a:solidFill>
                            <a:srgbClr val="000000"/>
                          </a:solidFill>
                          <a:effectLst/>
                          <a:latin typeface="Calibri" panose="020F0502020204030204" pitchFamily="34" charset="0"/>
                        </a:rPr>
                        <a:t>Jun</a:t>
                      </a:r>
                    </a:p>
                  </a:txBody>
                  <a:tcPr marL="5428" marR="5428" marT="54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ctr" fontAlgn="ctr"/>
                      <a:r>
                        <a:rPr lang="en-GB" sz="900" b="0" i="0" u="none" strike="noStrike">
                          <a:solidFill>
                            <a:srgbClr val="000000"/>
                          </a:solidFill>
                          <a:effectLst/>
                          <a:latin typeface="Calibri" panose="020F0502020204030204" pitchFamily="34" charset="0"/>
                        </a:rPr>
                        <a:t>Jul</a:t>
                      </a:r>
                    </a:p>
                  </a:txBody>
                  <a:tcPr marL="5428" marR="5428" marT="54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ctr" fontAlgn="ctr"/>
                      <a:r>
                        <a:rPr lang="en-GB" sz="900" b="0" i="0" u="none" strike="noStrike">
                          <a:solidFill>
                            <a:srgbClr val="000000"/>
                          </a:solidFill>
                          <a:effectLst/>
                          <a:latin typeface="Calibri" panose="020F0502020204030204" pitchFamily="34" charset="0"/>
                        </a:rPr>
                        <a:t>Aug</a:t>
                      </a:r>
                    </a:p>
                  </a:txBody>
                  <a:tcPr marL="5428" marR="5428" marT="54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ctr" fontAlgn="ctr"/>
                      <a:r>
                        <a:rPr lang="en-GB" sz="900" b="0" i="0" u="none" strike="noStrike">
                          <a:solidFill>
                            <a:srgbClr val="000000"/>
                          </a:solidFill>
                          <a:effectLst/>
                          <a:latin typeface="Calibri" panose="020F0502020204030204" pitchFamily="34" charset="0"/>
                        </a:rPr>
                        <a:t>Sep</a:t>
                      </a:r>
                    </a:p>
                  </a:txBody>
                  <a:tcPr marL="5428" marR="5428" marT="54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ctr" fontAlgn="ctr"/>
                      <a:r>
                        <a:rPr lang="en-GB" sz="900" b="0" i="0" u="none" strike="noStrike">
                          <a:solidFill>
                            <a:srgbClr val="000000"/>
                          </a:solidFill>
                          <a:effectLst/>
                          <a:latin typeface="Calibri" panose="020F0502020204030204" pitchFamily="34" charset="0"/>
                        </a:rPr>
                        <a:t>Oct</a:t>
                      </a:r>
                    </a:p>
                  </a:txBody>
                  <a:tcPr marL="5428" marR="5428" marT="54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ctr" fontAlgn="ctr"/>
                      <a:r>
                        <a:rPr lang="en-GB" sz="900" b="0" i="0" u="none" strike="noStrike" dirty="0">
                          <a:solidFill>
                            <a:srgbClr val="000000"/>
                          </a:solidFill>
                          <a:effectLst/>
                          <a:latin typeface="Calibri" panose="020F0502020204030204" pitchFamily="34" charset="0"/>
                        </a:rPr>
                        <a:t>Nov</a:t>
                      </a:r>
                    </a:p>
                  </a:txBody>
                  <a:tcPr marL="5428" marR="5428" marT="54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ctr" fontAlgn="ctr"/>
                      <a:r>
                        <a:rPr lang="en-GB" sz="900" b="0" i="0" u="none" strike="noStrike" dirty="0">
                          <a:solidFill>
                            <a:srgbClr val="000000"/>
                          </a:solidFill>
                          <a:effectLst/>
                          <a:latin typeface="Calibri" panose="020F0502020204030204" pitchFamily="34" charset="0"/>
                        </a:rPr>
                        <a:t>Dec</a:t>
                      </a:r>
                    </a:p>
                  </a:txBody>
                  <a:tcPr marL="5428" marR="5428" marT="54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245116705"/>
                  </a:ext>
                </a:extLst>
              </a:tr>
              <a:tr h="148351">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endParaRPr lang="en-GB" sz="900" b="0" i="0" u="none" strike="noStrike">
                        <a:solidFill>
                          <a:srgbClr val="000000"/>
                        </a:solidFill>
                        <a:effectLst/>
                        <a:latin typeface="Calibri" panose="020F0502020204030204" pitchFamily="34" charset="0"/>
                      </a:endParaRPr>
                    </a:p>
                  </a:txBody>
                  <a:tcPr marL="5428" marR="5428" marT="5428" marB="0" anchor="b">
                    <a:lnL>
                      <a:noFill/>
                    </a:lnL>
                    <a:lnR>
                      <a:noFill/>
                    </a:lnR>
                    <a:lnT>
                      <a:noFill/>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endParaRPr lang="en-GB" sz="900" b="0" i="0" u="none" strike="noStrike">
                        <a:solidFill>
                          <a:srgbClr val="000000"/>
                        </a:solidFill>
                        <a:effectLst/>
                        <a:latin typeface="Calibri" panose="020F0502020204030204" pitchFamily="34" charset="0"/>
                      </a:endParaRPr>
                    </a:p>
                  </a:txBody>
                  <a:tcPr marL="5428" marR="5428" marT="5428"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r>
                        <a:rPr lang="en-GB" sz="900" b="0" i="0" u="none" strike="noStrike">
                          <a:solidFill>
                            <a:srgbClr val="000000"/>
                          </a:solidFill>
                          <a:effectLst/>
                          <a:latin typeface="Calibri" panose="020F0502020204030204" pitchFamily="34" charset="0"/>
                        </a:rPr>
                        <a:t> </a:t>
                      </a:r>
                    </a:p>
                  </a:txBody>
                  <a:tcPr marL="5428" marR="5428" marT="54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r>
                        <a:rPr lang="en-GB" sz="900" b="0" i="0" u="none" strike="noStrike">
                          <a:solidFill>
                            <a:srgbClr val="000000"/>
                          </a:solidFill>
                          <a:effectLst/>
                          <a:latin typeface="Calibri" panose="020F0502020204030204" pitchFamily="34" charset="0"/>
                        </a:rPr>
                        <a:t> </a:t>
                      </a:r>
                    </a:p>
                  </a:txBody>
                  <a:tcPr marL="5428" marR="5428" marT="54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r>
                        <a:rPr lang="en-GB" sz="900" b="0" i="0" u="none" strike="noStrike">
                          <a:solidFill>
                            <a:srgbClr val="000000"/>
                          </a:solidFill>
                          <a:effectLst/>
                          <a:latin typeface="Calibri" panose="020F0502020204030204" pitchFamily="34" charset="0"/>
                        </a:rPr>
                        <a:t> </a:t>
                      </a:r>
                    </a:p>
                  </a:txBody>
                  <a:tcPr marL="5428" marR="5428" marT="54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r>
                        <a:rPr lang="en-GB" sz="900" b="0" i="0" u="none" strike="noStrike">
                          <a:solidFill>
                            <a:srgbClr val="000000"/>
                          </a:solidFill>
                          <a:effectLst/>
                          <a:latin typeface="Calibri" panose="020F0502020204030204" pitchFamily="34" charset="0"/>
                        </a:rPr>
                        <a:t> </a:t>
                      </a:r>
                    </a:p>
                  </a:txBody>
                  <a:tcPr marL="5428" marR="5428" marT="54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r>
                        <a:rPr lang="en-GB" sz="900" b="0" i="0" u="none" strike="noStrike">
                          <a:solidFill>
                            <a:srgbClr val="000000"/>
                          </a:solidFill>
                          <a:effectLst/>
                          <a:latin typeface="Calibri" panose="020F0502020204030204" pitchFamily="34" charset="0"/>
                        </a:rPr>
                        <a:t> </a:t>
                      </a:r>
                    </a:p>
                  </a:txBody>
                  <a:tcPr marL="5428" marR="5428" marT="54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r>
                        <a:rPr lang="en-GB" sz="900" b="0" i="0" u="none" strike="noStrike" dirty="0">
                          <a:solidFill>
                            <a:srgbClr val="000000"/>
                          </a:solidFill>
                          <a:effectLst/>
                          <a:latin typeface="Calibri" panose="020F0502020204030204" pitchFamily="34" charset="0"/>
                        </a:rPr>
                        <a:t> </a:t>
                      </a:r>
                    </a:p>
                  </a:txBody>
                  <a:tcPr marL="5428" marR="5428" marT="54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r>
                        <a:rPr lang="en-GB" sz="900" b="0" i="0" u="none" strike="noStrike">
                          <a:solidFill>
                            <a:srgbClr val="000000"/>
                          </a:solidFill>
                          <a:effectLst/>
                          <a:latin typeface="Calibri" panose="020F0502020204030204" pitchFamily="34" charset="0"/>
                        </a:rPr>
                        <a:t> </a:t>
                      </a:r>
                    </a:p>
                  </a:txBody>
                  <a:tcPr marL="5428" marR="5428" marT="54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r>
                        <a:rPr lang="en-GB" sz="900" b="0" i="0" u="none" strike="noStrike">
                          <a:solidFill>
                            <a:srgbClr val="000000"/>
                          </a:solidFill>
                          <a:effectLst/>
                          <a:latin typeface="Calibri" panose="020F0502020204030204" pitchFamily="34" charset="0"/>
                        </a:rPr>
                        <a:t> </a:t>
                      </a:r>
                    </a:p>
                  </a:txBody>
                  <a:tcPr marL="5428" marR="5428" marT="54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r>
                        <a:rPr lang="en-GB" sz="900" b="0" i="0" u="none" strike="noStrike">
                          <a:solidFill>
                            <a:srgbClr val="000000"/>
                          </a:solidFill>
                          <a:effectLst/>
                          <a:latin typeface="Calibri" panose="020F0502020204030204" pitchFamily="34" charset="0"/>
                        </a:rPr>
                        <a:t> </a:t>
                      </a:r>
                    </a:p>
                  </a:txBody>
                  <a:tcPr marL="5428" marR="5428" marT="54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r>
                        <a:rPr lang="en-GB" sz="900" b="0" i="0" u="none" strike="noStrike">
                          <a:solidFill>
                            <a:srgbClr val="000000"/>
                          </a:solidFill>
                          <a:effectLst/>
                          <a:latin typeface="Calibri" panose="020F0502020204030204" pitchFamily="34" charset="0"/>
                        </a:rPr>
                        <a:t> </a:t>
                      </a:r>
                    </a:p>
                  </a:txBody>
                  <a:tcPr marL="5428" marR="5428" marT="54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r>
                        <a:rPr lang="en-GB" sz="900" b="0" i="0" u="none" strike="noStrike">
                          <a:solidFill>
                            <a:srgbClr val="000000"/>
                          </a:solidFill>
                          <a:effectLst/>
                          <a:latin typeface="Calibri" panose="020F0502020204030204" pitchFamily="34" charset="0"/>
                        </a:rPr>
                        <a:t> </a:t>
                      </a:r>
                    </a:p>
                  </a:txBody>
                  <a:tcPr marL="5428" marR="5428" marT="54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r>
                        <a:rPr lang="en-GB" sz="900" b="0" i="0" u="none" strike="noStrike">
                          <a:solidFill>
                            <a:srgbClr val="000000"/>
                          </a:solidFill>
                          <a:effectLst/>
                          <a:latin typeface="Calibri" panose="020F0502020204030204" pitchFamily="34" charset="0"/>
                        </a:rPr>
                        <a:t> </a:t>
                      </a:r>
                    </a:p>
                  </a:txBody>
                  <a:tcPr marL="5428" marR="5428" marT="54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r>
                        <a:rPr lang="en-GB" sz="900" b="0" i="0" u="none" strike="noStrike">
                          <a:solidFill>
                            <a:srgbClr val="000000"/>
                          </a:solidFill>
                          <a:effectLst/>
                          <a:latin typeface="Calibri" panose="020F0502020204030204" pitchFamily="34" charset="0"/>
                        </a:rPr>
                        <a:t> </a:t>
                      </a:r>
                    </a:p>
                  </a:txBody>
                  <a:tcPr marL="5428" marR="5428" marT="54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r>
                        <a:rPr lang="en-GB" sz="900" b="0" i="0" u="none" strike="noStrike">
                          <a:solidFill>
                            <a:srgbClr val="000000"/>
                          </a:solidFill>
                          <a:effectLst/>
                          <a:latin typeface="Calibri" panose="020F0502020204030204" pitchFamily="34" charset="0"/>
                        </a:rPr>
                        <a:t> </a:t>
                      </a:r>
                    </a:p>
                  </a:txBody>
                  <a:tcPr marL="5428" marR="5428" marT="54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r>
                        <a:rPr lang="en-GB" sz="900" b="0" i="0" u="none" strike="noStrike">
                          <a:solidFill>
                            <a:srgbClr val="000000"/>
                          </a:solidFill>
                          <a:effectLst/>
                          <a:latin typeface="Calibri" panose="020F0502020204030204" pitchFamily="34" charset="0"/>
                        </a:rPr>
                        <a:t> </a:t>
                      </a:r>
                    </a:p>
                  </a:txBody>
                  <a:tcPr marL="5428" marR="5428" marT="54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r>
                        <a:rPr lang="en-GB" sz="900" b="0" i="0" u="none" strike="noStrike">
                          <a:solidFill>
                            <a:srgbClr val="000000"/>
                          </a:solidFill>
                          <a:effectLst/>
                          <a:latin typeface="Calibri" panose="020F0502020204030204" pitchFamily="34" charset="0"/>
                        </a:rPr>
                        <a:t> </a:t>
                      </a:r>
                    </a:p>
                  </a:txBody>
                  <a:tcPr marL="5428" marR="5428" marT="54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r>
                        <a:rPr lang="en-GB" sz="900" b="0" i="0" u="none" strike="noStrike">
                          <a:solidFill>
                            <a:srgbClr val="000000"/>
                          </a:solidFill>
                          <a:effectLst/>
                          <a:latin typeface="Calibri" panose="020F0502020204030204" pitchFamily="34" charset="0"/>
                        </a:rPr>
                        <a:t> </a:t>
                      </a:r>
                    </a:p>
                  </a:txBody>
                  <a:tcPr marL="5428" marR="5428" marT="54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r>
                        <a:rPr lang="en-GB" sz="900" b="0" i="0" u="none" strike="noStrike">
                          <a:solidFill>
                            <a:srgbClr val="000000"/>
                          </a:solidFill>
                          <a:effectLst/>
                          <a:latin typeface="Calibri" panose="020F0502020204030204" pitchFamily="34" charset="0"/>
                        </a:rPr>
                        <a:t> </a:t>
                      </a:r>
                    </a:p>
                  </a:txBody>
                  <a:tcPr marL="5428" marR="5428" marT="54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r>
                        <a:rPr lang="en-GB" sz="900" b="0" i="0" u="none" strike="noStrike">
                          <a:solidFill>
                            <a:srgbClr val="000000"/>
                          </a:solidFill>
                          <a:effectLst/>
                          <a:latin typeface="Calibri" panose="020F0502020204030204" pitchFamily="34" charset="0"/>
                        </a:rPr>
                        <a:t> </a:t>
                      </a:r>
                    </a:p>
                  </a:txBody>
                  <a:tcPr marL="5428" marR="5428" marT="54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7680747"/>
                  </a:ext>
                </a:extLst>
              </a:tr>
              <a:tr h="861871">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lnSpc>
                          <a:spcPct val="200000"/>
                        </a:lnSpc>
                      </a:pPr>
                      <a:r>
                        <a:rPr lang="en-GB" sz="900" b="0" i="0" u="none" strike="noStrike" dirty="0">
                          <a:solidFill>
                            <a:srgbClr val="000000"/>
                          </a:solidFill>
                          <a:effectLst/>
                          <a:latin typeface="Calibri" panose="020F0502020204030204" pitchFamily="34" charset="0"/>
                        </a:rPr>
                        <a:t>SFE Pilot</a:t>
                      </a:r>
                    </a:p>
                    <a:p>
                      <a:pPr algn="l" fontAlgn="b">
                        <a:lnSpc>
                          <a:spcPct val="200000"/>
                        </a:lnSpc>
                      </a:pPr>
                      <a:r>
                        <a:rPr lang="en-GB" sz="900" b="0" i="0" u="none" strike="noStrike" dirty="0">
                          <a:solidFill>
                            <a:srgbClr val="000000"/>
                          </a:solidFill>
                          <a:effectLst/>
                          <a:latin typeface="Calibri" panose="020F0502020204030204" pitchFamily="34" charset="0"/>
                        </a:rPr>
                        <a:t>OM Pilot</a:t>
                      </a:r>
                    </a:p>
                    <a:p>
                      <a:pPr algn="l" fontAlgn="b">
                        <a:lnSpc>
                          <a:spcPct val="200000"/>
                        </a:lnSpc>
                      </a:pPr>
                      <a:r>
                        <a:rPr lang="en-GB" sz="900" b="0" i="0" u="none" strike="noStrike" dirty="0">
                          <a:solidFill>
                            <a:srgbClr val="000000"/>
                          </a:solidFill>
                          <a:effectLst/>
                          <a:latin typeface="Calibri" panose="020F0502020204030204" pitchFamily="34" charset="0"/>
                        </a:rPr>
                        <a:t>CM</a:t>
                      </a:r>
                      <a:r>
                        <a:rPr lang="en-GB" sz="900" b="0" i="0" u="none" strike="noStrike" baseline="0" dirty="0">
                          <a:solidFill>
                            <a:srgbClr val="000000"/>
                          </a:solidFill>
                          <a:effectLst/>
                          <a:latin typeface="Calibri" panose="020F0502020204030204" pitchFamily="34" charset="0"/>
                        </a:rPr>
                        <a:t> Pilot</a:t>
                      </a:r>
                      <a:endParaRPr lang="en-GB" sz="900" b="0" i="0" u="none" strike="noStrike" dirty="0">
                        <a:solidFill>
                          <a:srgbClr val="000000"/>
                        </a:solidFill>
                        <a:effectLst/>
                        <a:latin typeface="Calibri" panose="020F0502020204030204" pitchFamily="34" charset="0"/>
                      </a:endParaRPr>
                    </a:p>
                  </a:txBody>
                  <a:tcPr marL="5428" marR="5428" marT="5428"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r>
                        <a:rPr lang="en-GB" sz="900" b="0" i="0" u="none" strike="noStrike" dirty="0">
                          <a:solidFill>
                            <a:srgbClr val="000000"/>
                          </a:solidFill>
                          <a:effectLst/>
                          <a:latin typeface="Calibri" panose="020F0502020204030204" pitchFamily="34" charset="0"/>
                        </a:rPr>
                        <a:t> </a:t>
                      </a:r>
                    </a:p>
                  </a:txBody>
                  <a:tcPr marL="5428" marR="5428" marT="5428"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r>
                        <a:rPr lang="en-GB" sz="900" b="0" i="0" u="none" strike="noStrike">
                          <a:solidFill>
                            <a:srgbClr val="000000"/>
                          </a:solidFill>
                          <a:effectLst/>
                          <a:latin typeface="Calibri" panose="020F0502020204030204" pitchFamily="34" charset="0"/>
                        </a:rPr>
                        <a:t> </a:t>
                      </a:r>
                    </a:p>
                  </a:txBody>
                  <a:tcPr marL="5428" marR="5428" marT="54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r>
                        <a:rPr lang="en-GB" sz="900" b="0" i="0" u="none" strike="noStrike">
                          <a:solidFill>
                            <a:srgbClr val="000000"/>
                          </a:solidFill>
                          <a:effectLst/>
                          <a:latin typeface="Calibri" panose="020F0502020204030204" pitchFamily="34" charset="0"/>
                        </a:rPr>
                        <a:t> </a:t>
                      </a:r>
                    </a:p>
                  </a:txBody>
                  <a:tcPr marL="5428" marR="5428" marT="54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r>
                        <a:rPr lang="en-GB" sz="900" b="0" i="0" u="none" strike="noStrike">
                          <a:solidFill>
                            <a:srgbClr val="000000"/>
                          </a:solidFill>
                          <a:effectLst/>
                          <a:latin typeface="Calibri" panose="020F0502020204030204" pitchFamily="34" charset="0"/>
                        </a:rPr>
                        <a:t> </a:t>
                      </a:r>
                    </a:p>
                  </a:txBody>
                  <a:tcPr marL="5428" marR="5428" marT="54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r>
                        <a:rPr lang="en-GB" sz="900" b="0" i="0" u="none" strike="noStrike" dirty="0">
                          <a:solidFill>
                            <a:srgbClr val="000000"/>
                          </a:solidFill>
                          <a:effectLst/>
                          <a:latin typeface="Calibri" panose="020F0502020204030204" pitchFamily="34" charset="0"/>
                        </a:rPr>
                        <a:t> </a:t>
                      </a:r>
                    </a:p>
                  </a:txBody>
                  <a:tcPr marL="5428" marR="5428" marT="54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r>
                        <a:rPr lang="en-GB" sz="900" b="0" i="0" u="none" strike="noStrike" dirty="0">
                          <a:solidFill>
                            <a:srgbClr val="000000"/>
                          </a:solidFill>
                          <a:effectLst/>
                          <a:latin typeface="Calibri" panose="020F0502020204030204" pitchFamily="34" charset="0"/>
                        </a:rPr>
                        <a:t> </a:t>
                      </a:r>
                    </a:p>
                  </a:txBody>
                  <a:tcPr marL="5428" marR="5428" marT="54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r>
                        <a:rPr lang="en-GB" sz="900" b="0" i="0" u="none" strike="noStrike" dirty="0">
                          <a:solidFill>
                            <a:srgbClr val="000000"/>
                          </a:solidFill>
                          <a:effectLst/>
                          <a:latin typeface="Calibri" panose="020F0502020204030204" pitchFamily="34" charset="0"/>
                        </a:rPr>
                        <a:t> </a:t>
                      </a:r>
                    </a:p>
                  </a:txBody>
                  <a:tcPr marL="5428" marR="5428" marT="54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r>
                        <a:rPr lang="en-GB" sz="900" b="0" i="0" u="none" strike="noStrike">
                          <a:solidFill>
                            <a:srgbClr val="000000"/>
                          </a:solidFill>
                          <a:effectLst/>
                          <a:latin typeface="Calibri" panose="020F0502020204030204" pitchFamily="34" charset="0"/>
                        </a:rPr>
                        <a:t> </a:t>
                      </a:r>
                    </a:p>
                  </a:txBody>
                  <a:tcPr marL="5428" marR="5428" marT="54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r>
                        <a:rPr lang="en-GB" sz="900" b="0" i="0" u="none" strike="noStrike" dirty="0">
                          <a:solidFill>
                            <a:srgbClr val="000000"/>
                          </a:solidFill>
                          <a:effectLst/>
                          <a:latin typeface="Calibri" panose="020F0502020204030204" pitchFamily="34" charset="0"/>
                        </a:rPr>
                        <a:t> </a:t>
                      </a:r>
                    </a:p>
                  </a:txBody>
                  <a:tcPr marL="5428" marR="5428" marT="54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endParaRPr lang="en-GB" sz="900" b="0" i="0" u="none" strike="noStrike" dirty="0">
                        <a:solidFill>
                          <a:srgbClr val="000000"/>
                        </a:solidFill>
                        <a:effectLst/>
                        <a:latin typeface="Calibri" panose="020F0502020204030204" pitchFamily="34" charset="0"/>
                      </a:endParaRPr>
                    </a:p>
                  </a:txBody>
                  <a:tcPr marL="5428" marR="5428" marT="54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endParaRPr lang="en-GB" sz="900" b="0" i="0" u="none" strike="noStrike" dirty="0">
                        <a:solidFill>
                          <a:srgbClr val="000000"/>
                        </a:solidFill>
                        <a:effectLst/>
                        <a:latin typeface="Calibri" panose="020F0502020204030204" pitchFamily="34" charset="0"/>
                      </a:endParaRPr>
                    </a:p>
                  </a:txBody>
                  <a:tcPr marL="5428" marR="5428" marT="54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r>
                        <a:rPr lang="en-GB" sz="900" b="0" i="0" u="none" strike="noStrike" dirty="0">
                          <a:solidFill>
                            <a:srgbClr val="000000"/>
                          </a:solidFill>
                          <a:effectLst/>
                          <a:latin typeface="Calibri" panose="020F0502020204030204" pitchFamily="34" charset="0"/>
                        </a:rPr>
                        <a:t> </a:t>
                      </a:r>
                    </a:p>
                  </a:txBody>
                  <a:tcPr marL="5428" marR="5428" marT="54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r>
                        <a:rPr lang="en-GB" sz="900" b="0" i="0" u="none" strike="noStrike" dirty="0">
                          <a:solidFill>
                            <a:srgbClr val="000000"/>
                          </a:solidFill>
                          <a:effectLst/>
                          <a:latin typeface="Calibri" panose="020F0502020204030204" pitchFamily="34" charset="0"/>
                        </a:rPr>
                        <a:t> </a:t>
                      </a:r>
                    </a:p>
                  </a:txBody>
                  <a:tcPr marL="5428" marR="5428" marT="54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r>
                        <a:rPr lang="en-GB" sz="900" b="0" i="0" u="none" strike="noStrike" dirty="0">
                          <a:solidFill>
                            <a:srgbClr val="000000"/>
                          </a:solidFill>
                          <a:effectLst/>
                          <a:latin typeface="Calibri" panose="020F0502020204030204" pitchFamily="34" charset="0"/>
                        </a:rPr>
                        <a:t> </a:t>
                      </a:r>
                    </a:p>
                  </a:txBody>
                  <a:tcPr marL="5428" marR="5428" marT="54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r>
                        <a:rPr lang="en-GB" sz="900" b="0" i="0" u="none" strike="noStrike">
                          <a:solidFill>
                            <a:srgbClr val="000000"/>
                          </a:solidFill>
                          <a:effectLst/>
                          <a:latin typeface="Calibri" panose="020F0502020204030204" pitchFamily="34" charset="0"/>
                        </a:rPr>
                        <a:t> </a:t>
                      </a:r>
                    </a:p>
                  </a:txBody>
                  <a:tcPr marL="5428" marR="5428" marT="54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r>
                        <a:rPr lang="en-GB" sz="900" b="0" i="0" u="none" strike="noStrike">
                          <a:solidFill>
                            <a:srgbClr val="000000"/>
                          </a:solidFill>
                          <a:effectLst/>
                          <a:latin typeface="Calibri" panose="020F0502020204030204" pitchFamily="34" charset="0"/>
                        </a:rPr>
                        <a:t> </a:t>
                      </a:r>
                    </a:p>
                  </a:txBody>
                  <a:tcPr marL="5428" marR="5428" marT="54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r>
                        <a:rPr lang="en-GB" sz="900" b="0" i="0" u="none" strike="noStrike" dirty="0">
                          <a:solidFill>
                            <a:srgbClr val="000000"/>
                          </a:solidFill>
                          <a:effectLst/>
                          <a:latin typeface="Calibri" panose="020F0502020204030204" pitchFamily="34" charset="0"/>
                        </a:rPr>
                        <a:t> </a:t>
                      </a:r>
                    </a:p>
                  </a:txBody>
                  <a:tcPr marL="5428" marR="5428" marT="54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r>
                        <a:rPr lang="en-GB" sz="900" b="0" i="0" u="none" strike="noStrike" dirty="0">
                          <a:solidFill>
                            <a:srgbClr val="000000"/>
                          </a:solidFill>
                          <a:effectLst/>
                          <a:latin typeface="Calibri" panose="020F0502020204030204" pitchFamily="34" charset="0"/>
                        </a:rPr>
                        <a:t> </a:t>
                      </a:r>
                    </a:p>
                  </a:txBody>
                  <a:tcPr marL="5428" marR="5428" marT="54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r>
                        <a:rPr lang="en-GB" sz="900" b="0" i="0" u="none" strike="noStrike">
                          <a:solidFill>
                            <a:srgbClr val="000000"/>
                          </a:solidFill>
                          <a:effectLst/>
                          <a:latin typeface="Calibri" panose="020F0502020204030204" pitchFamily="34" charset="0"/>
                        </a:rPr>
                        <a:t> </a:t>
                      </a:r>
                    </a:p>
                  </a:txBody>
                  <a:tcPr marL="5428" marR="5428" marT="54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r>
                        <a:rPr lang="en-GB" sz="900" b="0" i="0" u="none" strike="noStrike" dirty="0">
                          <a:solidFill>
                            <a:srgbClr val="000000"/>
                          </a:solidFill>
                          <a:effectLst/>
                          <a:latin typeface="Calibri" panose="020F0502020204030204" pitchFamily="34" charset="0"/>
                        </a:rPr>
                        <a:t> </a:t>
                      </a:r>
                    </a:p>
                  </a:txBody>
                  <a:tcPr marL="5428" marR="5428" marT="54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26866952"/>
                  </a:ext>
                </a:extLst>
              </a:tr>
              <a:tr h="694553">
                <a:tc gridSpan="2">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r>
                        <a:rPr lang="en-GB" sz="900" b="0" i="0" u="none" strike="noStrike" dirty="0">
                          <a:solidFill>
                            <a:srgbClr val="000000"/>
                          </a:solidFill>
                          <a:effectLst/>
                          <a:latin typeface="Calibri" panose="020F0502020204030204" pitchFamily="34" charset="0"/>
                        </a:rPr>
                        <a:t>Wave 1</a:t>
                      </a:r>
                    </a:p>
                  </a:txBody>
                  <a:tcPr marL="5428" marR="5428" marT="5428" marB="0" anchor="ctr">
                    <a:lnL w="3175" cap="flat" cmpd="sng" algn="ctr">
                      <a:solidFill>
                        <a:sysClr val="windowText" lastClr="000000"/>
                      </a:solidFill>
                      <a:prstDash val="solid"/>
                      <a:round/>
                      <a:headEnd type="none" w="med" len="med"/>
                      <a:tailEnd type="none" w="med" len="med"/>
                    </a:lnL>
                    <a:lnR w="3175" cap="flat" cmpd="sng" algn="ctr">
                      <a:solidFill>
                        <a:sysClr val="windowText" lastClr="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fontAlgn="b"/>
                      <a:endParaRPr lang="en-GB" sz="900" b="0" i="0" u="none" strike="noStrike" dirty="0">
                        <a:solidFill>
                          <a:srgbClr val="000000"/>
                        </a:solidFill>
                        <a:effectLst/>
                        <a:latin typeface="Calibri" panose="020F0502020204030204" pitchFamily="34" charset="0"/>
                      </a:endParaRPr>
                    </a:p>
                  </a:txBody>
                  <a:tcPr marL="5428" marR="5428" marT="5428"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endParaRPr lang="en-GB" sz="900" b="0" i="0" u="none" strike="noStrike" dirty="0">
                        <a:solidFill>
                          <a:srgbClr val="000000"/>
                        </a:solidFill>
                        <a:effectLst/>
                        <a:latin typeface="Calibri" panose="020F0502020204030204" pitchFamily="34" charset="0"/>
                      </a:endParaRPr>
                    </a:p>
                  </a:txBody>
                  <a:tcPr marL="5428" marR="5428" marT="5428" marB="0" anchor="b">
                    <a:lnL w="3175" cap="flat" cmpd="sng" algn="ctr">
                      <a:solidFill>
                        <a:sysClr val="windowText" lastClr="000000"/>
                      </a:solidFill>
                      <a:prstDash val="solid"/>
                      <a:round/>
                      <a:headEnd type="none" w="med" len="med"/>
                      <a:tailEnd type="none" w="med" len="med"/>
                    </a:lnL>
                    <a:lnR w="3175" cap="flat" cmpd="sng" algn="ctr">
                      <a:solidFill>
                        <a:sysClr val="windowText" lastClr="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endParaRPr lang="en-GB" sz="900" b="0" i="0" u="none" strike="noStrike">
                        <a:solidFill>
                          <a:srgbClr val="000000"/>
                        </a:solidFill>
                        <a:effectLst/>
                        <a:latin typeface="Calibri" panose="020F0502020204030204" pitchFamily="34" charset="0"/>
                      </a:endParaRPr>
                    </a:p>
                  </a:txBody>
                  <a:tcPr marL="5428" marR="5428" marT="5428" marB="0" anchor="b">
                    <a:lnL w="3175" cap="flat" cmpd="sng" algn="ctr">
                      <a:solidFill>
                        <a:sysClr val="windowText" lastClr="000000"/>
                      </a:solidFill>
                      <a:prstDash val="solid"/>
                      <a:round/>
                      <a:headEnd type="none" w="med" len="med"/>
                      <a:tailEnd type="none" w="med" len="med"/>
                    </a:lnL>
                    <a:lnR w="3175" cap="flat" cmpd="sng" algn="ctr">
                      <a:solidFill>
                        <a:sysClr val="windowText" lastClr="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endParaRPr lang="en-GB" sz="900" b="0" i="0" u="none" strike="noStrike">
                        <a:solidFill>
                          <a:srgbClr val="000000"/>
                        </a:solidFill>
                        <a:effectLst/>
                        <a:latin typeface="Calibri" panose="020F0502020204030204" pitchFamily="34" charset="0"/>
                      </a:endParaRPr>
                    </a:p>
                  </a:txBody>
                  <a:tcPr marL="5428" marR="5428" marT="5428" marB="0" anchor="b">
                    <a:lnL w="3175" cap="flat" cmpd="sng" algn="ctr">
                      <a:solidFill>
                        <a:sysClr val="windowText" lastClr="000000"/>
                      </a:solidFill>
                      <a:prstDash val="solid"/>
                      <a:round/>
                      <a:headEnd type="none" w="med" len="med"/>
                      <a:tailEnd type="none" w="med" len="med"/>
                    </a:lnL>
                    <a:lnR w="3175" cap="flat" cmpd="sng" algn="ctr">
                      <a:solidFill>
                        <a:sysClr val="windowText" lastClr="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endParaRPr lang="en-GB" sz="900" b="0" i="0" u="none" strike="noStrike">
                        <a:solidFill>
                          <a:srgbClr val="000000"/>
                        </a:solidFill>
                        <a:effectLst/>
                        <a:latin typeface="Calibri" panose="020F0502020204030204" pitchFamily="34" charset="0"/>
                      </a:endParaRPr>
                    </a:p>
                  </a:txBody>
                  <a:tcPr marL="5428" marR="5428" marT="5428" marB="0" anchor="b">
                    <a:lnL w="3175" cap="flat" cmpd="sng" algn="ctr">
                      <a:solidFill>
                        <a:sysClr val="windowText" lastClr="000000"/>
                      </a:solidFill>
                      <a:prstDash val="solid"/>
                      <a:round/>
                      <a:headEnd type="none" w="med" len="med"/>
                      <a:tailEnd type="none" w="med" len="med"/>
                    </a:lnL>
                    <a:lnR w="3175" cap="flat" cmpd="sng" algn="ctr">
                      <a:solidFill>
                        <a:sysClr val="windowText" lastClr="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endParaRPr lang="en-GB" sz="900" b="0" i="0" u="none" strike="noStrike">
                        <a:solidFill>
                          <a:srgbClr val="000000"/>
                        </a:solidFill>
                        <a:effectLst/>
                        <a:latin typeface="Calibri" panose="020F0502020204030204" pitchFamily="34" charset="0"/>
                      </a:endParaRPr>
                    </a:p>
                  </a:txBody>
                  <a:tcPr marL="5428" marR="5428" marT="5428" marB="0" anchor="b">
                    <a:lnL w="3175" cap="flat" cmpd="sng" algn="ctr">
                      <a:solidFill>
                        <a:sysClr val="windowText" lastClr="000000"/>
                      </a:solidFill>
                      <a:prstDash val="solid"/>
                      <a:round/>
                      <a:headEnd type="none" w="med" len="med"/>
                      <a:tailEnd type="none" w="med" len="med"/>
                    </a:lnL>
                    <a:lnR w="3175" cap="flat" cmpd="sng" algn="ctr">
                      <a:solidFill>
                        <a:sysClr val="windowText" lastClr="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endParaRPr lang="en-GB" sz="900" b="0" i="0" u="none" strike="noStrike">
                        <a:solidFill>
                          <a:srgbClr val="000000"/>
                        </a:solidFill>
                        <a:effectLst/>
                        <a:latin typeface="Calibri" panose="020F0502020204030204" pitchFamily="34" charset="0"/>
                      </a:endParaRPr>
                    </a:p>
                  </a:txBody>
                  <a:tcPr marL="5428" marR="5428" marT="5428" marB="0" anchor="b">
                    <a:lnL w="3175" cap="flat" cmpd="sng" algn="ctr">
                      <a:solidFill>
                        <a:sysClr val="windowText" lastClr="000000"/>
                      </a:solidFill>
                      <a:prstDash val="solid"/>
                      <a:round/>
                      <a:headEnd type="none" w="med" len="med"/>
                      <a:tailEnd type="none" w="med" len="med"/>
                    </a:lnL>
                    <a:lnR w="3175" cap="flat" cmpd="sng" algn="ctr">
                      <a:solidFill>
                        <a:sysClr val="windowText" lastClr="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endParaRPr lang="en-GB" sz="900" b="0" i="0" u="none" strike="noStrike">
                        <a:solidFill>
                          <a:srgbClr val="000000"/>
                        </a:solidFill>
                        <a:effectLst/>
                        <a:latin typeface="Calibri" panose="020F0502020204030204" pitchFamily="34" charset="0"/>
                      </a:endParaRPr>
                    </a:p>
                  </a:txBody>
                  <a:tcPr marL="5428" marR="5428" marT="5428" marB="0" anchor="b">
                    <a:lnL w="3175" cap="flat" cmpd="sng" algn="ctr">
                      <a:solidFill>
                        <a:sysClr val="windowText" lastClr="000000"/>
                      </a:solidFill>
                      <a:prstDash val="solid"/>
                      <a:round/>
                      <a:headEnd type="none" w="med" len="med"/>
                      <a:tailEnd type="none" w="med" len="med"/>
                    </a:lnL>
                    <a:lnR w="3175" cap="flat" cmpd="sng" algn="ctr">
                      <a:solidFill>
                        <a:sysClr val="windowText" lastClr="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endParaRPr lang="en-GB" sz="900" b="0" i="0" u="none" strike="noStrike">
                        <a:solidFill>
                          <a:srgbClr val="000000"/>
                        </a:solidFill>
                        <a:effectLst/>
                        <a:latin typeface="Calibri" panose="020F0502020204030204" pitchFamily="34" charset="0"/>
                      </a:endParaRPr>
                    </a:p>
                  </a:txBody>
                  <a:tcPr marL="5428" marR="5428" marT="5428" marB="0" anchor="b">
                    <a:lnL w="3175" cap="flat" cmpd="sng" algn="ctr">
                      <a:solidFill>
                        <a:sysClr val="windowText" lastClr="000000"/>
                      </a:solidFill>
                      <a:prstDash val="solid"/>
                      <a:round/>
                      <a:headEnd type="none" w="med" len="med"/>
                      <a:tailEnd type="none" w="med" len="med"/>
                    </a:lnL>
                    <a:lnR w="3175" cap="flat" cmpd="sng" algn="ctr">
                      <a:solidFill>
                        <a:sysClr val="windowText" lastClr="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endParaRPr lang="en-GB" sz="900" b="0" i="0" u="none" strike="noStrike" dirty="0">
                        <a:solidFill>
                          <a:srgbClr val="000000"/>
                        </a:solidFill>
                        <a:effectLst/>
                        <a:latin typeface="Calibri" panose="020F0502020204030204" pitchFamily="34" charset="0"/>
                      </a:endParaRPr>
                    </a:p>
                  </a:txBody>
                  <a:tcPr marL="5428" marR="5428" marT="5428" marB="0" anchor="b">
                    <a:lnL w="3175" cap="flat" cmpd="sng" algn="ctr">
                      <a:solidFill>
                        <a:sysClr val="windowText" lastClr="000000"/>
                      </a:solidFill>
                      <a:prstDash val="solid"/>
                      <a:round/>
                      <a:headEnd type="none" w="med" len="med"/>
                      <a:tailEnd type="none" w="med" len="med"/>
                    </a:lnL>
                    <a:lnR w="3175" cap="flat" cmpd="sng" algn="ctr">
                      <a:solidFill>
                        <a:sysClr val="windowText" lastClr="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endParaRPr lang="en-GB" sz="900" b="0" i="0" u="none" strike="noStrike" dirty="0">
                        <a:solidFill>
                          <a:srgbClr val="000000"/>
                        </a:solidFill>
                        <a:effectLst/>
                        <a:latin typeface="Calibri" panose="020F0502020204030204" pitchFamily="34" charset="0"/>
                      </a:endParaRPr>
                    </a:p>
                  </a:txBody>
                  <a:tcPr marL="5428" marR="5428" marT="5428" marB="0" anchor="b">
                    <a:lnL w="3175" cap="flat" cmpd="sng" algn="ctr">
                      <a:solidFill>
                        <a:sysClr val="windowText" lastClr="000000"/>
                      </a:solidFill>
                      <a:prstDash val="solid"/>
                      <a:round/>
                      <a:headEnd type="none" w="med" len="med"/>
                      <a:tailEnd type="none" w="med" len="med"/>
                    </a:lnL>
                    <a:lnR w="3175" cap="flat" cmpd="sng" algn="ctr">
                      <a:solidFill>
                        <a:sysClr val="windowText" lastClr="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endParaRPr lang="en-GB" sz="900" b="0" i="0" u="none" strike="noStrike">
                        <a:solidFill>
                          <a:srgbClr val="000000"/>
                        </a:solidFill>
                        <a:effectLst/>
                        <a:latin typeface="Calibri" panose="020F0502020204030204" pitchFamily="34" charset="0"/>
                      </a:endParaRPr>
                    </a:p>
                  </a:txBody>
                  <a:tcPr marL="5428" marR="5428" marT="5428" marB="0" anchor="b">
                    <a:lnL w="3175" cap="flat" cmpd="sng" algn="ctr">
                      <a:solidFill>
                        <a:sysClr val="windowText" lastClr="000000"/>
                      </a:solidFill>
                      <a:prstDash val="solid"/>
                      <a:round/>
                      <a:headEnd type="none" w="med" len="med"/>
                      <a:tailEnd type="none" w="med" len="med"/>
                    </a:lnL>
                    <a:lnR w="3175" cap="flat" cmpd="sng" algn="ctr">
                      <a:solidFill>
                        <a:sysClr val="windowText" lastClr="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endParaRPr lang="en-GB" sz="900" b="0" i="0" u="none" strike="noStrike">
                        <a:solidFill>
                          <a:srgbClr val="000000"/>
                        </a:solidFill>
                        <a:effectLst/>
                        <a:latin typeface="Calibri" panose="020F0502020204030204" pitchFamily="34" charset="0"/>
                      </a:endParaRPr>
                    </a:p>
                  </a:txBody>
                  <a:tcPr marL="5428" marR="5428" marT="5428" marB="0" anchor="b">
                    <a:lnL w="3175" cap="flat" cmpd="sng" algn="ctr">
                      <a:solidFill>
                        <a:sysClr val="windowText" lastClr="000000"/>
                      </a:solidFill>
                      <a:prstDash val="solid"/>
                      <a:round/>
                      <a:headEnd type="none" w="med" len="med"/>
                      <a:tailEnd type="none" w="med" len="med"/>
                    </a:lnL>
                    <a:lnR w="3175" cap="flat" cmpd="sng" algn="ctr">
                      <a:solidFill>
                        <a:sysClr val="windowText" lastClr="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endParaRPr lang="en-GB" sz="900" b="0" i="0" u="none" strike="noStrike">
                        <a:solidFill>
                          <a:srgbClr val="000000"/>
                        </a:solidFill>
                        <a:effectLst/>
                        <a:latin typeface="Calibri" panose="020F0502020204030204" pitchFamily="34" charset="0"/>
                      </a:endParaRPr>
                    </a:p>
                  </a:txBody>
                  <a:tcPr marL="5428" marR="5428" marT="5428" marB="0" anchor="b">
                    <a:lnL w="3175" cap="flat" cmpd="sng" algn="ctr">
                      <a:solidFill>
                        <a:sysClr val="windowText" lastClr="000000"/>
                      </a:solidFill>
                      <a:prstDash val="solid"/>
                      <a:round/>
                      <a:headEnd type="none" w="med" len="med"/>
                      <a:tailEnd type="none" w="med" len="med"/>
                    </a:lnL>
                    <a:lnR w="3175" cap="flat" cmpd="sng" algn="ctr">
                      <a:solidFill>
                        <a:sysClr val="windowText" lastClr="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endParaRPr lang="en-GB" sz="900" b="0" i="0" u="none" strike="noStrike">
                        <a:solidFill>
                          <a:srgbClr val="000000"/>
                        </a:solidFill>
                        <a:effectLst/>
                        <a:latin typeface="Calibri" panose="020F0502020204030204" pitchFamily="34" charset="0"/>
                      </a:endParaRPr>
                    </a:p>
                  </a:txBody>
                  <a:tcPr marL="5428" marR="5428" marT="5428" marB="0" anchor="b">
                    <a:lnL w="3175" cap="flat" cmpd="sng" algn="ctr">
                      <a:solidFill>
                        <a:sysClr val="windowText" lastClr="000000"/>
                      </a:solidFill>
                      <a:prstDash val="solid"/>
                      <a:round/>
                      <a:headEnd type="none" w="med" len="med"/>
                      <a:tailEnd type="none" w="med" len="med"/>
                    </a:lnL>
                    <a:lnR w="3175" cap="flat" cmpd="sng" algn="ctr">
                      <a:solidFill>
                        <a:sysClr val="windowText" lastClr="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endParaRPr lang="en-GB" sz="900" b="0" i="0" u="none" strike="noStrike" dirty="0">
                        <a:solidFill>
                          <a:srgbClr val="000000"/>
                        </a:solidFill>
                        <a:effectLst/>
                        <a:latin typeface="Calibri" panose="020F0502020204030204" pitchFamily="34" charset="0"/>
                      </a:endParaRPr>
                    </a:p>
                  </a:txBody>
                  <a:tcPr marL="5428" marR="5428" marT="5428" marB="0" anchor="b">
                    <a:lnL w="3175" cap="flat" cmpd="sng" algn="ctr">
                      <a:solidFill>
                        <a:sysClr val="windowText" lastClr="000000"/>
                      </a:solidFill>
                      <a:prstDash val="solid"/>
                      <a:round/>
                      <a:headEnd type="none" w="med" len="med"/>
                      <a:tailEnd type="none" w="med" len="med"/>
                    </a:lnL>
                    <a:lnR w="3175" cap="flat" cmpd="sng" algn="ctr">
                      <a:solidFill>
                        <a:sysClr val="windowText" lastClr="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endParaRPr lang="en-GB" sz="900" b="0" i="0" u="none" strike="noStrike">
                        <a:solidFill>
                          <a:srgbClr val="000000"/>
                        </a:solidFill>
                        <a:effectLst/>
                        <a:latin typeface="Calibri" panose="020F0502020204030204" pitchFamily="34" charset="0"/>
                      </a:endParaRPr>
                    </a:p>
                  </a:txBody>
                  <a:tcPr marL="5428" marR="5428" marT="5428" marB="0" anchor="b">
                    <a:lnL w="3175" cap="flat" cmpd="sng" algn="ctr">
                      <a:solidFill>
                        <a:sysClr val="windowText" lastClr="000000"/>
                      </a:solidFill>
                      <a:prstDash val="solid"/>
                      <a:round/>
                      <a:headEnd type="none" w="med" len="med"/>
                      <a:tailEnd type="none" w="med" len="med"/>
                    </a:lnL>
                    <a:lnR w="3175" cap="flat" cmpd="sng" algn="ctr">
                      <a:solidFill>
                        <a:sysClr val="windowText" lastClr="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endParaRPr lang="en-GB" sz="900" b="0" i="0" u="none" strike="noStrike">
                        <a:solidFill>
                          <a:srgbClr val="000000"/>
                        </a:solidFill>
                        <a:effectLst/>
                        <a:latin typeface="Calibri" panose="020F0502020204030204" pitchFamily="34" charset="0"/>
                      </a:endParaRPr>
                    </a:p>
                  </a:txBody>
                  <a:tcPr marL="5428" marR="5428" marT="5428" marB="0" anchor="b">
                    <a:lnL w="3175" cap="flat" cmpd="sng" algn="ctr">
                      <a:solidFill>
                        <a:sysClr val="windowText" lastClr="000000"/>
                      </a:solidFill>
                      <a:prstDash val="solid"/>
                      <a:round/>
                      <a:headEnd type="none" w="med" len="med"/>
                      <a:tailEnd type="none" w="med" len="med"/>
                    </a:lnL>
                    <a:lnR w="3175" cap="flat" cmpd="sng" algn="ctr">
                      <a:solidFill>
                        <a:sysClr val="windowText" lastClr="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endParaRPr lang="en-GB" sz="900" b="0" i="0" u="none" strike="noStrike">
                        <a:solidFill>
                          <a:srgbClr val="000000"/>
                        </a:solidFill>
                        <a:effectLst/>
                        <a:latin typeface="Calibri" panose="020F0502020204030204" pitchFamily="34" charset="0"/>
                      </a:endParaRPr>
                    </a:p>
                  </a:txBody>
                  <a:tcPr marL="5428" marR="5428" marT="5428" marB="0" anchor="b">
                    <a:lnL w="3175" cap="flat" cmpd="sng" algn="ctr">
                      <a:solidFill>
                        <a:sysClr val="windowText" lastClr="000000"/>
                      </a:solidFill>
                      <a:prstDash val="solid"/>
                      <a:round/>
                      <a:headEnd type="none" w="med" len="med"/>
                      <a:tailEnd type="none" w="med" len="med"/>
                    </a:lnL>
                    <a:lnR w="3175" cap="flat" cmpd="sng" algn="ctr">
                      <a:solidFill>
                        <a:sysClr val="windowText" lastClr="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endParaRPr lang="en-GB" sz="900" b="0" i="0" u="none" strike="noStrike" dirty="0">
                        <a:solidFill>
                          <a:srgbClr val="000000"/>
                        </a:solidFill>
                        <a:effectLst/>
                        <a:latin typeface="Calibri" panose="020F0502020204030204" pitchFamily="34" charset="0"/>
                      </a:endParaRPr>
                    </a:p>
                  </a:txBody>
                  <a:tcPr marL="5428" marR="5428" marT="5428" marB="0" anchor="b">
                    <a:lnL w="3175" cap="flat" cmpd="sng" algn="ctr">
                      <a:solidFill>
                        <a:sysClr val="windowText" lastClr="000000"/>
                      </a:solidFill>
                      <a:prstDash val="solid"/>
                      <a:round/>
                      <a:headEnd type="none" w="med" len="med"/>
                      <a:tailEnd type="none" w="med" len="med"/>
                    </a:lnL>
                    <a:lnR w="3175" cap="flat" cmpd="sng" algn="ctr">
                      <a:solidFill>
                        <a:sysClr val="windowText" lastClr="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41084841"/>
                  </a:ext>
                </a:extLst>
              </a:tr>
              <a:tr h="516088">
                <a:tc gridSpan="2">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r>
                        <a:rPr lang="en-GB" sz="900" b="0" i="0" u="none" strike="noStrike" dirty="0">
                          <a:solidFill>
                            <a:srgbClr val="000000"/>
                          </a:solidFill>
                          <a:effectLst/>
                          <a:latin typeface="Calibri" panose="020F0502020204030204" pitchFamily="34" charset="0"/>
                        </a:rPr>
                        <a:t>Wave  1A (SIR)</a:t>
                      </a:r>
                    </a:p>
                  </a:txBody>
                  <a:tcPr marL="5428" marR="5428" marT="54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fontAlgn="b"/>
                      <a:endParaRPr lang="en-GB" sz="900" b="0" i="0" u="none" strike="noStrike" dirty="0">
                        <a:solidFill>
                          <a:srgbClr val="000000"/>
                        </a:solidFill>
                        <a:effectLst/>
                        <a:latin typeface="Calibri" panose="020F0502020204030204" pitchFamily="34" charset="0"/>
                      </a:endParaRPr>
                    </a:p>
                  </a:txBody>
                  <a:tcPr marL="5428" marR="5428" marT="5428"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endParaRPr lang="en-GB" sz="900" b="0" i="0" u="none" strike="noStrike" dirty="0">
                        <a:solidFill>
                          <a:srgbClr val="000000"/>
                        </a:solidFill>
                        <a:effectLst/>
                        <a:latin typeface="Calibri" panose="020F0502020204030204" pitchFamily="34" charset="0"/>
                      </a:endParaRPr>
                    </a:p>
                  </a:txBody>
                  <a:tcPr marL="5428" marR="5428" marT="54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endParaRPr lang="en-GB" sz="900" b="0" i="0" u="none" strike="noStrike" dirty="0">
                        <a:solidFill>
                          <a:srgbClr val="000000"/>
                        </a:solidFill>
                        <a:effectLst/>
                        <a:latin typeface="Calibri" panose="020F0502020204030204" pitchFamily="34" charset="0"/>
                      </a:endParaRPr>
                    </a:p>
                  </a:txBody>
                  <a:tcPr marL="5428" marR="5428" marT="54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endParaRPr lang="en-GB" sz="900" b="0" i="0" u="none" strike="noStrike" dirty="0">
                        <a:solidFill>
                          <a:srgbClr val="000000"/>
                        </a:solidFill>
                        <a:effectLst/>
                        <a:latin typeface="Calibri" panose="020F0502020204030204" pitchFamily="34" charset="0"/>
                      </a:endParaRPr>
                    </a:p>
                  </a:txBody>
                  <a:tcPr marL="5428" marR="5428" marT="54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endParaRPr lang="en-GB" sz="900" b="0" i="0" u="none" strike="noStrike" dirty="0">
                        <a:solidFill>
                          <a:srgbClr val="000000"/>
                        </a:solidFill>
                        <a:effectLst/>
                        <a:latin typeface="Calibri" panose="020F0502020204030204" pitchFamily="34" charset="0"/>
                      </a:endParaRPr>
                    </a:p>
                  </a:txBody>
                  <a:tcPr marL="5428" marR="5428" marT="54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endParaRPr lang="en-GB" sz="900" b="0" i="0" u="none" strike="noStrike" dirty="0">
                        <a:solidFill>
                          <a:srgbClr val="000000"/>
                        </a:solidFill>
                        <a:effectLst/>
                        <a:latin typeface="Calibri" panose="020F0502020204030204" pitchFamily="34" charset="0"/>
                      </a:endParaRPr>
                    </a:p>
                  </a:txBody>
                  <a:tcPr marL="5428" marR="5428" marT="54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endParaRPr lang="en-GB" sz="900" b="0" i="0" u="none" strike="noStrike" dirty="0">
                        <a:solidFill>
                          <a:srgbClr val="000000"/>
                        </a:solidFill>
                        <a:effectLst/>
                        <a:latin typeface="Calibri" panose="020F0502020204030204" pitchFamily="34" charset="0"/>
                      </a:endParaRPr>
                    </a:p>
                  </a:txBody>
                  <a:tcPr marL="5428" marR="5428" marT="54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endParaRPr lang="en-GB" sz="900" b="0" i="0" u="none" strike="noStrike">
                        <a:solidFill>
                          <a:srgbClr val="000000"/>
                        </a:solidFill>
                        <a:effectLst/>
                        <a:latin typeface="Calibri" panose="020F0502020204030204" pitchFamily="34" charset="0"/>
                      </a:endParaRPr>
                    </a:p>
                  </a:txBody>
                  <a:tcPr marL="5428" marR="5428" marT="54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endParaRPr lang="en-GB" sz="900" b="0" i="0" u="none" strike="noStrike" dirty="0">
                        <a:solidFill>
                          <a:srgbClr val="000000"/>
                        </a:solidFill>
                        <a:effectLst/>
                        <a:latin typeface="Calibri" panose="020F0502020204030204" pitchFamily="34" charset="0"/>
                      </a:endParaRPr>
                    </a:p>
                  </a:txBody>
                  <a:tcPr marL="5428" marR="5428" marT="54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endParaRPr lang="en-GB" sz="900" b="0" i="0" u="none" strike="noStrike">
                        <a:solidFill>
                          <a:srgbClr val="000000"/>
                        </a:solidFill>
                        <a:effectLst/>
                        <a:latin typeface="Calibri" panose="020F0502020204030204" pitchFamily="34" charset="0"/>
                      </a:endParaRPr>
                    </a:p>
                  </a:txBody>
                  <a:tcPr marL="5428" marR="5428" marT="54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endParaRPr lang="en-GB" sz="900" b="0" i="0" u="none" strike="noStrike">
                        <a:solidFill>
                          <a:srgbClr val="000000"/>
                        </a:solidFill>
                        <a:effectLst/>
                        <a:latin typeface="Calibri" panose="020F0502020204030204" pitchFamily="34" charset="0"/>
                      </a:endParaRPr>
                    </a:p>
                  </a:txBody>
                  <a:tcPr marL="5428" marR="5428" marT="54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endParaRPr lang="en-GB" sz="900" b="0" i="0" u="none" strike="noStrike">
                        <a:solidFill>
                          <a:srgbClr val="000000"/>
                        </a:solidFill>
                        <a:effectLst/>
                        <a:latin typeface="Calibri" panose="020F0502020204030204" pitchFamily="34" charset="0"/>
                      </a:endParaRPr>
                    </a:p>
                  </a:txBody>
                  <a:tcPr marL="5428" marR="5428" marT="54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endParaRPr lang="en-GB" sz="900" b="0" i="0" u="none" strike="noStrike">
                        <a:solidFill>
                          <a:srgbClr val="000000"/>
                        </a:solidFill>
                        <a:effectLst/>
                        <a:latin typeface="Calibri" panose="020F0502020204030204" pitchFamily="34" charset="0"/>
                      </a:endParaRPr>
                    </a:p>
                  </a:txBody>
                  <a:tcPr marL="5428" marR="5428" marT="54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endParaRPr lang="en-GB" sz="900" b="0" i="0" u="none" strike="noStrike">
                        <a:solidFill>
                          <a:srgbClr val="000000"/>
                        </a:solidFill>
                        <a:effectLst/>
                        <a:latin typeface="Calibri" panose="020F0502020204030204" pitchFamily="34" charset="0"/>
                      </a:endParaRPr>
                    </a:p>
                  </a:txBody>
                  <a:tcPr marL="5428" marR="5428" marT="54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endParaRPr lang="en-GB" sz="900" b="0" i="0" u="none" strike="noStrike">
                        <a:solidFill>
                          <a:srgbClr val="000000"/>
                        </a:solidFill>
                        <a:effectLst/>
                        <a:latin typeface="Calibri" panose="020F0502020204030204" pitchFamily="34" charset="0"/>
                      </a:endParaRPr>
                    </a:p>
                  </a:txBody>
                  <a:tcPr marL="5428" marR="5428" marT="54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endParaRPr lang="en-GB" sz="900" b="0" i="0" u="none" strike="noStrike">
                        <a:solidFill>
                          <a:srgbClr val="000000"/>
                        </a:solidFill>
                        <a:effectLst/>
                        <a:latin typeface="Calibri" panose="020F0502020204030204" pitchFamily="34" charset="0"/>
                      </a:endParaRPr>
                    </a:p>
                  </a:txBody>
                  <a:tcPr marL="5428" marR="5428" marT="54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endParaRPr lang="en-GB" sz="900" b="0" i="0" u="none" strike="noStrike">
                        <a:solidFill>
                          <a:srgbClr val="000000"/>
                        </a:solidFill>
                        <a:effectLst/>
                        <a:latin typeface="Calibri" panose="020F0502020204030204" pitchFamily="34" charset="0"/>
                      </a:endParaRPr>
                    </a:p>
                  </a:txBody>
                  <a:tcPr marL="5428" marR="5428" marT="54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endParaRPr lang="en-GB" sz="900" b="0" i="0" u="none" strike="noStrike" dirty="0">
                        <a:solidFill>
                          <a:srgbClr val="000000"/>
                        </a:solidFill>
                        <a:effectLst/>
                        <a:latin typeface="Calibri" panose="020F0502020204030204" pitchFamily="34" charset="0"/>
                      </a:endParaRPr>
                    </a:p>
                  </a:txBody>
                  <a:tcPr marL="5428" marR="5428" marT="54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endParaRPr lang="en-GB" sz="900" b="0" i="0" u="none" strike="noStrike">
                        <a:solidFill>
                          <a:srgbClr val="000000"/>
                        </a:solidFill>
                        <a:effectLst/>
                        <a:latin typeface="Calibri" panose="020F0502020204030204" pitchFamily="34" charset="0"/>
                      </a:endParaRPr>
                    </a:p>
                  </a:txBody>
                  <a:tcPr marL="5428" marR="5428" marT="54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endParaRPr lang="en-GB" sz="900" b="0" i="0" u="none" strike="noStrike" dirty="0">
                        <a:solidFill>
                          <a:srgbClr val="000000"/>
                        </a:solidFill>
                        <a:effectLst/>
                        <a:latin typeface="Calibri" panose="020F0502020204030204" pitchFamily="34" charset="0"/>
                      </a:endParaRPr>
                    </a:p>
                  </a:txBody>
                  <a:tcPr marL="5428" marR="5428" marT="54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27218495"/>
                  </a:ext>
                </a:extLst>
              </a:tr>
              <a:tr h="668409">
                <a:tc gridSpan="2">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r>
                        <a:rPr lang="en-GB" sz="900" b="0" i="0" u="none" strike="noStrike" dirty="0">
                          <a:solidFill>
                            <a:srgbClr val="000000"/>
                          </a:solidFill>
                          <a:effectLst/>
                          <a:latin typeface="Calibri" panose="020F0502020204030204" pitchFamily="34" charset="0"/>
                        </a:rPr>
                        <a:t>Wave </a:t>
                      </a:r>
                      <a:r>
                        <a:rPr lang="en-GB" sz="900" b="0" i="0" u="none" strike="noStrike" baseline="0" dirty="0">
                          <a:solidFill>
                            <a:srgbClr val="000000"/>
                          </a:solidFill>
                          <a:effectLst/>
                          <a:latin typeface="Calibri" panose="020F0502020204030204" pitchFamily="34" charset="0"/>
                        </a:rPr>
                        <a:t> 2</a:t>
                      </a:r>
                      <a:br>
                        <a:rPr lang="en-GB" sz="900" b="0" i="0" u="none" strike="noStrike" baseline="0" dirty="0">
                          <a:solidFill>
                            <a:srgbClr val="000000"/>
                          </a:solidFill>
                          <a:effectLst/>
                          <a:latin typeface="Calibri" panose="020F0502020204030204" pitchFamily="34" charset="0"/>
                        </a:rPr>
                      </a:br>
                      <a:endParaRPr lang="en-GB" sz="900" b="0" i="0" u="none" strike="noStrike" baseline="0" dirty="0">
                        <a:solidFill>
                          <a:srgbClr val="000000"/>
                        </a:solidFill>
                        <a:effectLst/>
                        <a:latin typeface="Calibri" panose="020F0502020204030204" pitchFamily="34" charset="0"/>
                      </a:endParaRPr>
                    </a:p>
                    <a:p>
                      <a:pPr algn="l" fontAlgn="b"/>
                      <a:r>
                        <a:rPr lang="en-GB" sz="900" b="0" i="0" u="none" strike="noStrike" baseline="0" dirty="0">
                          <a:solidFill>
                            <a:srgbClr val="000000"/>
                          </a:solidFill>
                          <a:effectLst/>
                          <a:latin typeface="Calibri" panose="020F0502020204030204" pitchFamily="34" charset="0"/>
                        </a:rPr>
                        <a:t>Wave 2A (SIR)</a:t>
                      </a:r>
                      <a:endParaRPr lang="en-GB" sz="900" b="0" i="0" u="none" strike="noStrike" dirty="0">
                        <a:solidFill>
                          <a:srgbClr val="000000"/>
                        </a:solidFill>
                        <a:effectLst/>
                        <a:latin typeface="Calibri" panose="020F0502020204030204" pitchFamily="34" charset="0"/>
                      </a:endParaRPr>
                    </a:p>
                  </a:txBody>
                  <a:tcPr marL="5428" marR="5428" marT="54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fontAlgn="b"/>
                      <a:endParaRPr lang="en-GB" sz="900" b="0" i="0" u="none" strike="noStrike" dirty="0">
                        <a:solidFill>
                          <a:srgbClr val="000000"/>
                        </a:solidFill>
                        <a:effectLst/>
                        <a:latin typeface="Calibri" panose="020F0502020204030204" pitchFamily="34" charset="0"/>
                      </a:endParaRPr>
                    </a:p>
                  </a:txBody>
                  <a:tcPr marL="5428" marR="5428" marT="5428"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endParaRPr lang="en-GB" sz="900" b="0" i="0" u="none" strike="noStrike" dirty="0">
                        <a:solidFill>
                          <a:srgbClr val="000000"/>
                        </a:solidFill>
                        <a:effectLst/>
                        <a:latin typeface="Calibri" panose="020F0502020204030204" pitchFamily="34" charset="0"/>
                      </a:endParaRPr>
                    </a:p>
                  </a:txBody>
                  <a:tcPr marL="5428" marR="5428" marT="54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endParaRPr lang="en-GB" sz="900" b="0" i="0" u="none" strike="noStrike" dirty="0">
                        <a:solidFill>
                          <a:srgbClr val="000000"/>
                        </a:solidFill>
                        <a:effectLst/>
                        <a:latin typeface="Calibri" panose="020F0502020204030204" pitchFamily="34" charset="0"/>
                      </a:endParaRPr>
                    </a:p>
                  </a:txBody>
                  <a:tcPr marL="5428" marR="5428" marT="54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endParaRPr lang="en-GB" sz="900" b="0" i="0" u="none" strike="noStrike" dirty="0">
                        <a:solidFill>
                          <a:srgbClr val="000000"/>
                        </a:solidFill>
                        <a:effectLst/>
                        <a:latin typeface="Calibri" panose="020F0502020204030204" pitchFamily="34" charset="0"/>
                      </a:endParaRPr>
                    </a:p>
                  </a:txBody>
                  <a:tcPr marL="5428" marR="5428" marT="54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endParaRPr lang="en-GB" sz="900" b="0" i="0" u="none" strike="noStrike" dirty="0">
                        <a:solidFill>
                          <a:srgbClr val="000000"/>
                        </a:solidFill>
                        <a:effectLst/>
                        <a:latin typeface="Calibri" panose="020F0502020204030204" pitchFamily="34" charset="0"/>
                      </a:endParaRPr>
                    </a:p>
                  </a:txBody>
                  <a:tcPr marL="5428" marR="5428" marT="54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endParaRPr lang="en-GB" sz="900" b="0" i="0" u="none" strike="noStrike" dirty="0">
                        <a:solidFill>
                          <a:srgbClr val="000000"/>
                        </a:solidFill>
                        <a:effectLst/>
                        <a:latin typeface="Calibri" panose="020F0502020204030204" pitchFamily="34" charset="0"/>
                      </a:endParaRPr>
                    </a:p>
                  </a:txBody>
                  <a:tcPr marL="5428" marR="5428" marT="54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endParaRPr lang="en-GB" sz="900" b="0" i="0" u="none" strike="noStrike" dirty="0">
                        <a:solidFill>
                          <a:srgbClr val="000000"/>
                        </a:solidFill>
                        <a:effectLst/>
                        <a:latin typeface="Calibri" panose="020F0502020204030204" pitchFamily="34" charset="0"/>
                      </a:endParaRPr>
                    </a:p>
                  </a:txBody>
                  <a:tcPr marL="5428" marR="5428" marT="54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endParaRPr lang="en-GB" sz="900" b="0" i="0" u="none" strike="noStrike" dirty="0">
                        <a:solidFill>
                          <a:srgbClr val="000000"/>
                        </a:solidFill>
                        <a:effectLst/>
                        <a:latin typeface="Calibri" panose="020F0502020204030204" pitchFamily="34" charset="0"/>
                      </a:endParaRPr>
                    </a:p>
                  </a:txBody>
                  <a:tcPr marL="5428" marR="5428" marT="54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endParaRPr lang="en-GB" sz="900" b="0" i="0" u="none" strike="noStrike" dirty="0">
                        <a:solidFill>
                          <a:srgbClr val="000000"/>
                        </a:solidFill>
                        <a:effectLst/>
                        <a:latin typeface="Calibri" panose="020F0502020204030204" pitchFamily="34" charset="0"/>
                      </a:endParaRPr>
                    </a:p>
                  </a:txBody>
                  <a:tcPr marL="5428" marR="5428" marT="54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endParaRPr lang="en-GB" sz="900" b="0" i="0" u="none" strike="noStrike" dirty="0">
                        <a:solidFill>
                          <a:srgbClr val="000000"/>
                        </a:solidFill>
                        <a:effectLst/>
                        <a:latin typeface="Calibri" panose="020F0502020204030204" pitchFamily="34" charset="0"/>
                      </a:endParaRPr>
                    </a:p>
                  </a:txBody>
                  <a:tcPr marL="5428" marR="5428" marT="54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endParaRPr lang="en-GB" sz="900" b="0" i="0" u="none" strike="noStrike" dirty="0">
                        <a:solidFill>
                          <a:srgbClr val="000000"/>
                        </a:solidFill>
                        <a:effectLst/>
                        <a:latin typeface="Calibri" panose="020F0502020204030204" pitchFamily="34" charset="0"/>
                      </a:endParaRPr>
                    </a:p>
                  </a:txBody>
                  <a:tcPr marL="5428" marR="5428" marT="54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endParaRPr lang="en-GB" sz="900" b="0" i="0" u="none" strike="noStrike" dirty="0">
                        <a:solidFill>
                          <a:srgbClr val="000000"/>
                        </a:solidFill>
                        <a:effectLst/>
                        <a:latin typeface="Calibri" panose="020F0502020204030204" pitchFamily="34" charset="0"/>
                      </a:endParaRPr>
                    </a:p>
                  </a:txBody>
                  <a:tcPr marL="5428" marR="5428" marT="54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endParaRPr lang="en-GB" sz="900" b="0" i="0" u="none" strike="noStrike" dirty="0">
                        <a:solidFill>
                          <a:srgbClr val="000000"/>
                        </a:solidFill>
                        <a:effectLst/>
                        <a:latin typeface="Calibri" panose="020F0502020204030204" pitchFamily="34" charset="0"/>
                      </a:endParaRPr>
                    </a:p>
                  </a:txBody>
                  <a:tcPr marL="5428" marR="5428" marT="54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endParaRPr lang="en-GB" sz="900" b="0" i="0" u="none" strike="noStrike" dirty="0">
                        <a:solidFill>
                          <a:srgbClr val="000000"/>
                        </a:solidFill>
                        <a:effectLst/>
                        <a:latin typeface="Calibri" panose="020F0502020204030204" pitchFamily="34" charset="0"/>
                      </a:endParaRPr>
                    </a:p>
                  </a:txBody>
                  <a:tcPr marL="5428" marR="5428" marT="54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endParaRPr lang="en-GB" sz="900" b="0" i="0" u="none" strike="noStrike" dirty="0">
                        <a:solidFill>
                          <a:srgbClr val="000000"/>
                        </a:solidFill>
                        <a:effectLst/>
                        <a:latin typeface="Calibri" panose="020F0502020204030204" pitchFamily="34" charset="0"/>
                      </a:endParaRPr>
                    </a:p>
                  </a:txBody>
                  <a:tcPr marL="5428" marR="5428" marT="54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endParaRPr lang="en-GB" sz="900" b="0" i="0" u="none" strike="noStrike" dirty="0">
                        <a:solidFill>
                          <a:srgbClr val="000000"/>
                        </a:solidFill>
                        <a:effectLst/>
                        <a:latin typeface="Calibri" panose="020F0502020204030204" pitchFamily="34" charset="0"/>
                      </a:endParaRPr>
                    </a:p>
                  </a:txBody>
                  <a:tcPr marL="5428" marR="5428" marT="54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endParaRPr lang="en-GB" sz="900" b="0" i="0" u="none" strike="noStrike" dirty="0">
                        <a:solidFill>
                          <a:srgbClr val="000000"/>
                        </a:solidFill>
                        <a:effectLst/>
                        <a:latin typeface="Calibri" panose="020F0502020204030204" pitchFamily="34" charset="0"/>
                      </a:endParaRPr>
                    </a:p>
                  </a:txBody>
                  <a:tcPr marL="5428" marR="5428" marT="54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endParaRPr lang="en-GB" sz="900" b="0" i="0" u="none" strike="noStrike" dirty="0">
                        <a:solidFill>
                          <a:srgbClr val="000000"/>
                        </a:solidFill>
                        <a:effectLst/>
                        <a:latin typeface="Calibri" panose="020F0502020204030204" pitchFamily="34" charset="0"/>
                      </a:endParaRPr>
                    </a:p>
                  </a:txBody>
                  <a:tcPr marL="5428" marR="5428" marT="54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endParaRPr lang="en-GB" sz="900" b="0" i="0" u="none" strike="noStrike" dirty="0">
                        <a:solidFill>
                          <a:srgbClr val="000000"/>
                        </a:solidFill>
                        <a:effectLst/>
                        <a:latin typeface="Calibri" panose="020F0502020204030204" pitchFamily="34" charset="0"/>
                      </a:endParaRPr>
                    </a:p>
                  </a:txBody>
                  <a:tcPr marL="5428" marR="5428" marT="54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endParaRPr lang="en-GB" sz="900" b="0" i="0" u="none" strike="noStrike" dirty="0">
                        <a:solidFill>
                          <a:srgbClr val="000000"/>
                        </a:solidFill>
                        <a:effectLst/>
                        <a:latin typeface="Calibri" panose="020F0502020204030204" pitchFamily="34" charset="0"/>
                      </a:endParaRPr>
                    </a:p>
                  </a:txBody>
                  <a:tcPr marL="5428" marR="5428" marT="54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46581600"/>
                  </a:ext>
                </a:extLst>
              </a:tr>
              <a:tr h="731520">
                <a:tc gridSpan="2">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r>
                        <a:rPr lang="en-GB" sz="900" b="0" i="0" u="none" strike="noStrike" dirty="0">
                          <a:solidFill>
                            <a:srgbClr val="000000"/>
                          </a:solidFill>
                          <a:effectLst/>
                          <a:latin typeface="Calibri" panose="020F0502020204030204" pitchFamily="34" charset="0"/>
                        </a:rPr>
                        <a:t>Wave 3</a:t>
                      </a:r>
                      <a:br>
                        <a:rPr lang="en-GB" sz="900" b="0" i="0" u="none" strike="noStrike" dirty="0">
                          <a:solidFill>
                            <a:srgbClr val="000000"/>
                          </a:solidFill>
                          <a:effectLst/>
                          <a:latin typeface="Calibri" panose="020F0502020204030204" pitchFamily="34" charset="0"/>
                        </a:rPr>
                      </a:br>
                      <a:endParaRPr lang="en-GB" sz="900" b="0" i="0" u="none" strike="noStrike" dirty="0">
                        <a:solidFill>
                          <a:srgbClr val="000000"/>
                        </a:solidFill>
                        <a:effectLst/>
                        <a:latin typeface="Calibri" panose="020F0502020204030204" pitchFamily="34" charset="0"/>
                      </a:endParaRPr>
                    </a:p>
                    <a:p>
                      <a:pPr algn="l" fontAlgn="b"/>
                      <a:r>
                        <a:rPr lang="en-GB" sz="900" b="0" i="0" u="none" strike="noStrike" dirty="0">
                          <a:solidFill>
                            <a:srgbClr val="000000"/>
                          </a:solidFill>
                          <a:effectLst/>
                          <a:latin typeface="Calibri" panose="020F0502020204030204" pitchFamily="34" charset="0"/>
                        </a:rPr>
                        <a:t>Wave 3A (SIR)</a:t>
                      </a:r>
                    </a:p>
                  </a:txBody>
                  <a:tcPr marL="5428" marR="5428" marT="54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fontAlgn="b"/>
                      <a:endParaRPr lang="en-GB" sz="900" b="0" i="0" u="none" strike="noStrike" dirty="0">
                        <a:solidFill>
                          <a:srgbClr val="000000"/>
                        </a:solidFill>
                        <a:effectLst/>
                        <a:latin typeface="Calibri" panose="020F0502020204030204" pitchFamily="34" charset="0"/>
                      </a:endParaRPr>
                    </a:p>
                  </a:txBody>
                  <a:tcPr marL="5428" marR="5428" marT="5428"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endParaRPr lang="en-GB" sz="900" b="0" i="0" u="none" strike="noStrike" dirty="0">
                        <a:solidFill>
                          <a:srgbClr val="000000"/>
                        </a:solidFill>
                        <a:effectLst/>
                        <a:latin typeface="Calibri" panose="020F0502020204030204" pitchFamily="34" charset="0"/>
                      </a:endParaRPr>
                    </a:p>
                  </a:txBody>
                  <a:tcPr marL="5428" marR="5428" marT="54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endParaRPr lang="en-GB" sz="900" b="0" i="0" u="none" strike="noStrike" dirty="0">
                        <a:solidFill>
                          <a:srgbClr val="000000"/>
                        </a:solidFill>
                        <a:effectLst/>
                        <a:latin typeface="Calibri" panose="020F0502020204030204" pitchFamily="34" charset="0"/>
                      </a:endParaRPr>
                    </a:p>
                  </a:txBody>
                  <a:tcPr marL="5428" marR="5428" marT="54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endParaRPr lang="en-GB" sz="900" b="0" i="0" u="none" strike="noStrike" dirty="0">
                        <a:solidFill>
                          <a:srgbClr val="000000"/>
                        </a:solidFill>
                        <a:effectLst/>
                        <a:latin typeface="Calibri" panose="020F0502020204030204" pitchFamily="34" charset="0"/>
                      </a:endParaRPr>
                    </a:p>
                  </a:txBody>
                  <a:tcPr marL="5428" marR="5428" marT="54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endParaRPr lang="en-GB" sz="900" b="0" i="0" u="none" strike="noStrike" dirty="0">
                        <a:solidFill>
                          <a:srgbClr val="000000"/>
                        </a:solidFill>
                        <a:effectLst/>
                        <a:latin typeface="Calibri" panose="020F0502020204030204" pitchFamily="34" charset="0"/>
                      </a:endParaRPr>
                    </a:p>
                  </a:txBody>
                  <a:tcPr marL="5428" marR="5428" marT="54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endParaRPr lang="en-GB" sz="900" b="0" i="0" u="none" strike="noStrike" dirty="0">
                        <a:solidFill>
                          <a:srgbClr val="000000"/>
                        </a:solidFill>
                        <a:effectLst/>
                        <a:latin typeface="Calibri" panose="020F0502020204030204" pitchFamily="34" charset="0"/>
                      </a:endParaRPr>
                    </a:p>
                  </a:txBody>
                  <a:tcPr marL="5428" marR="5428" marT="54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endParaRPr lang="en-GB" sz="900" b="0" i="0" u="none" strike="noStrike" dirty="0">
                        <a:solidFill>
                          <a:srgbClr val="000000"/>
                        </a:solidFill>
                        <a:effectLst/>
                        <a:latin typeface="Calibri" panose="020F0502020204030204" pitchFamily="34" charset="0"/>
                      </a:endParaRPr>
                    </a:p>
                  </a:txBody>
                  <a:tcPr marL="5428" marR="5428" marT="54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endParaRPr lang="en-GB" sz="900" b="0" i="0" u="none" strike="noStrike" dirty="0">
                        <a:solidFill>
                          <a:srgbClr val="000000"/>
                        </a:solidFill>
                        <a:effectLst/>
                        <a:latin typeface="Calibri" panose="020F0502020204030204" pitchFamily="34" charset="0"/>
                      </a:endParaRPr>
                    </a:p>
                  </a:txBody>
                  <a:tcPr marL="5428" marR="5428" marT="54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endParaRPr lang="en-GB" sz="900" b="0" i="0" u="none" strike="noStrike" dirty="0">
                        <a:solidFill>
                          <a:srgbClr val="000000"/>
                        </a:solidFill>
                        <a:effectLst/>
                        <a:latin typeface="Calibri" panose="020F0502020204030204" pitchFamily="34" charset="0"/>
                      </a:endParaRPr>
                    </a:p>
                  </a:txBody>
                  <a:tcPr marL="5428" marR="5428" marT="54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endParaRPr lang="en-GB" sz="900" b="0" i="0" u="none" strike="noStrike" dirty="0">
                        <a:solidFill>
                          <a:srgbClr val="000000"/>
                        </a:solidFill>
                        <a:effectLst/>
                        <a:latin typeface="Calibri" panose="020F0502020204030204" pitchFamily="34" charset="0"/>
                      </a:endParaRPr>
                    </a:p>
                  </a:txBody>
                  <a:tcPr marL="5428" marR="5428" marT="54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endParaRPr lang="en-GB" sz="900" b="0" i="0" u="none" strike="noStrike" dirty="0">
                        <a:solidFill>
                          <a:srgbClr val="000000"/>
                        </a:solidFill>
                        <a:effectLst/>
                        <a:latin typeface="Calibri" panose="020F0502020204030204" pitchFamily="34" charset="0"/>
                      </a:endParaRPr>
                    </a:p>
                  </a:txBody>
                  <a:tcPr marL="5428" marR="5428" marT="54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endParaRPr lang="en-GB" sz="900" b="0" i="0" u="none" strike="noStrike" dirty="0">
                        <a:solidFill>
                          <a:srgbClr val="000000"/>
                        </a:solidFill>
                        <a:effectLst/>
                        <a:latin typeface="Calibri" panose="020F0502020204030204" pitchFamily="34" charset="0"/>
                      </a:endParaRPr>
                    </a:p>
                  </a:txBody>
                  <a:tcPr marL="5428" marR="5428" marT="54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endParaRPr lang="en-GB" sz="900" b="0" i="0" u="none" strike="noStrike" dirty="0">
                        <a:solidFill>
                          <a:srgbClr val="000000"/>
                        </a:solidFill>
                        <a:effectLst/>
                        <a:latin typeface="Calibri" panose="020F0502020204030204" pitchFamily="34" charset="0"/>
                      </a:endParaRPr>
                    </a:p>
                  </a:txBody>
                  <a:tcPr marL="5428" marR="5428" marT="54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endParaRPr lang="en-GB" sz="900" b="0" i="0" u="none" strike="noStrike" dirty="0">
                        <a:solidFill>
                          <a:srgbClr val="000000"/>
                        </a:solidFill>
                        <a:effectLst/>
                        <a:latin typeface="Calibri" panose="020F0502020204030204" pitchFamily="34" charset="0"/>
                      </a:endParaRPr>
                    </a:p>
                  </a:txBody>
                  <a:tcPr marL="5428" marR="5428" marT="54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endParaRPr lang="en-GB" sz="900" b="0" i="0" u="none" strike="noStrike" dirty="0">
                        <a:solidFill>
                          <a:srgbClr val="000000"/>
                        </a:solidFill>
                        <a:effectLst/>
                        <a:latin typeface="Calibri" panose="020F0502020204030204" pitchFamily="34" charset="0"/>
                      </a:endParaRPr>
                    </a:p>
                  </a:txBody>
                  <a:tcPr marL="5428" marR="5428" marT="54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endParaRPr lang="en-GB" sz="900" b="0" i="0" u="none" strike="noStrike" dirty="0">
                        <a:solidFill>
                          <a:srgbClr val="000000"/>
                        </a:solidFill>
                        <a:effectLst/>
                        <a:latin typeface="Calibri" panose="020F0502020204030204" pitchFamily="34" charset="0"/>
                      </a:endParaRPr>
                    </a:p>
                  </a:txBody>
                  <a:tcPr marL="5428" marR="5428" marT="54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endParaRPr lang="en-GB" sz="900" b="0" i="0" u="none" strike="noStrike" dirty="0">
                        <a:solidFill>
                          <a:srgbClr val="000000"/>
                        </a:solidFill>
                        <a:effectLst/>
                        <a:latin typeface="Calibri" panose="020F0502020204030204" pitchFamily="34" charset="0"/>
                      </a:endParaRPr>
                    </a:p>
                  </a:txBody>
                  <a:tcPr marL="5428" marR="5428" marT="54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endParaRPr lang="en-GB" sz="900" b="0" i="0" u="none" strike="noStrike" dirty="0">
                        <a:solidFill>
                          <a:srgbClr val="000000"/>
                        </a:solidFill>
                        <a:effectLst/>
                        <a:latin typeface="Calibri" panose="020F0502020204030204" pitchFamily="34" charset="0"/>
                      </a:endParaRPr>
                    </a:p>
                  </a:txBody>
                  <a:tcPr marL="5428" marR="5428" marT="54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endParaRPr lang="en-GB" sz="900" b="0" i="0" u="none" strike="noStrike" dirty="0">
                        <a:solidFill>
                          <a:srgbClr val="000000"/>
                        </a:solidFill>
                        <a:effectLst/>
                        <a:latin typeface="Calibri" panose="020F0502020204030204" pitchFamily="34" charset="0"/>
                      </a:endParaRPr>
                    </a:p>
                  </a:txBody>
                  <a:tcPr marL="5428" marR="5428" marT="54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200" kern="1200">
                          <a:solidFill>
                            <a:schemeClr val="tx1"/>
                          </a:solidFill>
                          <a:latin typeface="Calibri" panose="020F0502020204030204"/>
                        </a:defRPr>
                      </a:lvl1pPr>
                      <a:lvl2pPr marL="457200" algn="l" defTabSz="914400" rtl="0" eaLnBrk="1" latinLnBrk="0" hangingPunct="1">
                        <a:defRPr sz="1200" kern="1200">
                          <a:solidFill>
                            <a:schemeClr val="tx1"/>
                          </a:solidFill>
                          <a:latin typeface="Calibri" panose="020F0502020204030204"/>
                        </a:defRPr>
                      </a:lvl2pPr>
                      <a:lvl3pPr marL="914400" algn="l" defTabSz="914400" rtl="0" eaLnBrk="1" latinLnBrk="0" hangingPunct="1">
                        <a:defRPr sz="1200" kern="1200">
                          <a:solidFill>
                            <a:schemeClr val="tx1"/>
                          </a:solidFill>
                          <a:latin typeface="Calibri" panose="020F0502020204030204"/>
                        </a:defRPr>
                      </a:lvl3pPr>
                      <a:lvl4pPr marL="1371600" algn="l" defTabSz="914400" rtl="0" eaLnBrk="1" latinLnBrk="0" hangingPunct="1">
                        <a:defRPr sz="1200" kern="1200">
                          <a:solidFill>
                            <a:schemeClr val="tx1"/>
                          </a:solidFill>
                          <a:latin typeface="Calibri" panose="020F0502020204030204"/>
                        </a:defRPr>
                      </a:lvl4pPr>
                      <a:lvl5pPr marL="1828800" algn="l" defTabSz="914400" rtl="0" eaLnBrk="1" latinLnBrk="0" hangingPunct="1">
                        <a:defRPr sz="1200" kern="1200">
                          <a:solidFill>
                            <a:schemeClr val="tx1"/>
                          </a:solidFill>
                          <a:latin typeface="Calibri" panose="020F0502020204030204"/>
                        </a:defRPr>
                      </a:lvl5pPr>
                      <a:lvl6pPr marL="2286000" algn="l" defTabSz="914400" rtl="0" eaLnBrk="1" latinLnBrk="0" hangingPunct="1">
                        <a:defRPr sz="1200" kern="1200">
                          <a:solidFill>
                            <a:schemeClr val="tx1"/>
                          </a:solidFill>
                          <a:latin typeface="Calibri" panose="020F0502020204030204"/>
                        </a:defRPr>
                      </a:lvl6pPr>
                      <a:lvl7pPr marL="2743200" algn="l" defTabSz="914400" rtl="0" eaLnBrk="1" latinLnBrk="0" hangingPunct="1">
                        <a:defRPr sz="1200" kern="1200">
                          <a:solidFill>
                            <a:schemeClr val="tx1"/>
                          </a:solidFill>
                          <a:latin typeface="Calibri" panose="020F0502020204030204"/>
                        </a:defRPr>
                      </a:lvl7pPr>
                      <a:lvl8pPr marL="3200400" algn="l" defTabSz="914400" rtl="0" eaLnBrk="1" latinLnBrk="0" hangingPunct="1">
                        <a:defRPr sz="1200" kern="1200">
                          <a:solidFill>
                            <a:schemeClr val="tx1"/>
                          </a:solidFill>
                          <a:latin typeface="Calibri" panose="020F0502020204030204"/>
                        </a:defRPr>
                      </a:lvl8pPr>
                      <a:lvl9pPr marL="3657600" algn="l" defTabSz="914400" rtl="0" eaLnBrk="1" latinLnBrk="0" hangingPunct="1">
                        <a:defRPr sz="1200" kern="1200">
                          <a:solidFill>
                            <a:schemeClr val="tx1"/>
                          </a:solidFill>
                          <a:latin typeface="Calibri" panose="020F0502020204030204"/>
                        </a:defRPr>
                      </a:lvl9pPr>
                    </a:lstStyle>
                    <a:p>
                      <a:pPr algn="l" fontAlgn="b"/>
                      <a:endParaRPr lang="en-GB" sz="900" b="0" i="0" u="none" strike="noStrike" dirty="0">
                        <a:solidFill>
                          <a:srgbClr val="000000"/>
                        </a:solidFill>
                        <a:effectLst/>
                        <a:latin typeface="Calibri" panose="020F0502020204030204" pitchFamily="34" charset="0"/>
                      </a:endParaRPr>
                    </a:p>
                  </a:txBody>
                  <a:tcPr marL="5428" marR="5428" marT="54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18632208"/>
                  </a:ext>
                </a:extLst>
              </a:tr>
            </a:tbl>
          </a:graphicData>
        </a:graphic>
      </p:graphicFrame>
      <p:sp>
        <p:nvSpPr>
          <p:cNvPr id="36" name="Rectangle 35"/>
          <p:cNvSpPr/>
          <p:nvPr/>
        </p:nvSpPr>
        <p:spPr>
          <a:xfrm>
            <a:off x="1064799" y="1676237"/>
            <a:ext cx="3291840" cy="108000"/>
          </a:xfrm>
          <a:prstGeom prst="rect">
            <a:avLst/>
          </a:prstGeom>
          <a:solidFill>
            <a:srgbClr val="A5A5A5">
              <a:lumMod val="75000"/>
            </a:srgbClr>
          </a:solidFill>
          <a:ln w="12700" cap="flat" cmpd="sng" algn="ctr">
            <a:noFill/>
            <a:prstDash val="solid"/>
            <a:miter lim="800000"/>
          </a:ln>
          <a:effectLst/>
        </p:spPr>
        <p:txBody>
          <a:bodyPr lIns="0" tIns="0" rIns="0" bIns="0"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prstClr val="white"/>
                </a:solidFill>
                <a:effectLst/>
                <a:uLnTx/>
                <a:uFillTx/>
                <a:latin typeface="Calibri" panose="020F0502020204030204"/>
                <a:ea typeface="+mn-ea"/>
                <a:cs typeface="+mn-cs"/>
              </a:rPr>
              <a:t>  Switzerland</a:t>
            </a:r>
          </a:p>
        </p:txBody>
      </p:sp>
      <p:sp>
        <p:nvSpPr>
          <p:cNvPr id="37" name="Rectangle 36"/>
          <p:cNvSpPr/>
          <p:nvPr/>
        </p:nvSpPr>
        <p:spPr>
          <a:xfrm>
            <a:off x="1073960" y="669050"/>
            <a:ext cx="2743200" cy="182880"/>
          </a:xfrm>
          <a:prstGeom prst="rect">
            <a:avLst/>
          </a:prstGeom>
          <a:solidFill>
            <a:srgbClr val="5B9BD5"/>
          </a:solidFill>
          <a:ln w="12700" cap="flat" cmpd="sng" algn="ctr">
            <a:noFill/>
            <a:prstDash val="solid"/>
            <a:miter lim="800000"/>
          </a:ln>
          <a:effectLst/>
        </p:spPr>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solidFill>
                  <a:prstClr val="white"/>
                </a:solidFill>
                <a:effectLst/>
                <a:uLnTx/>
                <a:uFillTx/>
                <a:latin typeface="Calibri" panose="020F0502020204030204"/>
                <a:ea typeface="+mn-ea"/>
                <a:cs typeface="+mn-cs"/>
              </a:rPr>
              <a:t>2020</a:t>
            </a:r>
          </a:p>
        </p:txBody>
      </p:sp>
      <p:sp>
        <p:nvSpPr>
          <p:cNvPr id="38" name="Rectangle 37"/>
          <p:cNvSpPr/>
          <p:nvPr/>
        </p:nvSpPr>
        <p:spPr>
          <a:xfrm>
            <a:off x="3817160" y="669050"/>
            <a:ext cx="4724399" cy="182880"/>
          </a:xfrm>
          <a:prstGeom prst="rect">
            <a:avLst/>
          </a:prstGeom>
          <a:solidFill>
            <a:srgbClr val="44546A"/>
          </a:solidFill>
          <a:ln w="12700" cap="flat" cmpd="sng" algn="ctr">
            <a:noFill/>
            <a:prstDash val="solid"/>
            <a:miter lim="800000"/>
          </a:ln>
          <a:effectLst/>
        </p:spPr>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solidFill>
                  <a:prstClr val="white"/>
                </a:solidFill>
                <a:effectLst/>
                <a:uLnTx/>
                <a:uFillTx/>
                <a:latin typeface="Calibri" panose="020F0502020204030204"/>
                <a:ea typeface="+mn-ea"/>
                <a:cs typeface="+mn-cs"/>
              </a:rPr>
              <a:t>2021</a:t>
            </a:r>
          </a:p>
        </p:txBody>
      </p:sp>
      <p:sp>
        <p:nvSpPr>
          <p:cNvPr id="39" name="7-Point Star 38"/>
          <p:cNvSpPr/>
          <p:nvPr/>
        </p:nvSpPr>
        <p:spPr>
          <a:xfrm>
            <a:off x="4623253" y="1298550"/>
            <a:ext cx="225300" cy="206400"/>
          </a:xfrm>
          <a:prstGeom prst="star7">
            <a:avLst/>
          </a:prstGeom>
          <a:solidFill>
            <a:srgbClr val="00B050"/>
          </a:solidFill>
          <a:ln w="12700" cap="flat" cmpd="sng" algn="ctr">
            <a:noFill/>
            <a:prstDash val="solid"/>
            <a:miter lim="800000"/>
          </a:ln>
          <a:effectLst/>
        </p:spPr>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0" name="TextBox 39"/>
          <p:cNvSpPr txBox="1"/>
          <p:nvPr/>
        </p:nvSpPr>
        <p:spPr>
          <a:xfrm>
            <a:off x="4875420" y="1247861"/>
            <a:ext cx="1064732" cy="307777"/>
          </a:xfrm>
          <a:prstGeom prst="rect">
            <a:avLst/>
          </a:prstGeom>
          <a:solidFill>
            <a:sysClr val="window" lastClr="FFFFFF"/>
          </a:solidFill>
          <a:ln>
            <a:solidFill>
              <a:sysClr val="windowText" lastClr="000000"/>
            </a:solidFill>
          </a:ln>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700" b="1" i="0" u="none" strike="noStrike" kern="0" cap="none" spc="0" normalizeH="0" baseline="0" noProof="0" dirty="0">
                <a:ln>
                  <a:noFill/>
                </a:ln>
                <a:solidFill>
                  <a:prstClr val="black"/>
                </a:solidFill>
                <a:effectLst/>
                <a:uLnTx/>
                <a:uFillTx/>
                <a:latin typeface="Calibri" panose="020F0502020204030204"/>
                <a:ea typeface="+mn-ea"/>
                <a:cs typeface="+mn-cs"/>
              </a:rPr>
              <a:t>CRM Release 1 (SFE &amp; Marketing)</a:t>
            </a:r>
          </a:p>
        </p:txBody>
      </p:sp>
      <p:sp>
        <p:nvSpPr>
          <p:cNvPr id="43" name="7-Point Star 42"/>
          <p:cNvSpPr/>
          <p:nvPr/>
        </p:nvSpPr>
        <p:spPr>
          <a:xfrm>
            <a:off x="6251209" y="1432501"/>
            <a:ext cx="225300" cy="206400"/>
          </a:xfrm>
          <a:prstGeom prst="star7">
            <a:avLst/>
          </a:prstGeom>
          <a:solidFill>
            <a:srgbClr val="00B050"/>
          </a:solidFill>
          <a:ln w="12700" cap="flat" cmpd="sng" algn="ctr">
            <a:noFill/>
            <a:prstDash val="solid"/>
            <a:miter lim="800000"/>
          </a:ln>
          <a:effectLst/>
        </p:spPr>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4" name="TextBox 43"/>
          <p:cNvSpPr txBox="1"/>
          <p:nvPr/>
        </p:nvSpPr>
        <p:spPr>
          <a:xfrm>
            <a:off x="6516019" y="1435673"/>
            <a:ext cx="1288898" cy="200055"/>
          </a:xfrm>
          <a:prstGeom prst="rect">
            <a:avLst/>
          </a:prstGeom>
          <a:solidFill>
            <a:sysClr val="window" lastClr="FFFFFF"/>
          </a:solidFill>
          <a:ln>
            <a:solidFill>
              <a:sysClr val="windowText" lastClr="000000"/>
            </a:solidFill>
          </a:ln>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700" b="1" i="0" u="none" strike="noStrike" kern="0" cap="none" spc="0" normalizeH="0" baseline="0" noProof="0" dirty="0">
                <a:ln>
                  <a:noFill/>
                </a:ln>
                <a:solidFill>
                  <a:prstClr val="black"/>
                </a:solidFill>
                <a:effectLst/>
                <a:uLnTx/>
                <a:uFillTx/>
                <a:latin typeface="Calibri" panose="020F0502020204030204"/>
                <a:ea typeface="+mn-ea"/>
                <a:cs typeface="+mn-cs"/>
              </a:rPr>
              <a:t>Order Management Release 1</a:t>
            </a:r>
          </a:p>
        </p:txBody>
      </p:sp>
      <p:sp>
        <p:nvSpPr>
          <p:cNvPr id="45" name="Text Placeholder 2"/>
          <p:cNvSpPr>
            <a:spLocks noGrp="1"/>
          </p:cNvSpPr>
          <p:nvPr>
            <p:custDataLst>
              <p:tags r:id="rId4"/>
            </p:custDataLst>
          </p:nvPr>
        </p:nvSpPr>
        <p:spPr bwMode="gray">
          <a:xfrm>
            <a:off x="1146326" y="2190750"/>
            <a:ext cx="2011680" cy="444876"/>
          </a:xfrm>
          <a:prstGeom prst="homePlate">
            <a:avLst>
              <a:gd name="adj" fmla="val 18306"/>
            </a:avLst>
          </a:prstGeom>
          <a:solidFill>
            <a:srgbClr val="5B9BD5">
              <a:lumMod val="75000"/>
            </a:srgbClr>
          </a:solidFill>
          <a:ln w="9525" algn="ctr">
            <a:solidFill>
              <a:sysClr val="windowText" lastClr="000000"/>
            </a:solidFill>
          </a:ln>
        </p:spPr>
        <p:txBody>
          <a:bodyPr vert="horz" wrap="none" lIns="0" tIns="34529" rIns="38100" bIns="34529" numCol="1" spcCol="0" rtlCol="0" anchor="ctr" anchorCtr="0">
            <a:noAutofit/>
          </a:bodyPr>
          <a:lstStyle>
            <a:lvl1pPr marL="304792" indent="-304792" algn="l" defTabSz="1219170" rtl="0" eaLnBrk="1" latinLnBrk="0" hangingPunct="1">
              <a:spcBef>
                <a:spcPts val="1200"/>
              </a:spcBef>
              <a:buClrTx/>
              <a:buSzPct val="100000"/>
              <a:buFont typeface="Wingdings" charset="2"/>
              <a:buChar char="§"/>
              <a:tabLst>
                <a:tab pos="5331751" algn="r"/>
                <a:tab pos="10972526" algn="r"/>
              </a:tabLst>
              <a:defRPr sz="2400" b="0" i="0" kern="1200" spc="0" baseline="0">
                <a:solidFill>
                  <a:schemeClr val="tx1"/>
                </a:solidFill>
                <a:latin typeface="+mn-lt"/>
                <a:ea typeface="+mn-ea"/>
                <a:cs typeface="+mn-cs"/>
              </a:defRPr>
            </a:lvl1pPr>
            <a:lvl2pPr marL="609585" indent="-304792" algn="l" defTabSz="1219170" rtl="0" eaLnBrk="1" latinLnBrk="0" hangingPunct="1">
              <a:spcBef>
                <a:spcPts val="400"/>
              </a:spcBef>
              <a:buClrTx/>
              <a:buSzPct val="100000"/>
              <a:buFont typeface="Arial" pitchFamily="34" charset="0"/>
              <a:buChar char="–"/>
              <a:defRPr sz="2133" b="0" i="0" kern="1200" spc="0" baseline="0">
                <a:solidFill>
                  <a:schemeClr val="tx1"/>
                </a:solidFill>
                <a:latin typeface="+mn-lt"/>
                <a:ea typeface="+mn-ea"/>
                <a:cs typeface="+mn-cs"/>
              </a:defRPr>
            </a:lvl2pPr>
            <a:lvl3pPr marL="914377" indent="-304792" algn="l" defTabSz="1219170" rtl="0" eaLnBrk="1" latinLnBrk="0" hangingPunct="1">
              <a:spcBef>
                <a:spcPts val="400"/>
              </a:spcBef>
              <a:buClrTx/>
              <a:buSzPct val="100000"/>
              <a:buFont typeface="Arial" pitchFamily="34" charset="0"/>
              <a:buChar char="–"/>
              <a:defRPr sz="2133" b="0" i="0" kern="1200" spc="0" baseline="0">
                <a:solidFill>
                  <a:schemeClr val="tx1"/>
                </a:solidFill>
                <a:latin typeface="+mn-lt"/>
                <a:ea typeface="+mn-ea"/>
                <a:cs typeface="+mn-cs"/>
              </a:defRPr>
            </a:lvl3pPr>
            <a:lvl4pPr marL="1219170" indent="-304792" algn="l" defTabSz="1219170" rtl="0" eaLnBrk="1" latinLnBrk="0" hangingPunct="1">
              <a:spcBef>
                <a:spcPts val="400"/>
              </a:spcBef>
              <a:buClrTx/>
              <a:buSzPct val="100000"/>
              <a:buFont typeface="Arial" pitchFamily="34" charset="0"/>
              <a:buChar char="–"/>
              <a:defRPr sz="2133" b="0" i="0" kern="1200" spc="0" baseline="0">
                <a:solidFill>
                  <a:schemeClr val="tx1"/>
                </a:solidFill>
                <a:latin typeface="+mn-lt"/>
                <a:ea typeface="+mn-ea"/>
                <a:cs typeface="+mn-cs"/>
              </a:defRPr>
            </a:lvl4pPr>
            <a:lvl5pPr marL="1523962" indent="-304792" algn="l" defTabSz="1219170" rtl="0" eaLnBrk="1" latinLnBrk="0" hangingPunct="1">
              <a:spcBef>
                <a:spcPts val="400"/>
              </a:spcBef>
              <a:buClrTx/>
              <a:buSzPct val="100000"/>
              <a:buFont typeface="Arial" pitchFamily="34" charset="0"/>
              <a:buChar char="–"/>
              <a:defRPr sz="2133" b="0" i="0" kern="1200" spc="0" baseline="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ctr" defTabSz="914378" rtl="0" eaLnBrk="1" fontAlgn="auto" latinLnBrk="0" hangingPunct="1">
              <a:lnSpc>
                <a:spcPct val="100000"/>
              </a:lnSpc>
              <a:spcBef>
                <a:spcPct val="0"/>
              </a:spcBef>
              <a:spcAft>
                <a:spcPct val="0"/>
              </a:spcAft>
              <a:buClrTx/>
              <a:buSzPct val="100000"/>
              <a:buFont typeface="Wingdings" charset="2"/>
              <a:buNone/>
              <a:tabLst>
                <a:tab pos="3998813" algn="r"/>
                <a:tab pos="8229395" algn="r"/>
              </a:tabLst>
              <a:defRPr/>
            </a:pPr>
            <a:r>
              <a:rPr kumimoji="0" lang="en-US" sz="800" b="0" i="0" u="none" strike="noStrike" kern="1200" cap="none" spc="0" normalizeH="0" baseline="0" noProof="0" dirty="0">
                <a:ln>
                  <a:noFill/>
                </a:ln>
                <a:solidFill>
                  <a:prstClr val="white"/>
                </a:solidFill>
                <a:effectLst/>
                <a:uLnTx/>
                <a:uFillTx/>
                <a:latin typeface="Calibri" panose="020F0502020204030204"/>
                <a:ea typeface="+mn-ea"/>
                <a:cs typeface="+mn-cs"/>
                <a:sym typeface="+mn-lt"/>
              </a:rPr>
              <a:t>Canada, Baltics, Netherlands, UK, South-East</a:t>
            </a:r>
          </a:p>
          <a:p>
            <a:pPr marL="0" marR="0" lvl="0" indent="0" algn="ctr" defTabSz="914378" rtl="0" eaLnBrk="1" fontAlgn="auto" latinLnBrk="0" hangingPunct="1">
              <a:lnSpc>
                <a:spcPct val="100000"/>
              </a:lnSpc>
              <a:spcBef>
                <a:spcPct val="0"/>
              </a:spcBef>
              <a:spcAft>
                <a:spcPct val="0"/>
              </a:spcAft>
              <a:buClrTx/>
              <a:buSzPct val="100000"/>
              <a:buFont typeface="Wingdings" charset="2"/>
              <a:buNone/>
              <a:tabLst>
                <a:tab pos="3998813" algn="r"/>
                <a:tab pos="8229395" algn="r"/>
              </a:tabLst>
              <a:defRPr/>
            </a:pPr>
            <a:r>
              <a:rPr kumimoji="0" lang="en-US" sz="800" b="0" i="0" u="none" strike="noStrike" kern="1200" cap="none" spc="0" normalizeH="0" baseline="0" noProof="0" dirty="0">
                <a:ln>
                  <a:noFill/>
                </a:ln>
                <a:solidFill>
                  <a:prstClr val="white"/>
                </a:solidFill>
                <a:effectLst/>
                <a:uLnTx/>
                <a:uFillTx/>
                <a:latin typeface="Calibri" panose="020F0502020204030204"/>
                <a:ea typeface="+mn-ea"/>
                <a:cs typeface="+mn-cs"/>
                <a:sym typeface="+mn-lt"/>
              </a:rPr>
              <a:t> &amp; East Cluster, Central Asia Cluster, SDZ DD</a:t>
            </a:r>
          </a:p>
        </p:txBody>
      </p:sp>
      <p:sp>
        <p:nvSpPr>
          <p:cNvPr id="46" name="Text Placeholder 2"/>
          <p:cNvSpPr>
            <a:spLocks noGrp="1"/>
          </p:cNvSpPr>
          <p:nvPr>
            <p:custDataLst>
              <p:tags r:id="rId5"/>
            </p:custDataLst>
          </p:nvPr>
        </p:nvSpPr>
        <p:spPr bwMode="gray">
          <a:xfrm>
            <a:off x="3082710" y="2813068"/>
            <a:ext cx="2651760" cy="417872"/>
          </a:xfrm>
          <a:prstGeom prst="homePlate">
            <a:avLst>
              <a:gd name="adj" fmla="val 18306"/>
            </a:avLst>
          </a:prstGeom>
          <a:solidFill>
            <a:srgbClr val="5B9BD5"/>
          </a:solidFill>
          <a:ln w="9525" algn="ctr">
            <a:solidFill>
              <a:sysClr val="windowText" lastClr="000000"/>
            </a:solidFill>
          </a:ln>
        </p:spPr>
        <p:txBody>
          <a:bodyPr vert="horz" wrap="none" lIns="0" tIns="34529" rIns="38100" bIns="34529" numCol="1" spcCol="0" rtlCol="0" anchor="ctr" anchorCtr="0">
            <a:noAutofit/>
          </a:bodyPr>
          <a:lstStyle>
            <a:lvl1pPr marL="304792" indent="-304792" algn="l" defTabSz="1219170" rtl="0" eaLnBrk="1" latinLnBrk="0" hangingPunct="1">
              <a:spcBef>
                <a:spcPts val="1200"/>
              </a:spcBef>
              <a:buClrTx/>
              <a:buSzPct val="100000"/>
              <a:buFont typeface="Wingdings" charset="2"/>
              <a:buChar char="§"/>
              <a:tabLst>
                <a:tab pos="5331751" algn="r"/>
                <a:tab pos="10972526" algn="r"/>
              </a:tabLst>
              <a:defRPr sz="2400" b="0" i="0" kern="1200" spc="0" baseline="0">
                <a:solidFill>
                  <a:schemeClr val="tx1"/>
                </a:solidFill>
                <a:latin typeface="+mn-lt"/>
                <a:ea typeface="+mn-ea"/>
                <a:cs typeface="+mn-cs"/>
              </a:defRPr>
            </a:lvl1pPr>
            <a:lvl2pPr marL="609585" indent="-304792" algn="l" defTabSz="1219170" rtl="0" eaLnBrk="1" latinLnBrk="0" hangingPunct="1">
              <a:spcBef>
                <a:spcPts val="400"/>
              </a:spcBef>
              <a:buClrTx/>
              <a:buSzPct val="100000"/>
              <a:buFont typeface="Arial" pitchFamily="34" charset="0"/>
              <a:buChar char="–"/>
              <a:defRPr sz="2133" b="0" i="0" kern="1200" spc="0" baseline="0">
                <a:solidFill>
                  <a:schemeClr val="tx1"/>
                </a:solidFill>
                <a:latin typeface="+mn-lt"/>
                <a:ea typeface="+mn-ea"/>
                <a:cs typeface="+mn-cs"/>
              </a:defRPr>
            </a:lvl2pPr>
            <a:lvl3pPr marL="914377" indent="-304792" algn="l" defTabSz="1219170" rtl="0" eaLnBrk="1" latinLnBrk="0" hangingPunct="1">
              <a:spcBef>
                <a:spcPts val="400"/>
              </a:spcBef>
              <a:buClrTx/>
              <a:buSzPct val="100000"/>
              <a:buFont typeface="Arial" pitchFamily="34" charset="0"/>
              <a:buChar char="–"/>
              <a:defRPr sz="2133" b="0" i="0" kern="1200" spc="0" baseline="0">
                <a:solidFill>
                  <a:schemeClr val="tx1"/>
                </a:solidFill>
                <a:latin typeface="+mn-lt"/>
                <a:ea typeface="+mn-ea"/>
                <a:cs typeface="+mn-cs"/>
              </a:defRPr>
            </a:lvl3pPr>
            <a:lvl4pPr marL="1219170" indent="-304792" algn="l" defTabSz="1219170" rtl="0" eaLnBrk="1" latinLnBrk="0" hangingPunct="1">
              <a:spcBef>
                <a:spcPts val="400"/>
              </a:spcBef>
              <a:buClrTx/>
              <a:buSzPct val="100000"/>
              <a:buFont typeface="Arial" pitchFamily="34" charset="0"/>
              <a:buChar char="–"/>
              <a:defRPr sz="2133" b="0" i="0" kern="1200" spc="0" baseline="0">
                <a:solidFill>
                  <a:schemeClr val="tx1"/>
                </a:solidFill>
                <a:latin typeface="+mn-lt"/>
                <a:ea typeface="+mn-ea"/>
                <a:cs typeface="+mn-cs"/>
              </a:defRPr>
            </a:lvl4pPr>
            <a:lvl5pPr marL="1523962" indent="-304792" algn="l" defTabSz="1219170" rtl="0" eaLnBrk="1" latinLnBrk="0" hangingPunct="1">
              <a:spcBef>
                <a:spcPts val="400"/>
              </a:spcBef>
              <a:buClrTx/>
              <a:buSzPct val="100000"/>
              <a:buFont typeface="Arial" pitchFamily="34" charset="0"/>
              <a:buChar char="–"/>
              <a:defRPr sz="2133" b="0" i="0" kern="1200" spc="0" baseline="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ctr" defTabSz="914378" rtl="0" eaLnBrk="1" fontAlgn="auto" latinLnBrk="0" hangingPunct="1">
              <a:lnSpc>
                <a:spcPct val="100000"/>
              </a:lnSpc>
              <a:spcBef>
                <a:spcPct val="0"/>
              </a:spcBef>
              <a:spcAft>
                <a:spcPct val="0"/>
              </a:spcAft>
              <a:buClrTx/>
              <a:buSzPct val="100000"/>
              <a:buFont typeface="Wingdings" charset="2"/>
              <a:buNone/>
              <a:tabLst>
                <a:tab pos="3998813" algn="r"/>
                <a:tab pos="8229395" algn="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sym typeface="+mn-lt"/>
              </a:rPr>
              <a:t>Gulf &amp; Levant, Egypt, Algeria, Thailand, </a:t>
            </a:r>
            <a:b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sym typeface="+mn-lt"/>
              </a:rPr>
            </a:b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sym typeface="+mn-lt"/>
              </a:rPr>
              <a:t>Vietnam, Malaysia, Singapore, Philippines, </a:t>
            </a:r>
          </a:p>
          <a:p>
            <a:pPr marL="0" marR="0" lvl="0" indent="0" algn="ctr" defTabSz="914378" rtl="0" eaLnBrk="1" fontAlgn="auto" latinLnBrk="0" hangingPunct="1">
              <a:lnSpc>
                <a:spcPct val="100000"/>
              </a:lnSpc>
              <a:spcBef>
                <a:spcPct val="0"/>
              </a:spcBef>
              <a:spcAft>
                <a:spcPct val="0"/>
              </a:spcAft>
              <a:buClrTx/>
              <a:buSzPct val="100000"/>
              <a:buFont typeface="Wingdings" charset="2"/>
              <a:buNone/>
              <a:tabLst>
                <a:tab pos="3998813" algn="r"/>
                <a:tab pos="8229395" algn="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sym typeface="+mn-lt"/>
              </a:rPr>
              <a:t>Korea, Taiwan, Hong Kong, </a:t>
            </a:r>
            <a:r>
              <a:rPr kumimoji="0" lang="en-US" sz="800" b="0" i="0" u="none" strike="noStrike" kern="1200" cap="none" spc="0" normalizeH="0" baseline="0" noProof="0" dirty="0">
                <a:ln>
                  <a:noFill/>
                </a:ln>
                <a:solidFill>
                  <a:srgbClr val="000000"/>
                </a:solidFill>
                <a:effectLst/>
                <a:uLnTx/>
                <a:uFillTx/>
                <a:latin typeface="Calibri" panose="020F0502020204030204"/>
                <a:ea typeface="+mn-ea"/>
                <a:cs typeface="+mn-cs"/>
                <a:sym typeface="+mn-lt"/>
              </a:rPr>
              <a:t>South Africa</a:t>
            </a:r>
          </a:p>
        </p:txBody>
      </p:sp>
      <p:sp>
        <p:nvSpPr>
          <p:cNvPr id="47" name="Text Placeholder 2"/>
          <p:cNvSpPr>
            <a:spLocks noGrp="1"/>
          </p:cNvSpPr>
          <p:nvPr>
            <p:custDataLst>
              <p:tags r:id="rId6"/>
            </p:custDataLst>
          </p:nvPr>
        </p:nvSpPr>
        <p:spPr bwMode="gray">
          <a:xfrm>
            <a:off x="3469585" y="3333751"/>
            <a:ext cx="2743200" cy="351716"/>
          </a:xfrm>
          <a:prstGeom prst="homePlate">
            <a:avLst>
              <a:gd name="adj" fmla="val 18306"/>
            </a:avLst>
          </a:prstGeom>
          <a:solidFill>
            <a:srgbClr val="5B9BD5">
              <a:lumMod val="60000"/>
              <a:lumOff val="40000"/>
            </a:srgbClr>
          </a:solidFill>
          <a:ln w="9525" algn="ctr">
            <a:solidFill>
              <a:sysClr val="windowText" lastClr="000000"/>
            </a:solidFill>
          </a:ln>
        </p:spPr>
        <p:txBody>
          <a:bodyPr vert="horz" wrap="none" lIns="0" tIns="34529" rIns="38100" bIns="34529" numCol="1" spcCol="0" rtlCol="0" anchor="ctr" anchorCtr="0">
            <a:noAutofit/>
          </a:bodyPr>
          <a:lstStyle>
            <a:lvl1pPr marL="304792" indent="-304792" algn="l" defTabSz="1219170" rtl="0" eaLnBrk="1" latinLnBrk="0" hangingPunct="1">
              <a:spcBef>
                <a:spcPts val="1200"/>
              </a:spcBef>
              <a:buClrTx/>
              <a:buSzPct val="100000"/>
              <a:buFont typeface="Wingdings" charset="2"/>
              <a:buChar char="§"/>
              <a:tabLst>
                <a:tab pos="5331751" algn="r"/>
                <a:tab pos="10972526" algn="r"/>
              </a:tabLst>
              <a:defRPr sz="2400" b="0" i="0" kern="1200" spc="0" baseline="0">
                <a:solidFill>
                  <a:schemeClr val="tx1"/>
                </a:solidFill>
                <a:latin typeface="+mn-lt"/>
                <a:ea typeface="+mn-ea"/>
                <a:cs typeface="+mn-cs"/>
              </a:defRPr>
            </a:lvl1pPr>
            <a:lvl2pPr marL="609585" indent="-304792" algn="l" defTabSz="1219170" rtl="0" eaLnBrk="1" latinLnBrk="0" hangingPunct="1">
              <a:spcBef>
                <a:spcPts val="400"/>
              </a:spcBef>
              <a:buClrTx/>
              <a:buSzPct val="100000"/>
              <a:buFont typeface="Arial" pitchFamily="34" charset="0"/>
              <a:buChar char="–"/>
              <a:defRPr sz="2133" b="0" i="0" kern="1200" spc="0" baseline="0">
                <a:solidFill>
                  <a:schemeClr val="tx1"/>
                </a:solidFill>
                <a:latin typeface="+mn-lt"/>
                <a:ea typeface="+mn-ea"/>
                <a:cs typeface="+mn-cs"/>
              </a:defRPr>
            </a:lvl2pPr>
            <a:lvl3pPr marL="914377" indent="-304792" algn="l" defTabSz="1219170" rtl="0" eaLnBrk="1" latinLnBrk="0" hangingPunct="1">
              <a:spcBef>
                <a:spcPts val="400"/>
              </a:spcBef>
              <a:buClrTx/>
              <a:buSzPct val="100000"/>
              <a:buFont typeface="Arial" pitchFamily="34" charset="0"/>
              <a:buChar char="–"/>
              <a:defRPr sz="2133" b="0" i="0" kern="1200" spc="0" baseline="0">
                <a:solidFill>
                  <a:schemeClr val="tx1"/>
                </a:solidFill>
                <a:latin typeface="+mn-lt"/>
                <a:ea typeface="+mn-ea"/>
                <a:cs typeface="+mn-cs"/>
              </a:defRPr>
            </a:lvl3pPr>
            <a:lvl4pPr marL="1219170" indent="-304792" algn="l" defTabSz="1219170" rtl="0" eaLnBrk="1" latinLnBrk="0" hangingPunct="1">
              <a:spcBef>
                <a:spcPts val="400"/>
              </a:spcBef>
              <a:buClrTx/>
              <a:buSzPct val="100000"/>
              <a:buFont typeface="Arial" pitchFamily="34" charset="0"/>
              <a:buChar char="–"/>
              <a:defRPr sz="2133" b="0" i="0" kern="1200" spc="0" baseline="0">
                <a:solidFill>
                  <a:schemeClr val="tx1"/>
                </a:solidFill>
                <a:latin typeface="+mn-lt"/>
                <a:ea typeface="+mn-ea"/>
                <a:cs typeface="+mn-cs"/>
              </a:defRPr>
            </a:lvl4pPr>
            <a:lvl5pPr marL="1523962" indent="-304792" algn="l" defTabSz="1219170" rtl="0" eaLnBrk="1" latinLnBrk="0" hangingPunct="1">
              <a:spcBef>
                <a:spcPts val="400"/>
              </a:spcBef>
              <a:buClrTx/>
              <a:buSzPct val="100000"/>
              <a:buFont typeface="Arial" pitchFamily="34" charset="0"/>
              <a:buChar char="–"/>
              <a:defRPr sz="2133" b="0" i="0" kern="1200" spc="0" baseline="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ctr" defTabSz="914378" rtl="0" eaLnBrk="1" fontAlgn="auto" latinLnBrk="0" hangingPunct="1">
              <a:lnSpc>
                <a:spcPct val="100000"/>
              </a:lnSpc>
              <a:spcBef>
                <a:spcPct val="0"/>
              </a:spcBef>
              <a:spcAft>
                <a:spcPct val="0"/>
              </a:spcAft>
              <a:buClrTx/>
              <a:buSzPct val="100000"/>
              <a:buFont typeface="Wingdings" charset="2"/>
              <a:buNone/>
              <a:tabLst>
                <a:tab pos="3998813" algn="r"/>
                <a:tab pos="8229395" algn="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sym typeface="+mn-lt"/>
              </a:rPr>
              <a:t>Poland, Nordics, Germany, Hungary, </a:t>
            </a:r>
            <a:b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sym typeface="+mn-lt"/>
              </a:rPr>
            </a:b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sym typeface="+mn-lt"/>
              </a:rPr>
              <a:t>Czech, Slovakia, Russia, Greece, Ukraine</a:t>
            </a:r>
          </a:p>
        </p:txBody>
      </p:sp>
      <p:sp>
        <p:nvSpPr>
          <p:cNvPr id="48" name="Text Placeholder 2"/>
          <p:cNvSpPr>
            <a:spLocks noGrp="1"/>
          </p:cNvSpPr>
          <p:nvPr>
            <p:custDataLst>
              <p:tags r:id="rId7"/>
            </p:custDataLst>
          </p:nvPr>
        </p:nvSpPr>
        <p:spPr bwMode="gray">
          <a:xfrm>
            <a:off x="3468400" y="3724989"/>
            <a:ext cx="2743200" cy="185173"/>
          </a:xfrm>
          <a:prstGeom prst="homePlate">
            <a:avLst>
              <a:gd name="adj" fmla="val 18306"/>
            </a:avLst>
          </a:prstGeom>
          <a:solidFill>
            <a:srgbClr val="5B9BD5">
              <a:lumMod val="60000"/>
              <a:lumOff val="40000"/>
            </a:srgbClr>
          </a:solidFill>
          <a:ln w="9525" algn="ctr">
            <a:solidFill>
              <a:sysClr val="windowText" lastClr="000000"/>
            </a:solidFill>
          </a:ln>
        </p:spPr>
        <p:txBody>
          <a:bodyPr vert="horz" wrap="none" lIns="0" tIns="34529" rIns="38100" bIns="34529" numCol="1" spcCol="0" rtlCol="0" anchor="ctr" anchorCtr="0">
            <a:noAutofit/>
          </a:bodyPr>
          <a:lstStyle>
            <a:lvl1pPr marL="304792" indent="-304792" algn="l" defTabSz="1219170" rtl="0" eaLnBrk="1" latinLnBrk="0" hangingPunct="1">
              <a:spcBef>
                <a:spcPts val="1200"/>
              </a:spcBef>
              <a:buClrTx/>
              <a:buSzPct val="100000"/>
              <a:buFont typeface="Wingdings" charset="2"/>
              <a:buChar char="§"/>
              <a:tabLst>
                <a:tab pos="5331751" algn="r"/>
                <a:tab pos="10972526" algn="r"/>
              </a:tabLst>
              <a:defRPr sz="2400" b="0" i="0" kern="1200" spc="0" baseline="0">
                <a:solidFill>
                  <a:schemeClr val="tx1"/>
                </a:solidFill>
                <a:latin typeface="+mn-lt"/>
                <a:ea typeface="+mn-ea"/>
                <a:cs typeface="+mn-cs"/>
              </a:defRPr>
            </a:lvl1pPr>
            <a:lvl2pPr marL="609585" indent="-304792" algn="l" defTabSz="1219170" rtl="0" eaLnBrk="1" latinLnBrk="0" hangingPunct="1">
              <a:spcBef>
                <a:spcPts val="400"/>
              </a:spcBef>
              <a:buClrTx/>
              <a:buSzPct val="100000"/>
              <a:buFont typeface="Arial" pitchFamily="34" charset="0"/>
              <a:buChar char="–"/>
              <a:defRPr sz="2133" b="0" i="0" kern="1200" spc="0" baseline="0">
                <a:solidFill>
                  <a:schemeClr val="tx1"/>
                </a:solidFill>
                <a:latin typeface="+mn-lt"/>
                <a:ea typeface="+mn-ea"/>
                <a:cs typeface="+mn-cs"/>
              </a:defRPr>
            </a:lvl2pPr>
            <a:lvl3pPr marL="914377" indent="-304792" algn="l" defTabSz="1219170" rtl="0" eaLnBrk="1" latinLnBrk="0" hangingPunct="1">
              <a:spcBef>
                <a:spcPts val="400"/>
              </a:spcBef>
              <a:buClrTx/>
              <a:buSzPct val="100000"/>
              <a:buFont typeface="Arial" pitchFamily="34" charset="0"/>
              <a:buChar char="–"/>
              <a:defRPr sz="2133" b="0" i="0" kern="1200" spc="0" baseline="0">
                <a:solidFill>
                  <a:schemeClr val="tx1"/>
                </a:solidFill>
                <a:latin typeface="+mn-lt"/>
                <a:ea typeface="+mn-ea"/>
                <a:cs typeface="+mn-cs"/>
              </a:defRPr>
            </a:lvl3pPr>
            <a:lvl4pPr marL="1219170" indent="-304792" algn="l" defTabSz="1219170" rtl="0" eaLnBrk="1" latinLnBrk="0" hangingPunct="1">
              <a:spcBef>
                <a:spcPts val="400"/>
              </a:spcBef>
              <a:buClrTx/>
              <a:buSzPct val="100000"/>
              <a:buFont typeface="Arial" pitchFamily="34" charset="0"/>
              <a:buChar char="–"/>
              <a:defRPr sz="2133" b="0" i="0" kern="1200" spc="0" baseline="0">
                <a:solidFill>
                  <a:schemeClr val="tx1"/>
                </a:solidFill>
                <a:latin typeface="+mn-lt"/>
                <a:ea typeface="+mn-ea"/>
                <a:cs typeface="+mn-cs"/>
              </a:defRPr>
            </a:lvl4pPr>
            <a:lvl5pPr marL="1523962" indent="-304792" algn="l" defTabSz="1219170" rtl="0" eaLnBrk="1" latinLnBrk="0" hangingPunct="1">
              <a:spcBef>
                <a:spcPts val="400"/>
              </a:spcBef>
              <a:buClrTx/>
              <a:buSzPct val="100000"/>
              <a:buFont typeface="Arial" pitchFamily="34" charset="0"/>
              <a:buChar char="–"/>
              <a:defRPr sz="2133" b="0" i="0" kern="1200" spc="0" baseline="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ctr" defTabSz="914378" rtl="0" eaLnBrk="1" fontAlgn="auto" latinLnBrk="0" hangingPunct="1">
              <a:lnSpc>
                <a:spcPct val="100000"/>
              </a:lnSpc>
              <a:spcBef>
                <a:spcPct val="0"/>
              </a:spcBef>
              <a:spcAft>
                <a:spcPct val="0"/>
              </a:spcAft>
              <a:buClrTx/>
              <a:buSzPct val="100000"/>
              <a:buFont typeface="Wingdings" charset="2"/>
              <a:buNone/>
              <a:tabLst>
                <a:tab pos="3998813" algn="r"/>
                <a:tab pos="8229395" algn="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sym typeface="+mn-lt"/>
              </a:rPr>
              <a:t>Bangladesh </a:t>
            </a:r>
            <a:endParaRPr kumimoji="0" lang="en-US" sz="800" b="0" i="0" u="none" strike="noStrike" kern="1200" cap="none" spc="0" normalizeH="0" baseline="0" noProof="0" dirty="0">
              <a:ln>
                <a:noFill/>
              </a:ln>
              <a:solidFill>
                <a:srgbClr val="000000"/>
              </a:solidFill>
              <a:effectLst/>
              <a:uLnTx/>
              <a:uFillTx/>
              <a:latin typeface="Calibri" panose="020F0502020204030204"/>
              <a:ea typeface="+mn-ea"/>
              <a:cs typeface="+mn-cs"/>
              <a:sym typeface="+mn-lt"/>
            </a:endParaRPr>
          </a:p>
        </p:txBody>
      </p:sp>
      <p:sp>
        <p:nvSpPr>
          <p:cNvPr id="49" name="Text Placeholder 2"/>
          <p:cNvSpPr>
            <a:spLocks noGrp="1"/>
          </p:cNvSpPr>
          <p:nvPr>
            <p:custDataLst>
              <p:tags r:id="rId8"/>
            </p:custDataLst>
          </p:nvPr>
        </p:nvSpPr>
        <p:spPr bwMode="gray">
          <a:xfrm>
            <a:off x="4716016" y="4063634"/>
            <a:ext cx="3291840" cy="225582"/>
          </a:xfrm>
          <a:prstGeom prst="homePlate">
            <a:avLst>
              <a:gd name="adj" fmla="val 18306"/>
            </a:avLst>
          </a:prstGeom>
          <a:solidFill>
            <a:srgbClr val="5B9BD5">
              <a:lumMod val="20000"/>
              <a:lumOff val="80000"/>
            </a:srgbClr>
          </a:solidFill>
          <a:ln w="9525" algn="ctr">
            <a:solidFill>
              <a:sysClr val="windowText" lastClr="000000"/>
            </a:solidFill>
          </a:ln>
        </p:spPr>
        <p:txBody>
          <a:bodyPr vert="horz" wrap="none" lIns="0" tIns="34529" rIns="38100" bIns="34529" numCol="1" spcCol="0" rtlCol="0" anchor="ctr" anchorCtr="0">
            <a:noAutofit/>
          </a:bodyPr>
          <a:lstStyle>
            <a:lvl1pPr marL="304792" indent="-304792" algn="l" defTabSz="1219170" rtl="0" eaLnBrk="1" latinLnBrk="0" hangingPunct="1">
              <a:spcBef>
                <a:spcPts val="1200"/>
              </a:spcBef>
              <a:buClrTx/>
              <a:buSzPct val="100000"/>
              <a:buFont typeface="Wingdings" charset="2"/>
              <a:buChar char="§"/>
              <a:tabLst>
                <a:tab pos="5331751" algn="r"/>
                <a:tab pos="10972526" algn="r"/>
              </a:tabLst>
              <a:defRPr sz="2400" b="0" i="0" kern="1200" spc="0" baseline="0">
                <a:solidFill>
                  <a:schemeClr val="tx1"/>
                </a:solidFill>
                <a:latin typeface="+mn-lt"/>
                <a:ea typeface="+mn-ea"/>
                <a:cs typeface="+mn-cs"/>
              </a:defRPr>
            </a:lvl1pPr>
            <a:lvl2pPr marL="609585" indent="-304792" algn="l" defTabSz="1219170" rtl="0" eaLnBrk="1" latinLnBrk="0" hangingPunct="1">
              <a:spcBef>
                <a:spcPts val="400"/>
              </a:spcBef>
              <a:buClrTx/>
              <a:buSzPct val="100000"/>
              <a:buFont typeface="Arial" pitchFamily="34" charset="0"/>
              <a:buChar char="–"/>
              <a:defRPr sz="2133" b="0" i="0" kern="1200" spc="0" baseline="0">
                <a:solidFill>
                  <a:schemeClr val="tx1"/>
                </a:solidFill>
                <a:latin typeface="+mn-lt"/>
                <a:ea typeface="+mn-ea"/>
                <a:cs typeface="+mn-cs"/>
              </a:defRPr>
            </a:lvl2pPr>
            <a:lvl3pPr marL="914377" indent="-304792" algn="l" defTabSz="1219170" rtl="0" eaLnBrk="1" latinLnBrk="0" hangingPunct="1">
              <a:spcBef>
                <a:spcPts val="400"/>
              </a:spcBef>
              <a:buClrTx/>
              <a:buSzPct val="100000"/>
              <a:buFont typeface="Arial" pitchFamily="34" charset="0"/>
              <a:buChar char="–"/>
              <a:defRPr sz="2133" b="0" i="0" kern="1200" spc="0" baseline="0">
                <a:solidFill>
                  <a:schemeClr val="tx1"/>
                </a:solidFill>
                <a:latin typeface="+mn-lt"/>
                <a:ea typeface="+mn-ea"/>
                <a:cs typeface="+mn-cs"/>
              </a:defRPr>
            </a:lvl3pPr>
            <a:lvl4pPr marL="1219170" indent="-304792" algn="l" defTabSz="1219170" rtl="0" eaLnBrk="1" latinLnBrk="0" hangingPunct="1">
              <a:spcBef>
                <a:spcPts val="400"/>
              </a:spcBef>
              <a:buClrTx/>
              <a:buSzPct val="100000"/>
              <a:buFont typeface="Arial" pitchFamily="34" charset="0"/>
              <a:buChar char="–"/>
              <a:defRPr sz="2133" b="0" i="0" kern="1200" spc="0" baseline="0">
                <a:solidFill>
                  <a:schemeClr val="tx1"/>
                </a:solidFill>
                <a:latin typeface="+mn-lt"/>
                <a:ea typeface="+mn-ea"/>
                <a:cs typeface="+mn-cs"/>
              </a:defRPr>
            </a:lvl4pPr>
            <a:lvl5pPr marL="1523962" indent="-304792" algn="l" defTabSz="1219170" rtl="0" eaLnBrk="1" latinLnBrk="0" hangingPunct="1">
              <a:spcBef>
                <a:spcPts val="400"/>
              </a:spcBef>
              <a:buClrTx/>
              <a:buSzPct val="100000"/>
              <a:buFont typeface="Arial" pitchFamily="34" charset="0"/>
              <a:buChar char="–"/>
              <a:defRPr sz="2133" b="0" i="0" kern="1200" spc="0" baseline="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ctr" defTabSz="914378" rtl="0" eaLnBrk="1" fontAlgn="auto" latinLnBrk="0" hangingPunct="1">
              <a:lnSpc>
                <a:spcPct val="100000"/>
              </a:lnSpc>
              <a:spcBef>
                <a:spcPct val="0"/>
              </a:spcBef>
              <a:spcAft>
                <a:spcPct val="0"/>
              </a:spcAft>
              <a:buClrTx/>
              <a:buSzPct val="100000"/>
              <a:buFont typeface="Wingdings" charset="2"/>
              <a:buNone/>
              <a:tabLst>
                <a:tab pos="3998813" algn="r"/>
                <a:tab pos="8229395" algn="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sym typeface="+mn-lt"/>
              </a:rPr>
              <a:t>Iberia, France, Austria, Belgium, Italy, Germany (OM)</a:t>
            </a:r>
          </a:p>
          <a:p>
            <a:pPr marL="0" marR="0" lvl="0" indent="0" algn="ctr" defTabSz="914378" rtl="0" eaLnBrk="1" fontAlgn="auto" latinLnBrk="0" hangingPunct="1">
              <a:lnSpc>
                <a:spcPct val="100000"/>
              </a:lnSpc>
              <a:spcBef>
                <a:spcPct val="0"/>
              </a:spcBef>
              <a:spcAft>
                <a:spcPct val="0"/>
              </a:spcAft>
              <a:buClrTx/>
              <a:buSzPct val="100000"/>
              <a:buFont typeface="Wingdings" charset="2"/>
              <a:buNone/>
              <a:tabLst>
                <a:tab pos="3998813" algn="r"/>
                <a:tab pos="8229395" algn="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sym typeface="+mn-lt"/>
              </a:rPr>
              <a:t>CRM Only: US</a:t>
            </a:r>
          </a:p>
        </p:txBody>
      </p:sp>
      <p:sp>
        <p:nvSpPr>
          <p:cNvPr id="50" name="Text Placeholder 2"/>
          <p:cNvSpPr>
            <a:spLocks noGrp="1"/>
          </p:cNvSpPr>
          <p:nvPr>
            <p:custDataLst>
              <p:tags r:id="rId9"/>
            </p:custDataLst>
          </p:nvPr>
        </p:nvSpPr>
        <p:spPr bwMode="gray">
          <a:xfrm>
            <a:off x="4716016" y="4352996"/>
            <a:ext cx="3291840" cy="294072"/>
          </a:xfrm>
          <a:prstGeom prst="homePlate">
            <a:avLst>
              <a:gd name="adj" fmla="val 18306"/>
            </a:avLst>
          </a:prstGeom>
          <a:solidFill>
            <a:srgbClr val="5B9BD5">
              <a:lumMod val="20000"/>
              <a:lumOff val="80000"/>
            </a:srgbClr>
          </a:solidFill>
          <a:ln w="9525" algn="ctr">
            <a:solidFill>
              <a:sysClr val="windowText" lastClr="000000"/>
            </a:solidFill>
          </a:ln>
        </p:spPr>
        <p:txBody>
          <a:bodyPr vert="horz" wrap="none" lIns="0" tIns="34529" rIns="38100" bIns="34529" numCol="1" spcCol="0" rtlCol="0" anchor="ctr" anchorCtr="0">
            <a:noAutofit/>
          </a:bodyPr>
          <a:lstStyle>
            <a:lvl1pPr marL="304792" indent="-304792" algn="l" defTabSz="1219170" rtl="0" eaLnBrk="1" latinLnBrk="0" hangingPunct="1">
              <a:spcBef>
                <a:spcPts val="1200"/>
              </a:spcBef>
              <a:buClrTx/>
              <a:buSzPct val="100000"/>
              <a:buFont typeface="Wingdings" charset="2"/>
              <a:buChar char="§"/>
              <a:tabLst>
                <a:tab pos="5331751" algn="r"/>
                <a:tab pos="10972526" algn="r"/>
              </a:tabLst>
              <a:defRPr sz="2400" b="0" i="0" kern="1200" spc="0" baseline="0">
                <a:solidFill>
                  <a:schemeClr val="tx1"/>
                </a:solidFill>
                <a:latin typeface="+mn-lt"/>
                <a:ea typeface="+mn-ea"/>
                <a:cs typeface="+mn-cs"/>
              </a:defRPr>
            </a:lvl1pPr>
            <a:lvl2pPr marL="609585" indent="-304792" algn="l" defTabSz="1219170" rtl="0" eaLnBrk="1" latinLnBrk="0" hangingPunct="1">
              <a:spcBef>
                <a:spcPts val="400"/>
              </a:spcBef>
              <a:buClrTx/>
              <a:buSzPct val="100000"/>
              <a:buFont typeface="Arial" pitchFamily="34" charset="0"/>
              <a:buChar char="–"/>
              <a:defRPr sz="2133" b="0" i="0" kern="1200" spc="0" baseline="0">
                <a:solidFill>
                  <a:schemeClr val="tx1"/>
                </a:solidFill>
                <a:latin typeface="+mn-lt"/>
                <a:ea typeface="+mn-ea"/>
                <a:cs typeface="+mn-cs"/>
              </a:defRPr>
            </a:lvl2pPr>
            <a:lvl3pPr marL="914377" indent="-304792" algn="l" defTabSz="1219170" rtl="0" eaLnBrk="1" latinLnBrk="0" hangingPunct="1">
              <a:spcBef>
                <a:spcPts val="400"/>
              </a:spcBef>
              <a:buClrTx/>
              <a:buSzPct val="100000"/>
              <a:buFont typeface="Arial" pitchFamily="34" charset="0"/>
              <a:buChar char="–"/>
              <a:defRPr sz="2133" b="0" i="0" kern="1200" spc="0" baseline="0">
                <a:solidFill>
                  <a:schemeClr val="tx1"/>
                </a:solidFill>
                <a:latin typeface="+mn-lt"/>
                <a:ea typeface="+mn-ea"/>
                <a:cs typeface="+mn-cs"/>
              </a:defRPr>
            </a:lvl3pPr>
            <a:lvl4pPr marL="1219170" indent="-304792" algn="l" defTabSz="1219170" rtl="0" eaLnBrk="1" latinLnBrk="0" hangingPunct="1">
              <a:spcBef>
                <a:spcPts val="400"/>
              </a:spcBef>
              <a:buClrTx/>
              <a:buSzPct val="100000"/>
              <a:buFont typeface="Arial" pitchFamily="34" charset="0"/>
              <a:buChar char="–"/>
              <a:defRPr sz="2133" b="0" i="0" kern="1200" spc="0" baseline="0">
                <a:solidFill>
                  <a:schemeClr val="tx1"/>
                </a:solidFill>
                <a:latin typeface="+mn-lt"/>
                <a:ea typeface="+mn-ea"/>
                <a:cs typeface="+mn-cs"/>
              </a:defRPr>
            </a:lvl4pPr>
            <a:lvl5pPr marL="1523962" indent="-304792" algn="l" defTabSz="1219170" rtl="0" eaLnBrk="1" latinLnBrk="0" hangingPunct="1">
              <a:spcBef>
                <a:spcPts val="400"/>
              </a:spcBef>
              <a:buClrTx/>
              <a:buSzPct val="100000"/>
              <a:buFont typeface="Arial" pitchFamily="34" charset="0"/>
              <a:buChar char="–"/>
              <a:defRPr sz="2133" b="0" i="0" kern="1200" spc="0" baseline="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ctr" defTabSz="914378" rtl="0" eaLnBrk="1" fontAlgn="auto" latinLnBrk="0" hangingPunct="1">
              <a:lnSpc>
                <a:spcPct val="100000"/>
              </a:lnSpc>
              <a:spcBef>
                <a:spcPct val="0"/>
              </a:spcBef>
              <a:spcAft>
                <a:spcPct val="0"/>
              </a:spcAft>
              <a:buClrTx/>
              <a:buSzPct val="100000"/>
              <a:buFont typeface="Wingdings" charset="2"/>
              <a:buNone/>
              <a:tabLst>
                <a:tab pos="3998813" algn="r"/>
                <a:tab pos="8229395" algn="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sym typeface="+mn-lt"/>
              </a:rPr>
              <a:t>Australia</a:t>
            </a:r>
          </a:p>
          <a:p>
            <a:pPr marL="0" marR="0" lvl="0" indent="0" algn="ctr" defTabSz="914378" rtl="0" eaLnBrk="1" fontAlgn="auto" latinLnBrk="0" hangingPunct="1">
              <a:lnSpc>
                <a:spcPct val="100000"/>
              </a:lnSpc>
              <a:spcBef>
                <a:spcPct val="0"/>
              </a:spcBef>
              <a:spcAft>
                <a:spcPct val="0"/>
              </a:spcAft>
              <a:buClrTx/>
              <a:buSzPct val="100000"/>
              <a:buFont typeface="Wingdings" charset="2"/>
              <a:buNone/>
              <a:tabLst>
                <a:tab pos="3998813" algn="r"/>
                <a:tab pos="8229395" algn="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sym typeface="+mn-lt"/>
              </a:rPr>
              <a:t>CRM Only: Japan, Turkey, </a:t>
            </a:r>
            <a:r>
              <a:rPr kumimoji="0" lang="en-US" sz="800" b="0" i="1" u="none" strike="noStrike" kern="1200" cap="none" spc="0" normalizeH="0" baseline="0" noProof="0" dirty="0">
                <a:ln>
                  <a:noFill/>
                </a:ln>
                <a:solidFill>
                  <a:prstClr val="black"/>
                </a:solidFill>
                <a:effectLst/>
                <a:uLnTx/>
                <a:uFillTx/>
                <a:latin typeface="Calibri" panose="020F0502020204030204"/>
                <a:ea typeface="+mn-ea"/>
                <a:cs typeface="+mn-cs"/>
                <a:sym typeface="+mn-lt"/>
              </a:rPr>
              <a:t>Pakistan*</a:t>
            </a:r>
            <a:r>
              <a:rPr kumimoji="0" lang="en-US" sz="600" b="0" i="1" u="none" strike="noStrike" kern="1200" cap="none" spc="0" normalizeH="0" baseline="0" noProof="0" dirty="0">
                <a:ln>
                  <a:noFill/>
                </a:ln>
                <a:solidFill>
                  <a:prstClr val="black"/>
                </a:solidFill>
                <a:effectLst/>
                <a:uLnTx/>
                <a:uFillTx/>
                <a:latin typeface="Calibri" panose="020F0502020204030204"/>
                <a:ea typeface="+mn-ea"/>
                <a:cs typeface="+mn-cs"/>
                <a:sym typeface="+mn-lt"/>
              </a:rPr>
              <a:t>(*dependent on devices)</a:t>
            </a:r>
            <a:endParaRPr kumimoji="0" lang="en-US" sz="800" b="0" i="1" u="none" strike="noStrike" kern="1200" cap="none" spc="0" normalizeH="0" baseline="0" noProof="0" dirty="0">
              <a:ln>
                <a:noFill/>
              </a:ln>
              <a:solidFill>
                <a:prstClr val="black"/>
              </a:solidFill>
              <a:effectLst/>
              <a:uLnTx/>
              <a:uFillTx/>
              <a:latin typeface="Calibri" panose="020F0502020204030204"/>
              <a:ea typeface="+mn-ea"/>
              <a:cs typeface="+mn-cs"/>
              <a:sym typeface="+mn-lt"/>
            </a:endParaRPr>
          </a:p>
        </p:txBody>
      </p:sp>
      <p:sp>
        <p:nvSpPr>
          <p:cNvPr id="51" name="TextBox 50"/>
          <p:cNvSpPr txBox="1"/>
          <p:nvPr/>
        </p:nvSpPr>
        <p:spPr>
          <a:xfrm>
            <a:off x="1107924" y="2554393"/>
            <a:ext cx="887217" cy="307777"/>
          </a:xfrm>
          <a:prstGeom prst="rect">
            <a:avLst/>
          </a:prstGeom>
          <a:solidFill>
            <a:sysClr val="window" lastClr="FFFFFF"/>
          </a:solidFill>
          <a:ln>
            <a:solidFill>
              <a:sysClr val="windowText" lastClr="000000"/>
            </a:solidFill>
          </a:ln>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700" b="1" i="0" u="none" strike="noStrike" kern="0" cap="none" spc="0" normalizeH="0" baseline="0" noProof="0" dirty="0">
                <a:ln>
                  <a:noFill/>
                </a:ln>
                <a:solidFill>
                  <a:srgbClr val="000000"/>
                </a:solidFill>
                <a:effectLst/>
                <a:uLnTx/>
                <a:uFillTx/>
                <a:latin typeface="Calibri" panose="020F0502020204030204"/>
                <a:ea typeface="+mn-ea"/>
                <a:cs typeface="+mn-cs"/>
              </a:rPr>
              <a:t>Receive CRM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700" b="1" i="0" u="none" strike="noStrike" kern="0" cap="none" spc="0" normalizeH="0" baseline="0" noProof="0" dirty="0">
                <a:ln>
                  <a:noFill/>
                </a:ln>
                <a:solidFill>
                  <a:srgbClr val="000000"/>
                </a:solidFill>
                <a:effectLst/>
                <a:uLnTx/>
                <a:uFillTx/>
                <a:latin typeface="Calibri" panose="020F0502020204030204"/>
                <a:ea typeface="+mn-ea"/>
                <a:cs typeface="+mn-cs"/>
              </a:rPr>
              <a:t>Pilot Functionality</a:t>
            </a:r>
          </a:p>
        </p:txBody>
      </p:sp>
      <p:sp>
        <p:nvSpPr>
          <p:cNvPr id="52" name="TextBox 51"/>
          <p:cNvSpPr txBox="1"/>
          <p:nvPr/>
        </p:nvSpPr>
        <p:spPr>
          <a:xfrm>
            <a:off x="2540695" y="2875685"/>
            <a:ext cx="794157" cy="307777"/>
          </a:xfrm>
          <a:prstGeom prst="rect">
            <a:avLst/>
          </a:prstGeom>
          <a:solidFill>
            <a:sysClr val="window" lastClr="FFFFFF"/>
          </a:solidFill>
          <a:ln>
            <a:solidFill>
              <a:sysClr val="windowText" lastClr="000000"/>
            </a:solidFill>
          </a:ln>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700" b="1" i="0" u="none" strike="noStrike" kern="0" cap="none" spc="0" normalizeH="0" baseline="0" noProof="0" dirty="0">
                <a:ln>
                  <a:noFill/>
                </a:ln>
                <a:solidFill>
                  <a:srgbClr val="000000"/>
                </a:solidFill>
                <a:effectLst/>
                <a:uLnTx/>
                <a:uFillTx/>
                <a:latin typeface="Calibri" panose="020F0502020204030204"/>
                <a:ea typeface="+mn-ea"/>
                <a:cs typeface="+mn-cs"/>
              </a:rPr>
              <a:t>Receive CRM</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700" b="1" i="0" u="none" strike="noStrike" kern="0" cap="none" spc="0" normalizeH="0" baseline="0" noProof="0" dirty="0">
                <a:ln>
                  <a:noFill/>
                </a:ln>
                <a:solidFill>
                  <a:srgbClr val="000000"/>
                </a:solidFill>
                <a:effectLst/>
                <a:uLnTx/>
                <a:uFillTx/>
                <a:latin typeface="Calibri" panose="020F0502020204030204"/>
                <a:ea typeface="+mn-ea"/>
                <a:cs typeface="+mn-cs"/>
              </a:rPr>
              <a:t>R1 Functionality</a:t>
            </a:r>
          </a:p>
        </p:txBody>
      </p:sp>
      <p:sp>
        <p:nvSpPr>
          <p:cNvPr id="53" name="TextBox 52"/>
          <p:cNvSpPr txBox="1"/>
          <p:nvPr/>
        </p:nvSpPr>
        <p:spPr>
          <a:xfrm>
            <a:off x="2937773" y="3470999"/>
            <a:ext cx="838200" cy="307777"/>
          </a:xfrm>
          <a:prstGeom prst="rect">
            <a:avLst/>
          </a:prstGeom>
          <a:solidFill>
            <a:sysClr val="window" lastClr="FFFFFF"/>
          </a:solidFill>
          <a:ln>
            <a:solidFill>
              <a:sysClr val="windowText" lastClr="000000"/>
            </a:solidFill>
          </a:ln>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700" b="1" i="0" u="none" strike="noStrike" kern="0" cap="none" spc="0" normalizeH="0" baseline="0" noProof="0" dirty="0">
                <a:ln>
                  <a:noFill/>
                </a:ln>
                <a:solidFill>
                  <a:srgbClr val="000000"/>
                </a:solidFill>
                <a:effectLst/>
                <a:uLnTx/>
                <a:uFillTx/>
                <a:latin typeface="Calibri" panose="020F0502020204030204"/>
                <a:ea typeface="+mn-ea"/>
                <a:cs typeface="+mn-cs"/>
              </a:rPr>
              <a:t>Receive CRM</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700" b="1" i="0" u="none" strike="noStrike" kern="0" cap="none" spc="0" normalizeH="0" baseline="0" noProof="0" dirty="0">
                <a:ln>
                  <a:noFill/>
                </a:ln>
                <a:solidFill>
                  <a:srgbClr val="000000"/>
                </a:solidFill>
                <a:effectLst/>
                <a:uLnTx/>
                <a:uFillTx/>
                <a:latin typeface="Calibri" panose="020F0502020204030204"/>
                <a:ea typeface="+mn-ea"/>
                <a:cs typeface="+mn-cs"/>
              </a:rPr>
              <a:t>R1 Functionality</a:t>
            </a:r>
          </a:p>
        </p:txBody>
      </p:sp>
      <p:sp>
        <p:nvSpPr>
          <p:cNvPr id="54" name="Rectangle 53"/>
          <p:cNvSpPr/>
          <p:nvPr/>
        </p:nvSpPr>
        <p:spPr>
          <a:xfrm>
            <a:off x="1064799" y="1927048"/>
            <a:ext cx="3474720" cy="108000"/>
          </a:xfrm>
          <a:prstGeom prst="rect">
            <a:avLst/>
          </a:prstGeom>
          <a:solidFill>
            <a:srgbClr val="A5A5A5">
              <a:lumMod val="75000"/>
            </a:srgbClr>
          </a:solidFill>
          <a:ln w="12700" cap="flat" cmpd="sng" algn="ctr">
            <a:noFill/>
            <a:prstDash val="solid"/>
            <a:miter lim="800000"/>
          </a:ln>
          <a:effectLst/>
        </p:spPr>
        <p:txBody>
          <a:bodyPr lIns="0" tIns="0" rIns="0" bIns="0"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prstClr val="white"/>
                </a:solidFill>
                <a:effectLst/>
                <a:uLnTx/>
                <a:uFillTx/>
                <a:latin typeface="Calibri" panose="020F0502020204030204"/>
                <a:ea typeface="+mn-ea"/>
                <a:cs typeface="+mn-cs"/>
              </a:rPr>
              <a:t>  United States</a:t>
            </a:r>
          </a:p>
        </p:txBody>
      </p:sp>
      <p:sp>
        <p:nvSpPr>
          <p:cNvPr id="55" name="Rectangle 54"/>
          <p:cNvSpPr/>
          <p:nvPr/>
        </p:nvSpPr>
        <p:spPr>
          <a:xfrm>
            <a:off x="1055531" y="1394148"/>
            <a:ext cx="1280160" cy="108000"/>
          </a:xfrm>
          <a:prstGeom prst="rect">
            <a:avLst/>
          </a:prstGeom>
          <a:solidFill>
            <a:srgbClr val="A5A5A5">
              <a:lumMod val="75000"/>
            </a:srgbClr>
          </a:solidFill>
          <a:ln w="12700" cap="flat" cmpd="sng" algn="ctr">
            <a:noFill/>
            <a:prstDash val="solid"/>
            <a:miter lim="800000"/>
          </a:ln>
          <a:effectLst/>
        </p:spPr>
        <p:txBody>
          <a:bodyPr lIns="0" tIns="0" rIns="0" bIns="0"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prstClr val="white"/>
                </a:solidFill>
                <a:effectLst/>
                <a:uLnTx/>
                <a:uFillTx/>
                <a:latin typeface="Calibri" panose="020F0502020204030204"/>
                <a:ea typeface="+mn-ea"/>
                <a:cs typeface="+mn-cs"/>
              </a:rPr>
              <a:t>  Switzerland  </a:t>
            </a:r>
          </a:p>
        </p:txBody>
      </p:sp>
      <p:sp>
        <p:nvSpPr>
          <p:cNvPr id="57" name="TextBox 56"/>
          <p:cNvSpPr txBox="1"/>
          <p:nvPr/>
        </p:nvSpPr>
        <p:spPr>
          <a:xfrm>
            <a:off x="2295355" y="1280725"/>
            <a:ext cx="894025" cy="200055"/>
          </a:xfrm>
          <a:prstGeom prst="rect">
            <a:avLst/>
          </a:prstGeom>
          <a:solidFill>
            <a:sysClr val="window" lastClr="FFFFFF"/>
          </a:solidFill>
          <a:ln>
            <a:solidFill>
              <a:sysClr val="windowText" lastClr="000000"/>
            </a:solidFill>
          </a:ln>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700" b="1" i="0" u="none" strike="noStrike" kern="0" cap="none" spc="0" normalizeH="0" baseline="0" noProof="0" dirty="0">
                <a:ln>
                  <a:noFill/>
                </a:ln>
                <a:solidFill>
                  <a:prstClr val="black"/>
                </a:solidFill>
                <a:effectLst/>
                <a:uLnTx/>
                <a:uFillTx/>
                <a:latin typeface="Calibri" panose="020F0502020204030204"/>
                <a:ea typeface="+mn-ea"/>
                <a:cs typeface="+mn-cs"/>
              </a:rPr>
              <a:t>Switzerland Live! </a:t>
            </a:r>
          </a:p>
        </p:txBody>
      </p:sp>
      <p:sp>
        <p:nvSpPr>
          <p:cNvPr id="58" name="7-Point Star 57"/>
          <p:cNvSpPr/>
          <p:nvPr/>
        </p:nvSpPr>
        <p:spPr>
          <a:xfrm>
            <a:off x="2032206" y="1275606"/>
            <a:ext cx="225300" cy="206400"/>
          </a:xfrm>
          <a:prstGeom prst="star7">
            <a:avLst/>
          </a:prstGeom>
          <a:solidFill>
            <a:srgbClr val="FF0000"/>
          </a:solidFill>
          <a:ln w="12700" cap="flat" cmpd="sng" algn="ctr">
            <a:noFill/>
            <a:prstDash val="solid"/>
            <a:miter lim="800000"/>
          </a:ln>
          <a:effectLst/>
        </p:spPr>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9" name="TextBox 58"/>
          <p:cNvSpPr txBox="1"/>
          <p:nvPr/>
        </p:nvSpPr>
        <p:spPr>
          <a:xfrm>
            <a:off x="3331330" y="2245210"/>
            <a:ext cx="894025" cy="200055"/>
          </a:xfrm>
          <a:prstGeom prst="rect">
            <a:avLst/>
          </a:prstGeom>
          <a:solidFill>
            <a:sysClr val="window" lastClr="FFFFFF"/>
          </a:solidFill>
          <a:ln>
            <a:solidFill>
              <a:sysClr val="windowText" lastClr="000000"/>
            </a:solidFill>
          </a:ln>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700" b="1" i="0" u="none" strike="noStrike" kern="0" cap="none" spc="0" normalizeH="0" baseline="0" noProof="0" dirty="0">
                <a:ln>
                  <a:noFill/>
                </a:ln>
                <a:solidFill>
                  <a:prstClr val="black"/>
                </a:solidFill>
                <a:effectLst/>
                <a:uLnTx/>
                <a:uFillTx/>
                <a:latin typeface="Calibri" panose="020F0502020204030204"/>
                <a:ea typeface="+mn-ea"/>
                <a:cs typeface="+mn-cs"/>
              </a:rPr>
              <a:t>18 countries Live! </a:t>
            </a:r>
          </a:p>
        </p:txBody>
      </p:sp>
      <p:sp>
        <p:nvSpPr>
          <p:cNvPr id="60" name="7-Point Star 59"/>
          <p:cNvSpPr/>
          <p:nvPr/>
        </p:nvSpPr>
        <p:spPr>
          <a:xfrm>
            <a:off x="3068181" y="2240091"/>
            <a:ext cx="225300" cy="206400"/>
          </a:xfrm>
          <a:prstGeom prst="star7">
            <a:avLst/>
          </a:prstGeom>
          <a:solidFill>
            <a:srgbClr val="FF0000"/>
          </a:solidFill>
          <a:ln w="12700" cap="flat" cmpd="sng" algn="ctr">
            <a:noFill/>
            <a:prstDash val="solid"/>
            <a:miter lim="800000"/>
          </a:ln>
          <a:effectLst/>
        </p:spPr>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1" name="TextBox 60"/>
          <p:cNvSpPr txBox="1"/>
          <p:nvPr/>
        </p:nvSpPr>
        <p:spPr>
          <a:xfrm>
            <a:off x="4579411" y="1795884"/>
            <a:ext cx="1360741" cy="200055"/>
          </a:xfrm>
          <a:prstGeom prst="rect">
            <a:avLst/>
          </a:prstGeom>
          <a:solidFill>
            <a:sysClr val="window" lastClr="FFFFFF"/>
          </a:solidFill>
          <a:ln>
            <a:solidFill>
              <a:sysClr val="windowText" lastClr="000000"/>
            </a:solidFill>
          </a:ln>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700" b="1" i="0" u="none" strike="noStrike" kern="0" cap="none" spc="0" normalizeH="0" baseline="0" noProof="0" dirty="0">
                <a:ln>
                  <a:noFill/>
                </a:ln>
                <a:solidFill>
                  <a:prstClr val="black"/>
                </a:solidFill>
                <a:effectLst/>
                <a:uLnTx/>
                <a:uFillTx/>
                <a:latin typeface="Calibri" panose="020F0502020204030204"/>
                <a:ea typeface="+mn-ea"/>
                <a:cs typeface="+mn-cs"/>
              </a:rPr>
              <a:t>US Contract Management Live! </a:t>
            </a:r>
          </a:p>
        </p:txBody>
      </p:sp>
      <p:sp>
        <p:nvSpPr>
          <p:cNvPr id="62" name="7-Point Star 61"/>
          <p:cNvSpPr/>
          <p:nvPr/>
        </p:nvSpPr>
        <p:spPr>
          <a:xfrm>
            <a:off x="4316262" y="1789801"/>
            <a:ext cx="225300" cy="206400"/>
          </a:xfrm>
          <a:prstGeom prst="star7">
            <a:avLst/>
          </a:prstGeom>
          <a:solidFill>
            <a:srgbClr val="FF0000"/>
          </a:solidFill>
          <a:ln w="12700" cap="flat" cmpd="sng" algn="ctr">
            <a:noFill/>
            <a:prstDash val="solid"/>
            <a:miter lim="800000"/>
          </a:ln>
          <a:effectLst/>
        </p:spPr>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1" name="TextBox 40"/>
          <p:cNvSpPr txBox="1"/>
          <p:nvPr/>
        </p:nvSpPr>
        <p:spPr>
          <a:xfrm>
            <a:off x="8007856" y="4084693"/>
            <a:ext cx="927869" cy="415498"/>
          </a:xfrm>
          <a:prstGeom prst="rect">
            <a:avLst/>
          </a:prstGeom>
          <a:solidFill>
            <a:sysClr val="window" lastClr="FFFFFF"/>
          </a:solidFill>
          <a:ln>
            <a:solidFill>
              <a:sysClr val="windowText" lastClr="000000"/>
            </a:solidFill>
          </a:ln>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700" b="1" i="0" u="none" strike="noStrike" kern="0" cap="none" spc="0" normalizeH="0" baseline="0" noProof="0" dirty="0">
                <a:ln>
                  <a:noFill/>
                </a:ln>
                <a:solidFill>
                  <a:srgbClr val="000000"/>
                </a:solidFill>
                <a:effectLst/>
                <a:uLnTx/>
                <a:uFillTx/>
                <a:latin typeface="Calibri" panose="020F0502020204030204"/>
                <a:ea typeface="+mn-ea"/>
                <a:cs typeface="+mn-cs"/>
              </a:rPr>
              <a:t>Receive CRM R1 &amp; OM R1 Functionality</a:t>
            </a:r>
          </a:p>
        </p:txBody>
      </p:sp>
      <p:pic>
        <p:nvPicPr>
          <p:cNvPr id="34" name="Picture 33" descr="green_check"/>
          <p:cNvPicPr>
            <a:picLocks noGrp="1" noChangeAspect="1"/>
          </p:cNvPicPr>
          <p:nvPr isPhoto="1"/>
        </p:nvPicPr>
        <p:blipFill>
          <a:blip r:embed="rId13" cstate="print">
            <a:lum/>
            <a:extLst>
              <a:ext uri="{28A0092B-C50C-407E-A947-70E740481C1C}">
                <a14:useLocalDpi xmlns:a14="http://schemas.microsoft.com/office/drawing/2010/main" val="0"/>
              </a:ext>
            </a:extLst>
          </a:blip>
          <a:stretch>
            <a:fillRect/>
          </a:stretch>
        </p:blipFill>
        <p:spPr>
          <a:xfrm>
            <a:off x="1979712" y="1219588"/>
            <a:ext cx="331626" cy="331626"/>
          </a:xfrm>
          <a:prstGeom prst="rect">
            <a:avLst/>
          </a:prstGeom>
          <a:noFill/>
          <a:ln>
            <a:noFill/>
          </a:ln>
          <a:effectLst/>
        </p:spPr>
      </p:pic>
    </p:spTree>
    <p:extLst>
      <p:ext uri="{BB962C8B-B14F-4D97-AF65-F5344CB8AC3E}">
        <p14:creationId xmlns:p14="http://schemas.microsoft.com/office/powerpoint/2010/main" val="271066171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sz="2400" b="0" dirty="0">
                <a:solidFill>
                  <a:schemeClr val="accent6">
                    <a:lumMod val="50000"/>
                  </a:schemeClr>
                </a:solidFill>
                <a:cs typeface="Arial" panose="020B0604020202020204" pitchFamily="34" charset="0"/>
              </a:rPr>
              <a:t>Roll-out  Summary: </a:t>
            </a:r>
          </a:p>
        </p:txBody>
      </p:sp>
      <p:sp>
        <p:nvSpPr>
          <p:cNvPr id="3" name="Content Placeholder 2"/>
          <p:cNvSpPr>
            <a:spLocks noGrp="1"/>
          </p:cNvSpPr>
          <p:nvPr>
            <p:ph idx="1"/>
          </p:nvPr>
        </p:nvSpPr>
        <p:spPr/>
        <p:txBody>
          <a:bodyPr/>
          <a:lstStyle/>
          <a:p>
            <a:pPr marL="0" indent="0">
              <a:buNone/>
            </a:pPr>
            <a:endParaRPr lang="en-GB" dirty="0"/>
          </a:p>
          <a:p>
            <a:endParaRPr lang="en-GB" dirty="0"/>
          </a:p>
        </p:txBody>
      </p:sp>
      <p:sp>
        <p:nvSpPr>
          <p:cNvPr id="4" name="Footer Placeholder 3"/>
          <p:cNvSpPr>
            <a:spLocks noGrp="1"/>
          </p:cNvSpPr>
          <p:nvPr>
            <p:ph type="ftr" sz="quarter" idx="10"/>
          </p:nvPr>
        </p:nvSpPr>
        <p:spPr/>
        <p:txBody>
          <a:bodyPr/>
          <a:lstStyle/>
          <a:p>
            <a:r>
              <a:rPr lang="en-US"/>
              <a:t>Scout l Roll-out Country Grouping l 6 August 2020</a:t>
            </a:r>
            <a:endParaRPr lang="fr-FR" dirty="0"/>
          </a:p>
        </p:txBody>
      </p:sp>
      <p:sp>
        <p:nvSpPr>
          <p:cNvPr id="5" name="Slide Number Placeholder 4"/>
          <p:cNvSpPr>
            <a:spLocks noGrp="1"/>
          </p:cNvSpPr>
          <p:nvPr>
            <p:ph type="sldNum" sz="quarter" idx="11"/>
          </p:nvPr>
        </p:nvSpPr>
        <p:spPr/>
        <p:txBody>
          <a:bodyPr/>
          <a:lstStyle/>
          <a:p>
            <a:fld id="{47547CF9-5B10-D24F-A8D7-45A9778164F7}" type="slidenum">
              <a:rPr lang="uk-UA" smtClean="0"/>
              <a:pPr/>
              <a:t>5</a:t>
            </a:fld>
            <a:endParaRPr lang="uk-UA" dirty="0"/>
          </a:p>
        </p:txBody>
      </p:sp>
      <p:graphicFrame>
        <p:nvGraphicFramePr>
          <p:cNvPr id="8" name="Table 7"/>
          <p:cNvGraphicFramePr>
            <a:graphicFrameLocks noGrp="1"/>
          </p:cNvGraphicFramePr>
          <p:nvPr>
            <p:extLst>
              <p:ext uri="{D42A27DB-BD31-4B8C-83A1-F6EECF244321}">
                <p14:modId xmlns:p14="http://schemas.microsoft.com/office/powerpoint/2010/main" val="294461269"/>
              </p:ext>
            </p:extLst>
          </p:nvPr>
        </p:nvGraphicFramePr>
        <p:xfrm>
          <a:off x="555134" y="1608619"/>
          <a:ext cx="6607664" cy="2595880"/>
        </p:xfrm>
        <a:graphic>
          <a:graphicData uri="http://schemas.openxmlformats.org/drawingml/2006/table">
            <a:tbl>
              <a:tblPr firstRow="1" bandRow="1">
                <a:tableStyleId>{1C5780E6-A8F4-46B0-B82D-9E7F56C639EF}</a:tableStyleId>
              </a:tblPr>
              <a:tblGrid>
                <a:gridCol w="1651916">
                  <a:extLst>
                    <a:ext uri="{9D8B030D-6E8A-4147-A177-3AD203B41FA5}">
                      <a16:colId xmlns:a16="http://schemas.microsoft.com/office/drawing/2014/main" val="2963235826"/>
                    </a:ext>
                  </a:extLst>
                </a:gridCol>
                <a:gridCol w="1651916">
                  <a:extLst>
                    <a:ext uri="{9D8B030D-6E8A-4147-A177-3AD203B41FA5}">
                      <a16:colId xmlns:a16="http://schemas.microsoft.com/office/drawing/2014/main" val="936983500"/>
                    </a:ext>
                  </a:extLst>
                </a:gridCol>
                <a:gridCol w="1322634">
                  <a:extLst>
                    <a:ext uri="{9D8B030D-6E8A-4147-A177-3AD203B41FA5}">
                      <a16:colId xmlns:a16="http://schemas.microsoft.com/office/drawing/2014/main" val="312697929"/>
                    </a:ext>
                  </a:extLst>
                </a:gridCol>
                <a:gridCol w="1981198">
                  <a:extLst>
                    <a:ext uri="{9D8B030D-6E8A-4147-A177-3AD203B41FA5}">
                      <a16:colId xmlns:a16="http://schemas.microsoft.com/office/drawing/2014/main" val="2232446407"/>
                    </a:ext>
                  </a:extLst>
                </a:gridCol>
              </a:tblGrid>
              <a:tr h="370840">
                <a:tc>
                  <a:txBody>
                    <a:bodyPr/>
                    <a:lstStyle/>
                    <a:p>
                      <a:pPr algn="l" fontAlgn="b"/>
                      <a:endParaRPr lang="en-GB" sz="1200" b="0" i="0" u="none" strike="noStrike" dirty="0">
                        <a:solidFill>
                          <a:srgbClr val="000000"/>
                        </a:solidFill>
                        <a:effectLst/>
                        <a:latin typeface="Arial" panose="020B0604020202020204" pitchFamily="34" charset="0"/>
                      </a:endParaRPr>
                    </a:p>
                  </a:txBody>
                  <a:tcPr marL="6350" marR="6350" marT="6350" marB="0" anchor="b"/>
                </a:tc>
                <a:tc>
                  <a:txBody>
                    <a:bodyPr/>
                    <a:lstStyle/>
                    <a:p>
                      <a:pPr algn="ctr" fontAlgn="b"/>
                      <a:r>
                        <a:rPr lang="en-GB" sz="1200" b="0" i="0" u="none" strike="noStrike">
                          <a:solidFill>
                            <a:srgbClr val="000000"/>
                          </a:solidFill>
                          <a:effectLst/>
                          <a:latin typeface="Arial" panose="020B0604020202020204" pitchFamily="34" charset="0"/>
                        </a:rPr>
                        <a:t>Countries</a:t>
                      </a:r>
                    </a:p>
                  </a:txBody>
                  <a:tcPr marL="6350" marR="6350" marT="6350" marB="0" anchor="b"/>
                </a:tc>
                <a:tc>
                  <a:txBody>
                    <a:bodyPr/>
                    <a:lstStyle/>
                    <a:p>
                      <a:pPr algn="ctr" fontAlgn="b"/>
                      <a:r>
                        <a:rPr lang="en-GB" sz="1200" b="0" i="0" u="none" strike="noStrike" dirty="0">
                          <a:solidFill>
                            <a:srgbClr val="000000"/>
                          </a:solidFill>
                          <a:effectLst/>
                          <a:latin typeface="Arial" panose="020B0604020202020204" pitchFamily="34" charset="0"/>
                        </a:rPr>
                        <a:t>Users (</a:t>
                      </a:r>
                      <a:r>
                        <a:rPr lang="en-GB" sz="1200" b="0" i="0" u="none" strike="noStrike" dirty="0" err="1">
                          <a:solidFill>
                            <a:srgbClr val="000000"/>
                          </a:solidFill>
                          <a:effectLst/>
                          <a:latin typeface="Arial" panose="020B0604020202020204" pitchFamily="34" charset="0"/>
                        </a:rPr>
                        <a:t>apprx</a:t>
                      </a:r>
                      <a:r>
                        <a:rPr lang="en-GB" sz="1200" b="0" i="0" u="none" strike="noStrike" dirty="0">
                          <a:solidFill>
                            <a:srgbClr val="000000"/>
                          </a:solidFill>
                          <a:effectLst/>
                          <a:latin typeface="Arial" panose="020B0604020202020204" pitchFamily="34" charset="0"/>
                        </a:rPr>
                        <a:t>)</a:t>
                      </a:r>
                    </a:p>
                  </a:txBody>
                  <a:tcPr marL="6350" marR="6350" marT="6350" marB="0" anchor="b"/>
                </a:tc>
                <a:tc>
                  <a:txBody>
                    <a:bodyPr/>
                    <a:lstStyle/>
                    <a:p>
                      <a:pPr algn="l" fontAlgn="b"/>
                      <a:endParaRPr lang="en-GB" sz="1000" b="0" i="0" u="none" strike="noStrike">
                        <a:solidFill>
                          <a:srgbClr val="000000"/>
                        </a:solidFill>
                        <a:effectLst/>
                        <a:latin typeface="Arial" panose="020B0604020202020204" pitchFamily="34" charset="0"/>
                      </a:endParaRPr>
                    </a:p>
                  </a:txBody>
                  <a:tcPr marL="6350" marR="6350" marT="6350" marB="0" anchor="b"/>
                </a:tc>
                <a:extLst>
                  <a:ext uri="{0D108BD9-81ED-4DB2-BD59-A6C34878D82A}">
                    <a16:rowId xmlns:a16="http://schemas.microsoft.com/office/drawing/2014/main" val="2707137205"/>
                  </a:ext>
                </a:extLst>
              </a:tr>
              <a:tr h="37084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1200" b="0" i="0" u="none" strike="noStrike" dirty="0">
                          <a:solidFill>
                            <a:srgbClr val="000000"/>
                          </a:solidFill>
                          <a:effectLst/>
                          <a:latin typeface="Arial" panose="020B0604020202020204" pitchFamily="34" charset="0"/>
                        </a:rPr>
                        <a:t>Wave 1 +CH+US CM</a:t>
                      </a:r>
                    </a:p>
                  </a:txBody>
                  <a:tcPr marL="6350" marR="6350" marT="6350" marB="0" anchor="b"/>
                </a:tc>
                <a:tc>
                  <a:txBody>
                    <a:bodyPr/>
                    <a:lstStyle/>
                    <a:p>
                      <a:pPr algn="ctr" fontAlgn="b"/>
                      <a:r>
                        <a:rPr lang="en-GB" sz="1200" b="0" i="0" u="none" strike="noStrike" dirty="0">
                          <a:solidFill>
                            <a:srgbClr val="000000"/>
                          </a:solidFill>
                          <a:effectLst/>
                          <a:latin typeface="Arial" panose="020B0604020202020204" pitchFamily="34" charset="0"/>
                        </a:rPr>
                        <a:t>20</a:t>
                      </a:r>
                    </a:p>
                  </a:txBody>
                  <a:tcPr marL="6350" marR="6350" marT="6350" marB="0" anchor="b"/>
                </a:tc>
                <a:tc>
                  <a:txBody>
                    <a:bodyPr/>
                    <a:lstStyle/>
                    <a:p>
                      <a:pPr algn="ctr" fontAlgn="b"/>
                      <a:r>
                        <a:rPr lang="en-GB" sz="1200" b="0" i="0" u="none" strike="noStrike" dirty="0">
                          <a:solidFill>
                            <a:srgbClr val="000000"/>
                          </a:solidFill>
                          <a:effectLst/>
                          <a:latin typeface="Arial" panose="020B0604020202020204" pitchFamily="34" charset="0"/>
                        </a:rPr>
                        <a:t>1000</a:t>
                      </a:r>
                    </a:p>
                  </a:txBody>
                  <a:tcPr marL="6350" marR="6350" marT="6350" marB="0" anchor="b"/>
                </a:tc>
                <a:tc>
                  <a:txBody>
                    <a:bodyPr/>
                    <a:lstStyle/>
                    <a:p>
                      <a:pPr algn="l" fontAlgn="b"/>
                      <a:r>
                        <a:rPr lang="en-GB" sz="1000" b="0" i="0" u="none" strike="noStrike" dirty="0">
                          <a:solidFill>
                            <a:srgbClr val="000000"/>
                          </a:solidFill>
                          <a:effectLst/>
                          <a:latin typeface="Arial" panose="020B0604020202020204" pitchFamily="34" charset="0"/>
                        </a:rPr>
                        <a:t> </a:t>
                      </a:r>
                      <a:r>
                        <a:rPr lang="en-GB" sz="1000" b="0" i="0" u="none" strike="noStrike" baseline="0" dirty="0">
                          <a:solidFill>
                            <a:srgbClr val="000000"/>
                          </a:solidFill>
                          <a:effectLst/>
                          <a:latin typeface="Arial" panose="020B0604020202020204" pitchFamily="34" charset="0"/>
                        </a:rPr>
                        <a:t> </a:t>
                      </a:r>
                      <a:endParaRPr lang="en-GB" sz="1000" b="0" i="0" u="none" strike="noStrike" dirty="0">
                        <a:solidFill>
                          <a:srgbClr val="000000"/>
                        </a:solidFill>
                        <a:effectLst/>
                        <a:latin typeface="Arial" panose="020B0604020202020204" pitchFamily="34" charset="0"/>
                      </a:endParaRPr>
                    </a:p>
                    <a:p>
                      <a:pPr algn="l" fontAlgn="b"/>
                      <a:endParaRPr lang="en-GB" sz="1000" b="0" i="0" u="none" strike="noStrike" dirty="0">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62156162"/>
                  </a:ext>
                </a:extLst>
              </a:tr>
              <a:tr h="370840">
                <a:tc>
                  <a:txBody>
                    <a:bodyPr/>
                    <a:lstStyle/>
                    <a:p>
                      <a:pPr algn="l" fontAlgn="b"/>
                      <a:r>
                        <a:rPr lang="en-GB" sz="1200" b="0" i="0" u="none" strike="noStrike" dirty="0">
                          <a:solidFill>
                            <a:srgbClr val="000000"/>
                          </a:solidFill>
                          <a:effectLst/>
                          <a:latin typeface="Arial" panose="020B0604020202020204" pitchFamily="34" charset="0"/>
                        </a:rPr>
                        <a:t>Wave 1A</a:t>
                      </a:r>
                      <a:r>
                        <a:rPr lang="en-GB" sz="1200" b="0" i="0" u="none" strike="noStrike" baseline="0" dirty="0">
                          <a:solidFill>
                            <a:srgbClr val="000000"/>
                          </a:solidFill>
                          <a:effectLst/>
                          <a:latin typeface="Arial" panose="020B0604020202020204" pitchFamily="34" charset="0"/>
                        </a:rPr>
                        <a:t> (SIR)</a:t>
                      </a:r>
                      <a:endParaRPr lang="en-GB" sz="1200" b="0" i="0" u="none" strike="noStrike" dirty="0">
                        <a:solidFill>
                          <a:srgbClr val="000000"/>
                        </a:solidFill>
                        <a:effectLst/>
                        <a:latin typeface="Arial" panose="020B0604020202020204" pitchFamily="34" charset="0"/>
                      </a:endParaRPr>
                    </a:p>
                  </a:txBody>
                  <a:tcPr marL="6350" marR="6350" marT="6350" marB="0" anchor="b">
                    <a:noFill/>
                  </a:tcPr>
                </a:tc>
                <a:tc>
                  <a:txBody>
                    <a:bodyPr/>
                    <a:lstStyle/>
                    <a:p>
                      <a:pPr algn="ctr" fontAlgn="b"/>
                      <a:r>
                        <a:rPr lang="en-GB" sz="1200" b="0" i="0" u="none" strike="noStrike" dirty="0">
                          <a:solidFill>
                            <a:srgbClr val="000000"/>
                          </a:solidFill>
                          <a:effectLst/>
                          <a:latin typeface="Arial" panose="020B0604020202020204" pitchFamily="34" charset="0"/>
                        </a:rPr>
                        <a:t>17</a:t>
                      </a:r>
                    </a:p>
                  </a:txBody>
                  <a:tcPr marL="6350" marR="6350" marT="6350" marB="0" anchor="b">
                    <a:noFill/>
                  </a:tcPr>
                </a:tc>
                <a:tc>
                  <a:txBody>
                    <a:bodyPr/>
                    <a:lstStyle/>
                    <a:p>
                      <a:pPr algn="ctr" fontAlgn="b"/>
                      <a:r>
                        <a:rPr lang="en-GB" sz="1200" b="0" i="0" u="none" strike="noStrike" dirty="0">
                          <a:solidFill>
                            <a:srgbClr val="000000"/>
                          </a:solidFill>
                          <a:effectLst/>
                          <a:latin typeface="Arial" panose="020B0604020202020204" pitchFamily="34" charset="0"/>
                        </a:rPr>
                        <a:t>750</a:t>
                      </a:r>
                    </a:p>
                  </a:txBody>
                  <a:tcPr marL="6350" marR="6350" marT="6350" marB="0" anchor="b">
                    <a:noFill/>
                  </a:tcPr>
                </a:tc>
                <a:tc>
                  <a:txBody>
                    <a:bodyPr/>
                    <a:lstStyle/>
                    <a:p>
                      <a:pPr algn="l" fontAlgn="b"/>
                      <a:endParaRPr lang="en-GB" sz="1000" b="0" i="0" u="none" strike="noStrike" dirty="0">
                        <a:solidFill>
                          <a:srgbClr val="000000"/>
                        </a:solidFill>
                        <a:effectLst/>
                        <a:latin typeface="Arial" panose="020B0604020202020204" pitchFamily="34" charset="0"/>
                      </a:endParaRPr>
                    </a:p>
                  </a:txBody>
                  <a:tcPr marL="6350" marR="6350" marT="6350" marB="0" anchor="b"/>
                </a:tc>
                <a:extLst>
                  <a:ext uri="{0D108BD9-81ED-4DB2-BD59-A6C34878D82A}">
                    <a16:rowId xmlns:a16="http://schemas.microsoft.com/office/drawing/2014/main" val="3219486598"/>
                  </a:ext>
                </a:extLst>
              </a:tr>
              <a:tr h="370840">
                <a:tc>
                  <a:txBody>
                    <a:bodyPr/>
                    <a:lstStyle/>
                    <a:p>
                      <a:pPr algn="l" fontAlgn="b"/>
                      <a:r>
                        <a:rPr lang="en-GB" sz="1200" b="0" i="0" u="none" strike="noStrike" dirty="0">
                          <a:solidFill>
                            <a:srgbClr val="000000"/>
                          </a:solidFill>
                          <a:effectLst/>
                          <a:latin typeface="Arial" panose="020B0604020202020204" pitchFamily="34" charset="0"/>
                        </a:rPr>
                        <a:t>Wave 2+2A</a:t>
                      </a:r>
                    </a:p>
                  </a:txBody>
                  <a:tcPr marL="6350" marR="6350" marT="6350" marB="0" anchor="b">
                    <a:noFill/>
                  </a:tcPr>
                </a:tc>
                <a:tc>
                  <a:txBody>
                    <a:bodyPr/>
                    <a:lstStyle/>
                    <a:p>
                      <a:pPr algn="ctr" fontAlgn="b"/>
                      <a:r>
                        <a:rPr lang="en-GB" sz="1200" b="0" i="0" u="none" strike="noStrike" dirty="0">
                          <a:solidFill>
                            <a:srgbClr val="000000"/>
                          </a:solidFill>
                          <a:effectLst/>
                          <a:latin typeface="Arial" panose="020B0604020202020204" pitchFamily="34" charset="0"/>
                        </a:rPr>
                        <a:t>13</a:t>
                      </a:r>
                    </a:p>
                  </a:txBody>
                  <a:tcPr marL="6350" marR="6350" marT="6350" marB="0" anchor="b">
                    <a:noFill/>
                  </a:tcPr>
                </a:tc>
                <a:tc>
                  <a:txBody>
                    <a:bodyPr/>
                    <a:lstStyle/>
                    <a:p>
                      <a:pPr algn="ctr" fontAlgn="b"/>
                      <a:r>
                        <a:rPr lang="en-GB" sz="1200" b="0" i="0" u="none" strike="noStrike" dirty="0">
                          <a:solidFill>
                            <a:srgbClr val="000000"/>
                          </a:solidFill>
                          <a:effectLst/>
                          <a:latin typeface="Arial" panose="020B0604020202020204" pitchFamily="34" charset="0"/>
                        </a:rPr>
                        <a:t>2700</a:t>
                      </a:r>
                    </a:p>
                  </a:txBody>
                  <a:tcPr marL="6350" marR="6350" marT="6350" marB="0" anchor="b">
                    <a:noFill/>
                  </a:tcPr>
                </a:tc>
                <a:tc>
                  <a:txBody>
                    <a:bodyPr/>
                    <a:lstStyle/>
                    <a:p>
                      <a:pPr algn="l" fontAlgn="b"/>
                      <a:endParaRPr lang="en-GB" sz="1000" b="0" i="0" u="none" strike="noStrike" dirty="0">
                        <a:solidFill>
                          <a:srgbClr val="000000"/>
                        </a:solidFill>
                        <a:effectLst/>
                        <a:latin typeface="Arial" panose="020B0604020202020204" pitchFamily="34" charset="0"/>
                      </a:endParaRPr>
                    </a:p>
                  </a:txBody>
                  <a:tcPr marL="6350" marR="6350" marT="6350" marB="0" anchor="b"/>
                </a:tc>
                <a:extLst>
                  <a:ext uri="{0D108BD9-81ED-4DB2-BD59-A6C34878D82A}">
                    <a16:rowId xmlns:a16="http://schemas.microsoft.com/office/drawing/2014/main" val="812535211"/>
                  </a:ext>
                </a:extLst>
              </a:tr>
              <a:tr h="370840">
                <a:tc>
                  <a:txBody>
                    <a:bodyPr/>
                    <a:lstStyle/>
                    <a:p>
                      <a:pPr algn="l" fontAlgn="b"/>
                      <a:r>
                        <a:rPr lang="en-GB" sz="1200" b="0" i="0" u="none" strike="noStrike" dirty="0">
                          <a:solidFill>
                            <a:srgbClr val="000000"/>
                          </a:solidFill>
                          <a:effectLst/>
                          <a:latin typeface="Arial" panose="020B0604020202020204" pitchFamily="34" charset="0"/>
                        </a:rPr>
                        <a:t>Wave 3+3A</a:t>
                      </a:r>
                    </a:p>
                  </a:txBody>
                  <a:tcPr marL="6350" marR="6350" marT="6350" marB="0" anchor="b">
                    <a:noFill/>
                  </a:tcPr>
                </a:tc>
                <a:tc>
                  <a:txBody>
                    <a:bodyPr/>
                    <a:lstStyle/>
                    <a:p>
                      <a:pPr algn="ctr" fontAlgn="b"/>
                      <a:r>
                        <a:rPr lang="en-GB" sz="1200" b="0" i="0" u="none" strike="noStrike" dirty="0">
                          <a:solidFill>
                            <a:srgbClr val="000000"/>
                          </a:solidFill>
                          <a:effectLst/>
                          <a:latin typeface="Arial" panose="020B0604020202020204" pitchFamily="34" charset="0"/>
                        </a:rPr>
                        <a:t>11 (+DE</a:t>
                      </a:r>
                      <a:r>
                        <a:rPr lang="en-GB" sz="1200" b="0" i="0" u="none" strike="noStrike" baseline="0" dirty="0">
                          <a:solidFill>
                            <a:srgbClr val="000000"/>
                          </a:solidFill>
                          <a:effectLst/>
                          <a:latin typeface="Arial" panose="020B0604020202020204" pitchFamily="34" charset="0"/>
                        </a:rPr>
                        <a:t> OM +US CRM)</a:t>
                      </a:r>
                      <a:endParaRPr lang="en-GB" sz="1200" b="0" i="0" u="none" strike="noStrike" dirty="0">
                        <a:solidFill>
                          <a:srgbClr val="000000"/>
                        </a:solidFill>
                        <a:effectLst/>
                        <a:latin typeface="Arial" panose="020B0604020202020204" pitchFamily="34" charset="0"/>
                      </a:endParaRPr>
                    </a:p>
                  </a:txBody>
                  <a:tcPr marL="6350" marR="6350" marT="6350" marB="0" anchor="b">
                    <a:noFill/>
                  </a:tcPr>
                </a:tc>
                <a:tc>
                  <a:txBody>
                    <a:bodyPr/>
                    <a:lstStyle/>
                    <a:p>
                      <a:pPr algn="ctr" fontAlgn="b"/>
                      <a:r>
                        <a:rPr lang="en-GB" sz="1200" b="0" i="0" u="none" strike="noStrike" dirty="0">
                          <a:solidFill>
                            <a:srgbClr val="000000"/>
                          </a:solidFill>
                          <a:effectLst/>
                          <a:latin typeface="Arial" panose="020B0604020202020204" pitchFamily="34" charset="0"/>
                        </a:rPr>
                        <a:t>1450</a:t>
                      </a:r>
                    </a:p>
                  </a:txBody>
                  <a:tcPr marL="6350" marR="6350" marT="6350" marB="0" anchor="b">
                    <a:noFill/>
                  </a:tcPr>
                </a:tc>
                <a:tc>
                  <a:txBody>
                    <a:bodyPr/>
                    <a:lstStyle/>
                    <a:p>
                      <a:pPr algn="l" fontAlgn="b"/>
                      <a:endParaRPr lang="en-GB" sz="1000" b="0" i="0" u="none" strike="noStrike" dirty="0">
                        <a:solidFill>
                          <a:srgbClr val="000000"/>
                        </a:solidFill>
                        <a:effectLst/>
                        <a:latin typeface="Arial" panose="020B0604020202020204" pitchFamily="34" charset="0"/>
                      </a:endParaRPr>
                    </a:p>
                  </a:txBody>
                  <a:tcPr marL="6350" marR="6350" marT="6350" marB="0" anchor="b"/>
                </a:tc>
                <a:extLst>
                  <a:ext uri="{0D108BD9-81ED-4DB2-BD59-A6C34878D82A}">
                    <a16:rowId xmlns:a16="http://schemas.microsoft.com/office/drawing/2014/main" val="4011252635"/>
                  </a:ext>
                </a:extLst>
              </a:tr>
              <a:tr h="370840">
                <a:tc>
                  <a:txBody>
                    <a:bodyPr/>
                    <a:lstStyle/>
                    <a:p>
                      <a:pPr algn="l" fontAlgn="b"/>
                      <a:endParaRPr lang="en-GB" sz="1200" b="0" i="0" u="none" strike="noStrike" dirty="0">
                        <a:solidFill>
                          <a:srgbClr val="000000"/>
                        </a:solidFill>
                        <a:effectLst/>
                        <a:latin typeface="Arial" panose="020B0604020202020204" pitchFamily="34" charset="0"/>
                      </a:endParaRPr>
                    </a:p>
                  </a:txBody>
                  <a:tcPr marL="6350" marR="6350" marT="6350" marB="0" anchor="b"/>
                </a:tc>
                <a:tc>
                  <a:txBody>
                    <a:bodyPr/>
                    <a:lstStyle/>
                    <a:p>
                      <a:pPr algn="ctr" fontAlgn="b"/>
                      <a:endParaRPr lang="en-GB" sz="1200" b="0" i="0" u="none" strike="noStrike" dirty="0">
                        <a:solidFill>
                          <a:srgbClr val="000000"/>
                        </a:solidFill>
                        <a:effectLst/>
                        <a:latin typeface="Arial" panose="020B0604020202020204" pitchFamily="34" charset="0"/>
                      </a:endParaRPr>
                    </a:p>
                  </a:txBody>
                  <a:tcPr marL="6350" marR="6350" marT="6350" marB="0" anchor="b"/>
                </a:tc>
                <a:tc>
                  <a:txBody>
                    <a:bodyPr/>
                    <a:lstStyle/>
                    <a:p>
                      <a:pPr algn="ctr" fontAlgn="b"/>
                      <a:endParaRPr lang="en-GB" sz="1200" b="0" i="0" u="none" strike="noStrike" dirty="0">
                        <a:solidFill>
                          <a:srgbClr val="000000"/>
                        </a:solidFill>
                        <a:effectLst/>
                        <a:latin typeface="Arial" panose="020B0604020202020204" pitchFamily="34" charset="0"/>
                      </a:endParaRPr>
                    </a:p>
                  </a:txBody>
                  <a:tcPr marL="6350" marR="6350" marT="6350" marB="0" anchor="b"/>
                </a:tc>
                <a:tc>
                  <a:txBody>
                    <a:bodyPr/>
                    <a:lstStyle/>
                    <a:p>
                      <a:pPr algn="l" fontAlgn="b"/>
                      <a:endParaRPr lang="en-GB" sz="1000" b="0" i="0" u="none" strike="noStrike" dirty="0">
                        <a:solidFill>
                          <a:srgbClr val="000000"/>
                        </a:solidFill>
                        <a:effectLst/>
                        <a:latin typeface="Arial" panose="020B0604020202020204" pitchFamily="34" charset="0"/>
                      </a:endParaRPr>
                    </a:p>
                  </a:txBody>
                  <a:tcPr marL="6350" marR="6350" marT="6350" marB="0" anchor="b"/>
                </a:tc>
                <a:extLst>
                  <a:ext uri="{0D108BD9-81ED-4DB2-BD59-A6C34878D82A}">
                    <a16:rowId xmlns:a16="http://schemas.microsoft.com/office/drawing/2014/main" val="2550527615"/>
                  </a:ext>
                </a:extLst>
              </a:tr>
              <a:tr h="370840">
                <a:tc>
                  <a:txBody>
                    <a:bodyPr/>
                    <a:lstStyle/>
                    <a:p>
                      <a:pPr algn="l" fontAlgn="b"/>
                      <a:endParaRPr lang="en-GB" sz="1200" b="0" i="0" u="none" strike="noStrike" dirty="0">
                        <a:solidFill>
                          <a:srgbClr val="000000"/>
                        </a:solidFill>
                        <a:effectLst/>
                        <a:latin typeface="Arial" panose="020B0604020202020204" pitchFamily="34" charset="0"/>
                      </a:endParaRPr>
                    </a:p>
                  </a:txBody>
                  <a:tcPr marL="6350" marR="6350" marT="6350" marB="0" anchor="b"/>
                </a:tc>
                <a:tc>
                  <a:txBody>
                    <a:bodyPr/>
                    <a:lstStyle/>
                    <a:p>
                      <a:pPr algn="ctr" fontAlgn="b"/>
                      <a:r>
                        <a:rPr lang="en-GB" sz="1200" b="1" i="0" u="none" strike="noStrike" dirty="0">
                          <a:solidFill>
                            <a:srgbClr val="000000"/>
                          </a:solidFill>
                          <a:effectLst/>
                          <a:latin typeface="Arial" panose="020B0604020202020204" pitchFamily="34" charset="0"/>
                        </a:rPr>
                        <a:t>61</a:t>
                      </a:r>
                    </a:p>
                  </a:txBody>
                  <a:tcPr marL="6350" marR="6350" marT="6350" marB="0" anchor="b"/>
                </a:tc>
                <a:tc>
                  <a:txBody>
                    <a:bodyPr/>
                    <a:lstStyle/>
                    <a:p>
                      <a:pPr algn="ctr" fontAlgn="b"/>
                      <a:r>
                        <a:rPr lang="en-GB" sz="1200" b="1" i="0" u="none" strike="noStrike" dirty="0">
                          <a:solidFill>
                            <a:srgbClr val="000000"/>
                          </a:solidFill>
                          <a:effectLst/>
                          <a:latin typeface="Arial" panose="020B0604020202020204" pitchFamily="34" charset="0"/>
                        </a:rPr>
                        <a:t>5900</a:t>
                      </a:r>
                    </a:p>
                  </a:txBody>
                  <a:tcPr marL="6350" marR="6350" marT="6350" marB="0" anchor="b"/>
                </a:tc>
                <a:tc>
                  <a:txBody>
                    <a:bodyPr/>
                    <a:lstStyle/>
                    <a:p>
                      <a:pPr algn="l" fontAlgn="b"/>
                      <a:endParaRPr lang="en-GB" sz="1000" b="0" i="0" u="none" strike="noStrike" dirty="0">
                        <a:solidFill>
                          <a:srgbClr val="000000"/>
                        </a:solidFill>
                        <a:effectLst/>
                        <a:latin typeface="Arial" panose="020B0604020202020204" pitchFamily="34" charset="0"/>
                      </a:endParaRPr>
                    </a:p>
                  </a:txBody>
                  <a:tcPr marL="6350" marR="6350" marT="6350" marB="0" anchor="b"/>
                </a:tc>
                <a:extLst>
                  <a:ext uri="{0D108BD9-81ED-4DB2-BD59-A6C34878D82A}">
                    <a16:rowId xmlns:a16="http://schemas.microsoft.com/office/drawing/2014/main" val="948953401"/>
                  </a:ext>
                </a:extLst>
              </a:tr>
            </a:tbl>
          </a:graphicData>
        </a:graphic>
      </p:graphicFrame>
    </p:spTree>
    <p:extLst>
      <p:ext uri="{BB962C8B-B14F-4D97-AF65-F5344CB8AC3E}">
        <p14:creationId xmlns:p14="http://schemas.microsoft.com/office/powerpoint/2010/main" val="379614365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sz="2400" dirty="0">
                <a:solidFill>
                  <a:schemeClr val="accent6">
                    <a:lumMod val="50000"/>
                  </a:schemeClr>
                </a:solidFill>
              </a:rPr>
              <a:t>What is Roll-out? </a:t>
            </a:r>
            <a:r>
              <a:rPr lang="en-GB" sz="2400" b="0" dirty="0">
                <a:solidFill>
                  <a:schemeClr val="accent6">
                    <a:lumMod val="50000"/>
                  </a:schemeClr>
                </a:solidFill>
              </a:rPr>
              <a:t>High-level Activities</a:t>
            </a:r>
          </a:p>
        </p:txBody>
      </p:sp>
      <p:sp>
        <p:nvSpPr>
          <p:cNvPr id="4" name="Footer Placeholder 3"/>
          <p:cNvSpPr>
            <a:spLocks noGrp="1"/>
          </p:cNvSpPr>
          <p:nvPr>
            <p:ph type="ftr" sz="quarter" idx="10"/>
          </p:nvPr>
        </p:nvSpPr>
        <p:spPr/>
        <p:txBody>
          <a:bodyPr/>
          <a:lstStyle/>
          <a:p>
            <a:r>
              <a:rPr lang="en-US" dirty="0"/>
              <a:t>Scout l What is Roll-out? l August 2020</a:t>
            </a:r>
            <a:endParaRPr lang="fr-FR" dirty="0"/>
          </a:p>
        </p:txBody>
      </p:sp>
      <p:sp>
        <p:nvSpPr>
          <p:cNvPr id="5" name="Slide Number Placeholder 4"/>
          <p:cNvSpPr>
            <a:spLocks noGrp="1"/>
          </p:cNvSpPr>
          <p:nvPr>
            <p:ph type="sldNum" sz="quarter" idx="11"/>
          </p:nvPr>
        </p:nvSpPr>
        <p:spPr/>
        <p:txBody>
          <a:bodyPr/>
          <a:lstStyle/>
          <a:p>
            <a:fld id="{47547CF9-5B10-D24F-A8D7-45A9778164F7}" type="slidenum">
              <a:rPr lang="uk-UA" smtClean="0"/>
              <a:pPr/>
              <a:t>6</a:t>
            </a:fld>
            <a:endParaRPr lang="uk-UA" dirty="0"/>
          </a:p>
        </p:txBody>
      </p:sp>
      <p:sp>
        <p:nvSpPr>
          <p:cNvPr id="11" name="Rectangle 10"/>
          <p:cNvSpPr/>
          <p:nvPr/>
        </p:nvSpPr>
        <p:spPr>
          <a:xfrm>
            <a:off x="6248400" y="1340028"/>
            <a:ext cx="2683490" cy="1692771"/>
          </a:xfrm>
          <a:prstGeom prst="rect">
            <a:avLst/>
          </a:prstGeom>
        </p:spPr>
        <p:txBody>
          <a:bodyPr wrap="square" lIns="0" tIns="0" rIns="0" bIns="0">
            <a:spAutoFit/>
          </a:bodyPr>
          <a:lstStyle/>
          <a:p>
            <a:r>
              <a:rPr lang="en-US" sz="1000" b="1" dirty="0">
                <a:solidFill>
                  <a:schemeClr val="accent3"/>
                </a:solidFill>
              </a:rPr>
              <a:t>Country Specific Settings Capture</a:t>
            </a:r>
          </a:p>
          <a:p>
            <a:r>
              <a:rPr lang="en-US" sz="1000" dirty="0"/>
              <a:t>Even with a global design, certain design features will require input on settings and parameters each time a new country goes live.</a:t>
            </a:r>
          </a:p>
          <a:p>
            <a:r>
              <a:rPr lang="en-US" sz="1000" dirty="0"/>
              <a:t>For each release the Design Team will need to share a list of the parameters needed, so these can be captured by the Roll-out team on a country by country basis in a structured workbook. The Axtria Sales Planning templates for example require a significant amount of time and local expertise to complete.</a:t>
            </a:r>
          </a:p>
        </p:txBody>
      </p:sp>
      <p:sp>
        <p:nvSpPr>
          <p:cNvPr id="12" name="Rectangle 11"/>
          <p:cNvSpPr/>
          <p:nvPr/>
        </p:nvSpPr>
        <p:spPr>
          <a:xfrm>
            <a:off x="6288848" y="3349718"/>
            <a:ext cx="2643042" cy="1384995"/>
          </a:xfrm>
          <a:prstGeom prst="rect">
            <a:avLst/>
          </a:prstGeom>
        </p:spPr>
        <p:txBody>
          <a:bodyPr wrap="square" lIns="0" tIns="0" rIns="0" bIns="0">
            <a:spAutoFit/>
          </a:bodyPr>
          <a:lstStyle/>
          <a:p>
            <a:r>
              <a:rPr lang="en-US" sz="1000" b="1" dirty="0"/>
              <a:t>Testing/Validation</a:t>
            </a:r>
          </a:p>
          <a:p>
            <a:r>
              <a:rPr lang="en-US" sz="1000" dirty="0"/>
              <a:t>All countries will need to ‘sense check’ their data migration, set-up and translations in Scout</a:t>
            </a:r>
          </a:p>
          <a:p>
            <a:r>
              <a:rPr lang="en-US" sz="1000" dirty="0"/>
              <a:t>Local involvement in testing/validation has several purposes: meeting compliance standards, quality assurance and business engagement.</a:t>
            </a:r>
          </a:p>
          <a:p>
            <a:r>
              <a:rPr lang="en-GB" sz="1000" dirty="0"/>
              <a:t>Local Roll-out Testing is a formal test phase executed in PROTON</a:t>
            </a:r>
            <a:endParaRPr lang="en-US" sz="1000" dirty="0"/>
          </a:p>
        </p:txBody>
      </p:sp>
      <p:sp>
        <p:nvSpPr>
          <p:cNvPr id="13" name="Rectangle 12"/>
          <p:cNvSpPr/>
          <p:nvPr/>
        </p:nvSpPr>
        <p:spPr>
          <a:xfrm>
            <a:off x="222779" y="1340029"/>
            <a:ext cx="2596621" cy="1846659"/>
          </a:xfrm>
          <a:prstGeom prst="rect">
            <a:avLst/>
          </a:prstGeom>
        </p:spPr>
        <p:txBody>
          <a:bodyPr wrap="square" lIns="0" tIns="0" rIns="0" bIns="0">
            <a:spAutoFit/>
          </a:bodyPr>
          <a:lstStyle/>
          <a:p>
            <a:pPr algn="r"/>
            <a:r>
              <a:rPr lang="en-US" sz="1000" b="1" dirty="0"/>
              <a:t>Data Migration</a:t>
            </a:r>
            <a:br>
              <a:rPr lang="en-US" sz="1000" b="1" dirty="0"/>
            </a:br>
            <a:r>
              <a:rPr lang="en-US" sz="1000" dirty="0"/>
              <a:t>Data from legacy systems, third party providers </a:t>
            </a:r>
            <a:r>
              <a:rPr lang="en-US" sz="1000" dirty="0" err="1"/>
              <a:t>etc</a:t>
            </a:r>
            <a:r>
              <a:rPr lang="en-US" sz="1000" dirty="0"/>
              <a:t> must get into SCOUT. </a:t>
            </a:r>
          </a:p>
          <a:p>
            <a:pPr algn="r"/>
            <a:r>
              <a:rPr lang="en-US" sz="1000" dirty="0"/>
              <a:t>Some will be integrated directly from IQVIA, XPEND or SAP, but most data including all transactional data (calls etc) will be loaded via pre-defined templates created by the program DM team. For SPACE/ONCORE countries the Roll-out Team will extract and transform this data into the DM templates, consulting with the countries as needed. For non-SPACE legacy, more country input will be needed.</a:t>
            </a:r>
          </a:p>
        </p:txBody>
      </p:sp>
      <p:sp>
        <p:nvSpPr>
          <p:cNvPr id="14" name="Rectangle 13"/>
          <p:cNvSpPr/>
          <p:nvPr/>
        </p:nvSpPr>
        <p:spPr>
          <a:xfrm>
            <a:off x="234126" y="3333750"/>
            <a:ext cx="2653686" cy="1384995"/>
          </a:xfrm>
          <a:prstGeom prst="rect">
            <a:avLst/>
          </a:prstGeom>
        </p:spPr>
        <p:txBody>
          <a:bodyPr wrap="square" lIns="0" tIns="0" rIns="0" bIns="0">
            <a:spAutoFit/>
          </a:bodyPr>
          <a:lstStyle/>
          <a:p>
            <a:pPr algn="r"/>
            <a:r>
              <a:rPr lang="en-US" sz="1000" b="1" dirty="0"/>
              <a:t>Translations</a:t>
            </a:r>
            <a:br>
              <a:rPr lang="en-US" sz="1000" b="1" dirty="0"/>
            </a:br>
            <a:r>
              <a:rPr lang="en-US" sz="1000" dirty="0"/>
              <a:t>13 languages have been defined as in scope for Scout SYSTEM translations. The Roll-out Team will work with the Sandoz-appointed translation agency to ensure all Salesforce and Apttus labels etc are translated ,but countries will need to provide their own translations of some Pitcher and Axtria labels, and will also need to localise email templates etc </a:t>
            </a:r>
          </a:p>
        </p:txBody>
      </p:sp>
      <p:sp>
        <p:nvSpPr>
          <p:cNvPr id="20" name="Freeform 31"/>
          <p:cNvSpPr>
            <a:spLocks noChangeAspect="1" noEditPoints="1"/>
          </p:cNvSpPr>
          <p:nvPr/>
        </p:nvSpPr>
        <p:spPr bwMode="auto">
          <a:xfrm>
            <a:off x="5848568" y="1579429"/>
            <a:ext cx="236110" cy="301743"/>
          </a:xfrm>
          <a:custGeom>
            <a:avLst/>
            <a:gdLst>
              <a:gd name="T0" fmla="*/ 12 w 140"/>
              <a:gd name="T1" fmla="*/ 35 h 180"/>
              <a:gd name="T2" fmla="*/ 35 w 140"/>
              <a:gd name="T3" fmla="*/ 12 h 180"/>
              <a:gd name="T4" fmla="*/ 34 w 140"/>
              <a:gd name="T5" fmla="*/ 5 h 180"/>
              <a:gd name="T6" fmla="*/ 32 w 140"/>
              <a:gd name="T7" fmla="*/ 2 h 180"/>
              <a:gd name="T8" fmla="*/ 25 w 140"/>
              <a:gd name="T9" fmla="*/ 2 h 180"/>
              <a:gd name="T10" fmla="*/ 2 w 140"/>
              <a:gd name="T11" fmla="*/ 26 h 180"/>
              <a:gd name="T12" fmla="*/ 2 w 140"/>
              <a:gd name="T13" fmla="*/ 33 h 180"/>
              <a:gd name="T14" fmla="*/ 5 w 140"/>
              <a:gd name="T15" fmla="*/ 35 h 180"/>
              <a:gd name="T16" fmla="*/ 12 w 140"/>
              <a:gd name="T17" fmla="*/ 35 h 180"/>
              <a:gd name="T18" fmla="*/ 134 w 140"/>
              <a:gd name="T19" fmla="*/ 1 h 180"/>
              <a:gd name="T20" fmla="*/ 62 w 140"/>
              <a:gd name="T21" fmla="*/ 1 h 180"/>
              <a:gd name="T22" fmla="*/ 51 w 140"/>
              <a:gd name="T23" fmla="*/ 5 h 180"/>
              <a:gd name="T24" fmla="*/ 11 w 140"/>
              <a:gd name="T25" fmla="*/ 47 h 180"/>
              <a:gd name="T26" fmla="*/ 6 w 140"/>
              <a:gd name="T27" fmla="*/ 58 h 180"/>
              <a:gd name="T28" fmla="*/ 6 w 140"/>
              <a:gd name="T29" fmla="*/ 174 h 180"/>
              <a:gd name="T30" fmla="*/ 12 w 140"/>
              <a:gd name="T31" fmla="*/ 180 h 180"/>
              <a:gd name="T32" fmla="*/ 134 w 140"/>
              <a:gd name="T33" fmla="*/ 180 h 180"/>
              <a:gd name="T34" fmla="*/ 140 w 140"/>
              <a:gd name="T35" fmla="*/ 174 h 180"/>
              <a:gd name="T36" fmla="*/ 140 w 140"/>
              <a:gd name="T37" fmla="*/ 7 h 180"/>
              <a:gd name="T38" fmla="*/ 134 w 140"/>
              <a:gd name="T39" fmla="*/ 1 h 180"/>
              <a:gd name="T40" fmla="*/ 74 w 140"/>
              <a:gd name="T41" fmla="*/ 147 h 180"/>
              <a:gd name="T42" fmla="*/ 53 w 140"/>
              <a:gd name="T43" fmla="*/ 126 h 180"/>
              <a:gd name="T44" fmla="*/ 54 w 140"/>
              <a:gd name="T45" fmla="*/ 119 h 180"/>
              <a:gd name="T46" fmla="*/ 54 w 140"/>
              <a:gd name="T47" fmla="*/ 119 h 180"/>
              <a:gd name="T48" fmla="*/ 59 w 140"/>
              <a:gd name="T49" fmla="*/ 105 h 180"/>
              <a:gd name="T50" fmla="*/ 74 w 140"/>
              <a:gd name="T51" fmla="*/ 80 h 180"/>
              <a:gd name="T52" fmla="*/ 89 w 140"/>
              <a:gd name="T53" fmla="*/ 105 h 180"/>
              <a:gd name="T54" fmla="*/ 94 w 140"/>
              <a:gd name="T55" fmla="*/ 119 h 180"/>
              <a:gd name="T56" fmla="*/ 94 w 140"/>
              <a:gd name="T57" fmla="*/ 119 h 180"/>
              <a:gd name="T58" fmla="*/ 96 w 140"/>
              <a:gd name="T59" fmla="*/ 126 h 180"/>
              <a:gd name="T60" fmla="*/ 74 w 140"/>
              <a:gd name="T61" fmla="*/ 147 h 180"/>
              <a:gd name="T62" fmla="*/ 124 w 140"/>
              <a:gd name="T63" fmla="*/ 30 h 180"/>
              <a:gd name="T64" fmla="*/ 118 w 140"/>
              <a:gd name="T65" fmla="*/ 37 h 180"/>
              <a:gd name="T66" fmla="*/ 72 w 140"/>
              <a:gd name="T67" fmla="*/ 37 h 180"/>
              <a:gd name="T68" fmla="*/ 65 w 140"/>
              <a:gd name="T69" fmla="*/ 30 h 180"/>
              <a:gd name="T70" fmla="*/ 65 w 140"/>
              <a:gd name="T71" fmla="*/ 22 h 180"/>
              <a:gd name="T72" fmla="*/ 72 w 140"/>
              <a:gd name="T73" fmla="*/ 16 h 180"/>
              <a:gd name="T74" fmla="*/ 118 w 140"/>
              <a:gd name="T75" fmla="*/ 16 h 180"/>
              <a:gd name="T76" fmla="*/ 124 w 140"/>
              <a:gd name="T77" fmla="*/ 22 h 180"/>
              <a:gd name="T78" fmla="*/ 124 w 140"/>
              <a:gd name="T79" fmla="*/ 30 h 180"/>
              <a:gd name="T80" fmla="*/ 85 w 140"/>
              <a:gd name="T81" fmla="*/ 116 h 180"/>
              <a:gd name="T82" fmla="*/ 80 w 140"/>
              <a:gd name="T83" fmla="*/ 126 h 180"/>
              <a:gd name="T84" fmla="*/ 85 w 140"/>
              <a:gd name="T85" fmla="*/ 136 h 180"/>
              <a:gd name="T86" fmla="*/ 89 w 140"/>
              <a:gd name="T87" fmla="*/ 126 h 180"/>
              <a:gd name="T88" fmla="*/ 85 w 140"/>
              <a:gd name="T89" fmla="*/ 11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0" h="180">
                <a:moveTo>
                  <a:pt x="12" y="35"/>
                </a:moveTo>
                <a:cubicBezTo>
                  <a:pt x="35" y="12"/>
                  <a:pt x="35" y="12"/>
                  <a:pt x="35" y="12"/>
                </a:cubicBezTo>
                <a:cubicBezTo>
                  <a:pt x="36" y="10"/>
                  <a:pt x="36" y="7"/>
                  <a:pt x="34" y="5"/>
                </a:cubicBezTo>
                <a:cubicBezTo>
                  <a:pt x="32" y="2"/>
                  <a:pt x="32" y="2"/>
                  <a:pt x="32" y="2"/>
                </a:cubicBezTo>
                <a:cubicBezTo>
                  <a:pt x="30" y="0"/>
                  <a:pt x="27" y="0"/>
                  <a:pt x="25" y="2"/>
                </a:cubicBezTo>
                <a:cubicBezTo>
                  <a:pt x="2" y="26"/>
                  <a:pt x="2" y="26"/>
                  <a:pt x="2" y="26"/>
                </a:cubicBezTo>
                <a:cubicBezTo>
                  <a:pt x="0" y="28"/>
                  <a:pt x="0" y="31"/>
                  <a:pt x="2" y="33"/>
                </a:cubicBezTo>
                <a:cubicBezTo>
                  <a:pt x="5" y="35"/>
                  <a:pt x="5" y="35"/>
                  <a:pt x="5" y="35"/>
                </a:cubicBezTo>
                <a:cubicBezTo>
                  <a:pt x="7" y="37"/>
                  <a:pt x="10" y="37"/>
                  <a:pt x="12" y="35"/>
                </a:cubicBezTo>
                <a:close/>
                <a:moveTo>
                  <a:pt x="134" y="1"/>
                </a:moveTo>
                <a:cubicBezTo>
                  <a:pt x="62" y="1"/>
                  <a:pt x="62" y="1"/>
                  <a:pt x="62" y="1"/>
                </a:cubicBezTo>
                <a:cubicBezTo>
                  <a:pt x="58" y="1"/>
                  <a:pt x="54" y="3"/>
                  <a:pt x="51" y="5"/>
                </a:cubicBezTo>
                <a:cubicBezTo>
                  <a:pt x="11" y="47"/>
                  <a:pt x="11" y="47"/>
                  <a:pt x="11" y="47"/>
                </a:cubicBezTo>
                <a:cubicBezTo>
                  <a:pt x="8" y="50"/>
                  <a:pt x="6" y="54"/>
                  <a:pt x="6" y="58"/>
                </a:cubicBezTo>
                <a:cubicBezTo>
                  <a:pt x="6" y="174"/>
                  <a:pt x="6" y="174"/>
                  <a:pt x="6" y="174"/>
                </a:cubicBezTo>
                <a:cubicBezTo>
                  <a:pt x="6" y="177"/>
                  <a:pt x="9" y="180"/>
                  <a:pt x="12" y="180"/>
                </a:cubicBezTo>
                <a:cubicBezTo>
                  <a:pt x="134" y="180"/>
                  <a:pt x="134" y="180"/>
                  <a:pt x="134" y="180"/>
                </a:cubicBezTo>
                <a:cubicBezTo>
                  <a:pt x="137" y="180"/>
                  <a:pt x="140" y="177"/>
                  <a:pt x="140" y="174"/>
                </a:cubicBezTo>
                <a:cubicBezTo>
                  <a:pt x="140" y="7"/>
                  <a:pt x="140" y="7"/>
                  <a:pt x="140" y="7"/>
                </a:cubicBezTo>
                <a:cubicBezTo>
                  <a:pt x="140" y="4"/>
                  <a:pt x="137" y="1"/>
                  <a:pt x="134" y="1"/>
                </a:cubicBezTo>
                <a:close/>
                <a:moveTo>
                  <a:pt x="74" y="147"/>
                </a:moveTo>
                <a:cubicBezTo>
                  <a:pt x="62" y="147"/>
                  <a:pt x="53" y="137"/>
                  <a:pt x="53" y="126"/>
                </a:cubicBezTo>
                <a:cubicBezTo>
                  <a:pt x="53" y="123"/>
                  <a:pt x="53" y="121"/>
                  <a:pt x="54" y="119"/>
                </a:cubicBezTo>
                <a:cubicBezTo>
                  <a:pt x="54" y="119"/>
                  <a:pt x="54" y="119"/>
                  <a:pt x="54" y="119"/>
                </a:cubicBezTo>
                <a:cubicBezTo>
                  <a:pt x="55" y="114"/>
                  <a:pt x="57" y="110"/>
                  <a:pt x="59" y="105"/>
                </a:cubicBezTo>
                <a:cubicBezTo>
                  <a:pt x="64" y="94"/>
                  <a:pt x="69" y="86"/>
                  <a:pt x="74" y="80"/>
                </a:cubicBezTo>
                <a:cubicBezTo>
                  <a:pt x="79" y="86"/>
                  <a:pt x="84" y="94"/>
                  <a:pt x="89" y="105"/>
                </a:cubicBezTo>
                <a:cubicBezTo>
                  <a:pt x="91" y="110"/>
                  <a:pt x="93" y="114"/>
                  <a:pt x="94" y="119"/>
                </a:cubicBezTo>
                <a:cubicBezTo>
                  <a:pt x="94" y="119"/>
                  <a:pt x="94" y="119"/>
                  <a:pt x="94" y="119"/>
                </a:cubicBezTo>
                <a:cubicBezTo>
                  <a:pt x="95" y="121"/>
                  <a:pt x="96" y="123"/>
                  <a:pt x="96" y="126"/>
                </a:cubicBezTo>
                <a:cubicBezTo>
                  <a:pt x="96" y="137"/>
                  <a:pt x="86" y="147"/>
                  <a:pt x="74" y="147"/>
                </a:cubicBezTo>
                <a:close/>
                <a:moveTo>
                  <a:pt x="124" y="30"/>
                </a:moveTo>
                <a:cubicBezTo>
                  <a:pt x="124" y="34"/>
                  <a:pt x="122" y="37"/>
                  <a:pt x="118" y="37"/>
                </a:cubicBezTo>
                <a:cubicBezTo>
                  <a:pt x="72" y="37"/>
                  <a:pt x="72" y="37"/>
                  <a:pt x="72" y="37"/>
                </a:cubicBezTo>
                <a:cubicBezTo>
                  <a:pt x="68" y="37"/>
                  <a:pt x="65" y="34"/>
                  <a:pt x="65" y="30"/>
                </a:cubicBezTo>
                <a:cubicBezTo>
                  <a:pt x="65" y="22"/>
                  <a:pt x="65" y="22"/>
                  <a:pt x="65" y="22"/>
                </a:cubicBezTo>
                <a:cubicBezTo>
                  <a:pt x="65" y="19"/>
                  <a:pt x="68" y="16"/>
                  <a:pt x="72" y="16"/>
                </a:cubicBezTo>
                <a:cubicBezTo>
                  <a:pt x="118" y="16"/>
                  <a:pt x="118" y="16"/>
                  <a:pt x="118" y="16"/>
                </a:cubicBezTo>
                <a:cubicBezTo>
                  <a:pt x="122" y="16"/>
                  <a:pt x="124" y="19"/>
                  <a:pt x="124" y="22"/>
                </a:cubicBezTo>
                <a:lnTo>
                  <a:pt x="124" y="30"/>
                </a:lnTo>
                <a:close/>
                <a:moveTo>
                  <a:pt x="85" y="116"/>
                </a:moveTo>
                <a:cubicBezTo>
                  <a:pt x="82" y="116"/>
                  <a:pt x="80" y="120"/>
                  <a:pt x="80" y="126"/>
                </a:cubicBezTo>
                <a:cubicBezTo>
                  <a:pt x="80" y="131"/>
                  <a:pt x="82" y="136"/>
                  <a:pt x="85" y="136"/>
                </a:cubicBezTo>
                <a:cubicBezTo>
                  <a:pt x="87" y="136"/>
                  <a:pt x="89" y="131"/>
                  <a:pt x="89" y="126"/>
                </a:cubicBezTo>
                <a:cubicBezTo>
                  <a:pt x="89" y="120"/>
                  <a:pt x="87" y="116"/>
                  <a:pt x="85" y="11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21" name="Freeform 62"/>
          <p:cNvSpPr>
            <a:spLocks noChangeAspect="1" noEditPoints="1"/>
          </p:cNvSpPr>
          <p:nvPr/>
        </p:nvSpPr>
        <p:spPr bwMode="auto">
          <a:xfrm>
            <a:off x="5807303" y="4237960"/>
            <a:ext cx="318641" cy="292122"/>
          </a:xfrm>
          <a:custGeom>
            <a:avLst/>
            <a:gdLst>
              <a:gd name="T0" fmla="*/ 33 w 195"/>
              <a:gd name="T1" fmla="*/ 62 h 180"/>
              <a:gd name="T2" fmla="*/ 74 w 195"/>
              <a:gd name="T3" fmla="*/ 18 h 180"/>
              <a:gd name="T4" fmla="*/ 102 w 195"/>
              <a:gd name="T5" fmla="*/ 45 h 180"/>
              <a:gd name="T6" fmla="*/ 61 w 195"/>
              <a:gd name="T7" fmla="*/ 88 h 180"/>
              <a:gd name="T8" fmla="*/ 33 w 195"/>
              <a:gd name="T9" fmla="*/ 62 h 180"/>
              <a:gd name="T10" fmla="*/ 107 w 195"/>
              <a:gd name="T11" fmla="*/ 41 h 180"/>
              <a:gd name="T12" fmla="*/ 114 w 195"/>
              <a:gd name="T13" fmla="*/ 41 h 180"/>
              <a:gd name="T14" fmla="*/ 117 w 195"/>
              <a:gd name="T15" fmla="*/ 38 h 180"/>
              <a:gd name="T16" fmla="*/ 117 w 195"/>
              <a:gd name="T17" fmla="*/ 30 h 180"/>
              <a:gd name="T18" fmla="*/ 87 w 195"/>
              <a:gd name="T19" fmla="*/ 2 h 180"/>
              <a:gd name="T20" fmla="*/ 80 w 195"/>
              <a:gd name="T21" fmla="*/ 3 h 180"/>
              <a:gd name="T22" fmla="*/ 77 w 195"/>
              <a:gd name="T23" fmla="*/ 6 h 180"/>
              <a:gd name="T24" fmla="*/ 77 w 195"/>
              <a:gd name="T25" fmla="*/ 13 h 180"/>
              <a:gd name="T26" fmla="*/ 107 w 195"/>
              <a:gd name="T27" fmla="*/ 41 h 180"/>
              <a:gd name="T28" fmla="*/ 47 w 195"/>
              <a:gd name="T29" fmla="*/ 104 h 180"/>
              <a:gd name="T30" fmla="*/ 55 w 195"/>
              <a:gd name="T31" fmla="*/ 104 h 180"/>
              <a:gd name="T32" fmla="*/ 58 w 195"/>
              <a:gd name="T33" fmla="*/ 101 h 180"/>
              <a:gd name="T34" fmla="*/ 57 w 195"/>
              <a:gd name="T35" fmla="*/ 93 h 180"/>
              <a:gd name="T36" fmla="*/ 28 w 195"/>
              <a:gd name="T37" fmla="*/ 65 h 180"/>
              <a:gd name="T38" fmla="*/ 20 w 195"/>
              <a:gd name="T39" fmla="*/ 66 h 180"/>
              <a:gd name="T40" fmla="*/ 17 w 195"/>
              <a:gd name="T41" fmla="*/ 69 h 180"/>
              <a:gd name="T42" fmla="*/ 18 w 195"/>
              <a:gd name="T43" fmla="*/ 76 h 180"/>
              <a:gd name="T44" fmla="*/ 47 w 195"/>
              <a:gd name="T45" fmla="*/ 104 h 180"/>
              <a:gd name="T46" fmla="*/ 80 w 195"/>
              <a:gd name="T47" fmla="*/ 77 h 180"/>
              <a:gd name="T48" fmla="*/ 177 w 195"/>
              <a:gd name="T49" fmla="*/ 169 h 180"/>
              <a:gd name="T50" fmla="*/ 189 w 195"/>
              <a:gd name="T51" fmla="*/ 171 h 180"/>
              <a:gd name="T52" fmla="*/ 193 w 195"/>
              <a:gd name="T53" fmla="*/ 167 h 180"/>
              <a:gd name="T54" fmla="*/ 190 w 195"/>
              <a:gd name="T55" fmla="*/ 156 h 180"/>
              <a:gd name="T56" fmla="*/ 92 w 195"/>
              <a:gd name="T57" fmla="*/ 64 h 180"/>
              <a:gd name="T58" fmla="*/ 80 w 195"/>
              <a:gd name="T59" fmla="*/ 77 h 180"/>
              <a:gd name="T60" fmla="*/ 113 w 195"/>
              <a:gd name="T61" fmla="*/ 168 h 180"/>
              <a:gd name="T62" fmla="*/ 111 w 195"/>
              <a:gd name="T63" fmla="*/ 166 h 180"/>
              <a:gd name="T64" fmla="*/ 3 w 195"/>
              <a:gd name="T65" fmla="*/ 166 h 180"/>
              <a:gd name="T66" fmla="*/ 0 w 195"/>
              <a:gd name="T67" fmla="*/ 168 h 180"/>
              <a:gd name="T68" fmla="*/ 0 w 195"/>
              <a:gd name="T69" fmla="*/ 178 h 180"/>
              <a:gd name="T70" fmla="*/ 3 w 195"/>
              <a:gd name="T71" fmla="*/ 180 h 180"/>
              <a:gd name="T72" fmla="*/ 111 w 195"/>
              <a:gd name="T73" fmla="*/ 180 h 180"/>
              <a:gd name="T74" fmla="*/ 113 w 195"/>
              <a:gd name="T75" fmla="*/ 178 h 180"/>
              <a:gd name="T76" fmla="*/ 113 w 195"/>
              <a:gd name="T77" fmla="*/ 168 h 180"/>
              <a:gd name="T78" fmla="*/ 25 w 195"/>
              <a:gd name="T79" fmla="*/ 148 h 180"/>
              <a:gd name="T80" fmla="*/ 89 w 195"/>
              <a:gd name="T81" fmla="*/ 148 h 180"/>
              <a:gd name="T82" fmla="*/ 96 w 195"/>
              <a:gd name="T83" fmla="*/ 154 h 180"/>
              <a:gd name="T84" fmla="*/ 96 w 195"/>
              <a:gd name="T85" fmla="*/ 160 h 180"/>
              <a:gd name="T86" fmla="*/ 17 w 195"/>
              <a:gd name="T87" fmla="*/ 160 h 180"/>
              <a:gd name="T88" fmla="*/ 17 w 195"/>
              <a:gd name="T89" fmla="*/ 154 h 180"/>
              <a:gd name="T90" fmla="*/ 25 w 195"/>
              <a:gd name="T91" fmla="*/ 148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5" h="180">
                <a:moveTo>
                  <a:pt x="33" y="62"/>
                </a:moveTo>
                <a:cubicBezTo>
                  <a:pt x="74" y="18"/>
                  <a:pt x="74" y="18"/>
                  <a:pt x="74" y="18"/>
                </a:cubicBezTo>
                <a:cubicBezTo>
                  <a:pt x="102" y="45"/>
                  <a:pt x="102" y="45"/>
                  <a:pt x="102" y="45"/>
                </a:cubicBezTo>
                <a:cubicBezTo>
                  <a:pt x="61" y="88"/>
                  <a:pt x="61" y="88"/>
                  <a:pt x="61" y="88"/>
                </a:cubicBezTo>
                <a:lnTo>
                  <a:pt x="33" y="62"/>
                </a:lnTo>
                <a:close/>
                <a:moveTo>
                  <a:pt x="107" y="41"/>
                </a:moveTo>
                <a:cubicBezTo>
                  <a:pt x="109" y="43"/>
                  <a:pt x="112" y="43"/>
                  <a:pt x="114" y="41"/>
                </a:cubicBezTo>
                <a:cubicBezTo>
                  <a:pt x="117" y="38"/>
                  <a:pt x="117" y="38"/>
                  <a:pt x="117" y="38"/>
                </a:cubicBezTo>
                <a:cubicBezTo>
                  <a:pt x="119" y="35"/>
                  <a:pt x="119" y="32"/>
                  <a:pt x="117" y="30"/>
                </a:cubicBezTo>
                <a:cubicBezTo>
                  <a:pt x="87" y="2"/>
                  <a:pt x="87" y="2"/>
                  <a:pt x="87" y="2"/>
                </a:cubicBezTo>
                <a:cubicBezTo>
                  <a:pt x="85" y="0"/>
                  <a:pt x="82" y="0"/>
                  <a:pt x="80" y="3"/>
                </a:cubicBezTo>
                <a:cubicBezTo>
                  <a:pt x="77" y="6"/>
                  <a:pt x="77" y="6"/>
                  <a:pt x="77" y="6"/>
                </a:cubicBezTo>
                <a:cubicBezTo>
                  <a:pt x="75" y="8"/>
                  <a:pt x="75" y="11"/>
                  <a:pt x="77" y="13"/>
                </a:cubicBezTo>
                <a:lnTo>
                  <a:pt x="107" y="41"/>
                </a:lnTo>
                <a:close/>
                <a:moveTo>
                  <a:pt x="47" y="104"/>
                </a:moveTo>
                <a:cubicBezTo>
                  <a:pt x="49" y="106"/>
                  <a:pt x="53" y="106"/>
                  <a:pt x="55" y="104"/>
                </a:cubicBezTo>
                <a:cubicBezTo>
                  <a:pt x="58" y="101"/>
                  <a:pt x="58" y="101"/>
                  <a:pt x="58" y="101"/>
                </a:cubicBezTo>
                <a:cubicBezTo>
                  <a:pt x="60" y="99"/>
                  <a:pt x="60" y="95"/>
                  <a:pt x="57" y="93"/>
                </a:cubicBezTo>
                <a:cubicBezTo>
                  <a:pt x="28" y="65"/>
                  <a:pt x="28" y="65"/>
                  <a:pt x="28" y="65"/>
                </a:cubicBezTo>
                <a:cubicBezTo>
                  <a:pt x="26" y="63"/>
                  <a:pt x="22" y="64"/>
                  <a:pt x="20" y="66"/>
                </a:cubicBezTo>
                <a:cubicBezTo>
                  <a:pt x="17" y="69"/>
                  <a:pt x="17" y="69"/>
                  <a:pt x="17" y="69"/>
                </a:cubicBezTo>
                <a:cubicBezTo>
                  <a:pt x="15" y="71"/>
                  <a:pt x="15" y="74"/>
                  <a:pt x="18" y="76"/>
                </a:cubicBezTo>
                <a:lnTo>
                  <a:pt x="47" y="104"/>
                </a:lnTo>
                <a:close/>
                <a:moveTo>
                  <a:pt x="80" y="77"/>
                </a:moveTo>
                <a:cubicBezTo>
                  <a:pt x="177" y="169"/>
                  <a:pt x="177" y="169"/>
                  <a:pt x="177" y="169"/>
                </a:cubicBezTo>
                <a:cubicBezTo>
                  <a:pt x="181" y="172"/>
                  <a:pt x="186" y="174"/>
                  <a:pt x="189" y="171"/>
                </a:cubicBezTo>
                <a:cubicBezTo>
                  <a:pt x="193" y="167"/>
                  <a:pt x="193" y="167"/>
                  <a:pt x="193" y="167"/>
                </a:cubicBezTo>
                <a:cubicBezTo>
                  <a:pt x="195" y="164"/>
                  <a:pt x="194" y="159"/>
                  <a:pt x="190" y="156"/>
                </a:cubicBezTo>
                <a:cubicBezTo>
                  <a:pt x="92" y="64"/>
                  <a:pt x="92" y="64"/>
                  <a:pt x="92" y="64"/>
                </a:cubicBezTo>
                <a:lnTo>
                  <a:pt x="80" y="77"/>
                </a:lnTo>
                <a:close/>
                <a:moveTo>
                  <a:pt x="113" y="168"/>
                </a:moveTo>
                <a:cubicBezTo>
                  <a:pt x="113" y="167"/>
                  <a:pt x="112" y="166"/>
                  <a:pt x="111" y="166"/>
                </a:cubicBezTo>
                <a:cubicBezTo>
                  <a:pt x="3" y="166"/>
                  <a:pt x="3" y="166"/>
                  <a:pt x="3" y="166"/>
                </a:cubicBezTo>
                <a:cubicBezTo>
                  <a:pt x="1" y="166"/>
                  <a:pt x="0" y="167"/>
                  <a:pt x="0" y="168"/>
                </a:cubicBezTo>
                <a:cubicBezTo>
                  <a:pt x="0" y="178"/>
                  <a:pt x="0" y="178"/>
                  <a:pt x="0" y="178"/>
                </a:cubicBezTo>
                <a:cubicBezTo>
                  <a:pt x="0" y="179"/>
                  <a:pt x="1" y="180"/>
                  <a:pt x="3" y="180"/>
                </a:cubicBezTo>
                <a:cubicBezTo>
                  <a:pt x="111" y="180"/>
                  <a:pt x="111" y="180"/>
                  <a:pt x="111" y="180"/>
                </a:cubicBezTo>
                <a:cubicBezTo>
                  <a:pt x="112" y="180"/>
                  <a:pt x="113" y="179"/>
                  <a:pt x="113" y="178"/>
                </a:cubicBezTo>
                <a:lnTo>
                  <a:pt x="113" y="168"/>
                </a:lnTo>
                <a:close/>
                <a:moveTo>
                  <a:pt x="25" y="148"/>
                </a:moveTo>
                <a:cubicBezTo>
                  <a:pt x="89" y="148"/>
                  <a:pt x="89" y="148"/>
                  <a:pt x="89" y="148"/>
                </a:cubicBezTo>
                <a:cubicBezTo>
                  <a:pt x="92" y="148"/>
                  <a:pt x="95" y="151"/>
                  <a:pt x="96" y="154"/>
                </a:cubicBezTo>
                <a:cubicBezTo>
                  <a:pt x="96" y="160"/>
                  <a:pt x="96" y="160"/>
                  <a:pt x="96" y="160"/>
                </a:cubicBezTo>
                <a:cubicBezTo>
                  <a:pt x="17" y="160"/>
                  <a:pt x="17" y="160"/>
                  <a:pt x="17" y="160"/>
                </a:cubicBezTo>
                <a:cubicBezTo>
                  <a:pt x="17" y="154"/>
                  <a:pt x="17" y="154"/>
                  <a:pt x="17" y="154"/>
                </a:cubicBezTo>
                <a:cubicBezTo>
                  <a:pt x="18" y="151"/>
                  <a:pt x="21" y="148"/>
                  <a:pt x="25" y="14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4" name="Group 285"/>
          <p:cNvGrpSpPr>
            <a:grpSpLocks noChangeAspect="1"/>
          </p:cNvGrpSpPr>
          <p:nvPr/>
        </p:nvGrpSpPr>
        <p:grpSpPr bwMode="auto">
          <a:xfrm>
            <a:off x="5478040" y="3655093"/>
            <a:ext cx="548846" cy="542729"/>
            <a:chOff x="388" y="758"/>
            <a:chExt cx="341" cy="340"/>
          </a:xfrm>
          <a:solidFill>
            <a:schemeClr val="bg2">
              <a:lumMod val="75000"/>
            </a:schemeClr>
          </a:solidFill>
        </p:grpSpPr>
        <p:sp>
          <p:nvSpPr>
            <p:cNvPr id="29" name="Freeform 286"/>
            <p:cNvSpPr>
              <a:spLocks noEditPoints="1"/>
            </p:cNvSpPr>
            <p:nvPr/>
          </p:nvSpPr>
          <p:spPr bwMode="auto">
            <a:xfrm>
              <a:off x="462" y="834"/>
              <a:ext cx="192" cy="192"/>
            </a:xfrm>
            <a:custGeom>
              <a:avLst/>
              <a:gdLst>
                <a:gd name="T0" fmla="*/ 43 w 289"/>
                <a:gd name="T1" fmla="*/ 289 h 289"/>
                <a:gd name="T2" fmla="*/ 13 w 289"/>
                <a:gd name="T3" fmla="*/ 276 h 289"/>
                <a:gd name="T4" fmla="*/ 0 w 289"/>
                <a:gd name="T5" fmla="*/ 246 h 289"/>
                <a:gd name="T6" fmla="*/ 13 w 289"/>
                <a:gd name="T7" fmla="*/ 216 h 289"/>
                <a:gd name="T8" fmla="*/ 118 w 289"/>
                <a:gd name="T9" fmla="*/ 111 h 289"/>
                <a:gd name="T10" fmla="*/ 140 w 289"/>
                <a:gd name="T11" fmla="*/ 29 h 289"/>
                <a:gd name="T12" fmla="*/ 156 w 289"/>
                <a:gd name="T13" fmla="*/ 16 h 289"/>
                <a:gd name="T14" fmla="*/ 229 w 289"/>
                <a:gd name="T15" fmla="*/ 9 h 289"/>
                <a:gd name="T16" fmla="*/ 235 w 289"/>
                <a:gd name="T17" fmla="*/ 16 h 289"/>
                <a:gd name="T18" fmla="*/ 233 w 289"/>
                <a:gd name="T19" fmla="*/ 26 h 289"/>
                <a:gd name="T20" fmla="*/ 194 w 289"/>
                <a:gd name="T21" fmla="*/ 65 h 289"/>
                <a:gd name="T22" fmla="*/ 208 w 289"/>
                <a:gd name="T23" fmla="*/ 81 h 289"/>
                <a:gd name="T24" fmla="*/ 224 w 289"/>
                <a:gd name="T25" fmla="*/ 95 h 289"/>
                <a:gd name="T26" fmla="*/ 263 w 289"/>
                <a:gd name="T27" fmla="*/ 56 h 289"/>
                <a:gd name="T28" fmla="*/ 273 w 289"/>
                <a:gd name="T29" fmla="*/ 54 h 289"/>
                <a:gd name="T30" fmla="*/ 280 w 289"/>
                <a:gd name="T31" fmla="*/ 60 h 289"/>
                <a:gd name="T32" fmla="*/ 273 w 289"/>
                <a:gd name="T33" fmla="*/ 133 h 289"/>
                <a:gd name="T34" fmla="*/ 273 w 289"/>
                <a:gd name="T35" fmla="*/ 133 h 289"/>
                <a:gd name="T36" fmla="*/ 260 w 289"/>
                <a:gd name="T37" fmla="*/ 149 h 289"/>
                <a:gd name="T38" fmla="*/ 178 w 289"/>
                <a:gd name="T39" fmla="*/ 171 h 289"/>
                <a:gd name="T40" fmla="*/ 73 w 289"/>
                <a:gd name="T41" fmla="*/ 276 h 289"/>
                <a:gd name="T42" fmla="*/ 43 w 289"/>
                <a:gd name="T43" fmla="*/ 289 h 289"/>
                <a:gd name="T44" fmla="*/ 200 w 289"/>
                <a:gd name="T45" fmla="*/ 25 h 289"/>
                <a:gd name="T46" fmla="*/ 167 w 289"/>
                <a:gd name="T47" fmla="*/ 34 h 289"/>
                <a:gd name="T48" fmla="*/ 155 w 289"/>
                <a:gd name="T49" fmla="*/ 44 h 289"/>
                <a:gd name="T50" fmla="*/ 140 w 289"/>
                <a:gd name="T51" fmla="*/ 110 h 289"/>
                <a:gd name="T52" fmla="*/ 137 w 289"/>
                <a:gd name="T53" fmla="*/ 122 h 289"/>
                <a:gd name="T54" fmla="*/ 28 w 289"/>
                <a:gd name="T55" fmla="*/ 231 h 289"/>
                <a:gd name="T56" fmla="*/ 22 w 289"/>
                <a:gd name="T57" fmla="*/ 246 h 289"/>
                <a:gd name="T58" fmla="*/ 28 w 289"/>
                <a:gd name="T59" fmla="*/ 261 h 289"/>
                <a:gd name="T60" fmla="*/ 58 w 289"/>
                <a:gd name="T61" fmla="*/ 261 h 289"/>
                <a:gd name="T62" fmla="*/ 167 w 289"/>
                <a:gd name="T63" fmla="*/ 152 h 289"/>
                <a:gd name="T64" fmla="*/ 179 w 289"/>
                <a:gd name="T65" fmla="*/ 149 h 289"/>
                <a:gd name="T66" fmla="*/ 245 w 289"/>
                <a:gd name="T67" fmla="*/ 134 h 289"/>
                <a:gd name="T68" fmla="*/ 255 w 289"/>
                <a:gd name="T69" fmla="*/ 122 h 289"/>
                <a:gd name="T70" fmla="*/ 255 w 289"/>
                <a:gd name="T71" fmla="*/ 122 h 289"/>
                <a:gd name="T72" fmla="*/ 264 w 289"/>
                <a:gd name="T73" fmla="*/ 85 h 289"/>
                <a:gd name="T74" fmla="*/ 232 w 289"/>
                <a:gd name="T75" fmla="*/ 117 h 289"/>
                <a:gd name="T76" fmla="*/ 219 w 289"/>
                <a:gd name="T77" fmla="*/ 118 h 289"/>
                <a:gd name="T78" fmla="*/ 192 w 289"/>
                <a:gd name="T79" fmla="*/ 96 h 289"/>
                <a:gd name="T80" fmla="*/ 171 w 289"/>
                <a:gd name="T81" fmla="*/ 70 h 289"/>
                <a:gd name="T82" fmla="*/ 172 w 289"/>
                <a:gd name="T83" fmla="*/ 56 h 289"/>
                <a:gd name="T84" fmla="*/ 204 w 289"/>
                <a:gd name="T85" fmla="*/ 25 h 289"/>
                <a:gd name="T86" fmla="*/ 200 w 289"/>
                <a:gd name="T87" fmla="*/ 25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9" h="289">
                  <a:moveTo>
                    <a:pt x="43" y="289"/>
                  </a:moveTo>
                  <a:cubicBezTo>
                    <a:pt x="32" y="289"/>
                    <a:pt x="21" y="284"/>
                    <a:pt x="13" y="276"/>
                  </a:cubicBezTo>
                  <a:cubicBezTo>
                    <a:pt x="5" y="268"/>
                    <a:pt x="0" y="257"/>
                    <a:pt x="0" y="246"/>
                  </a:cubicBezTo>
                  <a:cubicBezTo>
                    <a:pt x="0" y="235"/>
                    <a:pt x="5" y="224"/>
                    <a:pt x="13" y="216"/>
                  </a:cubicBezTo>
                  <a:cubicBezTo>
                    <a:pt x="118" y="111"/>
                    <a:pt x="118" y="111"/>
                    <a:pt x="118" y="111"/>
                  </a:cubicBezTo>
                  <a:cubicBezTo>
                    <a:pt x="110" y="82"/>
                    <a:pt x="118" y="50"/>
                    <a:pt x="140" y="29"/>
                  </a:cubicBezTo>
                  <a:cubicBezTo>
                    <a:pt x="144" y="24"/>
                    <a:pt x="150" y="20"/>
                    <a:pt x="156" y="16"/>
                  </a:cubicBezTo>
                  <a:cubicBezTo>
                    <a:pt x="178" y="3"/>
                    <a:pt x="204" y="0"/>
                    <a:pt x="229" y="9"/>
                  </a:cubicBezTo>
                  <a:cubicBezTo>
                    <a:pt x="232" y="10"/>
                    <a:pt x="235" y="13"/>
                    <a:pt x="235" y="16"/>
                  </a:cubicBezTo>
                  <a:cubicBezTo>
                    <a:pt x="236" y="20"/>
                    <a:pt x="235" y="24"/>
                    <a:pt x="233" y="26"/>
                  </a:cubicBezTo>
                  <a:cubicBezTo>
                    <a:pt x="194" y="65"/>
                    <a:pt x="194" y="65"/>
                    <a:pt x="194" y="65"/>
                  </a:cubicBezTo>
                  <a:cubicBezTo>
                    <a:pt x="198" y="71"/>
                    <a:pt x="203" y="76"/>
                    <a:pt x="208" y="81"/>
                  </a:cubicBezTo>
                  <a:cubicBezTo>
                    <a:pt x="213" y="86"/>
                    <a:pt x="218" y="91"/>
                    <a:pt x="224" y="95"/>
                  </a:cubicBezTo>
                  <a:cubicBezTo>
                    <a:pt x="263" y="56"/>
                    <a:pt x="263" y="56"/>
                    <a:pt x="263" y="56"/>
                  </a:cubicBezTo>
                  <a:cubicBezTo>
                    <a:pt x="265" y="54"/>
                    <a:pt x="269" y="53"/>
                    <a:pt x="273" y="54"/>
                  </a:cubicBezTo>
                  <a:cubicBezTo>
                    <a:pt x="276" y="54"/>
                    <a:pt x="279" y="57"/>
                    <a:pt x="280" y="60"/>
                  </a:cubicBezTo>
                  <a:cubicBezTo>
                    <a:pt x="289" y="85"/>
                    <a:pt x="286" y="111"/>
                    <a:pt x="273" y="133"/>
                  </a:cubicBezTo>
                  <a:cubicBezTo>
                    <a:pt x="273" y="133"/>
                    <a:pt x="273" y="133"/>
                    <a:pt x="273" y="133"/>
                  </a:cubicBezTo>
                  <a:cubicBezTo>
                    <a:pt x="269" y="139"/>
                    <a:pt x="265" y="145"/>
                    <a:pt x="260" y="149"/>
                  </a:cubicBezTo>
                  <a:cubicBezTo>
                    <a:pt x="239" y="171"/>
                    <a:pt x="207" y="179"/>
                    <a:pt x="178" y="171"/>
                  </a:cubicBezTo>
                  <a:cubicBezTo>
                    <a:pt x="73" y="276"/>
                    <a:pt x="73" y="276"/>
                    <a:pt x="73" y="276"/>
                  </a:cubicBezTo>
                  <a:cubicBezTo>
                    <a:pt x="65" y="284"/>
                    <a:pt x="54" y="289"/>
                    <a:pt x="43" y="289"/>
                  </a:cubicBezTo>
                  <a:close/>
                  <a:moveTo>
                    <a:pt x="200" y="25"/>
                  </a:moveTo>
                  <a:cubicBezTo>
                    <a:pt x="188" y="25"/>
                    <a:pt x="177" y="28"/>
                    <a:pt x="167" y="34"/>
                  </a:cubicBezTo>
                  <a:cubicBezTo>
                    <a:pt x="162" y="37"/>
                    <a:pt x="158" y="40"/>
                    <a:pt x="155" y="44"/>
                  </a:cubicBezTo>
                  <a:cubicBezTo>
                    <a:pt x="137" y="61"/>
                    <a:pt x="132" y="87"/>
                    <a:pt x="140" y="110"/>
                  </a:cubicBezTo>
                  <a:cubicBezTo>
                    <a:pt x="141" y="114"/>
                    <a:pt x="140" y="119"/>
                    <a:pt x="137" y="122"/>
                  </a:cubicBezTo>
                  <a:cubicBezTo>
                    <a:pt x="28" y="231"/>
                    <a:pt x="28" y="231"/>
                    <a:pt x="28" y="231"/>
                  </a:cubicBezTo>
                  <a:cubicBezTo>
                    <a:pt x="24" y="235"/>
                    <a:pt x="22" y="240"/>
                    <a:pt x="22" y="246"/>
                  </a:cubicBezTo>
                  <a:cubicBezTo>
                    <a:pt x="22" y="252"/>
                    <a:pt x="24" y="257"/>
                    <a:pt x="28" y="261"/>
                  </a:cubicBezTo>
                  <a:cubicBezTo>
                    <a:pt x="36" y="269"/>
                    <a:pt x="50" y="269"/>
                    <a:pt x="58" y="261"/>
                  </a:cubicBezTo>
                  <a:cubicBezTo>
                    <a:pt x="167" y="152"/>
                    <a:pt x="167" y="152"/>
                    <a:pt x="167" y="152"/>
                  </a:cubicBezTo>
                  <a:cubicBezTo>
                    <a:pt x="170" y="149"/>
                    <a:pt x="175" y="148"/>
                    <a:pt x="179" y="149"/>
                  </a:cubicBezTo>
                  <a:cubicBezTo>
                    <a:pt x="202" y="157"/>
                    <a:pt x="228" y="152"/>
                    <a:pt x="245" y="134"/>
                  </a:cubicBezTo>
                  <a:cubicBezTo>
                    <a:pt x="249" y="131"/>
                    <a:pt x="252" y="127"/>
                    <a:pt x="255" y="122"/>
                  </a:cubicBezTo>
                  <a:cubicBezTo>
                    <a:pt x="255" y="122"/>
                    <a:pt x="255" y="122"/>
                    <a:pt x="255" y="122"/>
                  </a:cubicBezTo>
                  <a:cubicBezTo>
                    <a:pt x="261" y="111"/>
                    <a:pt x="265" y="98"/>
                    <a:pt x="264" y="85"/>
                  </a:cubicBezTo>
                  <a:cubicBezTo>
                    <a:pt x="232" y="117"/>
                    <a:pt x="232" y="117"/>
                    <a:pt x="232" y="117"/>
                  </a:cubicBezTo>
                  <a:cubicBezTo>
                    <a:pt x="229" y="120"/>
                    <a:pt x="223" y="121"/>
                    <a:pt x="219" y="118"/>
                  </a:cubicBezTo>
                  <a:cubicBezTo>
                    <a:pt x="210" y="112"/>
                    <a:pt x="201" y="105"/>
                    <a:pt x="192" y="96"/>
                  </a:cubicBezTo>
                  <a:cubicBezTo>
                    <a:pt x="184" y="88"/>
                    <a:pt x="177" y="79"/>
                    <a:pt x="171" y="70"/>
                  </a:cubicBezTo>
                  <a:cubicBezTo>
                    <a:pt x="168" y="66"/>
                    <a:pt x="169" y="60"/>
                    <a:pt x="172" y="56"/>
                  </a:cubicBezTo>
                  <a:cubicBezTo>
                    <a:pt x="204" y="25"/>
                    <a:pt x="204" y="25"/>
                    <a:pt x="204" y="25"/>
                  </a:cubicBezTo>
                  <a:cubicBezTo>
                    <a:pt x="202" y="25"/>
                    <a:pt x="201" y="25"/>
                    <a:pt x="200" y="2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 name="Freeform 287"/>
            <p:cNvSpPr>
              <a:spLocks noEditPoints="1"/>
            </p:cNvSpPr>
            <p:nvPr/>
          </p:nvSpPr>
          <p:spPr bwMode="auto">
            <a:xfrm>
              <a:off x="388" y="75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6" name="Freeform 917"/>
          <p:cNvSpPr>
            <a:spLocks noChangeAspect="1" noEditPoints="1"/>
          </p:cNvSpPr>
          <p:nvPr/>
        </p:nvSpPr>
        <p:spPr bwMode="auto">
          <a:xfrm>
            <a:off x="5379180" y="1498793"/>
            <a:ext cx="542015" cy="539130"/>
          </a:xfrm>
          <a:custGeom>
            <a:avLst/>
            <a:gdLst>
              <a:gd name="T0" fmla="*/ 277 w 512"/>
              <a:gd name="T1" fmla="*/ 138 h 512"/>
              <a:gd name="T2" fmla="*/ 277 w 512"/>
              <a:gd name="T3" fmla="*/ 245 h 512"/>
              <a:gd name="T4" fmla="*/ 234 w 512"/>
              <a:gd name="T5" fmla="*/ 245 h 512"/>
              <a:gd name="T6" fmla="*/ 234 w 512"/>
              <a:gd name="T7" fmla="*/ 138 h 512"/>
              <a:gd name="T8" fmla="*/ 256 w 512"/>
              <a:gd name="T9" fmla="*/ 117 h 512"/>
              <a:gd name="T10" fmla="*/ 277 w 512"/>
              <a:gd name="T11" fmla="*/ 138 h 512"/>
              <a:gd name="T12" fmla="*/ 512 w 512"/>
              <a:gd name="T13" fmla="*/ 256 h 512"/>
              <a:gd name="T14" fmla="*/ 256 w 512"/>
              <a:gd name="T15" fmla="*/ 512 h 512"/>
              <a:gd name="T16" fmla="*/ 0 w 512"/>
              <a:gd name="T17" fmla="*/ 256 h 512"/>
              <a:gd name="T18" fmla="*/ 256 w 512"/>
              <a:gd name="T19" fmla="*/ 0 h 512"/>
              <a:gd name="T20" fmla="*/ 512 w 512"/>
              <a:gd name="T21" fmla="*/ 256 h 512"/>
              <a:gd name="T22" fmla="*/ 298 w 512"/>
              <a:gd name="T23" fmla="*/ 138 h 512"/>
              <a:gd name="T24" fmla="*/ 256 w 512"/>
              <a:gd name="T25" fmla="*/ 96 h 512"/>
              <a:gd name="T26" fmla="*/ 213 w 512"/>
              <a:gd name="T27" fmla="*/ 138 h 512"/>
              <a:gd name="T28" fmla="*/ 213 w 512"/>
              <a:gd name="T29" fmla="*/ 256 h 512"/>
              <a:gd name="T30" fmla="*/ 224 w 512"/>
              <a:gd name="T31" fmla="*/ 266 h 512"/>
              <a:gd name="T32" fmla="*/ 245 w 512"/>
              <a:gd name="T33" fmla="*/ 266 h 512"/>
              <a:gd name="T34" fmla="*/ 245 w 512"/>
              <a:gd name="T35" fmla="*/ 373 h 512"/>
              <a:gd name="T36" fmla="*/ 236 w 512"/>
              <a:gd name="T37" fmla="*/ 378 h 512"/>
              <a:gd name="T38" fmla="*/ 235 w 512"/>
              <a:gd name="T39" fmla="*/ 388 h 512"/>
              <a:gd name="T40" fmla="*/ 246 w 512"/>
              <a:gd name="T41" fmla="*/ 410 h 512"/>
              <a:gd name="T42" fmla="*/ 256 w 512"/>
              <a:gd name="T43" fmla="*/ 416 h 512"/>
              <a:gd name="T44" fmla="*/ 265 w 512"/>
              <a:gd name="T45" fmla="*/ 410 h 512"/>
              <a:gd name="T46" fmla="*/ 276 w 512"/>
              <a:gd name="T47" fmla="*/ 388 h 512"/>
              <a:gd name="T48" fmla="*/ 275 w 512"/>
              <a:gd name="T49" fmla="*/ 378 h 512"/>
              <a:gd name="T50" fmla="*/ 266 w 512"/>
              <a:gd name="T51" fmla="*/ 373 h 512"/>
              <a:gd name="T52" fmla="*/ 266 w 512"/>
              <a:gd name="T53" fmla="*/ 266 h 512"/>
              <a:gd name="T54" fmla="*/ 288 w 512"/>
              <a:gd name="T55" fmla="*/ 266 h 512"/>
              <a:gd name="T56" fmla="*/ 298 w 512"/>
              <a:gd name="T57" fmla="*/ 256 h 512"/>
              <a:gd name="T58" fmla="*/ 298 w 512"/>
              <a:gd name="T59" fmla="*/ 13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77" y="138"/>
                </a:moveTo>
                <a:cubicBezTo>
                  <a:pt x="277" y="245"/>
                  <a:pt x="277" y="245"/>
                  <a:pt x="277" y="245"/>
                </a:cubicBezTo>
                <a:cubicBezTo>
                  <a:pt x="234" y="245"/>
                  <a:pt x="234" y="245"/>
                  <a:pt x="234" y="245"/>
                </a:cubicBezTo>
                <a:cubicBezTo>
                  <a:pt x="234" y="138"/>
                  <a:pt x="234" y="138"/>
                  <a:pt x="234" y="138"/>
                </a:cubicBezTo>
                <a:cubicBezTo>
                  <a:pt x="234" y="127"/>
                  <a:pt x="244" y="117"/>
                  <a:pt x="256" y="117"/>
                </a:cubicBezTo>
                <a:cubicBezTo>
                  <a:pt x="267" y="117"/>
                  <a:pt x="277" y="127"/>
                  <a:pt x="277" y="13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98" y="138"/>
                </a:moveTo>
                <a:cubicBezTo>
                  <a:pt x="298" y="115"/>
                  <a:pt x="279" y="96"/>
                  <a:pt x="256" y="96"/>
                </a:cubicBezTo>
                <a:cubicBezTo>
                  <a:pt x="232" y="96"/>
                  <a:pt x="213" y="115"/>
                  <a:pt x="213" y="138"/>
                </a:cubicBezTo>
                <a:cubicBezTo>
                  <a:pt x="213" y="256"/>
                  <a:pt x="213" y="256"/>
                  <a:pt x="213" y="256"/>
                </a:cubicBezTo>
                <a:cubicBezTo>
                  <a:pt x="213" y="262"/>
                  <a:pt x="218" y="266"/>
                  <a:pt x="224" y="266"/>
                </a:cubicBezTo>
                <a:cubicBezTo>
                  <a:pt x="245" y="266"/>
                  <a:pt x="245" y="266"/>
                  <a:pt x="245" y="266"/>
                </a:cubicBezTo>
                <a:cubicBezTo>
                  <a:pt x="245" y="373"/>
                  <a:pt x="245" y="373"/>
                  <a:pt x="245" y="373"/>
                </a:cubicBezTo>
                <a:cubicBezTo>
                  <a:pt x="241" y="373"/>
                  <a:pt x="238" y="375"/>
                  <a:pt x="236" y="378"/>
                </a:cubicBezTo>
                <a:cubicBezTo>
                  <a:pt x="234" y="381"/>
                  <a:pt x="234" y="385"/>
                  <a:pt x="235" y="388"/>
                </a:cubicBezTo>
                <a:cubicBezTo>
                  <a:pt x="246" y="410"/>
                  <a:pt x="246" y="410"/>
                  <a:pt x="246" y="410"/>
                </a:cubicBezTo>
                <a:cubicBezTo>
                  <a:pt x="248" y="413"/>
                  <a:pt x="252" y="416"/>
                  <a:pt x="256" y="416"/>
                </a:cubicBezTo>
                <a:cubicBezTo>
                  <a:pt x="260" y="416"/>
                  <a:pt x="263" y="413"/>
                  <a:pt x="265" y="410"/>
                </a:cubicBezTo>
                <a:cubicBezTo>
                  <a:pt x="276" y="388"/>
                  <a:pt x="276" y="388"/>
                  <a:pt x="276" y="388"/>
                </a:cubicBezTo>
                <a:cubicBezTo>
                  <a:pt x="278" y="385"/>
                  <a:pt x="277" y="381"/>
                  <a:pt x="275" y="378"/>
                </a:cubicBezTo>
                <a:cubicBezTo>
                  <a:pt x="273" y="375"/>
                  <a:pt x="270" y="373"/>
                  <a:pt x="266" y="373"/>
                </a:cubicBezTo>
                <a:cubicBezTo>
                  <a:pt x="266" y="266"/>
                  <a:pt x="266" y="266"/>
                  <a:pt x="266" y="266"/>
                </a:cubicBezTo>
                <a:cubicBezTo>
                  <a:pt x="288" y="266"/>
                  <a:pt x="288" y="266"/>
                  <a:pt x="288" y="266"/>
                </a:cubicBezTo>
                <a:cubicBezTo>
                  <a:pt x="294" y="266"/>
                  <a:pt x="298" y="262"/>
                  <a:pt x="298" y="256"/>
                </a:cubicBezTo>
                <a:lnTo>
                  <a:pt x="298" y="138"/>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p>
        </p:txBody>
      </p:sp>
      <p:grpSp>
        <p:nvGrpSpPr>
          <p:cNvPr id="37" name="Group 349"/>
          <p:cNvGrpSpPr>
            <a:grpSpLocks noChangeAspect="1"/>
          </p:cNvGrpSpPr>
          <p:nvPr/>
        </p:nvGrpSpPr>
        <p:grpSpPr bwMode="auto">
          <a:xfrm>
            <a:off x="2961463" y="1490814"/>
            <a:ext cx="580577" cy="569193"/>
            <a:chOff x="5018" y="1229"/>
            <a:chExt cx="340" cy="340"/>
          </a:xfrm>
          <a:solidFill>
            <a:schemeClr val="bg1">
              <a:lumMod val="50000"/>
            </a:schemeClr>
          </a:solidFill>
        </p:grpSpPr>
        <p:sp>
          <p:nvSpPr>
            <p:cNvPr id="38" name="Freeform 350"/>
            <p:cNvSpPr>
              <a:spLocks noEditPoints="1"/>
            </p:cNvSpPr>
            <p:nvPr/>
          </p:nvSpPr>
          <p:spPr bwMode="auto">
            <a:xfrm>
              <a:off x="5103" y="1293"/>
              <a:ext cx="170" cy="212"/>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351"/>
            <p:cNvSpPr>
              <a:spLocks noEditPoints="1"/>
            </p:cNvSpPr>
            <p:nvPr/>
          </p:nvSpPr>
          <p:spPr bwMode="auto">
            <a:xfrm>
              <a:off x="5018" y="122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3" name="Rounded Rectangle 42"/>
          <p:cNvSpPr/>
          <p:nvPr/>
        </p:nvSpPr>
        <p:spPr>
          <a:xfrm>
            <a:off x="304800" y="895350"/>
            <a:ext cx="8534400" cy="304800"/>
          </a:xfrm>
          <a:prstGeom prst="round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b="1" dirty="0">
                <a:solidFill>
                  <a:schemeClr val="bg1"/>
                </a:solidFill>
              </a:rPr>
              <a:t>Local Engagement &amp; Buy-In</a:t>
            </a:r>
          </a:p>
        </p:txBody>
      </p:sp>
      <p:grpSp>
        <p:nvGrpSpPr>
          <p:cNvPr id="44" name="Group 57"/>
          <p:cNvGrpSpPr>
            <a:grpSpLocks noChangeAspect="1"/>
          </p:cNvGrpSpPr>
          <p:nvPr/>
        </p:nvGrpSpPr>
        <p:grpSpPr bwMode="auto">
          <a:xfrm>
            <a:off x="3050716" y="3725473"/>
            <a:ext cx="546425" cy="546425"/>
            <a:chOff x="3880" y="2160"/>
            <a:chExt cx="340" cy="340"/>
          </a:xfrm>
          <a:solidFill>
            <a:schemeClr val="bg1">
              <a:lumMod val="50000"/>
            </a:schemeClr>
          </a:solidFill>
        </p:grpSpPr>
        <p:sp>
          <p:nvSpPr>
            <p:cNvPr id="45" name="Freeform 58"/>
            <p:cNvSpPr>
              <a:spLocks noEditPoints="1"/>
            </p:cNvSpPr>
            <p:nvPr/>
          </p:nvSpPr>
          <p:spPr bwMode="auto">
            <a:xfrm>
              <a:off x="3880" y="21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 name="Freeform 59"/>
            <p:cNvSpPr>
              <a:spLocks noEditPoints="1"/>
            </p:cNvSpPr>
            <p:nvPr/>
          </p:nvSpPr>
          <p:spPr bwMode="auto">
            <a:xfrm>
              <a:off x="3944" y="2252"/>
              <a:ext cx="212" cy="184"/>
            </a:xfrm>
            <a:custGeom>
              <a:avLst/>
              <a:gdLst>
                <a:gd name="T0" fmla="*/ 64 w 320"/>
                <a:gd name="T1" fmla="*/ 278 h 278"/>
                <a:gd name="T2" fmla="*/ 60 w 320"/>
                <a:gd name="T3" fmla="*/ 277 h 278"/>
                <a:gd name="T4" fmla="*/ 53 w 320"/>
                <a:gd name="T5" fmla="*/ 267 h 278"/>
                <a:gd name="T6" fmla="*/ 53 w 320"/>
                <a:gd name="T7" fmla="*/ 214 h 278"/>
                <a:gd name="T8" fmla="*/ 10 w 320"/>
                <a:gd name="T9" fmla="*/ 214 h 278"/>
                <a:gd name="T10" fmla="*/ 0 w 320"/>
                <a:gd name="T11" fmla="*/ 203 h 278"/>
                <a:gd name="T12" fmla="*/ 0 w 320"/>
                <a:gd name="T13" fmla="*/ 11 h 278"/>
                <a:gd name="T14" fmla="*/ 10 w 320"/>
                <a:gd name="T15" fmla="*/ 0 h 278"/>
                <a:gd name="T16" fmla="*/ 309 w 320"/>
                <a:gd name="T17" fmla="*/ 0 h 278"/>
                <a:gd name="T18" fmla="*/ 320 w 320"/>
                <a:gd name="T19" fmla="*/ 11 h 278"/>
                <a:gd name="T20" fmla="*/ 320 w 320"/>
                <a:gd name="T21" fmla="*/ 203 h 278"/>
                <a:gd name="T22" fmla="*/ 309 w 320"/>
                <a:gd name="T23" fmla="*/ 214 h 278"/>
                <a:gd name="T24" fmla="*/ 122 w 320"/>
                <a:gd name="T25" fmla="*/ 214 h 278"/>
                <a:gd name="T26" fmla="*/ 72 w 320"/>
                <a:gd name="T27" fmla="*/ 274 h 278"/>
                <a:gd name="T28" fmla="*/ 64 w 320"/>
                <a:gd name="T29" fmla="*/ 278 h 278"/>
                <a:gd name="T30" fmla="*/ 21 w 320"/>
                <a:gd name="T31" fmla="*/ 192 h 278"/>
                <a:gd name="T32" fmla="*/ 64 w 320"/>
                <a:gd name="T33" fmla="*/ 192 h 278"/>
                <a:gd name="T34" fmla="*/ 74 w 320"/>
                <a:gd name="T35" fmla="*/ 203 h 278"/>
                <a:gd name="T36" fmla="*/ 74 w 320"/>
                <a:gd name="T37" fmla="*/ 238 h 278"/>
                <a:gd name="T38" fmla="*/ 109 w 320"/>
                <a:gd name="T39" fmla="*/ 196 h 278"/>
                <a:gd name="T40" fmla="*/ 117 w 320"/>
                <a:gd name="T41" fmla="*/ 192 h 278"/>
                <a:gd name="T42" fmla="*/ 298 w 320"/>
                <a:gd name="T43" fmla="*/ 192 h 278"/>
                <a:gd name="T44" fmla="*/ 298 w 320"/>
                <a:gd name="T45" fmla="*/ 22 h 278"/>
                <a:gd name="T46" fmla="*/ 21 w 320"/>
                <a:gd name="T47" fmla="*/ 22 h 278"/>
                <a:gd name="T48" fmla="*/ 21 w 320"/>
                <a:gd name="T49" fmla="*/ 19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0" h="278">
                  <a:moveTo>
                    <a:pt x="64" y="278"/>
                  </a:moveTo>
                  <a:cubicBezTo>
                    <a:pt x="62" y="278"/>
                    <a:pt x="61" y="277"/>
                    <a:pt x="60" y="277"/>
                  </a:cubicBezTo>
                  <a:cubicBezTo>
                    <a:pt x="56" y="276"/>
                    <a:pt x="53" y="271"/>
                    <a:pt x="53" y="267"/>
                  </a:cubicBezTo>
                  <a:cubicBezTo>
                    <a:pt x="53" y="214"/>
                    <a:pt x="53" y="214"/>
                    <a:pt x="53" y="214"/>
                  </a:cubicBezTo>
                  <a:cubicBezTo>
                    <a:pt x="10" y="214"/>
                    <a:pt x="10" y="214"/>
                    <a:pt x="10" y="214"/>
                  </a:cubicBezTo>
                  <a:cubicBezTo>
                    <a:pt x="4" y="214"/>
                    <a:pt x="0" y="209"/>
                    <a:pt x="0" y="203"/>
                  </a:cubicBezTo>
                  <a:cubicBezTo>
                    <a:pt x="0" y="11"/>
                    <a:pt x="0" y="11"/>
                    <a:pt x="0" y="11"/>
                  </a:cubicBezTo>
                  <a:cubicBezTo>
                    <a:pt x="0" y="5"/>
                    <a:pt x="4" y="0"/>
                    <a:pt x="10" y="0"/>
                  </a:cubicBezTo>
                  <a:cubicBezTo>
                    <a:pt x="309" y="0"/>
                    <a:pt x="309" y="0"/>
                    <a:pt x="309" y="0"/>
                  </a:cubicBezTo>
                  <a:cubicBezTo>
                    <a:pt x="315" y="0"/>
                    <a:pt x="320" y="5"/>
                    <a:pt x="320" y="11"/>
                  </a:cubicBezTo>
                  <a:cubicBezTo>
                    <a:pt x="320" y="203"/>
                    <a:pt x="320" y="203"/>
                    <a:pt x="320" y="203"/>
                  </a:cubicBezTo>
                  <a:cubicBezTo>
                    <a:pt x="320" y="209"/>
                    <a:pt x="315" y="214"/>
                    <a:pt x="309" y="214"/>
                  </a:cubicBezTo>
                  <a:cubicBezTo>
                    <a:pt x="122" y="214"/>
                    <a:pt x="122" y="214"/>
                    <a:pt x="122" y="214"/>
                  </a:cubicBezTo>
                  <a:cubicBezTo>
                    <a:pt x="72" y="274"/>
                    <a:pt x="72" y="274"/>
                    <a:pt x="72" y="274"/>
                  </a:cubicBezTo>
                  <a:cubicBezTo>
                    <a:pt x="70" y="276"/>
                    <a:pt x="67" y="278"/>
                    <a:pt x="64" y="278"/>
                  </a:cubicBezTo>
                  <a:close/>
                  <a:moveTo>
                    <a:pt x="21" y="192"/>
                  </a:moveTo>
                  <a:cubicBezTo>
                    <a:pt x="64" y="192"/>
                    <a:pt x="64" y="192"/>
                    <a:pt x="64" y="192"/>
                  </a:cubicBezTo>
                  <a:cubicBezTo>
                    <a:pt x="70" y="192"/>
                    <a:pt x="74" y="197"/>
                    <a:pt x="74" y="203"/>
                  </a:cubicBezTo>
                  <a:cubicBezTo>
                    <a:pt x="74" y="238"/>
                    <a:pt x="74" y="238"/>
                    <a:pt x="74" y="238"/>
                  </a:cubicBezTo>
                  <a:cubicBezTo>
                    <a:pt x="109" y="196"/>
                    <a:pt x="109" y="196"/>
                    <a:pt x="109" y="196"/>
                  </a:cubicBezTo>
                  <a:cubicBezTo>
                    <a:pt x="111" y="194"/>
                    <a:pt x="114" y="192"/>
                    <a:pt x="117" y="192"/>
                  </a:cubicBezTo>
                  <a:cubicBezTo>
                    <a:pt x="298" y="192"/>
                    <a:pt x="298" y="192"/>
                    <a:pt x="298" y="192"/>
                  </a:cubicBezTo>
                  <a:cubicBezTo>
                    <a:pt x="298" y="22"/>
                    <a:pt x="298" y="22"/>
                    <a:pt x="298" y="22"/>
                  </a:cubicBezTo>
                  <a:cubicBezTo>
                    <a:pt x="21" y="22"/>
                    <a:pt x="21" y="22"/>
                    <a:pt x="21" y="22"/>
                  </a:cubicBezTo>
                  <a:lnTo>
                    <a:pt x="21" y="19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Oval 60"/>
            <p:cNvSpPr>
              <a:spLocks noChangeArrowheads="1"/>
            </p:cNvSpPr>
            <p:nvPr/>
          </p:nvSpPr>
          <p:spPr bwMode="auto">
            <a:xfrm>
              <a:off x="4014" y="2315"/>
              <a:ext cx="15" cy="15"/>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Oval 61"/>
            <p:cNvSpPr>
              <a:spLocks noChangeArrowheads="1"/>
            </p:cNvSpPr>
            <p:nvPr/>
          </p:nvSpPr>
          <p:spPr bwMode="auto">
            <a:xfrm>
              <a:off x="4043" y="2315"/>
              <a:ext cx="14" cy="15"/>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Oval 62"/>
            <p:cNvSpPr>
              <a:spLocks noChangeArrowheads="1"/>
            </p:cNvSpPr>
            <p:nvPr/>
          </p:nvSpPr>
          <p:spPr bwMode="auto">
            <a:xfrm>
              <a:off x="4071" y="2315"/>
              <a:ext cx="14" cy="15"/>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4" name="Group 3"/>
          <p:cNvGrpSpPr>
            <a:grpSpLocks/>
          </p:cNvGrpSpPr>
          <p:nvPr/>
        </p:nvGrpSpPr>
        <p:grpSpPr bwMode="auto">
          <a:xfrm rot="995152">
            <a:off x="3416412" y="1866615"/>
            <a:ext cx="2156112" cy="2024593"/>
            <a:chOff x="1489" y="1070"/>
            <a:chExt cx="3261" cy="2590"/>
          </a:xfrm>
        </p:grpSpPr>
        <p:sp>
          <p:nvSpPr>
            <p:cNvPr id="35" name="Freeform 4"/>
            <p:cNvSpPr>
              <a:spLocks/>
            </p:cNvSpPr>
            <p:nvPr/>
          </p:nvSpPr>
          <p:spPr bwMode="auto">
            <a:xfrm>
              <a:off x="3123" y="1070"/>
              <a:ext cx="1627" cy="1584"/>
            </a:xfrm>
            <a:custGeom>
              <a:avLst/>
              <a:gdLst>
                <a:gd name="T0" fmla="*/ 0 w 1627"/>
                <a:gd name="T1" fmla="*/ 0 h 1584"/>
                <a:gd name="T2" fmla="*/ 1627 w 1627"/>
                <a:gd name="T3" fmla="*/ 1265 h 1584"/>
                <a:gd name="T4" fmla="*/ 1480 w 1627"/>
                <a:gd name="T5" fmla="*/ 1276 h 1584"/>
                <a:gd name="T6" fmla="*/ 1476 w 1627"/>
                <a:gd name="T7" fmla="*/ 1304 h 1584"/>
                <a:gd name="T8" fmla="*/ 1483 w 1627"/>
                <a:gd name="T9" fmla="*/ 1339 h 1584"/>
                <a:gd name="T10" fmla="*/ 1494 w 1627"/>
                <a:gd name="T11" fmla="*/ 1382 h 1584"/>
                <a:gd name="T12" fmla="*/ 1502 w 1627"/>
                <a:gd name="T13" fmla="*/ 1423 h 1584"/>
                <a:gd name="T14" fmla="*/ 1499 w 1627"/>
                <a:gd name="T15" fmla="*/ 1461 h 1584"/>
                <a:gd name="T16" fmla="*/ 1487 w 1627"/>
                <a:gd name="T17" fmla="*/ 1499 h 1584"/>
                <a:gd name="T18" fmla="*/ 1461 w 1627"/>
                <a:gd name="T19" fmla="*/ 1530 h 1584"/>
                <a:gd name="T20" fmla="*/ 1431 w 1627"/>
                <a:gd name="T21" fmla="*/ 1555 h 1584"/>
                <a:gd name="T22" fmla="*/ 1394 w 1627"/>
                <a:gd name="T23" fmla="*/ 1572 h 1584"/>
                <a:gd name="T24" fmla="*/ 1348 w 1627"/>
                <a:gd name="T25" fmla="*/ 1582 h 1584"/>
                <a:gd name="T26" fmla="*/ 1307 w 1627"/>
                <a:gd name="T27" fmla="*/ 1584 h 1584"/>
                <a:gd name="T28" fmla="*/ 1271 w 1627"/>
                <a:gd name="T29" fmla="*/ 1579 h 1584"/>
                <a:gd name="T30" fmla="*/ 1235 w 1627"/>
                <a:gd name="T31" fmla="*/ 1568 h 1584"/>
                <a:gd name="T32" fmla="*/ 1205 w 1627"/>
                <a:gd name="T33" fmla="*/ 1548 h 1584"/>
                <a:gd name="T34" fmla="*/ 1177 w 1627"/>
                <a:gd name="T35" fmla="*/ 1519 h 1584"/>
                <a:gd name="T36" fmla="*/ 1154 w 1627"/>
                <a:gd name="T37" fmla="*/ 1486 h 1584"/>
                <a:gd name="T38" fmla="*/ 1142 w 1627"/>
                <a:gd name="T39" fmla="*/ 1441 h 1584"/>
                <a:gd name="T40" fmla="*/ 1147 w 1627"/>
                <a:gd name="T41" fmla="*/ 1396 h 1584"/>
                <a:gd name="T42" fmla="*/ 1159 w 1627"/>
                <a:gd name="T43" fmla="*/ 1351 h 1584"/>
                <a:gd name="T44" fmla="*/ 1168 w 1627"/>
                <a:gd name="T45" fmla="*/ 1306 h 1584"/>
                <a:gd name="T46" fmla="*/ 1167 w 1627"/>
                <a:gd name="T47" fmla="*/ 1284 h 1584"/>
                <a:gd name="T48" fmla="*/ 892 w 1627"/>
                <a:gd name="T49" fmla="*/ 1273 h 1584"/>
                <a:gd name="T50" fmla="*/ 895 w 1627"/>
                <a:gd name="T51" fmla="*/ 1198 h 1584"/>
                <a:gd name="T52" fmla="*/ 889 w 1627"/>
                <a:gd name="T53" fmla="*/ 1149 h 1584"/>
                <a:gd name="T54" fmla="*/ 878 w 1627"/>
                <a:gd name="T55" fmla="*/ 1119 h 1584"/>
                <a:gd name="T56" fmla="*/ 855 w 1627"/>
                <a:gd name="T57" fmla="*/ 1095 h 1584"/>
                <a:gd name="T58" fmla="*/ 824 w 1627"/>
                <a:gd name="T59" fmla="*/ 1080 h 1584"/>
                <a:gd name="T60" fmla="*/ 786 w 1627"/>
                <a:gd name="T61" fmla="*/ 1075 h 1584"/>
                <a:gd name="T62" fmla="*/ 731 w 1627"/>
                <a:gd name="T63" fmla="*/ 1078 h 1584"/>
                <a:gd name="T64" fmla="*/ 679 w 1627"/>
                <a:gd name="T65" fmla="*/ 1082 h 1584"/>
                <a:gd name="T66" fmla="*/ 625 w 1627"/>
                <a:gd name="T67" fmla="*/ 1082 h 1584"/>
                <a:gd name="T68" fmla="*/ 571 w 1627"/>
                <a:gd name="T69" fmla="*/ 1073 h 1584"/>
                <a:gd name="T70" fmla="*/ 530 w 1627"/>
                <a:gd name="T71" fmla="*/ 1049 h 1584"/>
                <a:gd name="T72" fmla="*/ 506 w 1627"/>
                <a:gd name="T73" fmla="*/ 1016 h 1584"/>
                <a:gd name="T74" fmla="*/ 496 w 1627"/>
                <a:gd name="T75" fmla="*/ 972 h 1584"/>
                <a:gd name="T76" fmla="*/ 498 w 1627"/>
                <a:gd name="T77" fmla="*/ 923 h 1584"/>
                <a:gd name="T78" fmla="*/ 491 w 1627"/>
                <a:gd name="T79" fmla="*/ 878 h 1584"/>
                <a:gd name="T80" fmla="*/ 480 w 1627"/>
                <a:gd name="T81" fmla="*/ 849 h 1584"/>
                <a:gd name="T82" fmla="*/ 463 w 1627"/>
                <a:gd name="T83" fmla="*/ 831 h 1584"/>
                <a:gd name="T84" fmla="*/ 423 w 1627"/>
                <a:gd name="T85" fmla="*/ 813 h 1584"/>
                <a:gd name="T86" fmla="*/ 371 w 1627"/>
                <a:gd name="T87" fmla="*/ 799 h 1584"/>
                <a:gd name="T88" fmla="*/ 313 w 1627"/>
                <a:gd name="T89" fmla="*/ 789 h 1584"/>
                <a:gd name="T90" fmla="*/ 269 w 1627"/>
                <a:gd name="T91" fmla="*/ 775 h 1584"/>
                <a:gd name="T92" fmla="*/ 231 w 1627"/>
                <a:gd name="T93" fmla="*/ 753 h 1584"/>
                <a:gd name="T94" fmla="*/ 200 w 1627"/>
                <a:gd name="T95" fmla="*/ 724 h 1584"/>
                <a:gd name="T96" fmla="*/ 180 w 1627"/>
                <a:gd name="T97" fmla="*/ 687 h 1584"/>
                <a:gd name="T98" fmla="*/ 177 w 1627"/>
                <a:gd name="T99" fmla="*/ 646 h 1584"/>
                <a:gd name="T100" fmla="*/ 189 w 1627"/>
                <a:gd name="T101" fmla="*/ 601 h 1584"/>
                <a:gd name="T102" fmla="*/ 199 w 1627"/>
                <a:gd name="T103" fmla="*/ 550 h 1584"/>
                <a:gd name="T104" fmla="*/ 207 w 1627"/>
                <a:gd name="T105" fmla="*/ 502 h 1584"/>
                <a:gd name="T106" fmla="*/ 199 w 1627"/>
                <a:gd name="T107" fmla="*/ 454 h 1584"/>
                <a:gd name="T108" fmla="*/ 179 w 1627"/>
                <a:gd name="T109" fmla="*/ 410 h 1584"/>
                <a:gd name="T110" fmla="*/ 159 w 1627"/>
                <a:gd name="T111" fmla="*/ 384 h 1584"/>
                <a:gd name="T112" fmla="*/ 134 w 1627"/>
                <a:gd name="T113" fmla="*/ 360 h 1584"/>
                <a:gd name="T114" fmla="*/ 104 w 1627"/>
                <a:gd name="T115" fmla="*/ 343 h 1584"/>
                <a:gd name="T116" fmla="*/ 66 w 1627"/>
                <a:gd name="T117" fmla="*/ 331 h 1584"/>
                <a:gd name="T118" fmla="*/ 21 w 1627"/>
                <a:gd name="T119" fmla="*/ 330 h 158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627"/>
                <a:gd name="T181" fmla="*/ 0 h 1584"/>
                <a:gd name="T182" fmla="*/ 1627 w 1627"/>
                <a:gd name="T183" fmla="*/ 1584 h 158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627" h="1584">
                  <a:moveTo>
                    <a:pt x="0" y="330"/>
                  </a:moveTo>
                  <a:lnTo>
                    <a:pt x="0" y="0"/>
                  </a:lnTo>
                  <a:lnTo>
                    <a:pt x="1626" y="0"/>
                  </a:lnTo>
                  <a:lnTo>
                    <a:pt x="1627" y="1265"/>
                  </a:lnTo>
                  <a:lnTo>
                    <a:pt x="1486" y="1265"/>
                  </a:lnTo>
                  <a:lnTo>
                    <a:pt x="1480" y="1276"/>
                  </a:lnTo>
                  <a:lnTo>
                    <a:pt x="1476" y="1291"/>
                  </a:lnTo>
                  <a:lnTo>
                    <a:pt x="1476" y="1304"/>
                  </a:lnTo>
                  <a:lnTo>
                    <a:pt x="1478" y="1320"/>
                  </a:lnTo>
                  <a:lnTo>
                    <a:pt x="1483" y="1339"/>
                  </a:lnTo>
                  <a:lnTo>
                    <a:pt x="1489" y="1365"/>
                  </a:lnTo>
                  <a:lnTo>
                    <a:pt x="1494" y="1382"/>
                  </a:lnTo>
                  <a:lnTo>
                    <a:pt x="1499" y="1403"/>
                  </a:lnTo>
                  <a:lnTo>
                    <a:pt x="1502" y="1423"/>
                  </a:lnTo>
                  <a:lnTo>
                    <a:pt x="1502" y="1442"/>
                  </a:lnTo>
                  <a:lnTo>
                    <a:pt x="1499" y="1461"/>
                  </a:lnTo>
                  <a:lnTo>
                    <a:pt x="1494" y="1481"/>
                  </a:lnTo>
                  <a:lnTo>
                    <a:pt x="1487" y="1499"/>
                  </a:lnTo>
                  <a:lnTo>
                    <a:pt x="1476" y="1513"/>
                  </a:lnTo>
                  <a:lnTo>
                    <a:pt x="1461" y="1530"/>
                  </a:lnTo>
                  <a:lnTo>
                    <a:pt x="1445" y="1543"/>
                  </a:lnTo>
                  <a:lnTo>
                    <a:pt x="1431" y="1555"/>
                  </a:lnTo>
                  <a:lnTo>
                    <a:pt x="1414" y="1565"/>
                  </a:lnTo>
                  <a:lnTo>
                    <a:pt x="1394" y="1572"/>
                  </a:lnTo>
                  <a:lnTo>
                    <a:pt x="1370" y="1579"/>
                  </a:lnTo>
                  <a:lnTo>
                    <a:pt x="1348" y="1582"/>
                  </a:lnTo>
                  <a:lnTo>
                    <a:pt x="1328" y="1584"/>
                  </a:lnTo>
                  <a:lnTo>
                    <a:pt x="1307" y="1584"/>
                  </a:lnTo>
                  <a:lnTo>
                    <a:pt x="1287" y="1582"/>
                  </a:lnTo>
                  <a:lnTo>
                    <a:pt x="1271" y="1579"/>
                  </a:lnTo>
                  <a:lnTo>
                    <a:pt x="1253" y="1574"/>
                  </a:lnTo>
                  <a:lnTo>
                    <a:pt x="1235" y="1568"/>
                  </a:lnTo>
                  <a:lnTo>
                    <a:pt x="1221" y="1560"/>
                  </a:lnTo>
                  <a:lnTo>
                    <a:pt x="1205" y="1548"/>
                  </a:lnTo>
                  <a:lnTo>
                    <a:pt x="1191" y="1534"/>
                  </a:lnTo>
                  <a:lnTo>
                    <a:pt x="1177" y="1519"/>
                  </a:lnTo>
                  <a:lnTo>
                    <a:pt x="1164" y="1503"/>
                  </a:lnTo>
                  <a:lnTo>
                    <a:pt x="1154" y="1486"/>
                  </a:lnTo>
                  <a:lnTo>
                    <a:pt x="1147" y="1465"/>
                  </a:lnTo>
                  <a:lnTo>
                    <a:pt x="1142" y="1441"/>
                  </a:lnTo>
                  <a:lnTo>
                    <a:pt x="1142" y="1418"/>
                  </a:lnTo>
                  <a:lnTo>
                    <a:pt x="1147" y="1396"/>
                  </a:lnTo>
                  <a:lnTo>
                    <a:pt x="1153" y="1373"/>
                  </a:lnTo>
                  <a:lnTo>
                    <a:pt x="1159" y="1351"/>
                  </a:lnTo>
                  <a:lnTo>
                    <a:pt x="1166" y="1325"/>
                  </a:lnTo>
                  <a:lnTo>
                    <a:pt x="1168" y="1306"/>
                  </a:lnTo>
                  <a:lnTo>
                    <a:pt x="1168" y="1294"/>
                  </a:lnTo>
                  <a:lnTo>
                    <a:pt x="1167" y="1284"/>
                  </a:lnTo>
                  <a:lnTo>
                    <a:pt x="1163" y="1273"/>
                  </a:lnTo>
                  <a:lnTo>
                    <a:pt x="892" y="1273"/>
                  </a:lnTo>
                  <a:lnTo>
                    <a:pt x="896" y="1225"/>
                  </a:lnTo>
                  <a:lnTo>
                    <a:pt x="895" y="1198"/>
                  </a:lnTo>
                  <a:lnTo>
                    <a:pt x="892" y="1173"/>
                  </a:lnTo>
                  <a:lnTo>
                    <a:pt x="889" y="1149"/>
                  </a:lnTo>
                  <a:lnTo>
                    <a:pt x="885" y="1133"/>
                  </a:lnTo>
                  <a:lnTo>
                    <a:pt x="878" y="1119"/>
                  </a:lnTo>
                  <a:lnTo>
                    <a:pt x="869" y="1106"/>
                  </a:lnTo>
                  <a:lnTo>
                    <a:pt x="855" y="1095"/>
                  </a:lnTo>
                  <a:lnTo>
                    <a:pt x="839" y="1085"/>
                  </a:lnTo>
                  <a:lnTo>
                    <a:pt x="824" y="1080"/>
                  </a:lnTo>
                  <a:lnTo>
                    <a:pt x="810" y="1077"/>
                  </a:lnTo>
                  <a:lnTo>
                    <a:pt x="786" y="1075"/>
                  </a:lnTo>
                  <a:lnTo>
                    <a:pt x="758" y="1075"/>
                  </a:lnTo>
                  <a:lnTo>
                    <a:pt x="731" y="1078"/>
                  </a:lnTo>
                  <a:lnTo>
                    <a:pt x="701" y="1080"/>
                  </a:lnTo>
                  <a:lnTo>
                    <a:pt x="679" y="1082"/>
                  </a:lnTo>
                  <a:lnTo>
                    <a:pt x="649" y="1084"/>
                  </a:lnTo>
                  <a:lnTo>
                    <a:pt x="625" y="1082"/>
                  </a:lnTo>
                  <a:lnTo>
                    <a:pt x="604" y="1080"/>
                  </a:lnTo>
                  <a:lnTo>
                    <a:pt x="571" y="1073"/>
                  </a:lnTo>
                  <a:lnTo>
                    <a:pt x="550" y="1063"/>
                  </a:lnTo>
                  <a:lnTo>
                    <a:pt x="530" y="1049"/>
                  </a:lnTo>
                  <a:lnTo>
                    <a:pt x="518" y="1033"/>
                  </a:lnTo>
                  <a:lnTo>
                    <a:pt x="506" y="1016"/>
                  </a:lnTo>
                  <a:lnTo>
                    <a:pt x="498" y="995"/>
                  </a:lnTo>
                  <a:lnTo>
                    <a:pt x="496" y="972"/>
                  </a:lnTo>
                  <a:lnTo>
                    <a:pt x="496" y="944"/>
                  </a:lnTo>
                  <a:lnTo>
                    <a:pt x="498" y="923"/>
                  </a:lnTo>
                  <a:lnTo>
                    <a:pt x="496" y="902"/>
                  </a:lnTo>
                  <a:lnTo>
                    <a:pt x="491" y="878"/>
                  </a:lnTo>
                  <a:lnTo>
                    <a:pt x="487" y="864"/>
                  </a:lnTo>
                  <a:lnTo>
                    <a:pt x="480" y="849"/>
                  </a:lnTo>
                  <a:lnTo>
                    <a:pt x="471" y="840"/>
                  </a:lnTo>
                  <a:lnTo>
                    <a:pt x="463" y="831"/>
                  </a:lnTo>
                  <a:lnTo>
                    <a:pt x="444" y="823"/>
                  </a:lnTo>
                  <a:lnTo>
                    <a:pt x="423" y="813"/>
                  </a:lnTo>
                  <a:lnTo>
                    <a:pt x="399" y="806"/>
                  </a:lnTo>
                  <a:lnTo>
                    <a:pt x="371" y="799"/>
                  </a:lnTo>
                  <a:lnTo>
                    <a:pt x="343" y="793"/>
                  </a:lnTo>
                  <a:lnTo>
                    <a:pt x="313" y="789"/>
                  </a:lnTo>
                  <a:lnTo>
                    <a:pt x="292" y="782"/>
                  </a:lnTo>
                  <a:lnTo>
                    <a:pt x="269" y="775"/>
                  </a:lnTo>
                  <a:lnTo>
                    <a:pt x="247" y="766"/>
                  </a:lnTo>
                  <a:lnTo>
                    <a:pt x="231" y="753"/>
                  </a:lnTo>
                  <a:lnTo>
                    <a:pt x="213" y="738"/>
                  </a:lnTo>
                  <a:lnTo>
                    <a:pt x="200" y="724"/>
                  </a:lnTo>
                  <a:lnTo>
                    <a:pt x="189" y="707"/>
                  </a:lnTo>
                  <a:lnTo>
                    <a:pt x="180" y="687"/>
                  </a:lnTo>
                  <a:lnTo>
                    <a:pt x="177" y="666"/>
                  </a:lnTo>
                  <a:lnTo>
                    <a:pt x="177" y="646"/>
                  </a:lnTo>
                  <a:lnTo>
                    <a:pt x="182" y="628"/>
                  </a:lnTo>
                  <a:lnTo>
                    <a:pt x="189" y="601"/>
                  </a:lnTo>
                  <a:lnTo>
                    <a:pt x="196" y="574"/>
                  </a:lnTo>
                  <a:lnTo>
                    <a:pt x="199" y="550"/>
                  </a:lnTo>
                  <a:lnTo>
                    <a:pt x="204" y="526"/>
                  </a:lnTo>
                  <a:lnTo>
                    <a:pt x="207" y="502"/>
                  </a:lnTo>
                  <a:lnTo>
                    <a:pt x="204" y="477"/>
                  </a:lnTo>
                  <a:lnTo>
                    <a:pt x="199" y="454"/>
                  </a:lnTo>
                  <a:lnTo>
                    <a:pt x="190" y="432"/>
                  </a:lnTo>
                  <a:lnTo>
                    <a:pt x="179" y="410"/>
                  </a:lnTo>
                  <a:lnTo>
                    <a:pt x="166" y="393"/>
                  </a:lnTo>
                  <a:lnTo>
                    <a:pt x="159" y="384"/>
                  </a:lnTo>
                  <a:lnTo>
                    <a:pt x="146" y="371"/>
                  </a:lnTo>
                  <a:lnTo>
                    <a:pt x="134" y="360"/>
                  </a:lnTo>
                  <a:lnTo>
                    <a:pt x="121" y="351"/>
                  </a:lnTo>
                  <a:lnTo>
                    <a:pt x="104" y="343"/>
                  </a:lnTo>
                  <a:lnTo>
                    <a:pt x="87" y="337"/>
                  </a:lnTo>
                  <a:lnTo>
                    <a:pt x="66" y="331"/>
                  </a:lnTo>
                  <a:lnTo>
                    <a:pt x="42" y="330"/>
                  </a:lnTo>
                  <a:lnTo>
                    <a:pt x="21" y="330"/>
                  </a:lnTo>
                  <a:lnTo>
                    <a:pt x="0" y="330"/>
                  </a:lnTo>
                  <a:close/>
                </a:path>
              </a:pathLst>
            </a:custGeom>
            <a:solidFill>
              <a:schemeClr val="accent6"/>
            </a:solidFill>
            <a:ln w="9525">
              <a:noFill/>
              <a:round/>
              <a:headEnd/>
              <a:tailEnd/>
            </a:ln>
          </p:spPr>
          <p:txBody>
            <a:bodyPr/>
            <a:lstStyle/>
            <a:p>
              <a:endParaRPr lang="en-US" dirty="0"/>
            </a:p>
          </p:txBody>
        </p:sp>
        <p:sp>
          <p:nvSpPr>
            <p:cNvPr id="36" name="Freeform 35"/>
            <p:cNvSpPr>
              <a:spLocks/>
            </p:cNvSpPr>
            <p:nvPr/>
          </p:nvSpPr>
          <p:spPr bwMode="auto">
            <a:xfrm>
              <a:off x="3116" y="2333"/>
              <a:ext cx="1634" cy="1327"/>
            </a:xfrm>
            <a:custGeom>
              <a:avLst/>
              <a:gdLst>
                <a:gd name="T0" fmla="*/ 0 w 1634"/>
                <a:gd name="T1" fmla="*/ 1327 h 1327"/>
                <a:gd name="T2" fmla="*/ 1633 w 1634"/>
                <a:gd name="T3" fmla="*/ 0 h 1327"/>
                <a:gd name="T4" fmla="*/ 1480 w 1634"/>
                <a:gd name="T5" fmla="*/ 26 h 1327"/>
                <a:gd name="T6" fmla="*/ 1485 w 1634"/>
                <a:gd name="T7" fmla="*/ 69 h 1327"/>
                <a:gd name="T8" fmla="*/ 1501 w 1634"/>
                <a:gd name="T9" fmla="*/ 129 h 1327"/>
                <a:gd name="T10" fmla="*/ 1506 w 1634"/>
                <a:gd name="T11" fmla="*/ 177 h 1327"/>
                <a:gd name="T12" fmla="*/ 1496 w 1634"/>
                <a:gd name="T13" fmla="*/ 226 h 1327"/>
                <a:gd name="T14" fmla="*/ 1462 w 1634"/>
                <a:gd name="T15" fmla="*/ 268 h 1327"/>
                <a:gd name="T16" fmla="*/ 1420 w 1634"/>
                <a:gd name="T17" fmla="*/ 299 h 1327"/>
                <a:gd name="T18" fmla="*/ 1369 w 1634"/>
                <a:gd name="T19" fmla="*/ 315 h 1327"/>
                <a:gd name="T20" fmla="*/ 1295 w 1634"/>
                <a:gd name="T21" fmla="*/ 314 h 1327"/>
                <a:gd name="T22" fmla="*/ 1247 w 1634"/>
                <a:gd name="T23" fmla="*/ 304 h 1327"/>
                <a:gd name="T24" fmla="*/ 1199 w 1634"/>
                <a:gd name="T25" fmla="*/ 270 h 1327"/>
                <a:gd name="T26" fmla="*/ 1167 w 1634"/>
                <a:gd name="T27" fmla="*/ 229 h 1327"/>
                <a:gd name="T28" fmla="*/ 1153 w 1634"/>
                <a:gd name="T29" fmla="*/ 185 h 1327"/>
                <a:gd name="T30" fmla="*/ 1156 w 1634"/>
                <a:gd name="T31" fmla="*/ 137 h 1327"/>
                <a:gd name="T32" fmla="*/ 1167 w 1634"/>
                <a:gd name="T33" fmla="*/ 93 h 1327"/>
                <a:gd name="T34" fmla="*/ 1178 w 1634"/>
                <a:gd name="T35" fmla="*/ 48 h 1327"/>
                <a:gd name="T36" fmla="*/ 1173 w 1634"/>
                <a:gd name="T37" fmla="*/ 6 h 1327"/>
                <a:gd name="T38" fmla="*/ 902 w 1634"/>
                <a:gd name="T39" fmla="*/ 52 h 1327"/>
                <a:gd name="T40" fmla="*/ 897 w 1634"/>
                <a:gd name="T41" fmla="*/ 112 h 1327"/>
                <a:gd name="T42" fmla="*/ 894 w 1634"/>
                <a:gd name="T43" fmla="*/ 161 h 1327"/>
                <a:gd name="T44" fmla="*/ 882 w 1634"/>
                <a:gd name="T45" fmla="*/ 203 h 1327"/>
                <a:gd name="T46" fmla="*/ 858 w 1634"/>
                <a:gd name="T47" fmla="*/ 232 h 1327"/>
                <a:gd name="T48" fmla="*/ 824 w 1634"/>
                <a:gd name="T49" fmla="*/ 247 h 1327"/>
                <a:gd name="T50" fmla="*/ 786 w 1634"/>
                <a:gd name="T51" fmla="*/ 251 h 1327"/>
                <a:gd name="T52" fmla="*/ 739 w 1634"/>
                <a:gd name="T53" fmla="*/ 249 h 1327"/>
                <a:gd name="T54" fmla="*/ 697 w 1634"/>
                <a:gd name="T55" fmla="*/ 246 h 1327"/>
                <a:gd name="T56" fmla="*/ 643 w 1634"/>
                <a:gd name="T57" fmla="*/ 243 h 1327"/>
                <a:gd name="T58" fmla="*/ 595 w 1634"/>
                <a:gd name="T59" fmla="*/ 249 h 1327"/>
                <a:gd name="T60" fmla="*/ 551 w 1634"/>
                <a:gd name="T61" fmla="*/ 266 h 1327"/>
                <a:gd name="T62" fmla="*/ 519 w 1634"/>
                <a:gd name="T63" fmla="*/ 295 h 1327"/>
                <a:gd name="T64" fmla="*/ 501 w 1634"/>
                <a:gd name="T65" fmla="*/ 332 h 1327"/>
                <a:gd name="T66" fmla="*/ 501 w 1634"/>
                <a:gd name="T67" fmla="*/ 374 h 1327"/>
                <a:gd name="T68" fmla="*/ 501 w 1634"/>
                <a:gd name="T69" fmla="*/ 421 h 1327"/>
                <a:gd name="T70" fmla="*/ 491 w 1634"/>
                <a:gd name="T71" fmla="*/ 459 h 1327"/>
                <a:gd name="T72" fmla="*/ 471 w 1634"/>
                <a:gd name="T73" fmla="*/ 490 h 1327"/>
                <a:gd name="T74" fmla="*/ 430 w 1634"/>
                <a:gd name="T75" fmla="*/ 511 h 1327"/>
                <a:gd name="T76" fmla="*/ 386 w 1634"/>
                <a:gd name="T77" fmla="*/ 524 h 1327"/>
                <a:gd name="T78" fmla="*/ 334 w 1634"/>
                <a:gd name="T79" fmla="*/ 535 h 1327"/>
                <a:gd name="T80" fmla="*/ 287 w 1634"/>
                <a:gd name="T81" fmla="*/ 547 h 1327"/>
                <a:gd name="T82" fmla="*/ 248 w 1634"/>
                <a:gd name="T83" fmla="*/ 562 h 1327"/>
                <a:gd name="T84" fmla="*/ 218 w 1634"/>
                <a:gd name="T85" fmla="*/ 585 h 1327"/>
                <a:gd name="T86" fmla="*/ 193 w 1634"/>
                <a:gd name="T87" fmla="*/ 620 h 1327"/>
                <a:gd name="T88" fmla="*/ 180 w 1634"/>
                <a:gd name="T89" fmla="*/ 664 h 1327"/>
                <a:gd name="T90" fmla="*/ 186 w 1634"/>
                <a:gd name="T91" fmla="*/ 709 h 1327"/>
                <a:gd name="T92" fmla="*/ 200 w 1634"/>
                <a:gd name="T93" fmla="*/ 765 h 1327"/>
                <a:gd name="T94" fmla="*/ 208 w 1634"/>
                <a:gd name="T95" fmla="*/ 813 h 1327"/>
                <a:gd name="T96" fmla="*/ 206 w 1634"/>
                <a:gd name="T97" fmla="*/ 860 h 1327"/>
                <a:gd name="T98" fmla="*/ 193 w 1634"/>
                <a:gd name="T99" fmla="*/ 902 h 1327"/>
                <a:gd name="T100" fmla="*/ 173 w 1634"/>
                <a:gd name="T101" fmla="*/ 945 h 1327"/>
                <a:gd name="T102" fmla="*/ 141 w 1634"/>
                <a:gd name="T103" fmla="*/ 991 h 1327"/>
                <a:gd name="T104" fmla="*/ 108 w 1634"/>
                <a:gd name="T105" fmla="*/ 1021 h 1327"/>
                <a:gd name="T106" fmla="*/ 74 w 1634"/>
                <a:gd name="T107" fmla="*/ 1039 h 1327"/>
                <a:gd name="T108" fmla="*/ 23 w 1634"/>
                <a:gd name="T109" fmla="*/ 1049 h 132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634"/>
                <a:gd name="T166" fmla="*/ 0 h 1327"/>
                <a:gd name="T167" fmla="*/ 1634 w 1634"/>
                <a:gd name="T168" fmla="*/ 1327 h 132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634" h="1327">
                  <a:moveTo>
                    <a:pt x="0" y="1049"/>
                  </a:moveTo>
                  <a:lnTo>
                    <a:pt x="0" y="1327"/>
                  </a:lnTo>
                  <a:lnTo>
                    <a:pt x="1634" y="1327"/>
                  </a:lnTo>
                  <a:lnTo>
                    <a:pt x="1633" y="0"/>
                  </a:lnTo>
                  <a:lnTo>
                    <a:pt x="1487" y="0"/>
                  </a:lnTo>
                  <a:lnTo>
                    <a:pt x="1480" y="26"/>
                  </a:lnTo>
                  <a:lnTo>
                    <a:pt x="1480" y="44"/>
                  </a:lnTo>
                  <a:lnTo>
                    <a:pt x="1485" y="69"/>
                  </a:lnTo>
                  <a:lnTo>
                    <a:pt x="1493" y="96"/>
                  </a:lnTo>
                  <a:lnTo>
                    <a:pt x="1501" y="129"/>
                  </a:lnTo>
                  <a:lnTo>
                    <a:pt x="1506" y="154"/>
                  </a:lnTo>
                  <a:lnTo>
                    <a:pt x="1506" y="177"/>
                  </a:lnTo>
                  <a:lnTo>
                    <a:pt x="1503" y="202"/>
                  </a:lnTo>
                  <a:lnTo>
                    <a:pt x="1496" y="226"/>
                  </a:lnTo>
                  <a:lnTo>
                    <a:pt x="1480" y="249"/>
                  </a:lnTo>
                  <a:lnTo>
                    <a:pt x="1462" y="268"/>
                  </a:lnTo>
                  <a:lnTo>
                    <a:pt x="1442" y="287"/>
                  </a:lnTo>
                  <a:lnTo>
                    <a:pt x="1420" y="299"/>
                  </a:lnTo>
                  <a:lnTo>
                    <a:pt x="1393" y="309"/>
                  </a:lnTo>
                  <a:lnTo>
                    <a:pt x="1369" y="315"/>
                  </a:lnTo>
                  <a:lnTo>
                    <a:pt x="1335" y="316"/>
                  </a:lnTo>
                  <a:lnTo>
                    <a:pt x="1295" y="314"/>
                  </a:lnTo>
                  <a:lnTo>
                    <a:pt x="1270" y="309"/>
                  </a:lnTo>
                  <a:lnTo>
                    <a:pt x="1247" y="304"/>
                  </a:lnTo>
                  <a:lnTo>
                    <a:pt x="1226" y="291"/>
                  </a:lnTo>
                  <a:lnTo>
                    <a:pt x="1199" y="270"/>
                  </a:lnTo>
                  <a:lnTo>
                    <a:pt x="1182" y="250"/>
                  </a:lnTo>
                  <a:lnTo>
                    <a:pt x="1167" y="229"/>
                  </a:lnTo>
                  <a:lnTo>
                    <a:pt x="1158" y="206"/>
                  </a:lnTo>
                  <a:lnTo>
                    <a:pt x="1153" y="185"/>
                  </a:lnTo>
                  <a:lnTo>
                    <a:pt x="1153" y="161"/>
                  </a:lnTo>
                  <a:lnTo>
                    <a:pt x="1156" y="137"/>
                  </a:lnTo>
                  <a:lnTo>
                    <a:pt x="1161" y="115"/>
                  </a:lnTo>
                  <a:lnTo>
                    <a:pt x="1167" y="93"/>
                  </a:lnTo>
                  <a:lnTo>
                    <a:pt x="1174" y="71"/>
                  </a:lnTo>
                  <a:lnTo>
                    <a:pt x="1178" y="48"/>
                  </a:lnTo>
                  <a:lnTo>
                    <a:pt x="1178" y="28"/>
                  </a:lnTo>
                  <a:lnTo>
                    <a:pt x="1173" y="6"/>
                  </a:lnTo>
                  <a:lnTo>
                    <a:pt x="899" y="6"/>
                  </a:lnTo>
                  <a:lnTo>
                    <a:pt x="902" y="52"/>
                  </a:lnTo>
                  <a:lnTo>
                    <a:pt x="899" y="85"/>
                  </a:lnTo>
                  <a:lnTo>
                    <a:pt x="897" y="112"/>
                  </a:lnTo>
                  <a:lnTo>
                    <a:pt x="897" y="136"/>
                  </a:lnTo>
                  <a:lnTo>
                    <a:pt x="894" y="161"/>
                  </a:lnTo>
                  <a:lnTo>
                    <a:pt x="889" y="187"/>
                  </a:lnTo>
                  <a:lnTo>
                    <a:pt x="882" y="203"/>
                  </a:lnTo>
                  <a:lnTo>
                    <a:pt x="872" y="219"/>
                  </a:lnTo>
                  <a:lnTo>
                    <a:pt x="858" y="232"/>
                  </a:lnTo>
                  <a:lnTo>
                    <a:pt x="842" y="242"/>
                  </a:lnTo>
                  <a:lnTo>
                    <a:pt x="824" y="247"/>
                  </a:lnTo>
                  <a:lnTo>
                    <a:pt x="804" y="250"/>
                  </a:lnTo>
                  <a:lnTo>
                    <a:pt x="786" y="251"/>
                  </a:lnTo>
                  <a:lnTo>
                    <a:pt x="762" y="251"/>
                  </a:lnTo>
                  <a:lnTo>
                    <a:pt x="739" y="249"/>
                  </a:lnTo>
                  <a:lnTo>
                    <a:pt x="721" y="247"/>
                  </a:lnTo>
                  <a:lnTo>
                    <a:pt x="697" y="246"/>
                  </a:lnTo>
                  <a:lnTo>
                    <a:pt x="671" y="243"/>
                  </a:lnTo>
                  <a:lnTo>
                    <a:pt x="643" y="243"/>
                  </a:lnTo>
                  <a:lnTo>
                    <a:pt x="619" y="246"/>
                  </a:lnTo>
                  <a:lnTo>
                    <a:pt x="595" y="249"/>
                  </a:lnTo>
                  <a:lnTo>
                    <a:pt x="570" y="256"/>
                  </a:lnTo>
                  <a:lnTo>
                    <a:pt x="551" y="266"/>
                  </a:lnTo>
                  <a:lnTo>
                    <a:pt x="532" y="278"/>
                  </a:lnTo>
                  <a:lnTo>
                    <a:pt x="519" y="295"/>
                  </a:lnTo>
                  <a:lnTo>
                    <a:pt x="506" y="314"/>
                  </a:lnTo>
                  <a:lnTo>
                    <a:pt x="501" y="332"/>
                  </a:lnTo>
                  <a:lnTo>
                    <a:pt x="498" y="353"/>
                  </a:lnTo>
                  <a:lnTo>
                    <a:pt x="501" y="374"/>
                  </a:lnTo>
                  <a:lnTo>
                    <a:pt x="502" y="397"/>
                  </a:lnTo>
                  <a:lnTo>
                    <a:pt x="501" y="421"/>
                  </a:lnTo>
                  <a:lnTo>
                    <a:pt x="496" y="439"/>
                  </a:lnTo>
                  <a:lnTo>
                    <a:pt x="491" y="459"/>
                  </a:lnTo>
                  <a:lnTo>
                    <a:pt x="482" y="477"/>
                  </a:lnTo>
                  <a:lnTo>
                    <a:pt x="471" y="490"/>
                  </a:lnTo>
                  <a:lnTo>
                    <a:pt x="453" y="503"/>
                  </a:lnTo>
                  <a:lnTo>
                    <a:pt x="430" y="511"/>
                  </a:lnTo>
                  <a:lnTo>
                    <a:pt x="407" y="518"/>
                  </a:lnTo>
                  <a:lnTo>
                    <a:pt x="386" y="524"/>
                  </a:lnTo>
                  <a:lnTo>
                    <a:pt x="364" y="530"/>
                  </a:lnTo>
                  <a:lnTo>
                    <a:pt x="334" y="535"/>
                  </a:lnTo>
                  <a:lnTo>
                    <a:pt x="311" y="540"/>
                  </a:lnTo>
                  <a:lnTo>
                    <a:pt x="287" y="547"/>
                  </a:lnTo>
                  <a:lnTo>
                    <a:pt x="268" y="554"/>
                  </a:lnTo>
                  <a:lnTo>
                    <a:pt x="248" y="562"/>
                  </a:lnTo>
                  <a:lnTo>
                    <a:pt x="232" y="573"/>
                  </a:lnTo>
                  <a:lnTo>
                    <a:pt x="218" y="585"/>
                  </a:lnTo>
                  <a:lnTo>
                    <a:pt x="203" y="603"/>
                  </a:lnTo>
                  <a:lnTo>
                    <a:pt x="193" y="620"/>
                  </a:lnTo>
                  <a:lnTo>
                    <a:pt x="184" y="640"/>
                  </a:lnTo>
                  <a:lnTo>
                    <a:pt x="180" y="664"/>
                  </a:lnTo>
                  <a:lnTo>
                    <a:pt x="183" y="686"/>
                  </a:lnTo>
                  <a:lnTo>
                    <a:pt x="186" y="709"/>
                  </a:lnTo>
                  <a:lnTo>
                    <a:pt x="193" y="736"/>
                  </a:lnTo>
                  <a:lnTo>
                    <a:pt x="200" y="765"/>
                  </a:lnTo>
                  <a:lnTo>
                    <a:pt x="206" y="792"/>
                  </a:lnTo>
                  <a:lnTo>
                    <a:pt x="208" y="813"/>
                  </a:lnTo>
                  <a:lnTo>
                    <a:pt x="208" y="833"/>
                  </a:lnTo>
                  <a:lnTo>
                    <a:pt x="206" y="860"/>
                  </a:lnTo>
                  <a:lnTo>
                    <a:pt x="199" y="883"/>
                  </a:lnTo>
                  <a:lnTo>
                    <a:pt x="193" y="902"/>
                  </a:lnTo>
                  <a:lnTo>
                    <a:pt x="184" y="921"/>
                  </a:lnTo>
                  <a:lnTo>
                    <a:pt x="173" y="945"/>
                  </a:lnTo>
                  <a:lnTo>
                    <a:pt x="158" y="972"/>
                  </a:lnTo>
                  <a:lnTo>
                    <a:pt x="141" y="991"/>
                  </a:lnTo>
                  <a:lnTo>
                    <a:pt x="124" y="1007"/>
                  </a:lnTo>
                  <a:lnTo>
                    <a:pt x="108" y="1021"/>
                  </a:lnTo>
                  <a:lnTo>
                    <a:pt x="91" y="1032"/>
                  </a:lnTo>
                  <a:lnTo>
                    <a:pt x="74" y="1039"/>
                  </a:lnTo>
                  <a:lnTo>
                    <a:pt x="50" y="1045"/>
                  </a:lnTo>
                  <a:lnTo>
                    <a:pt x="23" y="1049"/>
                  </a:lnTo>
                  <a:lnTo>
                    <a:pt x="0" y="1049"/>
                  </a:lnTo>
                  <a:close/>
                </a:path>
              </a:pathLst>
            </a:custGeom>
            <a:solidFill>
              <a:schemeClr val="accent5"/>
            </a:solidFill>
            <a:ln w="9525">
              <a:noFill/>
              <a:round/>
              <a:headEnd/>
              <a:tailEnd/>
            </a:ln>
          </p:spPr>
          <p:txBody>
            <a:bodyPr/>
            <a:lstStyle/>
            <a:p>
              <a:pPr>
                <a:defRPr/>
              </a:pPr>
              <a:endParaRPr lang="en-US" dirty="0"/>
            </a:p>
          </p:txBody>
        </p:sp>
        <p:sp>
          <p:nvSpPr>
            <p:cNvPr id="40" name="Freeform 39"/>
            <p:cNvSpPr>
              <a:spLocks/>
            </p:cNvSpPr>
            <p:nvPr/>
          </p:nvSpPr>
          <p:spPr bwMode="auto">
            <a:xfrm>
              <a:off x="1489" y="2076"/>
              <a:ext cx="1627" cy="1584"/>
            </a:xfrm>
            <a:custGeom>
              <a:avLst/>
              <a:gdLst>
                <a:gd name="T0" fmla="*/ 1627 w 1628"/>
                <a:gd name="T1" fmla="*/ 1584 h 1584"/>
                <a:gd name="T2" fmla="*/ 0 w 1628"/>
                <a:gd name="T3" fmla="*/ 319 h 1584"/>
                <a:gd name="T4" fmla="*/ 147 w 1628"/>
                <a:gd name="T5" fmla="*/ 308 h 1584"/>
                <a:gd name="T6" fmla="*/ 151 w 1628"/>
                <a:gd name="T7" fmla="*/ 280 h 1584"/>
                <a:gd name="T8" fmla="*/ 144 w 1628"/>
                <a:gd name="T9" fmla="*/ 244 h 1584"/>
                <a:gd name="T10" fmla="*/ 133 w 1628"/>
                <a:gd name="T11" fmla="*/ 202 h 1584"/>
                <a:gd name="T12" fmla="*/ 126 w 1628"/>
                <a:gd name="T13" fmla="*/ 161 h 1584"/>
                <a:gd name="T14" fmla="*/ 127 w 1628"/>
                <a:gd name="T15" fmla="*/ 123 h 1584"/>
                <a:gd name="T16" fmla="*/ 140 w 1628"/>
                <a:gd name="T17" fmla="*/ 85 h 1584"/>
                <a:gd name="T18" fmla="*/ 166 w 1628"/>
                <a:gd name="T19" fmla="*/ 54 h 1584"/>
                <a:gd name="T20" fmla="*/ 196 w 1628"/>
                <a:gd name="T21" fmla="*/ 28 h 1584"/>
                <a:gd name="T22" fmla="*/ 233 w 1628"/>
                <a:gd name="T23" fmla="*/ 10 h 1584"/>
                <a:gd name="T24" fmla="*/ 279 w 1628"/>
                <a:gd name="T25" fmla="*/ 2 h 1584"/>
                <a:gd name="T26" fmla="*/ 320 w 1628"/>
                <a:gd name="T27" fmla="*/ 0 h 1584"/>
                <a:gd name="T28" fmla="*/ 356 w 1628"/>
                <a:gd name="T29" fmla="*/ 4 h 1584"/>
                <a:gd name="T30" fmla="*/ 392 w 1628"/>
                <a:gd name="T31" fmla="*/ 16 h 1584"/>
                <a:gd name="T32" fmla="*/ 422 w 1628"/>
                <a:gd name="T33" fmla="*/ 36 h 1584"/>
                <a:gd name="T34" fmla="*/ 450 w 1628"/>
                <a:gd name="T35" fmla="*/ 65 h 1584"/>
                <a:gd name="T36" fmla="*/ 473 w 1628"/>
                <a:gd name="T37" fmla="*/ 98 h 1584"/>
                <a:gd name="T38" fmla="*/ 485 w 1628"/>
                <a:gd name="T39" fmla="*/ 143 h 1584"/>
                <a:gd name="T40" fmla="*/ 480 w 1628"/>
                <a:gd name="T41" fmla="*/ 188 h 1584"/>
                <a:gd name="T42" fmla="*/ 469 w 1628"/>
                <a:gd name="T43" fmla="*/ 233 h 1584"/>
                <a:gd name="T44" fmla="*/ 457 w 1628"/>
                <a:gd name="T45" fmla="*/ 278 h 1584"/>
                <a:gd name="T46" fmla="*/ 460 w 1628"/>
                <a:gd name="T47" fmla="*/ 300 h 1584"/>
                <a:gd name="T48" fmla="*/ 734 w 1628"/>
                <a:gd name="T49" fmla="*/ 311 h 1584"/>
                <a:gd name="T50" fmla="*/ 727 w 1628"/>
                <a:gd name="T51" fmla="*/ 394 h 1584"/>
                <a:gd name="T52" fmla="*/ 730 w 1628"/>
                <a:gd name="T53" fmla="*/ 444 h 1584"/>
                <a:gd name="T54" fmla="*/ 737 w 1628"/>
                <a:gd name="T55" fmla="*/ 494 h 1584"/>
                <a:gd name="T56" fmla="*/ 755 w 1628"/>
                <a:gd name="T57" fmla="*/ 525 h 1584"/>
                <a:gd name="T58" fmla="*/ 785 w 1628"/>
                <a:gd name="T59" fmla="*/ 548 h 1584"/>
                <a:gd name="T60" fmla="*/ 820 w 1628"/>
                <a:gd name="T61" fmla="*/ 558 h 1584"/>
                <a:gd name="T62" fmla="*/ 863 w 1628"/>
                <a:gd name="T63" fmla="*/ 559 h 1584"/>
                <a:gd name="T64" fmla="*/ 904 w 1628"/>
                <a:gd name="T65" fmla="*/ 555 h 1584"/>
                <a:gd name="T66" fmla="*/ 955 w 1628"/>
                <a:gd name="T67" fmla="*/ 549 h 1584"/>
                <a:gd name="T68" fmla="*/ 1007 w 1628"/>
                <a:gd name="T69" fmla="*/ 552 h 1584"/>
                <a:gd name="T70" fmla="*/ 1055 w 1628"/>
                <a:gd name="T71" fmla="*/ 565 h 1584"/>
                <a:gd name="T72" fmla="*/ 1094 w 1628"/>
                <a:gd name="T73" fmla="*/ 588 h 1584"/>
                <a:gd name="T74" fmla="*/ 1118 w 1628"/>
                <a:gd name="T75" fmla="*/ 621 h 1584"/>
                <a:gd name="T76" fmla="*/ 1128 w 1628"/>
                <a:gd name="T77" fmla="*/ 661 h 1584"/>
                <a:gd name="T78" fmla="*/ 1124 w 1628"/>
                <a:gd name="T79" fmla="*/ 706 h 1584"/>
                <a:gd name="T80" fmla="*/ 1128 w 1628"/>
                <a:gd name="T81" fmla="*/ 749 h 1584"/>
                <a:gd name="T82" fmla="*/ 1144 w 1628"/>
                <a:gd name="T83" fmla="*/ 785 h 1584"/>
                <a:gd name="T84" fmla="*/ 1172 w 1628"/>
                <a:gd name="T85" fmla="*/ 811 h 1584"/>
                <a:gd name="T86" fmla="*/ 1219 w 1628"/>
                <a:gd name="T87" fmla="*/ 826 h 1584"/>
                <a:gd name="T88" fmla="*/ 1262 w 1628"/>
                <a:gd name="T89" fmla="*/ 837 h 1584"/>
                <a:gd name="T90" fmla="*/ 1315 w 1628"/>
                <a:gd name="T91" fmla="*/ 847 h 1584"/>
                <a:gd name="T92" fmla="*/ 1358 w 1628"/>
                <a:gd name="T93" fmla="*/ 861 h 1584"/>
                <a:gd name="T94" fmla="*/ 1394 w 1628"/>
                <a:gd name="T95" fmla="*/ 881 h 1584"/>
                <a:gd name="T96" fmla="*/ 1423 w 1628"/>
                <a:gd name="T97" fmla="*/ 911 h 1584"/>
                <a:gd name="T98" fmla="*/ 1442 w 1628"/>
                <a:gd name="T99" fmla="*/ 946 h 1584"/>
                <a:gd name="T100" fmla="*/ 1443 w 1628"/>
                <a:gd name="T101" fmla="*/ 996 h 1584"/>
                <a:gd name="T102" fmla="*/ 1433 w 1628"/>
                <a:gd name="T103" fmla="*/ 1044 h 1584"/>
                <a:gd name="T104" fmla="*/ 1419 w 1628"/>
                <a:gd name="T105" fmla="*/ 1100 h 1584"/>
                <a:gd name="T106" fmla="*/ 1416 w 1628"/>
                <a:gd name="T107" fmla="*/ 1141 h 1584"/>
                <a:gd name="T108" fmla="*/ 1426 w 1628"/>
                <a:gd name="T109" fmla="*/ 1190 h 1584"/>
                <a:gd name="T110" fmla="*/ 1444 w 1628"/>
                <a:gd name="T111" fmla="*/ 1224 h 1584"/>
                <a:gd name="T112" fmla="*/ 1474 w 1628"/>
                <a:gd name="T113" fmla="*/ 1261 h 1584"/>
                <a:gd name="T114" fmla="*/ 1514 w 1628"/>
                <a:gd name="T115" fmla="*/ 1289 h 1584"/>
                <a:gd name="T116" fmla="*/ 1555 w 1628"/>
                <a:gd name="T117" fmla="*/ 1302 h 1584"/>
                <a:gd name="T118" fmla="*/ 1601 w 1628"/>
                <a:gd name="T119" fmla="*/ 1306 h 158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628"/>
                <a:gd name="T181" fmla="*/ 0 h 1584"/>
                <a:gd name="T182" fmla="*/ 1628 w 1628"/>
                <a:gd name="T183" fmla="*/ 1584 h 158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628" h="1584">
                  <a:moveTo>
                    <a:pt x="1628" y="1305"/>
                  </a:moveTo>
                  <a:lnTo>
                    <a:pt x="1628" y="1584"/>
                  </a:lnTo>
                  <a:lnTo>
                    <a:pt x="1" y="1584"/>
                  </a:lnTo>
                  <a:lnTo>
                    <a:pt x="0" y="319"/>
                  </a:lnTo>
                  <a:lnTo>
                    <a:pt x="141" y="319"/>
                  </a:lnTo>
                  <a:lnTo>
                    <a:pt x="147" y="308"/>
                  </a:lnTo>
                  <a:lnTo>
                    <a:pt x="151" y="292"/>
                  </a:lnTo>
                  <a:lnTo>
                    <a:pt x="151" y="280"/>
                  </a:lnTo>
                  <a:lnTo>
                    <a:pt x="150" y="264"/>
                  </a:lnTo>
                  <a:lnTo>
                    <a:pt x="144" y="244"/>
                  </a:lnTo>
                  <a:lnTo>
                    <a:pt x="138" y="219"/>
                  </a:lnTo>
                  <a:lnTo>
                    <a:pt x="133" y="202"/>
                  </a:lnTo>
                  <a:lnTo>
                    <a:pt x="127" y="181"/>
                  </a:lnTo>
                  <a:lnTo>
                    <a:pt x="126" y="161"/>
                  </a:lnTo>
                  <a:lnTo>
                    <a:pt x="126" y="141"/>
                  </a:lnTo>
                  <a:lnTo>
                    <a:pt x="127" y="123"/>
                  </a:lnTo>
                  <a:lnTo>
                    <a:pt x="133" y="103"/>
                  </a:lnTo>
                  <a:lnTo>
                    <a:pt x="140" y="85"/>
                  </a:lnTo>
                  <a:lnTo>
                    <a:pt x="151" y="71"/>
                  </a:lnTo>
                  <a:lnTo>
                    <a:pt x="166" y="54"/>
                  </a:lnTo>
                  <a:lnTo>
                    <a:pt x="181" y="41"/>
                  </a:lnTo>
                  <a:lnTo>
                    <a:pt x="196" y="28"/>
                  </a:lnTo>
                  <a:lnTo>
                    <a:pt x="213" y="19"/>
                  </a:lnTo>
                  <a:lnTo>
                    <a:pt x="233" y="10"/>
                  </a:lnTo>
                  <a:lnTo>
                    <a:pt x="255" y="4"/>
                  </a:lnTo>
                  <a:lnTo>
                    <a:pt x="279" y="2"/>
                  </a:lnTo>
                  <a:lnTo>
                    <a:pt x="299" y="0"/>
                  </a:lnTo>
                  <a:lnTo>
                    <a:pt x="320" y="0"/>
                  </a:lnTo>
                  <a:lnTo>
                    <a:pt x="340" y="2"/>
                  </a:lnTo>
                  <a:lnTo>
                    <a:pt x="356" y="4"/>
                  </a:lnTo>
                  <a:lnTo>
                    <a:pt x="374" y="10"/>
                  </a:lnTo>
                  <a:lnTo>
                    <a:pt x="392" y="16"/>
                  </a:lnTo>
                  <a:lnTo>
                    <a:pt x="406" y="24"/>
                  </a:lnTo>
                  <a:lnTo>
                    <a:pt x="422" y="36"/>
                  </a:lnTo>
                  <a:lnTo>
                    <a:pt x="436" y="50"/>
                  </a:lnTo>
                  <a:lnTo>
                    <a:pt x="450" y="65"/>
                  </a:lnTo>
                  <a:lnTo>
                    <a:pt x="463" y="81"/>
                  </a:lnTo>
                  <a:lnTo>
                    <a:pt x="473" y="98"/>
                  </a:lnTo>
                  <a:lnTo>
                    <a:pt x="480" y="119"/>
                  </a:lnTo>
                  <a:lnTo>
                    <a:pt x="485" y="143"/>
                  </a:lnTo>
                  <a:lnTo>
                    <a:pt x="485" y="165"/>
                  </a:lnTo>
                  <a:lnTo>
                    <a:pt x="480" y="188"/>
                  </a:lnTo>
                  <a:lnTo>
                    <a:pt x="474" y="211"/>
                  </a:lnTo>
                  <a:lnTo>
                    <a:pt x="469" y="233"/>
                  </a:lnTo>
                  <a:lnTo>
                    <a:pt x="461" y="259"/>
                  </a:lnTo>
                  <a:lnTo>
                    <a:pt x="457" y="278"/>
                  </a:lnTo>
                  <a:lnTo>
                    <a:pt x="457" y="290"/>
                  </a:lnTo>
                  <a:lnTo>
                    <a:pt x="460" y="300"/>
                  </a:lnTo>
                  <a:lnTo>
                    <a:pt x="464" y="311"/>
                  </a:lnTo>
                  <a:lnTo>
                    <a:pt x="734" y="311"/>
                  </a:lnTo>
                  <a:lnTo>
                    <a:pt x="728" y="363"/>
                  </a:lnTo>
                  <a:lnTo>
                    <a:pt x="727" y="394"/>
                  </a:lnTo>
                  <a:lnTo>
                    <a:pt x="728" y="420"/>
                  </a:lnTo>
                  <a:lnTo>
                    <a:pt x="730" y="444"/>
                  </a:lnTo>
                  <a:lnTo>
                    <a:pt x="733" y="469"/>
                  </a:lnTo>
                  <a:lnTo>
                    <a:pt x="737" y="494"/>
                  </a:lnTo>
                  <a:lnTo>
                    <a:pt x="745" y="511"/>
                  </a:lnTo>
                  <a:lnTo>
                    <a:pt x="755" y="525"/>
                  </a:lnTo>
                  <a:lnTo>
                    <a:pt x="768" y="538"/>
                  </a:lnTo>
                  <a:lnTo>
                    <a:pt x="785" y="548"/>
                  </a:lnTo>
                  <a:lnTo>
                    <a:pt x="803" y="555"/>
                  </a:lnTo>
                  <a:lnTo>
                    <a:pt x="821" y="558"/>
                  </a:lnTo>
                  <a:lnTo>
                    <a:pt x="841" y="559"/>
                  </a:lnTo>
                  <a:lnTo>
                    <a:pt x="864" y="559"/>
                  </a:lnTo>
                  <a:lnTo>
                    <a:pt x="888" y="556"/>
                  </a:lnTo>
                  <a:lnTo>
                    <a:pt x="905" y="555"/>
                  </a:lnTo>
                  <a:lnTo>
                    <a:pt x="930" y="552"/>
                  </a:lnTo>
                  <a:lnTo>
                    <a:pt x="956" y="549"/>
                  </a:lnTo>
                  <a:lnTo>
                    <a:pt x="984" y="549"/>
                  </a:lnTo>
                  <a:lnTo>
                    <a:pt x="1008" y="552"/>
                  </a:lnTo>
                  <a:lnTo>
                    <a:pt x="1032" y="556"/>
                  </a:lnTo>
                  <a:lnTo>
                    <a:pt x="1056" y="565"/>
                  </a:lnTo>
                  <a:lnTo>
                    <a:pt x="1076" y="573"/>
                  </a:lnTo>
                  <a:lnTo>
                    <a:pt x="1095" y="588"/>
                  </a:lnTo>
                  <a:lnTo>
                    <a:pt x="1108" y="603"/>
                  </a:lnTo>
                  <a:lnTo>
                    <a:pt x="1119" y="621"/>
                  </a:lnTo>
                  <a:lnTo>
                    <a:pt x="1126" y="641"/>
                  </a:lnTo>
                  <a:lnTo>
                    <a:pt x="1129" y="661"/>
                  </a:lnTo>
                  <a:lnTo>
                    <a:pt x="1126" y="684"/>
                  </a:lnTo>
                  <a:lnTo>
                    <a:pt x="1125" y="706"/>
                  </a:lnTo>
                  <a:lnTo>
                    <a:pt x="1126" y="729"/>
                  </a:lnTo>
                  <a:lnTo>
                    <a:pt x="1129" y="749"/>
                  </a:lnTo>
                  <a:lnTo>
                    <a:pt x="1136" y="767"/>
                  </a:lnTo>
                  <a:lnTo>
                    <a:pt x="1145" y="785"/>
                  </a:lnTo>
                  <a:lnTo>
                    <a:pt x="1156" y="798"/>
                  </a:lnTo>
                  <a:lnTo>
                    <a:pt x="1173" y="811"/>
                  </a:lnTo>
                  <a:lnTo>
                    <a:pt x="1196" y="819"/>
                  </a:lnTo>
                  <a:lnTo>
                    <a:pt x="1220" y="826"/>
                  </a:lnTo>
                  <a:lnTo>
                    <a:pt x="1239" y="832"/>
                  </a:lnTo>
                  <a:lnTo>
                    <a:pt x="1263" y="837"/>
                  </a:lnTo>
                  <a:lnTo>
                    <a:pt x="1292" y="843"/>
                  </a:lnTo>
                  <a:lnTo>
                    <a:pt x="1316" y="847"/>
                  </a:lnTo>
                  <a:lnTo>
                    <a:pt x="1340" y="854"/>
                  </a:lnTo>
                  <a:lnTo>
                    <a:pt x="1359" y="861"/>
                  </a:lnTo>
                  <a:lnTo>
                    <a:pt x="1379" y="870"/>
                  </a:lnTo>
                  <a:lnTo>
                    <a:pt x="1395" y="881"/>
                  </a:lnTo>
                  <a:lnTo>
                    <a:pt x="1407" y="893"/>
                  </a:lnTo>
                  <a:lnTo>
                    <a:pt x="1424" y="911"/>
                  </a:lnTo>
                  <a:lnTo>
                    <a:pt x="1434" y="928"/>
                  </a:lnTo>
                  <a:lnTo>
                    <a:pt x="1443" y="946"/>
                  </a:lnTo>
                  <a:lnTo>
                    <a:pt x="1447" y="972"/>
                  </a:lnTo>
                  <a:lnTo>
                    <a:pt x="1444" y="996"/>
                  </a:lnTo>
                  <a:lnTo>
                    <a:pt x="1440" y="1017"/>
                  </a:lnTo>
                  <a:lnTo>
                    <a:pt x="1434" y="1044"/>
                  </a:lnTo>
                  <a:lnTo>
                    <a:pt x="1427" y="1073"/>
                  </a:lnTo>
                  <a:lnTo>
                    <a:pt x="1420" y="1100"/>
                  </a:lnTo>
                  <a:lnTo>
                    <a:pt x="1417" y="1123"/>
                  </a:lnTo>
                  <a:lnTo>
                    <a:pt x="1417" y="1141"/>
                  </a:lnTo>
                  <a:lnTo>
                    <a:pt x="1421" y="1168"/>
                  </a:lnTo>
                  <a:lnTo>
                    <a:pt x="1427" y="1190"/>
                  </a:lnTo>
                  <a:lnTo>
                    <a:pt x="1436" y="1207"/>
                  </a:lnTo>
                  <a:lnTo>
                    <a:pt x="1445" y="1224"/>
                  </a:lnTo>
                  <a:lnTo>
                    <a:pt x="1460" y="1243"/>
                  </a:lnTo>
                  <a:lnTo>
                    <a:pt x="1475" y="1261"/>
                  </a:lnTo>
                  <a:lnTo>
                    <a:pt x="1493" y="1277"/>
                  </a:lnTo>
                  <a:lnTo>
                    <a:pt x="1515" y="1289"/>
                  </a:lnTo>
                  <a:lnTo>
                    <a:pt x="1534" y="1296"/>
                  </a:lnTo>
                  <a:lnTo>
                    <a:pt x="1556" y="1302"/>
                  </a:lnTo>
                  <a:lnTo>
                    <a:pt x="1577" y="1305"/>
                  </a:lnTo>
                  <a:lnTo>
                    <a:pt x="1602" y="1306"/>
                  </a:lnTo>
                  <a:lnTo>
                    <a:pt x="1628" y="1305"/>
                  </a:lnTo>
                  <a:close/>
                </a:path>
              </a:pathLst>
            </a:custGeom>
            <a:solidFill>
              <a:schemeClr val="accent4"/>
            </a:solidFill>
            <a:ln w="9525">
              <a:noFill/>
              <a:round/>
              <a:headEnd/>
              <a:tailEnd/>
            </a:ln>
          </p:spPr>
          <p:txBody>
            <a:bodyPr/>
            <a:lstStyle/>
            <a:p>
              <a:pPr>
                <a:defRPr/>
              </a:pPr>
              <a:endParaRPr lang="en-US" dirty="0"/>
            </a:p>
          </p:txBody>
        </p:sp>
        <p:sp>
          <p:nvSpPr>
            <p:cNvPr id="41" name="Freeform 7"/>
            <p:cNvSpPr>
              <a:spLocks/>
            </p:cNvSpPr>
            <p:nvPr/>
          </p:nvSpPr>
          <p:spPr bwMode="auto">
            <a:xfrm>
              <a:off x="1489" y="1070"/>
              <a:ext cx="1634" cy="1327"/>
            </a:xfrm>
            <a:custGeom>
              <a:avLst/>
              <a:gdLst>
                <a:gd name="T0" fmla="*/ 1630 w 1635"/>
                <a:gd name="T1" fmla="*/ 0 h 1327"/>
                <a:gd name="T2" fmla="*/ 1 w 1635"/>
                <a:gd name="T3" fmla="*/ 1327 h 1327"/>
                <a:gd name="T4" fmla="*/ 154 w 1635"/>
                <a:gd name="T5" fmla="*/ 1301 h 1327"/>
                <a:gd name="T6" fmla="*/ 150 w 1635"/>
                <a:gd name="T7" fmla="*/ 1258 h 1327"/>
                <a:gd name="T8" fmla="*/ 133 w 1635"/>
                <a:gd name="T9" fmla="*/ 1198 h 1327"/>
                <a:gd name="T10" fmla="*/ 127 w 1635"/>
                <a:gd name="T11" fmla="*/ 1150 h 1327"/>
                <a:gd name="T12" fmla="*/ 138 w 1635"/>
                <a:gd name="T13" fmla="*/ 1101 h 1327"/>
                <a:gd name="T14" fmla="*/ 172 w 1635"/>
                <a:gd name="T15" fmla="*/ 1058 h 1327"/>
                <a:gd name="T16" fmla="*/ 214 w 1635"/>
                <a:gd name="T17" fmla="*/ 1027 h 1327"/>
                <a:gd name="T18" fmla="*/ 265 w 1635"/>
                <a:gd name="T19" fmla="*/ 1012 h 1327"/>
                <a:gd name="T20" fmla="*/ 339 w 1635"/>
                <a:gd name="T21" fmla="*/ 1013 h 1327"/>
                <a:gd name="T22" fmla="*/ 387 w 1635"/>
                <a:gd name="T23" fmla="*/ 1023 h 1327"/>
                <a:gd name="T24" fmla="*/ 435 w 1635"/>
                <a:gd name="T25" fmla="*/ 1057 h 1327"/>
                <a:gd name="T26" fmla="*/ 467 w 1635"/>
                <a:gd name="T27" fmla="*/ 1098 h 1327"/>
                <a:gd name="T28" fmla="*/ 481 w 1635"/>
                <a:gd name="T29" fmla="*/ 1142 h 1327"/>
                <a:gd name="T30" fmla="*/ 478 w 1635"/>
                <a:gd name="T31" fmla="*/ 1190 h 1327"/>
                <a:gd name="T32" fmla="*/ 467 w 1635"/>
                <a:gd name="T33" fmla="*/ 1234 h 1327"/>
                <a:gd name="T34" fmla="*/ 456 w 1635"/>
                <a:gd name="T35" fmla="*/ 1279 h 1327"/>
                <a:gd name="T36" fmla="*/ 461 w 1635"/>
                <a:gd name="T37" fmla="*/ 1321 h 1327"/>
                <a:gd name="T38" fmla="*/ 733 w 1635"/>
                <a:gd name="T39" fmla="*/ 1274 h 1327"/>
                <a:gd name="T40" fmla="*/ 735 w 1635"/>
                <a:gd name="T41" fmla="*/ 1215 h 1327"/>
                <a:gd name="T42" fmla="*/ 740 w 1635"/>
                <a:gd name="T43" fmla="*/ 1166 h 1327"/>
                <a:gd name="T44" fmla="*/ 752 w 1635"/>
                <a:gd name="T45" fmla="*/ 1123 h 1327"/>
                <a:gd name="T46" fmla="*/ 776 w 1635"/>
                <a:gd name="T47" fmla="*/ 1095 h 1327"/>
                <a:gd name="T48" fmla="*/ 810 w 1635"/>
                <a:gd name="T49" fmla="*/ 1080 h 1327"/>
                <a:gd name="T50" fmla="*/ 843 w 1635"/>
                <a:gd name="T51" fmla="*/ 1075 h 1327"/>
                <a:gd name="T52" fmla="*/ 890 w 1635"/>
                <a:gd name="T53" fmla="*/ 1077 h 1327"/>
                <a:gd name="T54" fmla="*/ 932 w 1635"/>
                <a:gd name="T55" fmla="*/ 1081 h 1327"/>
                <a:gd name="T56" fmla="*/ 986 w 1635"/>
                <a:gd name="T57" fmla="*/ 1084 h 1327"/>
                <a:gd name="T58" fmla="*/ 1034 w 1635"/>
                <a:gd name="T59" fmla="*/ 1077 h 1327"/>
                <a:gd name="T60" fmla="*/ 1078 w 1635"/>
                <a:gd name="T61" fmla="*/ 1061 h 1327"/>
                <a:gd name="T62" fmla="*/ 1110 w 1635"/>
                <a:gd name="T63" fmla="*/ 1032 h 1327"/>
                <a:gd name="T64" fmla="*/ 1128 w 1635"/>
                <a:gd name="T65" fmla="*/ 995 h 1327"/>
                <a:gd name="T66" fmla="*/ 1128 w 1635"/>
                <a:gd name="T67" fmla="*/ 953 h 1327"/>
                <a:gd name="T68" fmla="*/ 1128 w 1635"/>
                <a:gd name="T69" fmla="*/ 906 h 1327"/>
                <a:gd name="T70" fmla="*/ 1138 w 1635"/>
                <a:gd name="T71" fmla="*/ 868 h 1327"/>
                <a:gd name="T72" fmla="*/ 1158 w 1635"/>
                <a:gd name="T73" fmla="*/ 837 h 1327"/>
                <a:gd name="T74" fmla="*/ 1199 w 1635"/>
                <a:gd name="T75" fmla="*/ 816 h 1327"/>
                <a:gd name="T76" fmla="*/ 1243 w 1635"/>
                <a:gd name="T77" fmla="*/ 803 h 1327"/>
                <a:gd name="T78" fmla="*/ 1295 w 1635"/>
                <a:gd name="T79" fmla="*/ 792 h 1327"/>
                <a:gd name="T80" fmla="*/ 1342 w 1635"/>
                <a:gd name="T81" fmla="*/ 780 h 1327"/>
                <a:gd name="T82" fmla="*/ 1381 w 1635"/>
                <a:gd name="T83" fmla="*/ 765 h 1327"/>
                <a:gd name="T84" fmla="*/ 1411 w 1635"/>
                <a:gd name="T85" fmla="*/ 742 h 1327"/>
                <a:gd name="T86" fmla="*/ 1436 w 1635"/>
                <a:gd name="T87" fmla="*/ 707 h 1327"/>
                <a:gd name="T88" fmla="*/ 1449 w 1635"/>
                <a:gd name="T89" fmla="*/ 662 h 1327"/>
                <a:gd name="T90" fmla="*/ 1443 w 1635"/>
                <a:gd name="T91" fmla="*/ 618 h 1327"/>
                <a:gd name="T92" fmla="*/ 1429 w 1635"/>
                <a:gd name="T93" fmla="*/ 561 h 1327"/>
                <a:gd name="T94" fmla="*/ 1421 w 1635"/>
                <a:gd name="T95" fmla="*/ 513 h 1327"/>
                <a:gd name="T96" fmla="*/ 1423 w 1635"/>
                <a:gd name="T97" fmla="*/ 467 h 1327"/>
                <a:gd name="T98" fmla="*/ 1438 w 1635"/>
                <a:gd name="T99" fmla="*/ 427 h 1327"/>
                <a:gd name="T100" fmla="*/ 1462 w 1635"/>
                <a:gd name="T101" fmla="*/ 392 h 1327"/>
                <a:gd name="T102" fmla="*/ 1497 w 1635"/>
                <a:gd name="T103" fmla="*/ 358 h 1327"/>
                <a:gd name="T104" fmla="*/ 1538 w 1635"/>
                <a:gd name="T105" fmla="*/ 338 h 1327"/>
                <a:gd name="T106" fmla="*/ 1579 w 1635"/>
                <a:gd name="T107" fmla="*/ 330 h 1327"/>
                <a:gd name="T108" fmla="*/ 1630 w 1635"/>
                <a:gd name="T109" fmla="*/ 330 h 132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635"/>
                <a:gd name="T166" fmla="*/ 0 h 1327"/>
                <a:gd name="T167" fmla="*/ 1635 w 1635"/>
                <a:gd name="T168" fmla="*/ 1327 h 132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635" h="1327">
                  <a:moveTo>
                    <a:pt x="1635" y="330"/>
                  </a:moveTo>
                  <a:lnTo>
                    <a:pt x="1635" y="0"/>
                  </a:lnTo>
                  <a:lnTo>
                    <a:pt x="0" y="0"/>
                  </a:lnTo>
                  <a:lnTo>
                    <a:pt x="1" y="1327"/>
                  </a:lnTo>
                  <a:lnTo>
                    <a:pt x="147" y="1327"/>
                  </a:lnTo>
                  <a:lnTo>
                    <a:pt x="154" y="1301"/>
                  </a:lnTo>
                  <a:lnTo>
                    <a:pt x="154" y="1283"/>
                  </a:lnTo>
                  <a:lnTo>
                    <a:pt x="150" y="1258"/>
                  </a:lnTo>
                  <a:lnTo>
                    <a:pt x="141" y="1231"/>
                  </a:lnTo>
                  <a:lnTo>
                    <a:pt x="133" y="1198"/>
                  </a:lnTo>
                  <a:lnTo>
                    <a:pt x="128" y="1173"/>
                  </a:lnTo>
                  <a:lnTo>
                    <a:pt x="127" y="1150"/>
                  </a:lnTo>
                  <a:lnTo>
                    <a:pt x="131" y="1125"/>
                  </a:lnTo>
                  <a:lnTo>
                    <a:pt x="138" y="1101"/>
                  </a:lnTo>
                  <a:lnTo>
                    <a:pt x="154" y="1077"/>
                  </a:lnTo>
                  <a:lnTo>
                    <a:pt x="172" y="1058"/>
                  </a:lnTo>
                  <a:lnTo>
                    <a:pt x="192" y="1040"/>
                  </a:lnTo>
                  <a:lnTo>
                    <a:pt x="214" y="1027"/>
                  </a:lnTo>
                  <a:lnTo>
                    <a:pt x="241" y="1016"/>
                  </a:lnTo>
                  <a:lnTo>
                    <a:pt x="265" y="1012"/>
                  </a:lnTo>
                  <a:lnTo>
                    <a:pt x="299" y="1010"/>
                  </a:lnTo>
                  <a:lnTo>
                    <a:pt x="339" y="1013"/>
                  </a:lnTo>
                  <a:lnTo>
                    <a:pt x="364" y="1016"/>
                  </a:lnTo>
                  <a:lnTo>
                    <a:pt x="387" y="1023"/>
                  </a:lnTo>
                  <a:lnTo>
                    <a:pt x="408" y="1036"/>
                  </a:lnTo>
                  <a:lnTo>
                    <a:pt x="435" y="1057"/>
                  </a:lnTo>
                  <a:lnTo>
                    <a:pt x="452" y="1077"/>
                  </a:lnTo>
                  <a:lnTo>
                    <a:pt x="467" y="1098"/>
                  </a:lnTo>
                  <a:lnTo>
                    <a:pt x="476" y="1121"/>
                  </a:lnTo>
                  <a:lnTo>
                    <a:pt x="481" y="1142"/>
                  </a:lnTo>
                  <a:lnTo>
                    <a:pt x="481" y="1166"/>
                  </a:lnTo>
                  <a:lnTo>
                    <a:pt x="478" y="1190"/>
                  </a:lnTo>
                  <a:lnTo>
                    <a:pt x="473" y="1212"/>
                  </a:lnTo>
                  <a:lnTo>
                    <a:pt x="467" y="1234"/>
                  </a:lnTo>
                  <a:lnTo>
                    <a:pt x="460" y="1256"/>
                  </a:lnTo>
                  <a:lnTo>
                    <a:pt x="456" y="1279"/>
                  </a:lnTo>
                  <a:lnTo>
                    <a:pt x="456" y="1298"/>
                  </a:lnTo>
                  <a:lnTo>
                    <a:pt x="461" y="1321"/>
                  </a:lnTo>
                  <a:lnTo>
                    <a:pt x="735" y="1321"/>
                  </a:lnTo>
                  <a:lnTo>
                    <a:pt x="733" y="1274"/>
                  </a:lnTo>
                  <a:lnTo>
                    <a:pt x="735" y="1241"/>
                  </a:lnTo>
                  <a:lnTo>
                    <a:pt x="735" y="1215"/>
                  </a:lnTo>
                  <a:lnTo>
                    <a:pt x="737" y="1191"/>
                  </a:lnTo>
                  <a:lnTo>
                    <a:pt x="740" y="1166"/>
                  </a:lnTo>
                  <a:lnTo>
                    <a:pt x="745" y="1140"/>
                  </a:lnTo>
                  <a:lnTo>
                    <a:pt x="752" y="1123"/>
                  </a:lnTo>
                  <a:lnTo>
                    <a:pt x="762" y="1108"/>
                  </a:lnTo>
                  <a:lnTo>
                    <a:pt x="776" y="1095"/>
                  </a:lnTo>
                  <a:lnTo>
                    <a:pt x="792" y="1085"/>
                  </a:lnTo>
                  <a:lnTo>
                    <a:pt x="810" y="1080"/>
                  </a:lnTo>
                  <a:lnTo>
                    <a:pt x="830" y="1077"/>
                  </a:lnTo>
                  <a:lnTo>
                    <a:pt x="848" y="1075"/>
                  </a:lnTo>
                  <a:lnTo>
                    <a:pt x="872" y="1075"/>
                  </a:lnTo>
                  <a:lnTo>
                    <a:pt x="895" y="1077"/>
                  </a:lnTo>
                  <a:lnTo>
                    <a:pt x="913" y="1080"/>
                  </a:lnTo>
                  <a:lnTo>
                    <a:pt x="937" y="1081"/>
                  </a:lnTo>
                  <a:lnTo>
                    <a:pt x="963" y="1084"/>
                  </a:lnTo>
                  <a:lnTo>
                    <a:pt x="991" y="1084"/>
                  </a:lnTo>
                  <a:lnTo>
                    <a:pt x="1015" y="1081"/>
                  </a:lnTo>
                  <a:lnTo>
                    <a:pt x="1039" y="1077"/>
                  </a:lnTo>
                  <a:lnTo>
                    <a:pt x="1064" y="1071"/>
                  </a:lnTo>
                  <a:lnTo>
                    <a:pt x="1083" y="1061"/>
                  </a:lnTo>
                  <a:lnTo>
                    <a:pt x="1102" y="1049"/>
                  </a:lnTo>
                  <a:lnTo>
                    <a:pt x="1115" y="1032"/>
                  </a:lnTo>
                  <a:lnTo>
                    <a:pt x="1128" y="1013"/>
                  </a:lnTo>
                  <a:lnTo>
                    <a:pt x="1133" y="995"/>
                  </a:lnTo>
                  <a:lnTo>
                    <a:pt x="1136" y="974"/>
                  </a:lnTo>
                  <a:lnTo>
                    <a:pt x="1133" y="953"/>
                  </a:lnTo>
                  <a:lnTo>
                    <a:pt x="1132" y="930"/>
                  </a:lnTo>
                  <a:lnTo>
                    <a:pt x="1133" y="906"/>
                  </a:lnTo>
                  <a:lnTo>
                    <a:pt x="1138" y="888"/>
                  </a:lnTo>
                  <a:lnTo>
                    <a:pt x="1143" y="868"/>
                  </a:lnTo>
                  <a:lnTo>
                    <a:pt x="1152" y="849"/>
                  </a:lnTo>
                  <a:lnTo>
                    <a:pt x="1163" y="837"/>
                  </a:lnTo>
                  <a:lnTo>
                    <a:pt x="1181" y="824"/>
                  </a:lnTo>
                  <a:lnTo>
                    <a:pt x="1204" y="816"/>
                  </a:lnTo>
                  <a:lnTo>
                    <a:pt x="1227" y="809"/>
                  </a:lnTo>
                  <a:lnTo>
                    <a:pt x="1248" y="803"/>
                  </a:lnTo>
                  <a:lnTo>
                    <a:pt x="1270" y="797"/>
                  </a:lnTo>
                  <a:lnTo>
                    <a:pt x="1300" y="792"/>
                  </a:lnTo>
                  <a:lnTo>
                    <a:pt x="1323" y="787"/>
                  </a:lnTo>
                  <a:lnTo>
                    <a:pt x="1347" y="780"/>
                  </a:lnTo>
                  <a:lnTo>
                    <a:pt x="1366" y="773"/>
                  </a:lnTo>
                  <a:lnTo>
                    <a:pt x="1386" y="765"/>
                  </a:lnTo>
                  <a:lnTo>
                    <a:pt x="1402" y="753"/>
                  </a:lnTo>
                  <a:lnTo>
                    <a:pt x="1416" y="742"/>
                  </a:lnTo>
                  <a:lnTo>
                    <a:pt x="1431" y="724"/>
                  </a:lnTo>
                  <a:lnTo>
                    <a:pt x="1441" y="707"/>
                  </a:lnTo>
                  <a:lnTo>
                    <a:pt x="1450" y="687"/>
                  </a:lnTo>
                  <a:lnTo>
                    <a:pt x="1454" y="662"/>
                  </a:lnTo>
                  <a:lnTo>
                    <a:pt x="1451" y="641"/>
                  </a:lnTo>
                  <a:lnTo>
                    <a:pt x="1448" y="618"/>
                  </a:lnTo>
                  <a:lnTo>
                    <a:pt x="1441" y="591"/>
                  </a:lnTo>
                  <a:lnTo>
                    <a:pt x="1434" y="561"/>
                  </a:lnTo>
                  <a:lnTo>
                    <a:pt x="1427" y="535"/>
                  </a:lnTo>
                  <a:lnTo>
                    <a:pt x="1426" y="513"/>
                  </a:lnTo>
                  <a:lnTo>
                    <a:pt x="1426" y="494"/>
                  </a:lnTo>
                  <a:lnTo>
                    <a:pt x="1428" y="467"/>
                  </a:lnTo>
                  <a:lnTo>
                    <a:pt x="1436" y="444"/>
                  </a:lnTo>
                  <a:lnTo>
                    <a:pt x="1443" y="427"/>
                  </a:lnTo>
                  <a:lnTo>
                    <a:pt x="1452" y="410"/>
                  </a:lnTo>
                  <a:lnTo>
                    <a:pt x="1467" y="392"/>
                  </a:lnTo>
                  <a:lnTo>
                    <a:pt x="1482" y="374"/>
                  </a:lnTo>
                  <a:lnTo>
                    <a:pt x="1502" y="358"/>
                  </a:lnTo>
                  <a:lnTo>
                    <a:pt x="1523" y="345"/>
                  </a:lnTo>
                  <a:lnTo>
                    <a:pt x="1543" y="338"/>
                  </a:lnTo>
                  <a:lnTo>
                    <a:pt x="1563" y="333"/>
                  </a:lnTo>
                  <a:lnTo>
                    <a:pt x="1584" y="330"/>
                  </a:lnTo>
                  <a:lnTo>
                    <a:pt x="1609" y="330"/>
                  </a:lnTo>
                  <a:lnTo>
                    <a:pt x="1635" y="330"/>
                  </a:lnTo>
                  <a:close/>
                </a:path>
              </a:pathLst>
            </a:custGeom>
            <a:solidFill>
              <a:schemeClr val="accent1"/>
            </a:solidFill>
            <a:ln w="9525">
              <a:noFill/>
              <a:round/>
              <a:headEnd/>
              <a:tailEnd/>
            </a:ln>
          </p:spPr>
          <p:txBody>
            <a:bodyPr/>
            <a:lstStyle/>
            <a:p>
              <a:endParaRPr lang="en-US" dirty="0"/>
            </a:p>
          </p:txBody>
        </p:sp>
      </p:grpSp>
      <p:sp>
        <p:nvSpPr>
          <p:cNvPr id="22" name="TextBox 21"/>
          <p:cNvSpPr txBox="1"/>
          <p:nvPr/>
        </p:nvSpPr>
        <p:spPr>
          <a:xfrm>
            <a:off x="3936250" y="2627352"/>
            <a:ext cx="1169150" cy="553998"/>
          </a:xfrm>
          <a:prstGeom prst="rect">
            <a:avLst/>
          </a:prstGeom>
          <a:noFill/>
        </p:spPr>
        <p:txBody>
          <a:bodyPr wrap="square" rtlCol="0">
            <a:spAutoFit/>
          </a:bodyPr>
          <a:lstStyle/>
          <a:p>
            <a:pPr algn="ctr"/>
            <a:r>
              <a:rPr lang="en-GB" sz="1000" dirty="0"/>
              <a:t>Change Communications &amp; Training</a:t>
            </a:r>
          </a:p>
        </p:txBody>
      </p:sp>
    </p:spTree>
    <p:extLst>
      <p:ext uri="{BB962C8B-B14F-4D97-AF65-F5344CB8AC3E}">
        <p14:creationId xmlns:p14="http://schemas.microsoft.com/office/powerpoint/2010/main" val="22400616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7"/>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4"/>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4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1"/>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0"/>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6"/>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2"/>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21"/>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13" grpId="0"/>
      <p:bldP spid="14" grpId="0"/>
      <p:bldP spid="20" grpId="0" animBg="1"/>
      <p:bldP spid="21" grpId="0" animBg="1"/>
      <p:bldP spid="26" grpId="0" animBg="1"/>
      <p:bldP spid="43" grpId="0" animBg="1"/>
      <p:bldP spid="22"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400" dirty="0">
                <a:solidFill>
                  <a:schemeClr val="accent6">
                    <a:lumMod val="50000"/>
                  </a:schemeClr>
                </a:solidFill>
                <a:latin typeface="+mj-lt"/>
              </a:rPr>
              <a:t>What is Roll-out? Toolkit Approach</a:t>
            </a:r>
            <a:endParaRPr lang="en-GB" sz="2400" dirty="0">
              <a:solidFill>
                <a:schemeClr val="accent6">
                  <a:lumMod val="50000"/>
                </a:schemeClr>
              </a:solidFill>
              <a:latin typeface="+mj-lt"/>
            </a:endParaRPr>
          </a:p>
        </p:txBody>
      </p:sp>
      <p:sp>
        <p:nvSpPr>
          <p:cNvPr id="3" name="Slide Number Placeholder 2"/>
          <p:cNvSpPr>
            <a:spLocks noGrp="1"/>
          </p:cNvSpPr>
          <p:nvPr>
            <p:ph type="sldNum" sz="quarter" idx="10"/>
          </p:nvPr>
        </p:nvSpPr>
        <p:spPr/>
        <p:txBody>
          <a:bodyPr/>
          <a:lstStyle/>
          <a:p>
            <a:fld id="{47547CF9-5B10-D24F-A8D7-45A9778164F7}" type="slidenum">
              <a:rPr lang="en-US" smtClean="0"/>
              <a:pPr/>
              <a:t>7</a:t>
            </a:fld>
            <a:endParaRPr lang="en-US" dirty="0"/>
          </a:p>
        </p:txBody>
      </p:sp>
      <p:sp>
        <p:nvSpPr>
          <p:cNvPr id="9" name="Text Placeholder 5"/>
          <p:cNvSpPr txBox="1">
            <a:spLocks/>
          </p:cNvSpPr>
          <p:nvPr/>
        </p:nvSpPr>
        <p:spPr>
          <a:xfrm>
            <a:off x="488146" y="1019692"/>
            <a:ext cx="8046253" cy="3914258"/>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285750" indent="-285750">
              <a:buFont typeface="Wingdings" panose="05000000000000000000" pitchFamily="2" charset="2"/>
              <a:buChar char="§"/>
            </a:pPr>
            <a:r>
              <a:rPr lang="en-US" sz="1600" b="0" dirty="0">
                <a:solidFill>
                  <a:schemeClr val="tx1"/>
                </a:solidFill>
              </a:rPr>
              <a:t>To facilitate delivery of many countries in a single Wave, a ‘tried and tested’ standardized approach is needed</a:t>
            </a:r>
          </a:p>
          <a:p>
            <a:pPr marL="285750" indent="-285750">
              <a:buFont typeface="Wingdings" panose="05000000000000000000" pitchFamily="2" charset="2"/>
              <a:buChar char="§"/>
            </a:pPr>
            <a:r>
              <a:rPr lang="en-US" sz="1600" b="0" dirty="0">
                <a:solidFill>
                  <a:schemeClr val="tx1"/>
                </a:solidFill>
              </a:rPr>
              <a:t>Throughout the pilot and then future sprints for each Release, the Roll-out team work with the Business Champions &amp; SMEs to develop a series of templates, workbooks and checklists that will support the onboarding of new countries to Scout in a Wave</a:t>
            </a:r>
          </a:p>
          <a:p>
            <a:pPr marL="285750" indent="-285750">
              <a:buFont typeface="Wingdings" panose="05000000000000000000" pitchFamily="2" charset="2"/>
              <a:buChar char="§"/>
            </a:pPr>
            <a:r>
              <a:rPr lang="en-US" sz="1600" b="0" dirty="0">
                <a:solidFill>
                  <a:schemeClr val="tx1"/>
                </a:solidFill>
              </a:rPr>
              <a:t>This approach drives consistency and saves time</a:t>
            </a:r>
          </a:p>
          <a:p>
            <a:pPr marL="285750" indent="-285750">
              <a:buFont typeface="Wingdings" panose="05000000000000000000" pitchFamily="2" charset="2"/>
              <a:buChar char="§"/>
            </a:pPr>
            <a:endParaRPr lang="en-GB" sz="1600" b="0" dirty="0">
              <a:solidFill>
                <a:schemeClr val="tx1"/>
              </a:solidFill>
            </a:endParaRPr>
          </a:p>
          <a:p>
            <a:pPr marL="285750" marR="0" lvl="2" indent="-285750" algn="l" defTabSz="914400" rtl="0" eaLnBrk="1" fontAlgn="auto" latinLnBrk="0" hangingPunct="1">
              <a:lnSpc>
                <a:spcPct val="100000"/>
              </a:lnSpc>
              <a:spcBef>
                <a:spcPts val="0"/>
              </a:spcBef>
              <a:spcAft>
                <a:spcPts val="1000"/>
              </a:spcAft>
              <a:buClrTx/>
              <a:buSzPct val="100000"/>
              <a:buFont typeface="Wingdings" panose="05000000000000000000" pitchFamily="2" charset="2"/>
              <a:buChar char="§"/>
              <a:tabLst/>
              <a:defRPr/>
            </a:pPr>
            <a:endParaRPr kumimoji="0" lang="en-GB" sz="1600" i="0" u="none" strike="noStrike" kern="1200" cap="none" spc="0" normalizeH="0" baseline="0" noProof="0" dirty="0">
              <a:ln>
                <a:noFill/>
              </a:ln>
              <a:effectLst/>
              <a:uLnTx/>
              <a:uFillTx/>
            </a:endParaRPr>
          </a:p>
          <a:p>
            <a:pPr marL="285750" marR="0" lvl="0" indent="-285750" algn="l" defTabSz="914400" rtl="0" eaLnBrk="1" fontAlgn="auto" latinLnBrk="0" hangingPunct="1">
              <a:lnSpc>
                <a:spcPct val="100000"/>
              </a:lnSpc>
              <a:spcBef>
                <a:spcPts val="0"/>
              </a:spcBef>
              <a:spcAft>
                <a:spcPts val="1000"/>
              </a:spcAft>
              <a:buClrTx/>
              <a:buSzPct val="100000"/>
              <a:buFont typeface="Wingdings" panose="05000000000000000000" pitchFamily="2" charset="2"/>
              <a:buChar char="§"/>
              <a:tabLst/>
              <a:defRPr/>
            </a:pPr>
            <a:endParaRPr kumimoji="0" lang="en-US" sz="1600" b="0" i="0" u="none" strike="noStrike" kern="1200" cap="none" spc="0" normalizeH="0" baseline="0" noProof="0" dirty="0">
              <a:ln>
                <a:noFill/>
              </a:ln>
              <a:solidFill>
                <a:schemeClr val="tx1"/>
              </a:solidFill>
              <a:effectLst/>
              <a:uLnTx/>
              <a:uFillTx/>
            </a:endParaRPr>
          </a:p>
          <a:p>
            <a:pPr marL="285750" marR="0" lvl="0" indent="-285750" algn="l" defTabSz="914400" rtl="0" eaLnBrk="1" fontAlgn="auto" latinLnBrk="0" hangingPunct="1">
              <a:lnSpc>
                <a:spcPct val="100000"/>
              </a:lnSpc>
              <a:spcBef>
                <a:spcPts val="0"/>
              </a:spcBef>
              <a:spcAft>
                <a:spcPts val="1000"/>
              </a:spcAft>
              <a:buClrTx/>
              <a:buSzPct val="100000"/>
              <a:buFont typeface="Wingdings" panose="05000000000000000000" pitchFamily="2" charset="2"/>
              <a:buChar char="§"/>
              <a:tabLst/>
              <a:defRPr/>
            </a:pPr>
            <a:endParaRPr kumimoji="0" lang="en-GB" sz="1600" b="0" i="0" u="none" strike="noStrike" kern="1200" cap="none" spc="0" normalizeH="0" baseline="0" noProof="0" dirty="0">
              <a:ln>
                <a:noFill/>
              </a:ln>
              <a:solidFill>
                <a:schemeClr val="tx1"/>
              </a:solidFill>
              <a:effectLst/>
              <a:uLnTx/>
              <a:uFillTx/>
            </a:endParaRPr>
          </a:p>
        </p:txBody>
      </p:sp>
      <p:sp>
        <p:nvSpPr>
          <p:cNvPr id="6" name="Footer Placeholder 5"/>
          <p:cNvSpPr>
            <a:spLocks noGrp="1"/>
          </p:cNvSpPr>
          <p:nvPr>
            <p:ph type="ftr" sz="quarter" idx="11"/>
          </p:nvPr>
        </p:nvSpPr>
        <p:spPr/>
        <p:txBody>
          <a:bodyPr/>
          <a:lstStyle/>
          <a:p>
            <a:r>
              <a:rPr lang="en-US"/>
              <a:t>Scout l What is Roll-out? l August 2020</a:t>
            </a:r>
            <a:endParaRPr lang="fr-FR" dirty="0"/>
          </a:p>
        </p:txBody>
      </p:sp>
      <p:pic>
        <p:nvPicPr>
          <p:cNvPr id="7" name="Content Placeholder 6"/>
          <p:cNvPicPr>
            <a:picLocks noChangeAspect="1"/>
          </p:cNvPicPr>
          <p:nvPr/>
        </p:nvPicPr>
        <p:blipFill>
          <a:blip r:embed="rId2"/>
          <a:stretch>
            <a:fillRect/>
          </a:stretch>
        </p:blipFill>
        <p:spPr>
          <a:xfrm>
            <a:off x="1828800" y="2829793"/>
            <a:ext cx="1358582" cy="1115694"/>
          </a:xfrm>
          <a:prstGeom prst="rect">
            <a:avLst/>
          </a:prstGeom>
        </p:spPr>
      </p:pic>
      <p:sp>
        <p:nvSpPr>
          <p:cNvPr id="8" name="TextBox 7"/>
          <p:cNvSpPr txBox="1"/>
          <p:nvPr/>
        </p:nvSpPr>
        <p:spPr>
          <a:xfrm>
            <a:off x="907891" y="3986604"/>
            <a:ext cx="2825909" cy="718746"/>
          </a:xfrm>
          <a:prstGeom prst="rect">
            <a:avLst/>
          </a:prstGeom>
          <a:noFill/>
        </p:spPr>
        <p:txBody>
          <a:bodyPr wrap="square" lIns="0" tIns="0" rIns="0" bIns="0" rtlCol="0" anchor="ctr">
            <a:noAutofit/>
          </a:bodyPr>
          <a:lstStyle/>
          <a:p>
            <a:pPr algn="ctr"/>
            <a:r>
              <a:rPr lang="en-GB" sz="900" b="1" dirty="0"/>
              <a:t>All the templates, workbooks and reference materials needed to successfully deliver the solution in each country. Located within Teams, our program collaboration tool</a:t>
            </a:r>
          </a:p>
        </p:txBody>
      </p:sp>
      <p:pic>
        <p:nvPicPr>
          <p:cNvPr id="5" name="Picture 4"/>
          <p:cNvPicPr>
            <a:picLocks noChangeAspect="1"/>
          </p:cNvPicPr>
          <p:nvPr/>
        </p:nvPicPr>
        <p:blipFill>
          <a:blip r:embed="rId3"/>
          <a:stretch>
            <a:fillRect/>
          </a:stretch>
        </p:blipFill>
        <p:spPr>
          <a:xfrm>
            <a:off x="5791200" y="3195370"/>
            <a:ext cx="2337720" cy="1353015"/>
          </a:xfrm>
          <a:prstGeom prst="rect">
            <a:avLst/>
          </a:prstGeom>
          <a:ln>
            <a:solidFill>
              <a:schemeClr val="accent1"/>
            </a:solidFill>
          </a:ln>
        </p:spPr>
      </p:pic>
      <p:pic>
        <p:nvPicPr>
          <p:cNvPr id="4" name="Picture 3"/>
          <p:cNvPicPr>
            <a:picLocks noChangeAspect="1"/>
          </p:cNvPicPr>
          <p:nvPr/>
        </p:nvPicPr>
        <p:blipFill>
          <a:blip r:embed="rId4"/>
          <a:stretch>
            <a:fillRect/>
          </a:stretch>
        </p:blipFill>
        <p:spPr>
          <a:xfrm>
            <a:off x="4267200" y="2905253"/>
            <a:ext cx="2263413" cy="1266697"/>
          </a:xfrm>
          <a:prstGeom prst="rect">
            <a:avLst/>
          </a:prstGeom>
          <a:ln>
            <a:solidFill>
              <a:schemeClr val="accent1"/>
            </a:solidFill>
          </a:ln>
        </p:spPr>
      </p:pic>
    </p:spTree>
    <p:extLst>
      <p:ext uri="{BB962C8B-B14F-4D97-AF65-F5344CB8AC3E}">
        <p14:creationId xmlns:p14="http://schemas.microsoft.com/office/powerpoint/2010/main" val="331814674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1" name="Object 140"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5" name="think-cell Slide" r:id="rId6" imgW="395" imgH="394" progId="TCLayout.ActiveDocument.1">
                  <p:embed/>
                </p:oleObj>
              </mc:Choice>
              <mc:Fallback>
                <p:oleObj name="think-cell Slide" r:id="rId6" imgW="395" imgH="394" progId="TCLayout.ActiveDocument.1">
                  <p:embed/>
                  <p:pic>
                    <p:nvPicPr>
                      <p:cNvPr id="141" name="Object 14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44" name="Rectangle 143" hidden="1"/>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GB" sz="3200" b="1" dirty="0">
              <a:latin typeface="Arial Black" panose="020B0A04020102020204" pitchFamily="34" charset="0"/>
              <a:sym typeface="Arial Black" panose="020B0A04020102020204" pitchFamily="34" charset="0"/>
            </a:endParaRPr>
          </a:p>
        </p:txBody>
      </p:sp>
      <p:cxnSp>
        <p:nvCxnSpPr>
          <p:cNvPr id="115" name="Straight Connector 114"/>
          <p:cNvCxnSpPr/>
          <p:nvPr/>
        </p:nvCxnSpPr>
        <p:spPr>
          <a:xfrm>
            <a:off x="2477731" y="3645993"/>
            <a:ext cx="6196265" cy="8804"/>
          </a:xfrm>
          <a:prstGeom prst="line">
            <a:avLst/>
          </a:prstGeom>
          <a:ln w="9525" cap="flat" cmpd="sng" algn="ctr">
            <a:solidFill>
              <a:schemeClr val="accent5"/>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8" name="Straight Connector 47"/>
          <p:cNvCxnSpPr/>
          <p:nvPr/>
        </p:nvCxnSpPr>
        <p:spPr>
          <a:xfrm flipV="1">
            <a:off x="543688" y="1986966"/>
            <a:ext cx="8091929" cy="29274"/>
          </a:xfrm>
          <a:prstGeom prst="line">
            <a:avLst/>
          </a:prstGeom>
          <a:ln w="38100">
            <a:solidFill>
              <a:schemeClr val="bg1">
                <a:lumMod val="65000"/>
              </a:schemeClr>
            </a:solidFill>
          </a:ln>
        </p:spPr>
        <p:style>
          <a:lnRef idx="1">
            <a:schemeClr val="dk1"/>
          </a:lnRef>
          <a:fillRef idx="0">
            <a:schemeClr val="dk1"/>
          </a:fillRef>
          <a:effectRef idx="0">
            <a:schemeClr val="dk1"/>
          </a:effectRef>
          <a:fontRef idx="minor">
            <a:schemeClr val="tx1"/>
          </a:fontRef>
        </p:style>
      </p:cxnSp>
      <p:sp>
        <p:nvSpPr>
          <p:cNvPr id="2" name="Title 1"/>
          <p:cNvSpPr>
            <a:spLocks noGrp="1"/>
          </p:cNvSpPr>
          <p:nvPr>
            <p:ph type="title"/>
          </p:nvPr>
        </p:nvSpPr>
        <p:spPr/>
        <p:txBody>
          <a:bodyPr>
            <a:normAutofit/>
          </a:bodyPr>
          <a:lstStyle/>
          <a:p>
            <a:r>
              <a:rPr lang="en-GB" sz="2400" dirty="0">
                <a:solidFill>
                  <a:schemeClr val="accent6">
                    <a:lumMod val="50000"/>
                  </a:schemeClr>
                </a:solidFill>
              </a:rPr>
              <a:t>Roll-out Toolkit Highlights</a:t>
            </a:r>
            <a:endParaRPr lang="de-DE" sz="2400" dirty="0">
              <a:solidFill>
                <a:schemeClr val="accent6">
                  <a:lumMod val="50000"/>
                </a:schemeClr>
              </a:solidFill>
            </a:endParaRPr>
          </a:p>
        </p:txBody>
      </p:sp>
      <p:sp>
        <p:nvSpPr>
          <p:cNvPr id="3" name="Footer Placeholder 2"/>
          <p:cNvSpPr>
            <a:spLocks noGrp="1"/>
          </p:cNvSpPr>
          <p:nvPr>
            <p:ph type="ftr" sz="quarter" idx="10"/>
          </p:nvPr>
        </p:nvSpPr>
        <p:spPr/>
        <p:txBody>
          <a:bodyPr/>
          <a:lstStyle/>
          <a:p>
            <a:r>
              <a:rPr lang="en-US"/>
              <a:t>Scout l What is Roll-out? l August 2020</a:t>
            </a:r>
            <a:endParaRPr lang="en-US" dirty="0"/>
          </a:p>
        </p:txBody>
      </p:sp>
      <p:sp>
        <p:nvSpPr>
          <p:cNvPr id="4" name="Slide Number Placeholder 3"/>
          <p:cNvSpPr>
            <a:spLocks noGrp="1"/>
          </p:cNvSpPr>
          <p:nvPr>
            <p:ph type="sldNum" sz="quarter" idx="11"/>
          </p:nvPr>
        </p:nvSpPr>
        <p:spPr/>
        <p:txBody>
          <a:bodyPr/>
          <a:lstStyle/>
          <a:p>
            <a:fld id="{47547CF9-5B10-D24F-A8D7-45A9778164F7}" type="slidenum">
              <a:rPr lang="uk-UA" smtClean="0"/>
              <a:pPr/>
              <a:t>8</a:t>
            </a:fld>
            <a:endParaRPr lang="uk-UA" dirty="0"/>
          </a:p>
        </p:txBody>
      </p:sp>
      <p:sp>
        <p:nvSpPr>
          <p:cNvPr id="145" name="Chevron 207">
            <a:extLst>
              <a:ext uri="{FF2B5EF4-FFF2-40B4-BE49-F238E27FC236}">
                <a16:creationId xmlns:a16="http://schemas.microsoft.com/office/drawing/2014/main" id="{92A47DFC-47BF-4F9E-8088-42F3F766A9D1}"/>
              </a:ext>
            </a:extLst>
          </p:cNvPr>
          <p:cNvSpPr>
            <a:spLocks/>
          </p:cNvSpPr>
          <p:nvPr/>
        </p:nvSpPr>
        <p:spPr>
          <a:xfrm>
            <a:off x="1762285" y="2281965"/>
            <a:ext cx="3965758" cy="108000"/>
          </a:xfrm>
          <a:prstGeom prst="chevron">
            <a:avLst/>
          </a:prstGeom>
          <a:solidFill>
            <a:schemeClr val="bg1"/>
          </a:solidFill>
          <a:ln w="9525" cmpd="sng">
            <a:solidFill>
              <a:srgbClr val="C6C6C6"/>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214" tIns="3214" rIns="3214" bIns="3214" numCol="1" spcCol="0" rtlCol="0" fromWordArt="0" anchor="ctr" anchorCtr="0" forceAA="0" compatLnSpc="1">
            <a:prstTxWarp prst="textNoShape">
              <a:avLst/>
            </a:prstTxWarp>
            <a:noAutofit/>
          </a:bodyPr>
          <a:lstStyle/>
          <a:p>
            <a:pPr algn="ctr" defTabSz="816185"/>
            <a:r>
              <a:rPr lang="en-US" sz="600" b="1" i="1" dirty="0">
                <a:solidFill>
                  <a:schemeClr val="tx1"/>
                </a:solidFill>
                <a:ea typeface="ＭＳ Ｐゴシック"/>
              </a:rPr>
              <a:t>1. Preparation</a:t>
            </a:r>
          </a:p>
        </p:txBody>
      </p:sp>
      <p:sp>
        <p:nvSpPr>
          <p:cNvPr id="146" name="Chevron 208">
            <a:extLst>
              <a:ext uri="{FF2B5EF4-FFF2-40B4-BE49-F238E27FC236}">
                <a16:creationId xmlns:a16="http://schemas.microsoft.com/office/drawing/2014/main" id="{E681C798-6C63-4B31-8C24-2B7E29552230}"/>
              </a:ext>
            </a:extLst>
          </p:cNvPr>
          <p:cNvSpPr>
            <a:spLocks/>
          </p:cNvSpPr>
          <p:nvPr/>
        </p:nvSpPr>
        <p:spPr>
          <a:xfrm>
            <a:off x="4528603" y="2407897"/>
            <a:ext cx="2668797" cy="108000"/>
          </a:xfrm>
          <a:prstGeom prst="chevron">
            <a:avLst/>
          </a:prstGeom>
          <a:solidFill>
            <a:schemeClr val="bg1"/>
          </a:solidFill>
          <a:ln w="9525" cmpd="sng">
            <a:solidFill>
              <a:srgbClr val="C6C6C6"/>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214" tIns="3214" rIns="3214" bIns="3214" numCol="1" spcCol="0" rtlCol="0" fromWordArt="0" anchor="ctr" anchorCtr="0" forceAA="0" compatLnSpc="1">
            <a:prstTxWarp prst="textNoShape">
              <a:avLst/>
            </a:prstTxWarp>
            <a:noAutofit/>
          </a:bodyPr>
          <a:lstStyle/>
          <a:p>
            <a:pPr algn="ctr" defTabSz="816185"/>
            <a:r>
              <a:rPr lang="en-US" sz="600" b="1" i="1" dirty="0">
                <a:solidFill>
                  <a:schemeClr val="tx1"/>
                </a:solidFill>
                <a:ea typeface="ＭＳ Ｐゴシック"/>
              </a:rPr>
              <a:t>2. Implementation</a:t>
            </a:r>
          </a:p>
        </p:txBody>
      </p:sp>
      <p:sp>
        <p:nvSpPr>
          <p:cNvPr id="147" name="Chevron 210">
            <a:extLst>
              <a:ext uri="{FF2B5EF4-FFF2-40B4-BE49-F238E27FC236}">
                <a16:creationId xmlns:a16="http://schemas.microsoft.com/office/drawing/2014/main" id="{91F35C22-27FC-4684-A846-77CB806905E3}"/>
              </a:ext>
            </a:extLst>
          </p:cNvPr>
          <p:cNvSpPr>
            <a:spLocks/>
          </p:cNvSpPr>
          <p:nvPr/>
        </p:nvSpPr>
        <p:spPr>
          <a:xfrm>
            <a:off x="7708749" y="2533829"/>
            <a:ext cx="1040734" cy="108000"/>
          </a:xfrm>
          <a:prstGeom prst="chevron">
            <a:avLst/>
          </a:prstGeom>
          <a:solidFill>
            <a:schemeClr val="bg1"/>
          </a:solidFill>
          <a:ln w="9525" cmpd="sng">
            <a:solidFill>
              <a:srgbClr val="C6C6C6"/>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214" tIns="3214" rIns="3214" bIns="3214" numCol="1" spcCol="0" rtlCol="0" fromWordArt="0" anchor="ctr" anchorCtr="0" forceAA="0" compatLnSpc="1">
            <a:prstTxWarp prst="textNoShape">
              <a:avLst/>
            </a:prstTxWarp>
            <a:noAutofit/>
          </a:bodyPr>
          <a:lstStyle/>
          <a:p>
            <a:pPr algn="ctr" defTabSz="816185"/>
            <a:r>
              <a:rPr lang="en-US" sz="600" b="1" i="1" dirty="0">
                <a:solidFill>
                  <a:schemeClr val="tx1"/>
                </a:solidFill>
                <a:ea typeface="ＭＳ Ｐゴシック"/>
              </a:rPr>
              <a:t>4. Operation/Adoption</a:t>
            </a:r>
          </a:p>
        </p:txBody>
      </p:sp>
      <p:sp>
        <p:nvSpPr>
          <p:cNvPr id="148" name="Chevron 211">
            <a:extLst>
              <a:ext uri="{FF2B5EF4-FFF2-40B4-BE49-F238E27FC236}">
                <a16:creationId xmlns:a16="http://schemas.microsoft.com/office/drawing/2014/main" id="{37B662C4-08A1-46E4-87F6-924012B3B549}"/>
              </a:ext>
            </a:extLst>
          </p:cNvPr>
          <p:cNvSpPr>
            <a:spLocks/>
          </p:cNvSpPr>
          <p:nvPr/>
        </p:nvSpPr>
        <p:spPr>
          <a:xfrm>
            <a:off x="457200" y="2280378"/>
            <a:ext cx="1307072" cy="108000"/>
          </a:xfrm>
          <a:prstGeom prst="chevron">
            <a:avLst/>
          </a:prstGeom>
          <a:solidFill>
            <a:schemeClr val="bg1"/>
          </a:solidFill>
          <a:ln w="9525" cmpd="sng">
            <a:solidFill>
              <a:srgbClr val="C6C6C6"/>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214" tIns="3214" rIns="3214" bIns="3214" numCol="1" spcCol="0" rtlCol="0" fromWordArt="0" anchor="ctr" anchorCtr="0" forceAA="0" compatLnSpc="1">
            <a:prstTxWarp prst="textNoShape">
              <a:avLst/>
            </a:prstTxWarp>
            <a:noAutofit/>
          </a:bodyPr>
          <a:lstStyle/>
          <a:p>
            <a:pPr algn="ctr" defTabSz="816185"/>
            <a:r>
              <a:rPr lang="en-US" sz="600" b="1" i="1" dirty="0">
                <a:solidFill>
                  <a:schemeClr val="tx1"/>
                </a:solidFill>
                <a:ea typeface="ＭＳ Ｐゴシック"/>
              </a:rPr>
              <a:t>0. Pre-Roll-out</a:t>
            </a:r>
          </a:p>
        </p:txBody>
      </p:sp>
      <p:sp>
        <p:nvSpPr>
          <p:cNvPr id="149" name="Chevron 209">
            <a:extLst>
              <a:ext uri="{FF2B5EF4-FFF2-40B4-BE49-F238E27FC236}">
                <a16:creationId xmlns:a16="http://schemas.microsoft.com/office/drawing/2014/main" id="{3E1ECF82-C473-4E41-A3F6-3BD6836D2394}"/>
              </a:ext>
            </a:extLst>
          </p:cNvPr>
          <p:cNvSpPr>
            <a:spLocks/>
          </p:cNvSpPr>
          <p:nvPr/>
        </p:nvSpPr>
        <p:spPr>
          <a:xfrm>
            <a:off x="6750224" y="2533829"/>
            <a:ext cx="958524" cy="108000"/>
          </a:xfrm>
          <a:prstGeom prst="chevron">
            <a:avLst/>
          </a:prstGeom>
          <a:solidFill>
            <a:schemeClr val="bg1"/>
          </a:solidFill>
          <a:ln w="9525" cmpd="sng">
            <a:solidFill>
              <a:srgbClr val="C6C6C6"/>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214" tIns="3214" rIns="3214" bIns="3214" numCol="1" spcCol="0" rtlCol="0" fromWordArt="0" anchor="ctr" anchorCtr="0" forceAA="0" compatLnSpc="1">
            <a:prstTxWarp prst="textNoShape">
              <a:avLst/>
            </a:prstTxWarp>
            <a:noAutofit/>
          </a:bodyPr>
          <a:lstStyle/>
          <a:p>
            <a:pPr algn="ctr" defTabSz="816185"/>
            <a:r>
              <a:rPr lang="en-US" sz="600" b="1" i="1" dirty="0">
                <a:solidFill>
                  <a:schemeClr val="tx1"/>
                </a:solidFill>
                <a:ea typeface="ＭＳ Ｐゴシック"/>
              </a:rPr>
              <a:t>3. Roll-out</a:t>
            </a:r>
          </a:p>
        </p:txBody>
      </p:sp>
      <p:sp>
        <p:nvSpPr>
          <p:cNvPr id="138" name="Rectangle 137">
            <a:extLst>
              <a:ext uri="{FF2B5EF4-FFF2-40B4-BE49-F238E27FC236}">
                <a16:creationId xmlns:a16="http://schemas.microsoft.com/office/drawing/2014/main" id="{DDA6647F-C75D-40C3-9816-1317E4A71FC3}"/>
              </a:ext>
            </a:extLst>
          </p:cNvPr>
          <p:cNvSpPr/>
          <p:nvPr/>
        </p:nvSpPr>
        <p:spPr>
          <a:xfrm>
            <a:off x="803564" y="1202554"/>
            <a:ext cx="1008000" cy="584775"/>
          </a:xfrm>
          <a:prstGeom prst="rect">
            <a:avLst/>
          </a:prstGeom>
          <a:noFill/>
          <a:ln>
            <a:noFill/>
          </a:ln>
        </p:spPr>
        <p:style>
          <a:lnRef idx="3">
            <a:schemeClr val="lt1"/>
          </a:lnRef>
          <a:fillRef idx="1">
            <a:schemeClr val="accent5"/>
          </a:fillRef>
          <a:effectRef idx="1">
            <a:schemeClr val="accent5"/>
          </a:effectRef>
          <a:fontRef idx="minor">
            <a:schemeClr val="lt1"/>
          </a:fontRef>
        </p:style>
        <p:txBody>
          <a:bodyPr wrap="square" anchor="ctr">
            <a:spAutoFit/>
          </a:bodyPr>
          <a:lstStyle/>
          <a:p>
            <a:pPr lvl="0" algn="ctr" defTabSz="685800">
              <a:defRPr/>
            </a:pPr>
            <a:r>
              <a:rPr lang="en-US" sz="800" b="1" dirty="0">
                <a:solidFill>
                  <a:schemeClr val="tx1"/>
                </a:solidFill>
              </a:rPr>
              <a:t>Local Leadership Engagement Meeting</a:t>
            </a:r>
          </a:p>
        </p:txBody>
      </p:sp>
      <p:sp>
        <p:nvSpPr>
          <p:cNvPr id="140" name="Rectangle 139">
            <a:extLst>
              <a:ext uri="{FF2B5EF4-FFF2-40B4-BE49-F238E27FC236}">
                <a16:creationId xmlns:a16="http://schemas.microsoft.com/office/drawing/2014/main" id="{DDA6647F-C75D-40C3-9816-1317E4A71FC3}"/>
              </a:ext>
            </a:extLst>
          </p:cNvPr>
          <p:cNvSpPr>
            <a:spLocks/>
          </p:cNvSpPr>
          <p:nvPr/>
        </p:nvSpPr>
        <p:spPr>
          <a:xfrm>
            <a:off x="76200" y="1264109"/>
            <a:ext cx="1008000" cy="461665"/>
          </a:xfrm>
          <a:prstGeom prst="rect">
            <a:avLst/>
          </a:prstGeom>
          <a:noFill/>
          <a:ln>
            <a:noFill/>
          </a:ln>
        </p:spPr>
        <p:style>
          <a:lnRef idx="3">
            <a:schemeClr val="lt1"/>
          </a:lnRef>
          <a:fillRef idx="1">
            <a:schemeClr val="accent5"/>
          </a:fillRef>
          <a:effectRef idx="1">
            <a:schemeClr val="accent5"/>
          </a:effectRef>
          <a:fontRef idx="minor">
            <a:schemeClr val="lt1"/>
          </a:fontRef>
        </p:style>
        <p:txBody>
          <a:bodyPr wrap="square" anchor="ctr">
            <a:spAutoFit/>
          </a:bodyPr>
          <a:lstStyle/>
          <a:p>
            <a:pPr algn="ctr"/>
            <a:r>
              <a:rPr kumimoji="0" lang="en-US" sz="800" b="1" i="0" u="none" strike="noStrike" kern="1200" cap="none" spc="0" normalizeH="0" baseline="0" noProof="0" dirty="0">
                <a:ln>
                  <a:noFill/>
                </a:ln>
                <a:solidFill>
                  <a:schemeClr val="tx1"/>
                </a:solidFill>
                <a:effectLst/>
                <a:uLnTx/>
                <a:uFillTx/>
              </a:rPr>
              <a:t>Business Readiness Assessment</a:t>
            </a:r>
            <a:endParaRPr lang="de-DE" sz="800" b="1" dirty="0">
              <a:solidFill>
                <a:schemeClr val="tx1"/>
              </a:solidFill>
            </a:endParaRPr>
          </a:p>
        </p:txBody>
      </p:sp>
      <p:sp>
        <p:nvSpPr>
          <p:cNvPr id="142" name="Rectangle 141"/>
          <p:cNvSpPr>
            <a:spLocks/>
          </p:cNvSpPr>
          <p:nvPr/>
        </p:nvSpPr>
        <p:spPr>
          <a:xfrm>
            <a:off x="1530928" y="1200150"/>
            <a:ext cx="946803" cy="589583"/>
          </a:xfrm>
          <a:prstGeom prst="rect">
            <a:avLst/>
          </a:prstGeom>
          <a:noFill/>
          <a:ln>
            <a:noFill/>
          </a:ln>
        </p:spPr>
        <p:style>
          <a:lnRef idx="3">
            <a:schemeClr val="lt1"/>
          </a:lnRef>
          <a:fillRef idx="1">
            <a:schemeClr val="accent5"/>
          </a:fillRef>
          <a:effectRef idx="1">
            <a:schemeClr val="accent5"/>
          </a:effectRef>
          <a:fontRef idx="minor">
            <a:schemeClr val="lt1"/>
          </a:fontRef>
        </p:style>
        <p:txBody>
          <a:bodyPr lIns="0" tIns="0" rIns="0" bIns="0" rtlCol="0" anchor="ctr"/>
          <a:lstStyle/>
          <a:p>
            <a:pPr lvl="0" algn="ctr" defTabSz="685783">
              <a:spcBef>
                <a:spcPts val="225"/>
              </a:spcBef>
              <a:defRPr/>
            </a:pPr>
            <a:r>
              <a:rPr lang="en-US" sz="800" b="1" dirty="0">
                <a:solidFill>
                  <a:schemeClr val="tx1"/>
                </a:solidFill>
              </a:rPr>
              <a:t>Country </a:t>
            </a:r>
          </a:p>
          <a:p>
            <a:pPr lvl="0" algn="ctr" defTabSz="685783">
              <a:spcBef>
                <a:spcPts val="225"/>
              </a:spcBef>
              <a:defRPr/>
            </a:pPr>
            <a:r>
              <a:rPr lang="en-US" sz="800" b="1" dirty="0">
                <a:solidFill>
                  <a:schemeClr val="tx1"/>
                </a:solidFill>
              </a:rPr>
              <a:t>Kick-off</a:t>
            </a:r>
          </a:p>
        </p:txBody>
      </p:sp>
      <p:sp>
        <p:nvSpPr>
          <p:cNvPr id="143" name="Rectangle 142">
            <a:extLst>
              <a:ext uri="{FF2B5EF4-FFF2-40B4-BE49-F238E27FC236}">
                <a16:creationId xmlns:a16="http://schemas.microsoft.com/office/drawing/2014/main" id="{DDA6647F-C75D-40C3-9816-1317E4A71FC3}"/>
              </a:ext>
            </a:extLst>
          </p:cNvPr>
          <p:cNvSpPr>
            <a:spLocks/>
          </p:cNvSpPr>
          <p:nvPr/>
        </p:nvSpPr>
        <p:spPr>
          <a:xfrm>
            <a:off x="1100491" y="2595277"/>
            <a:ext cx="1008000" cy="338554"/>
          </a:xfrm>
          <a:prstGeom prst="rect">
            <a:avLst/>
          </a:prstGeom>
          <a:noFill/>
          <a:ln>
            <a:noFill/>
          </a:ln>
        </p:spPr>
        <p:style>
          <a:lnRef idx="3">
            <a:schemeClr val="lt1"/>
          </a:lnRef>
          <a:fillRef idx="1">
            <a:schemeClr val="accent5"/>
          </a:fillRef>
          <a:effectRef idx="1">
            <a:schemeClr val="accent5"/>
          </a:effectRef>
          <a:fontRef idx="minor">
            <a:schemeClr val="lt1"/>
          </a:fontRef>
        </p:style>
        <p:txBody>
          <a:bodyPr wrap="square" anchor="ctr">
            <a:spAutoFit/>
          </a:bodyPr>
          <a:lstStyle/>
          <a:p>
            <a:pPr lvl="0" algn="ctr" defTabSz="685800">
              <a:defRPr/>
            </a:pPr>
            <a:r>
              <a:rPr lang="en-US" sz="800" b="1" dirty="0">
                <a:solidFill>
                  <a:schemeClr val="tx1"/>
                </a:solidFill>
              </a:rPr>
              <a:t>Country Weekly Status Meetings</a:t>
            </a:r>
          </a:p>
        </p:txBody>
      </p:sp>
      <p:sp>
        <p:nvSpPr>
          <p:cNvPr id="150" name="Rectangle 149"/>
          <p:cNvSpPr>
            <a:spLocks/>
          </p:cNvSpPr>
          <p:nvPr/>
        </p:nvSpPr>
        <p:spPr>
          <a:xfrm>
            <a:off x="2258292" y="1264109"/>
            <a:ext cx="913088" cy="461665"/>
          </a:xfrm>
          <a:prstGeom prst="rect">
            <a:avLst/>
          </a:prstGeom>
          <a:noFill/>
          <a:ln>
            <a:noFill/>
          </a:ln>
        </p:spPr>
        <p:style>
          <a:lnRef idx="3">
            <a:schemeClr val="lt1"/>
          </a:lnRef>
          <a:fillRef idx="1">
            <a:schemeClr val="accent5"/>
          </a:fillRef>
          <a:effectRef idx="1">
            <a:schemeClr val="accent5"/>
          </a:effectRef>
          <a:fontRef idx="minor">
            <a:schemeClr val="lt1"/>
          </a:fontRef>
        </p:style>
        <p:txBody>
          <a:bodyPr wrap="square" anchor="ctr">
            <a:spAutoFit/>
          </a:bodyPr>
          <a:lstStyle/>
          <a:p>
            <a:pPr algn="ctr"/>
            <a:r>
              <a:rPr lang="en-US" sz="800" b="1" dirty="0">
                <a:solidFill>
                  <a:schemeClr val="tx1"/>
                </a:solidFill>
              </a:rPr>
              <a:t>Resource Requirements Template</a:t>
            </a:r>
            <a:endParaRPr lang="de-DE" sz="800" b="1" dirty="0">
              <a:solidFill>
                <a:schemeClr val="tx1"/>
              </a:solidFill>
            </a:endParaRPr>
          </a:p>
        </p:txBody>
      </p:sp>
      <p:sp>
        <p:nvSpPr>
          <p:cNvPr id="151" name="Rectangle 150"/>
          <p:cNvSpPr>
            <a:spLocks/>
          </p:cNvSpPr>
          <p:nvPr/>
        </p:nvSpPr>
        <p:spPr>
          <a:xfrm>
            <a:off x="3677160" y="1264109"/>
            <a:ext cx="844816" cy="461665"/>
          </a:xfrm>
          <a:prstGeom prst="rect">
            <a:avLst/>
          </a:prstGeom>
          <a:noFill/>
          <a:ln>
            <a:noFill/>
          </a:ln>
        </p:spPr>
        <p:style>
          <a:lnRef idx="3">
            <a:schemeClr val="lt1"/>
          </a:lnRef>
          <a:fillRef idx="1">
            <a:schemeClr val="accent5"/>
          </a:fillRef>
          <a:effectRef idx="1">
            <a:schemeClr val="accent5"/>
          </a:effectRef>
          <a:fontRef idx="minor">
            <a:schemeClr val="lt1"/>
          </a:fontRef>
        </p:style>
        <p:txBody>
          <a:bodyPr wrap="square" anchor="ctr">
            <a:spAutoFit/>
          </a:bodyPr>
          <a:lstStyle/>
          <a:p>
            <a:pPr algn="ctr"/>
            <a:r>
              <a:rPr lang="en-US" sz="800" b="1" dirty="0">
                <a:solidFill>
                  <a:schemeClr val="tx1"/>
                </a:solidFill>
              </a:rPr>
              <a:t>Data Migration Workbook</a:t>
            </a:r>
            <a:endParaRPr lang="de-DE" sz="800" b="1" dirty="0">
              <a:solidFill>
                <a:schemeClr val="tx1"/>
              </a:solidFill>
            </a:endParaRPr>
          </a:p>
        </p:txBody>
      </p:sp>
      <p:sp>
        <p:nvSpPr>
          <p:cNvPr id="152" name="Rectangle 151">
            <a:extLst>
              <a:ext uri="{FF2B5EF4-FFF2-40B4-BE49-F238E27FC236}">
                <a16:creationId xmlns:a16="http://schemas.microsoft.com/office/drawing/2014/main" id="{DDA6647F-C75D-40C3-9816-1317E4A71FC3}"/>
              </a:ext>
            </a:extLst>
          </p:cNvPr>
          <p:cNvSpPr>
            <a:spLocks/>
          </p:cNvSpPr>
          <p:nvPr/>
        </p:nvSpPr>
        <p:spPr>
          <a:xfrm>
            <a:off x="2890744" y="1264109"/>
            <a:ext cx="1008000" cy="461665"/>
          </a:xfrm>
          <a:prstGeom prst="rect">
            <a:avLst/>
          </a:prstGeom>
          <a:noFill/>
          <a:ln>
            <a:noFill/>
          </a:ln>
        </p:spPr>
        <p:style>
          <a:lnRef idx="3">
            <a:schemeClr val="lt1"/>
          </a:lnRef>
          <a:fillRef idx="1">
            <a:schemeClr val="accent5"/>
          </a:fillRef>
          <a:effectRef idx="1">
            <a:schemeClr val="accent5"/>
          </a:effectRef>
          <a:fontRef idx="minor">
            <a:schemeClr val="lt1"/>
          </a:fontRef>
        </p:style>
        <p:txBody>
          <a:bodyPr wrap="square" anchor="ctr">
            <a:spAutoFit/>
          </a:bodyPr>
          <a:lstStyle/>
          <a:p>
            <a:pPr algn="ctr"/>
            <a:r>
              <a:rPr lang="en-US" sz="800" b="1" dirty="0" err="1">
                <a:solidFill>
                  <a:schemeClr val="tx1"/>
                </a:solidFill>
              </a:rPr>
              <a:t>Localised</a:t>
            </a:r>
            <a:r>
              <a:rPr lang="en-US" sz="800" b="1" dirty="0">
                <a:solidFill>
                  <a:schemeClr val="tx1"/>
                </a:solidFill>
              </a:rPr>
              <a:t> Checklist </a:t>
            </a:r>
          </a:p>
          <a:p>
            <a:pPr algn="ctr"/>
            <a:r>
              <a:rPr lang="en-US" sz="800" b="1" dirty="0">
                <a:solidFill>
                  <a:schemeClr val="tx1"/>
                </a:solidFill>
              </a:rPr>
              <a:t>and Plan</a:t>
            </a:r>
            <a:endParaRPr lang="de-DE" sz="800" b="1" dirty="0">
              <a:solidFill>
                <a:schemeClr val="tx1"/>
              </a:solidFill>
            </a:endParaRPr>
          </a:p>
        </p:txBody>
      </p:sp>
      <p:sp>
        <p:nvSpPr>
          <p:cNvPr id="156" name="Rectangle 155">
            <a:extLst>
              <a:ext uri="{FF2B5EF4-FFF2-40B4-BE49-F238E27FC236}">
                <a16:creationId xmlns:a16="http://schemas.microsoft.com/office/drawing/2014/main" id="{DDA6647F-C75D-40C3-9816-1317E4A71FC3}"/>
              </a:ext>
            </a:extLst>
          </p:cNvPr>
          <p:cNvSpPr>
            <a:spLocks/>
          </p:cNvSpPr>
          <p:nvPr/>
        </p:nvSpPr>
        <p:spPr>
          <a:xfrm>
            <a:off x="5167748" y="1325664"/>
            <a:ext cx="773077" cy="338554"/>
          </a:xfrm>
          <a:prstGeom prst="rect">
            <a:avLst/>
          </a:prstGeom>
          <a:noFill/>
          <a:ln>
            <a:noFill/>
          </a:ln>
        </p:spPr>
        <p:style>
          <a:lnRef idx="3">
            <a:schemeClr val="lt1"/>
          </a:lnRef>
          <a:fillRef idx="1">
            <a:schemeClr val="accent5"/>
          </a:fillRef>
          <a:effectRef idx="1">
            <a:schemeClr val="accent5"/>
          </a:effectRef>
          <a:fontRef idx="minor">
            <a:schemeClr val="lt1"/>
          </a:fontRef>
        </p:style>
        <p:txBody>
          <a:bodyPr wrap="square" anchor="ctr">
            <a:spAutoFit/>
          </a:bodyPr>
          <a:lstStyle/>
          <a:p>
            <a:pPr algn="ctr"/>
            <a:r>
              <a:rPr lang="en-US" sz="800" b="1" dirty="0">
                <a:solidFill>
                  <a:schemeClr val="tx1"/>
                </a:solidFill>
              </a:rPr>
              <a:t>Translation Workbook</a:t>
            </a:r>
            <a:endParaRPr lang="de-DE" sz="800" b="1" dirty="0">
              <a:solidFill>
                <a:schemeClr val="tx1"/>
              </a:solidFill>
            </a:endParaRPr>
          </a:p>
        </p:txBody>
      </p:sp>
      <p:sp>
        <p:nvSpPr>
          <p:cNvPr id="157" name="Rectangle 156">
            <a:extLst>
              <a:ext uri="{FF2B5EF4-FFF2-40B4-BE49-F238E27FC236}">
                <a16:creationId xmlns:a16="http://schemas.microsoft.com/office/drawing/2014/main" id="{DDA6647F-C75D-40C3-9816-1317E4A71FC3}"/>
              </a:ext>
            </a:extLst>
          </p:cNvPr>
          <p:cNvSpPr>
            <a:spLocks/>
          </p:cNvSpPr>
          <p:nvPr/>
        </p:nvSpPr>
        <p:spPr>
          <a:xfrm>
            <a:off x="4419655" y="1264109"/>
            <a:ext cx="778675" cy="461665"/>
          </a:xfrm>
          <a:prstGeom prst="rect">
            <a:avLst/>
          </a:prstGeom>
          <a:noFill/>
          <a:ln>
            <a:noFill/>
          </a:ln>
        </p:spPr>
        <p:style>
          <a:lnRef idx="3">
            <a:schemeClr val="lt1"/>
          </a:lnRef>
          <a:fillRef idx="1">
            <a:schemeClr val="accent5"/>
          </a:fillRef>
          <a:effectRef idx="1">
            <a:schemeClr val="accent5"/>
          </a:effectRef>
          <a:fontRef idx="minor">
            <a:schemeClr val="lt1"/>
          </a:fontRef>
        </p:style>
        <p:txBody>
          <a:bodyPr wrap="square" anchor="ctr">
            <a:spAutoFit/>
          </a:bodyPr>
          <a:lstStyle/>
          <a:p>
            <a:pPr algn="ctr"/>
            <a:r>
              <a:rPr lang="en-US" sz="800" b="1" dirty="0">
                <a:solidFill>
                  <a:schemeClr val="tx1"/>
                </a:solidFill>
              </a:rPr>
              <a:t>Country Set-up Workbook</a:t>
            </a:r>
            <a:endParaRPr lang="de-DE" sz="800" b="1" dirty="0">
              <a:solidFill>
                <a:schemeClr val="tx1"/>
              </a:solidFill>
            </a:endParaRPr>
          </a:p>
        </p:txBody>
      </p:sp>
      <p:sp>
        <p:nvSpPr>
          <p:cNvPr id="158" name="Rectangle 157">
            <a:extLst>
              <a:ext uri="{FF2B5EF4-FFF2-40B4-BE49-F238E27FC236}">
                <a16:creationId xmlns:a16="http://schemas.microsoft.com/office/drawing/2014/main" id="{DDA6647F-C75D-40C3-9816-1317E4A71FC3}"/>
              </a:ext>
            </a:extLst>
          </p:cNvPr>
          <p:cNvSpPr>
            <a:spLocks/>
          </p:cNvSpPr>
          <p:nvPr/>
        </p:nvSpPr>
        <p:spPr>
          <a:xfrm>
            <a:off x="7317610" y="1264109"/>
            <a:ext cx="697073" cy="461665"/>
          </a:xfrm>
          <a:prstGeom prst="rect">
            <a:avLst/>
          </a:prstGeom>
          <a:noFill/>
          <a:ln>
            <a:noFill/>
          </a:ln>
        </p:spPr>
        <p:style>
          <a:lnRef idx="3">
            <a:schemeClr val="lt1"/>
          </a:lnRef>
          <a:fillRef idx="1">
            <a:schemeClr val="accent5"/>
          </a:fillRef>
          <a:effectRef idx="1">
            <a:schemeClr val="accent5"/>
          </a:effectRef>
          <a:fontRef idx="minor">
            <a:schemeClr val="lt1"/>
          </a:fontRef>
        </p:style>
        <p:txBody>
          <a:bodyPr wrap="square" anchor="ctr">
            <a:spAutoFit/>
          </a:bodyPr>
          <a:lstStyle/>
          <a:p>
            <a:pPr algn="ctr"/>
            <a:r>
              <a:rPr lang="en-US" sz="800" b="1" dirty="0" err="1">
                <a:solidFill>
                  <a:schemeClr val="tx1"/>
                </a:solidFill>
              </a:rPr>
              <a:t>Hypercare</a:t>
            </a:r>
            <a:r>
              <a:rPr lang="en-US" sz="800" b="1" dirty="0">
                <a:solidFill>
                  <a:schemeClr val="tx1"/>
                </a:solidFill>
              </a:rPr>
              <a:t> Operation Template</a:t>
            </a:r>
            <a:endParaRPr lang="de-DE" sz="800" b="1" dirty="0">
              <a:solidFill>
                <a:schemeClr val="tx1"/>
              </a:solidFill>
            </a:endParaRPr>
          </a:p>
        </p:txBody>
      </p:sp>
      <p:sp>
        <p:nvSpPr>
          <p:cNvPr id="159" name="Rectangle 158">
            <a:extLst>
              <a:ext uri="{FF2B5EF4-FFF2-40B4-BE49-F238E27FC236}">
                <a16:creationId xmlns:a16="http://schemas.microsoft.com/office/drawing/2014/main" id="{DDA6647F-C75D-40C3-9816-1317E4A71FC3}"/>
              </a:ext>
            </a:extLst>
          </p:cNvPr>
          <p:cNvSpPr>
            <a:spLocks/>
          </p:cNvSpPr>
          <p:nvPr/>
        </p:nvSpPr>
        <p:spPr>
          <a:xfrm>
            <a:off x="5840668" y="1264109"/>
            <a:ext cx="839084" cy="461665"/>
          </a:xfrm>
          <a:prstGeom prst="rect">
            <a:avLst/>
          </a:prstGeom>
          <a:noFill/>
          <a:ln>
            <a:noFill/>
          </a:ln>
        </p:spPr>
        <p:style>
          <a:lnRef idx="3">
            <a:schemeClr val="lt1"/>
          </a:lnRef>
          <a:fillRef idx="1">
            <a:schemeClr val="accent5"/>
          </a:fillRef>
          <a:effectRef idx="1">
            <a:schemeClr val="accent5"/>
          </a:effectRef>
          <a:fontRef idx="minor">
            <a:schemeClr val="lt1"/>
          </a:fontRef>
        </p:style>
        <p:txBody>
          <a:bodyPr wrap="square" anchor="ctr">
            <a:spAutoFit/>
          </a:bodyPr>
          <a:lstStyle/>
          <a:p>
            <a:pPr algn="ctr"/>
            <a:r>
              <a:rPr lang="en-US" sz="800" b="1" dirty="0">
                <a:solidFill>
                  <a:schemeClr val="tx1"/>
                </a:solidFill>
              </a:rPr>
              <a:t>Local </a:t>
            </a:r>
          </a:p>
          <a:p>
            <a:pPr algn="ctr"/>
            <a:r>
              <a:rPr lang="en-US" sz="800" b="1" dirty="0">
                <a:solidFill>
                  <a:schemeClr val="tx1"/>
                </a:solidFill>
              </a:rPr>
              <a:t>Testing </a:t>
            </a:r>
          </a:p>
          <a:p>
            <a:pPr algn="ctr"/>
            <a:r>
              <a:rPr lang="en-US" sz="800" b="1" dirty="0">
                <a:solidFill>
                  <a:schemeClr val="tx1"/>
                </a:solidFill>
              </a:rPr>
              <a:t>Scope &amp; Plan</a:t>
            </a:r>
            <a:endParaRPr lang="de-DE" sz="800" b="1" dirty="0">
              <a:solidFill>
                <a:schemeClr val="tx1"/>
              </a:solidFill>
            </a:endParaRPr>
          </a:p>
        </p:txBody>
      </p:sp>
      <p:sp>
        <p:nvSpPr>
          <p:cNvPr id="160" name="Rectangle 159">
            <a:extLst>
              <a:ext uri="{FF2B5EF4-FFF2-40B4-BE49-F238E27FC236}">
                <a16:creationId xmlns:a16="http://schemas.microsoft.com/office/drawing/2014/main" id="{DDA6647F-C75D-40C3-9816-1317E4A71FC3}"/>
              </a:ext>
            </a:extLst>
          </p:cNvPr>
          <p:cNvSpPr>
            <a:spLocks/>
          </p:cNvSpPr>
          <p:nvPr/>
        </p:nvSpPr>
        <p:spPr>
          <a:xfrm>
            <a:off x="8043345" y="1264109"/>
            <a:ext cx="672283" cy="461665"/>
          </a:xfrm>
          <a:prstGeom prst="rect">
            <a:avLst/>
          </a:prstGeom>
          <a:noFill/>
          <a:ln>
            <a:noFill/>
          </a:ln>
        </p:spPr>
        <p:style>
          <a:lnRef idx="3">
            <a:schemeClr val="lt1"/>
          </a:lnRef>
          <a:fillRef idx="1">
            <a:schemeClr val="accent5"/>
          </a:fillRef>
          <a:effectRef idx="1">
            <a:schemeClr val="accent5"/>
          </a:effectRef>
          <a:fontRef idx="minor">
            <a:schemeClr val="lt1"/>
          </a:fontRef>
        </p:style>
        <p:txBody>
          <a:bodyPr wrap="square" anchor="ctr">
            <a:spAutoFit/>
          </a:bodyPr>
          <a:lstStyle/>
          <a:p>
            <a:pPr algn="ctr"/>
            <a:r>
              <a:rPr lang="en-US" sz="800" b="1" dirty="0" err="1">
                <a:solidFill>
                  <a:schemeClr val="tx1"/>
                </a:solidFill>
              </a:rPr>
              <a:t>LocalisedSupport</a:t>
            </a:r>
            <a:r>
              <a:rPr lang="en-US" sz="800" b="1" dirty="0">
                <a:solidFill>
                  <a:schemeClr val="tx1"/>
                </a:solidFill>
              </a:rPr>
              <a:t> Model</a:t>
            </a:r>
            <a:endParaRPr lang="de-DE" sz="800" b="1" dirty="0">
              <a:solidFill>
                <a:schemeClr val="tx1"/>
              </a:solidFill>
            </a:endParaRPr>
          </a:p>
        </p:txBody>
      </p:sp>
      <p:sp>
        <p:nvSpPr>
          <p:cNvPr id="171" name="Rectangle 170">
            <a:extLst>
              <a:ext uri="{FF2B5EF4-FFF2-40B4-BE49-F238E27FC236}">
                <a16:creationId xmlns:a16="http://schemas.microsoft.com/office/drawing/2014/main" id="{DDA6647F-C75D-40C3-9816-1317E4A71FC3}"/>
              </a:ext>
            </a:extLst>
          </p:cNvPr>
          <p:cNvSpPr>
            <a:spLocks/>
          </p:cNvSpPr>
          <p:nvPr/>
        </p:nvSpPr>
        <p:spPr>
          <a:xfrm>
            <a:off x="6440119" y="1264109"/>
            <a:ext cx="1008000" cy="461665"/>
          </a:xfrm>
          <a:prstGeom prst="rect">
            <a:avLst/>
          </a:prstGeom>
          <a:noFill/>
          <a:ln>
            <a:noFill/>
          </a:ln>
        </p:spPr>
        <p:style>
          <a:lnRef idx="3">
            <a:schemeClr val="lt1"/>
          </a:lnRef>
          <a:fillRef idx="1">
            <a:schemeClr val="accent5"/>
          </a:fillRef>
          <a:effectRef idx="1">
            <a:schemeClr val="accent5"/>
          </a:effectRef>
          <a:fontRef idx="minor">
            <a:schemeClr val="lt1"/>
          </a:fontRef>
        </p:style>
        <p:txBody>
          <a:bodyPr wrap="square" anchor="ctr">
            <a:spAutoFit/>
          </a:bodyPr>
          <a:lstStyle/>
          <a:p>
            <a:pPr algn="ctr"/>
            <a:r>
              <a:rPr lang="en-US" sz="800" b="1" dirty="0">
                <a:solidFill>
                  <a:schemeClr val="tx1"/>
                </a:solidFill>
              </a:rPr>
              <a:t>Cutover </a:t>
            </a:r>
          </a:p>
          <a:p>
            <a:pPr algn="ctr"/>
            <a:r>
              <a:rPr lang="en-US" sz="800" b="1" dirty="0">
                <a:solidFill>
                  <a:schemeClr val="tx1"/>
                </a:solidFill>
              </a:rPr>
              <a:t>Plan </a:t>
            </a:r>
          </a:p>
          <a:p>
            <a:pPr algn="ctr"/>
            <a:r>
              <a:rPr lang="en-US" sz="800" b="1" dirty="0">
                <a:solidFill>
                  <a:schemeClr val="tx1"/>
                </a:solidFill>
              </a:rPr>
              <a:t>Template</a:t>
            </a:r>
            <a:endParaRPr lang="de-DE" sz="800" b="1" dirty="0">
              <a:solidFill>
                <a:schemeClr val="tx1"/>
              </a:solidFill>
            </a:endParaRPr>
          </a:p>
        </p:txBody>
      </p:sp>
      <p:sp>
        <p:nvSpPr>
          <p:cNvPr id="95" name="Rectangle 94">
            <a:extLst>
              <a:ext uri="{FF2B5EF4-FFF2-40B4-BE49-F238E27FC236}">
                <a16:creationId xmlns:a16="http://schemas.microsoft.com/office/drawing/2014/main" id="{DDA6647F-C75D-40C3-9816-1317E4A71FC3}"/>
              </a:ext>
            </a:extLst>
          </p:cNvPr>
          <p:cNvSpPr>
            <a:spLocks/>
          </p:cNvSpPr>
          <p:nvPr/>
        </p:nvSpPr>
        <p:spPr>
          <a:xfrm>
            <a:off x="2408791" y="2743765"/>
            <a:ext cx="4234753" cy="215444"/>
          </a:xfrm>
          <a:prstGeom prst="rect">
            <a:avLst/>
          </a:prstGeom>
          <a:noFill/>
          <a:ln>
            <a:noFill/>
          </a:ln>
        </p:spPr>
        <p:style>
          <a:lnRef idx="3">
            <a:schemeClr val="lt1"/>
          </a:lnRef>
          <a:fillRef idx="1">
            <a:schemeClr val="accent5"/>
          </a:fillRef>
          <a:effectRef idx="1">
            <a:schemeClr val="accent5"/>
          </a:effectRef>
          <a:fontRef idx="minor">
            <a:schemeClr val="lt1"/>
          </a:fontRef>
        </p:style>
        <p:txBody>
          <a:bodyPr wrap="square" anchor="ctr">
            <a:spAutoFit/>
          </a:bodyPr>
          <a:lstStyle/>
          <a:p>
            <a:r>
              <a:rPr kumimoji="0" lang="en-US" sz="800" b="1" i="1" u="none" strike="noStrike" kern="1200" cap="none" spc="0" normalizeH="0" baseline="0" noProof="0" dirty="0">
                <a:ln>
                  <a:noFill/>
                </a:ln>
                <a:solidFill>
                  <a:schemeClr val="tx1"/>
                </a:solidFill>
                <a:effectLst/>
                <a:uLnTx/>
                <a:uFillTx/>
              </a:rPr>
              <a:t> </a:t>
            </a:r>
            <a:r>
              <a:rPr lang="en-US" sz="600" b="1" i="1" noProof="0" dirty="0">
                <a:solidFill>
                  <a:schemeClr val="tx1"/>
                </a:solidFill>
              </a:rPr>
              <a:t>Weekly, between Local Roll-out Manager of each Country/Group and the Program Roll-out Coordinator</a:t>
            </a:r>
            <a:endParaRPr lang="de-DE" sz="600" b="1" i="1" dirty="0">
              <a:solidFill>
                <a:schemeClr val="tx1"/>
              </a:solidFill>
            </a:endParaRPr>
          </a:p>
        </p:txBody>
      </p:sp>
      <p:sp>
        <p:nvSpPr>
          <p:cNvPr id="108" name="Rectangle 107">
            <a:extLst>
              <a:ext uri="{FF2B5EF4-FFF2-40B4-BE49-F238E27FC236}">
                <a16:creationId xmlns:a16="http://schemas.microsoft.com/office/drawing/2014/main" id="{DDA6647F-C75D-40C3-9816-1317E4A71FC3}"/>
              </a:ext>
            </a:extLst>
          </p:cNvPr>
          <p:cNvSpPr>
            <a:spLocks/>
          </p:cNvSpPr>
          <p:nvPr/>
        </p:nvSpPr>
        <p:spPr>
          <a:xfrm>
            <a:off x="2408791" y="3237204"/>
            <a:ext cx="5807695" cy="184666"/>
          </a:xfrm>
          <a:prstGeom prst="rect">
            <a:avLst/>
          </a:prstGeom>
          <a:noFill/>
          <a:ln>
            <a:noFill/>
          </a:ln>
        </p:spPr>
        <p:style>
          <a:lnRef idx="3">
            <a:schemeClr val="lt1"/>
          </a:lnRef>
          <a:fillRef idx="1">
            <a:schemeClr val="accent5"/>
          </a:fillRef>
          <a:effectRef idx="1">
            <a:schemeClr val="accent5"/>
          </a:effectRef>
          <a:fontRef idx="minor">
            <a:schemeClr val="lt1"/>
          </a:fontRef>
        </p:style>
        <p:txBody>
          <a:bodyPr wrap="square" anchor="ctr">
            <a:spAutoFit/>
          </a:bodyPr>
          <a:lstStyle/>
          <a:p>
            <a:r>
              <a:rPr kumimoji="0" lang="en-US" sz="600" b="1" i="1" u="none" strike="noStrike" kern="1200" cap="none" spc="0" normalizeH="0" noProof="0" dirty="0">
                <a:ln>
                  <a:noFill/>
                </a:ln>
                <a:solidFill>
                  <a:schemeClr val="tx1"/>
                </a:solidFill>
                <a:effectLst/>
                <a:uLnTx/>
                <a:uFillTx/>
              </a:rPr>
              <a:t>Every 2-4 weeks depending on Roll-out Phase, with Country/Sub-Cluster senior stakeholders, to report progress, make decisions, and resolve issues</a:t>
            </a:r>
            <a:endParaRPr lang="de-DE" sz="600" b="1" i="1" dirty="0">
              <a:solidFill>
                <a:schemeClr val="tx1"/>
              </a:solidFill>
            </a:endParaRPr>
          </a:p>
        </p:txBody>
      </p:sp>
      <p:sp>
        <p:nvSpPr>
          <p:cNvPr id="109" name="Rectangle 108">
            <a:extLst>
              <a:ext uri="{FF2B5EF4-FFF2-40B4-BE49-F238E27FC236}">
                <a16:creationId xmlns:a16="http://schemas.microsoft.com/office/drawing/2014/main" id="{DDA6647F-C75D-40C3-9816-1317E4A71FC3}"/>
              </a:ext>
            </a:extLst>
          </p:cNvPr>
          <p:cNvSpPr>
            <a:spLocks/>
          </p:cNvSpPr>
          <p:nvPr/>
        </p:nvSpPr>
        <p:spPr>
          <a:xfrm>
            <a:off x="2408791" y="3628522"/>
            <a:ext cx="5980383" cy="215444"/>
          </a:xfrm>
          <a:prstGeom prst="rect">
            <a:avLst/>
          </a:prstGeom>
          <a:noFill/>
          <a:ln>
            <a:noFill/>
          </a:ln>
        </p:spPr>
        <p:style>
          <a:lnRef idx="3">
            <a:schemeClr val="lt1"/>
          </a:lnRef>
          <a:fillRef idx="1">
            <a:schemeClr val="accent5"/>
          </a:fillRef>
          <a:effectRef idx="1">
            <a:schemeClr val="accent5"/>
          </a:effectRef>
          <a:fontRef idx="minor">
            <a:schemeClr val="lt1"/>
          </a:fontRef>
        </p:style>
        <p:txBody>
          <a:bodyPr wrap="square" anchor="ctr">
            <a:spAutoFit/>
          </a:bodyPr>
          <a:lstStyle/>
          <a:p>
            <a:r>
              <a:rPr kumimoji="0" lang="en-US" sz="800" b="1" i="1" u="none" strike="noStrike" kern="1200" cap="none" spc="0" normalizeH="0" baseline="0" noProof="0" dirty="0">
                <a:ln>
                  <a:noFill/>
                </a:ln>
                <a:solidFill>
                  <a:schemeClr val="tx1"/>
                </a:solidFill>
                <a:effectLst/>
                <a:uLnTx/>
                <a:uFillTx/>
              </a:rPr>
              <a:t> </a:t>
            </a:r>
            <a:r>
              <a:rPr lang="en-US" sz="600" b="1" i="1" dirty="0">
                <a:solidFill>
                  <a:schemeClr val="tx1"/>
                </a:solidFill>
              </a:rPr>
              <a:t>Five Checkpoints across the Wave phases that ensure all Regional, Country and Cluster stakeholders are aligned on Wave progress and status</a:t>
            </a:r>
            <a:endParaRPr lang="de-DE" sz="600" b="1" i="1" dirty="0">
              <a:solidFill>
                <a:schemeClr val="tx1"/>
              </a:solidFill>
            </a:endParaRPr>
          </a:p>
        </p:txBody>
      </p:sp>
      <p:cxnSp>
        <p:nvCxnSpPr>
          <p:cNvPr id="120" name="Straight Connector 119"/>
          <p:cNvCxnSpPr/>
          <p:nvPr/>
        </p:nvCxnSpPr>
        <p:spPr>
          <a:xfrm>
            <a:off x="2477731" y="3193503"/>
            <a:ext cx="6196265" cy="8804"/>
          </a:xfrm>
          <a:prstGeom prst="line">
            <a:avLst/>
          </a:prstGeom>
          <a:ln w="9525" cap="flat" cmpd="sng" algn="ctr">
            <a:solidFill>
              <a:schemeClr val="accent5"/>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21" name="Straight Connector 120"/>
          <p:cNvCxnSpPr/>
          <p:nvPr/>
        </p:nvCxnSpPr>
        <p:spPr>
          <a:xfrm>
            <a:off x="2477731" y="2738238"/>
            <a:ext cx="6196265" cy="8804"/>
          </a:xfrm>
          <a:prstGeom prst="line">
            <a:avLst/>
          </a:prstGeom>
          <a:ln w="9525" cap="flat" cmpd="sng" algn="ctr">
            <a:solidFill>
              <a:schemeClr val="accent5"/>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nvGrpSpPr>
          <p:cNvPr id="122" name="Group 121"/>
          <p:cNvGrpSpPr>
            <a:grpSpLocks/>
          </p:cNvGrpSpPr>
          <p:nvPr/>
        </p:nvGrpSpPr>
        <p:grpSpPr bwMode="auto">
          <a:xfrm>
            <a:off x="4236399" y="4510181"/>
            <a:ext cx="1207715" cy="639136"/>
            <a:chOff x="438151" y="2405063"/>
            <a:chExt cx="901700" cy="604838"/>
          </a:xfrm>
        </p:grpSpPr>
        <p:grpSp>
          <p:nvGrpSpPr>
            <p:cNvPr id="123" name="Group 128"/>
            <p:cNvGrpSpPr>
              <a:grpSpLocks/>
            </p:cNvGrpSpPr>
            <p:nvPr/>
          </p:nvGrpSpPr>
          <p:grpSpPr bwMode="auto">
            <a:xfrm>
              <a:off x="438151" y="2405063"/>
              <a:ext cx="901700" cy="604838"/>
              <a:chOff x="438151" y="2405063"/>
              <a:chExt cx="901700" cy="604838"/>
            </a:xfrm>
          </p:grpSpPr>
          <p:sp>
            <p:nvSpPr>
              <p:cNvPr id="125" name="Freeform 51"/>
              <p:cNvSpPr>
                <a:spLocks/>
              </p:cNvSpPr>
              <p:nvPr/>
            </p:nvSpPr>
            <p:spPr bwMode="auto">
              <a:xfrm>
                <a:off x="438151" y="2405063"/>
                <a:ext cx="901700" cy="604838"/>
              </a:xfrm>
              <a:custGeom>
                <a:avLst/>
                <a:gdLst>
                  <a:gd name="T0" fmla="*/ 568 w 568"/>
                  <a:gd name="T1" fmla="*/ 381 h 381"/>
                  <a:gd name="T2" fmla="*/ 283 w 568"/>
                  <a:gd name="T3" fmla="*/ 0 h 381"/>
                  <a:gd name="T4" fmla="*/ 0 w 568"/>
                  <a:gd name="T5" fmla="*/ 381 h 381"/>
                  <a:gd name="T6" fmla="*/ 568 w 568"/>
                  <a:gd name="T7" fmla="*/ 381 h 381"/>
                </a:gdLst>
                <a:ahLst/>
                <a:cxnLst>
                  <a:cxn ang="0">
                    <a:pos x="T0" y="T1"/>
                  </a:cxn>
                  <a:cxn ang="0">
                    <a:pos x="T2" y="T3"/>
                  </a:cxn>
                  <a:cxn ang="0">
                    <a:pos x="T4" y="T5"/>
                  </a:cxn>
                  <a:cxn ang="0">
                    <a:pos x="T6" y="T7"/>
                  </a:cxn>
                </a:cxnLst>
                <a:rect l="0" t="0" r="r" b="b"/>
                <a:pathLst>
                  <a:path w="568" h="381">
                    <a:moveTo>
                      <a:pt x="568" y="381"/>
                    </a:moveTo>
                    <a:lnTo>
                      <a:pt x="283" y="0"/>
                    </a:lnTo>
                    <a:lnTo>
                      <a:pt x="0" y="381"/>
                    </a:lnTo>
                    <a:lnTo>
                      <a:pt x="568" y="381"/>
                    </a:ln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26" name="Freeform 53"/>
              <p:cNvSpPr>
                <a:spLocks/>
              </p:cNvSpPr>
              <p:nvPr/>
            </p:nvSpPr>
            <p:spPr bwMode="auto">
              <a:xfrm>
                <a:off x="762000" y="2405063"/>
                <a:ext cx="249767" cy="175531"/>
              </a:xfrm>
              <a:custGeom>
                <a:avLst/>
                <a:gdLst>
                  <a:gd name="T0" fmla="*/ 79 w 157"/>
                  <a:gd name="T1" fmla="*/ 0 h 110"/>
                  <a:gd name="T2" fmla="*/ 0 w 157"/>
                  <a:gd name="T3" fmla="*/ 106 h 110"/>
                  <a:gd name="T4" fmla="*/ 5 w 157"/>
                  <a:gd name="T5" fmla="*/ 110 h 110"/>
                  <a:gd name="T6" fmla="*/ 29 w 157"/>
                  <a:gd name="T7" fmla="*/ 91 h 110"/>
                  <a:gd name="T8" fmla="*/ 53 w 157"/>
                  <a:gd name="T9" fmla="*/ 110 h 110"/>
                  <a:gd name="T10" fmla="*/ 77 w 157"/>
                  <a:gd name="T11" fmla="*/ 91 h 110"/>
                  <a:gd name="T12" fmla="*/ 101 w 157"/>
                  <a:gd name="T13" fmla="*/ 110 h 110"/>
                  <a:gd name="T14" fmla="*/ 126 w 157"/>
                  <a:gd name="T15" fmla="*/ 91 h 110"/>
                  <a:gd name="T16" fmla="*/ 150 w 157"/>
                  <a:gd name="T17" fmla="*/ 110 h 110"/>
                  <a:gd name="T18" fmla="*/ 157 w 157"/>
                  <a:gd name="T19" fmla="*/ 104 h 110"/>
                  <a:gd name="T20" fmla="*/ 79 w 157"/>
                  <a:gd name="T21"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7" h="110">
                    <a:moveTo>
                      <a:pt x="79" y="0"/>
                    </a:moveTo>
                    <a:lnTo>
                      <a:pt x="0" y="106"/>
                    </a:lnTo>
                    <a:lnTo>
                      <a:pt x="5" y="110"/>
                    </a:lnTo>
                    <a:lnTo>
                      <a:pt x="29" y="91"/>
                    </a:lnTo>
                    <a:lnTo>
                      <a:pt x="53" y="110"/>
                    </a:lnTo>
                    <a:lnTo>
                      <a:pt x="77" y="91"/>
                    </a:lnTo>
                    <a:lnTo>
                      <a:pt x="101" y="110"/>
                    </a:lnTo>
                    <a:lnTo>
                      <a:pt x="126" y="91"/>
                    </a:lnTo>
                    <a:lnTo>
                      <a:pt x="150" y="110"/>
                    </a:lnTo>
                    <a:lnTo>
                      <a:pt x="157" y="104"/>
                    </a:lnTo>
                    <a:lnTo>
                      <a:pt x="79" y="0"/>
                    </a:lnTo>
                    <a:close/>
                  </a:path>
                </a:pathLst>
              </a:custGeom>
              <a:solidFill>
                <a:srgbClr val="D7EEEE"/>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27" name="Freeform 57"/>
              <p:cNvSpPr>
                <a:spLocks/>
              </p:cNvSpPr>
              <p:nvPr/>
            </p:nvSpPr>
            <p:spPr bwMode="auto">
              <a:xfrm>
                <a:off x="438151" y="2405063"/>
                <a:ext cx="455083" cy="604838"/>
              </a:xfrm>
              <a:custGeom>
                <a:avLst/>
                <a:gdLst>
                  <a:gd name="T0" fmla="*/ 283 w 287"/>
                  <a:gd name="T1" fmla="*/ 0 h 381"/>
                  <a:gd name="T2" fmla="*/ 283 w 287"/>
                  <a:gd name="T3" fmla="*/ 0 h 381"/>
                  <a:gd name="T4" fmla="*/ 0 w 287"/>
                  <a:gd name="T5" fmla="*/ 381 h 381"/>
                  <a:gd name="T6" fmla="*/ 287 w 287"/>
                  <a:gd name="T7" fmla="*/ 381 h 381"/>
                  <a:gd name="T8" fmla="*/ 284 w 287"/>
                  <a:gd name="T9" fmla="*/ 93 h 381"/>
                  <a:gd name="T10" fmla="*/ 281 w 287"/>
                  <a:gd name="T11" fmla="*/ 91 h 381"/>
                  <a:gd name="T12" fmla="*/ 257 w 287"/>
                  <a:gd name="T13" fmla="*/ 110 h 381"/>
                  <a:gd name="T14" fmla="*/ 233 w 287"/>
                  <a:gd name="T15" fmla="*/ 91 h 381"/>
                  <a:gd name="T16" fmla="*/ 209 w 287"/>
                  <a:gd name="T17" fmla="*/ 110 h 381"/>
                  <a:gd name="T18" fmla="*/ 204 w 287"/>
                  <a:gd name="T19" fmla="*/ 106 h 381"/>
                  <a:gd name="T20" fmla="*/ 283 w 287"/>
                  <a:gd name="T21" fmla="*/ 0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7" h="381">
                    <a:moveTo>
                      <a:pt x="283" y="0"/>
                    </a:moveTo>
                    <a:lnTo>
                      <a:pt x="283" y="0"/>
                    </a:lnTo>
                    <a:lnTo>
                      <a:pt x="0" y="381"/>
                    </a:lnTo>
                    <a:lnTo>
                      <a:pt x="287" y="381"/>
                    </a:lnTo>
                    <a:lnTo>
                      <a:pt x="284" y="93"/>
                    </a:lnTo>
                    <a:lnTo>
                      <a:pt x="281" y="91"/>
                    </a:lnTo>
                    <a:lnTo>
                      <a:pt x="257" y="110"/>
                    </a:lnTo>
                    <a:lnTo>
                      <a:pt x="233" y="91"/>
                    </a:lnTo>
                    <a:lnTo>
                      <a:pt x="209" y="110"/>
                    </a:lnTo>
                    <a:lnTo>
                      <a:pt x="204" y="106"/>
                    </a:lnTo>
                    <a:lnTo>
                      <a:pt x="283"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sp>
          <p:nvSpPr>
            <p:cNvPr id="124" name="Freeform 59"/>
            <p:cNvSpPr>
              <a:spLocks/>
            </p:cNvSpPr>
            <p:nvPr/>
          </p:nvSpPr>
          <p:spPr bwMode="auto">
            <a:xfrm>
              <a:off x="762000" y="2405063"/>
              <a:ext cx="127000" cy="175531"/>
            </a:xfrm>
            <a:custGeom>
              <a:avLst/>
              <a:gdLst>
                <a:gd name="T0" fmla="*/ 79 w 80"/>
                <a:gd name="T1" fmla="*/ 0 h 110"/>
                <a:gd name="T2" fmla="*/ 79 w 80"/>
                <a:gd name="T3" fmla="*/ 0 h 110"/>
                <a:gd name="T4" fmla="*/ 0 w 80"/>
                <a:gd name="T5" fmla="*/ 106 h 110"/>
                <a:gd name="T6" fmla="*/ 5 w 80"/>
                <a:gd name="T7" fmla="*/ 110 h 110"/>
                <a:gd name="T8" fmla="*/ 29 w 80"/>
                <a:gd name="T9" fmla="*/ 91 h 110"/>
                <a:gd name="T10" fmla="*/ 53 w 80"/>
                <a:gd name="T11" fmla="*/ 110 h 110"/>
                <a:gd name="T12" fmla="*/ 77 w 80"/>
                <a:gd name="T13" fmla="*/ 91 h 110"/>
                <a:gd name="T14" fmla="*/ 80 w 80"/>
                <a:gd name="T15" fmla="*/ 93 h 110"/>
                <a:gd name="T16" fmla="*/ 79 w 80"/>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110">
                  <a:moveTo>
                    <a:pt x="79" y="0"/>
                  </a:moveTo>
                  <a:lnTo>
                    <a:pt x="79" y="0"/>
                  </a:lnTo>
                  <a:lnTo>
                    <a:pt x="0" y="106"/>
                  </a:lnTo>
                  <a:lnTo>
                    <a:pt x="5" y="110"/>
                  </a:lnTo>
                  <a:lnTo>
                    <a:pt x="29" y="91"/>
                  </a:lnTo>
                  <a:lnTo>
                    <a:pt x="53" y="110"/>
                  </a:lnTo>
                  <a:lnTo>
                    <a:pt x="77" y="91"/>
                  </a:lnTo>
                  <a:lnTo>
                    <a:pt x="80" y="93"/>
                  </a:lnTo>
                  <a:lnTo>
                    <a:pt x="79"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128" name="Group 127"/>
          <p:cNvGrpSpPr>
            <a:grpSpLocks/>
          </p:cNvGrpSpPr>
          <p:nvPr/>
        </p:nvGrpSpPr>
        <p:grpSpPr bwMode="auto">
          <a:xfrm>
            <a:off x="4899397" y="4349314"/>
            <a:ext cx="1425203" cy="797614"/>
            <a:chOff x="1489076" y="2028826"/>
            <a:chExt cx="1460500" cy="979488"/>
          </a:xfrm>
        </p:grpSpPr>
        <p:sp>
          <p:nvSpPr>
            <p:cNvPr id="129" name="Freeform 41"/>
            <p:cNvSpPr>
              <a:spLocks/>
            </p:cNvSpPr>
            <p:nvPr/>
          </p:nvSpPr>
          <p:spPr bwMode="auto">
            <a:xfrm>
              <a:off x="1489076" y="2028826"/>
              <a:ext cx="1460500" cy="979488"/>
            </a:xfrm>
            <a:custGeom>
              <a:avLst/>
              <a:gdLst>
                <a:gd name="T0" fmla="*/ 920 w 920"/>
                <a:gd name="T1" fmla="*/ 617 h 617"/>
                <a:gd name="T2" fmla="*/ 460 w 920"/>
                <a:gd name="T3" fmla="*/ 0 h 617"/>
                <a:gd name="T4" fmla="*/ 0 w 920"/>
                <a:gd name="T5" fmla="*/ 617 h 617"/>
                <a:gd name="T6" fmla="*/ 920 w 920"/>
                <a:gd name="T7" fmla="*/ 617 h 617"/>
              </a:gdLst>
              <a:ahLst/>
              <a:cxnLst>
                <a:cxn ang="0">
                  <a:pos x="T0" y="T1"/>
                </a:cxn>
                <a:cxn ang="0">
                  <a:pos x="T2" y="T3"/>
                </a:cxn>
                <a:cxn ang="0">
                  <a:pos x="T4" y="T5"/>
                </a:cxn>
                <a:cxn ang="0">
                  <a:pos x="T6" y="T7"/>
                </a:cxn>
              </a:cxnLst>
              <a:rect l="0" t="0" r="r" b="b"/>
              <a:pathLst>
                <a:path w="920" h="617">
                  <a:moveTo>
                    <a:pt x="920" y="617"/>
                  </a:moveTo>
                  <a:lnTo>
                    <a:pt x="460" y="0"/>
                  </a:lnTo>
                  <a:lnTo>
                    <a:pt x="0" y="617"/>
                  </a:lnTo>
                  <a:lnTo>
                    <a:pt x="920" y="617"/>
                  </a:ln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30" name="Freeform 129"/>
            <p:cNvSpPr>
              <a:spLocks/>
            </p:cNvSpPr>
            <p:nvPr/>
          </p:nvSpPr>
          <p:spPr bwMode="auto">
            <a:xfrm>
              <a:off x="2014009" y="2028826"/>
              <a:ext cx="406400" cy="281973"/>
            </a:xfrm>
            <a:custGeom>
              <a:avLst/>
              <a:gdLst>
                <a:gd name="T0" fmla="*/ 129 w 255"/>
                <a:gd name="T1" fmla="*/ 0 h 178"/>
                <a:gd name="T2" fmla="*/ 0 w 255"/>
                <a:gd name="T3" fmla="*/ 173 h 178"/>
                <a:gd name="T4" fmla="*/ 8 w 255"/>
                <a:gd name="T5" fmla="*/ 178 h 178"/>
                <a:gd name="T6" fmla="*/ 46 w 255"/>
                <a:gd name="T7" fmla="*/ 148 h 178"/>
                <a:gd name="T8" fmla="*/ 86 w 255"/>
                <a:gd name="T9" fmla="*/ 178 h 178"/>
                <a:gd name="T10" fmla="*/ 124 w 255"/>
                <a:gd name="T11" fmla="*/ 148 h 178"/>
                <a:gd name="T12" fmla="*/ 164 w 255"/>
                <a:gd name="T13" fmla="*/ 178 h 178"/>
                <a:gd name="T14" fmla="*/ 202 w 255"/>
                <a:gd name="T15" fmla="*/ 148 h 178"/>
                <a:gd name="T16" fmla="*/ 242 w 255"/>
                <a:gd name="T17" fmla="*/ 178 h 178"/>
                <a:gd name="T18" fmla="*/ 255 w 255"/>
                <a:gd name="T19" fmla="*/ 169 h 178"/>
                <a:gd name="T20" fmla="*/ 129 w 255"/>
                <a:gd name="T21"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5" h="178">
                  <a:moveTo>
                    <a:pt x="129" y="0"/>
                  </a:moveTo>
                  <a:lnTo>
                    <a:pt x="0" y="173"/>
                  </a:lnTo>
                  <a:lnTo>
                    <a:pt x="8" y="178"/>
                  </a:lnTo>
                  <a:lnTo>
                    <a:pt x="46" y="148"/>
                  </a:lnTo>
                  <a:lnTo>
                    <a:pt x="86" y="178"/>
                  </a:lnTo>
                  <a:lnTo>
                    <a:pt x="124" y="148"/>
                  </a:lnTo>
                  <a:lnTo>
                    <a:pt x="164" y="178"/>
                  </a:lnTo>
                  <a:lnTo>
                    <a:pt x="202" y="148"/>
                  </a:lnTo>
                  <a:lnTo>
                    <a:pt x="242" y="178"/>
                  </a:lnTo>
                  <a:lnTo>
                    <a:pt x="255" y="169"/>
                  </a:lnTo>
                  <a:lnTo>
                    <a:pt x="129" y="0"/>
                  </a:lnTo>
                  <a:close/>
                </a:path>
              </a:pathLst>
            </a:custGeom>
            <a:solidFill>
              <a:srgbClr val="D7EEEE"/>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31" name="Freeform 47"/>
            <p:cNvSpPr>
              <a:spLocks/>
            </p:cNvSpPr>
            <p:nvPr/>
          </p:nvSpPr>
          <p:spPr bwMode="auto">
            <a:xfrm>
              <a:off x="1489076" y="2028826"/>
              <a:ext cx="736600" cy="979488"/>
            </a:xfrm>
            <a:custGeom>
              <a:avLst/>
              <a:gdLst>
                <a:gd name="T0" fmla="*/ 460 w 464"/>
                <a:gd name="T1" fmla="*/ 0 h 617"/>
                <a:gd name="T2" fmla="*/ 212 w 464"/>
                <a:gd name="T3" fmla="*/ 333 h 617"/>
                <a:gd name="T4" fmla="*/ 212 w 464"/>
                <a:gd name="T5" fmla="*/ 583 h 617"/>
                <a:gd name="T6" fmla="*/ 27 w 464"/>
                <a:gd name="T7" fmla="*/ 583 h 617"/>
                <a:gd name="T8" fmla="*/ 0 w 464"/>
                <a:gd name="T9" fmla="*/ 617 h 617"/>
                <a:gd name="T10" fmla="*/ 464 w 464"/>
                <a:gd name="T11" fmla="*/ 617 h 617"/>
                <a:gd name="T12" fmla="*/ 461 w 464"/>
                <a:gd name="T13" fmla="*/ 152 h 617"/>
                <a:gd name="T14" fmla="*/ 455 w 464"/>
                <a:gd name="T15" fmla="*/ 148 h 617"/>
                <a:gd name="T16" fmla="*/ 417 w 464"/>
                <a:gd name="T17" fmla="*/ 178 h 617"/>
                <a:gd name="T18" fmla="*/ 377 w 464"/>
                <a:gd name="T19" fmla="*/ 148 h 617"/>
                <a:gd name="T20" fmla="*/ 339 w 464"/>
                <a:gd name="T21" fmla="*/ 178 h 617"/>
                <a:gd name="T22" fmla="*/ 331 w 464"/>
                <a:gd name="T23" fmla="*/ 173 h 617"/>
                <a:gd name="T24" fmla="*/ 460 w 464"/>
                <a:gd name="T25"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4" h="617">
                  <a:moveTo>
                    <a:pt x="460" y="0"/>
                  </a:moveTo>
                  <a:lnTo>
                    <a:pt x="212" y="333"/>
                  </a:lnTo>
                  <a:lnTo>
                    <a:pt x="212" y="583"/>
                  </a:lnTo>
                  <a:lnTo>
                    <a:pt x="27" y="583"/>
                  </a:lnTo>
                  <a:lnTo>
                    <a:pt x="0" y="617"/>
                  </a:lnTo>
                  <a:lnTo>
                    <a:pt x="464" y="617"/>
                  </a:lnTo>
                  <a:lnTo>
                    <a:pt x="461" y="152"/>
                  </a:lnTo>
                  <a:lnTo>
                    <a:pt x="455" y="148"/>
                  </a:lnTo>
                  <a:lnTo>
                    <a:pt x="417" y="178"/>
                  </a:lnTo>
                  <a:lnTo>
                    <a:pt x="377" y="148"/>
                  </a:lnTo>
                  <a:lnTo>
                    <a:pt x="339" y="178"/>
                  </a:lnTo>
                  <a:lnTo>
                    <a:pt x="331" y="173"/>
                  </a:lnTo>
                  <a:lnTo>
                    <a:pt x="460"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32" name="Freeform 49"/>
            <p:cNvSpPr>
              <a:spLocks/>
            </p:cNvSpPr>
            <p:nvPr/>
          </p:nvSpPr>
          <p:spPr bwMode="auto">
            <a:xfrm>
              <a:off x="2014009" y="2028826"/>
              <a:ext cx="207433" cy="281973"/>
            </a:xfrm>
            <a:custGeom>
              <a:avLst/>
              <a:gdLst>
                <a:gd name="T0" fmla="*/ 129 w 130"/>
                <a:gd name="T1" fmla="*/ 0 h 178"/>
                <a:gd name="T2" fmla="*/ 129 w 130"/>
                <a:gd name="T3" fmla="*/ 0 h 178"/>
                <a:gd name="T4" fmla="*/ 0 w 130"/>
                <a:gd name="T5" fmla="*/ 173 h 178"/>
                <a:gd name="T6" fmla="*/ 8 w 130"/>
                <a:gd name="T7" fmla="*/ 178 h 178"/>
                <a:gd name="T8" fmla="*/ 46 w 130"/>
                <a:gd name="T9" fmla="*/ 148 h 178"/>
                <a:gd name="T10" fmla="*/ 86 w 130"/>
                <a:gd name="T11" fmla="*/ 178 h 178"/>
                <a:gd name="T12" fmla="*/ 124 w 130"/>
                <a:gd name="T13" fmla="*/ 148 h 178"/>
                <a:gd name="T14" fmla="*/ 130 w 130"/>
                <a:gd name="T15" fmla="*/ 152 h 178"/>
                <a:gd name="T16" fmla="*/ 129 w 130"/>
                <a:gd name="T17" fmla="*/ 0 h 178"/>
                <a:gd name="T18" fmla="*/ 129 w 130"/>
                <a:gd name="T19"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0" h="178">
                  <a:moveTo>
                    <a:pt x="129" y="0"/>
                  </a:moveTo>
                  <a:lnTo>
                    <a:pt x="129" y="0"/>
                  </a:lnTo>
                  <a:lnTo>
                    <a:pt x="0" y="173"/>
                  </a:lnTo>
                  <a:lnTo>
                    <a:pt x="8" y="178"/>
                  </a:lnTo>
                  <a:lnTo>
                    <a:pt x="46" y="148"/>
                  </a:lnTo>
                  <a:lnTo>
                    <a:pt x="86" y="178"/>
                  </a:lnTo>
                  <a:lnTo>
                    <a:pt x="124" y="148"/>
                  </a:lnTo>
                  <a:lnTo>
                    <a:pt x="130" y="152"/>
                  </a:lnTo>
                  <a:lnTo>
                    <a:pt x="129" y="0"/>
                  </a:lnTo>
                  <a:lnTo>
                    <a:pt x="129"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133" name="Group 132"/>
          <p:cNvGrpSpPr>
            <a:grpSpLocks/>
          </p:cNvGrpSpPr>
          <p:nvPr/>
        </p:nvGrpSpPr>
        <p:grpSpPr bwMode="auto">
          <a:xfrm>
            <a:off x="3237117" y="4705350"/>
            <a:ext cx="1207715" cy="445388"/>
            <a:chOff x="438151" y="2405063"/>
            <a:chExt cx="901700" cy="604838"/>
          </a:xfrm>
        </p:grpSpPr>
        <p:grpSp>
          <p:nvGrpSpPr>
            <p:cNvPr id="134" name="Group 128"/>
            <p:cNvGrpSpPr>
              <a:grpSpLocks/>
            </p:cNvGrpSpPr>
            <p:nvPr/>
          </p:nvGrpSpPr>
          <p:grpSpPr bwMode="auto">
            <a:xfrm>
              <a:off x="438151" y="2405063"/>
              <a:ext cx="901700" cy="604838"/>
              <a:chOff x="438151" y="2405063"/>
              <a:chExt cx="901700" cy="604838"/>
            </a:xfrm>
          </p:grpSpPr>
          <p:sp>
            <p:nvSpPr>
              <p:cNvPr id="136" name="Freeform 51"/>
              <p:cNvSpPr>
                <a:spLocks/>
              </p:cNvSpPr>
              <p:nvPr/>
            </p:nvSpPr>
            <p:spPr bwMode="auto">
              <a:xfrm>
                <a:off x="438151" y="2405063"/>
                <a:ext cx="901700" cy="604838"/>
              </a:xfrm>
              <a:custGeom>
                <a:avLst/>
                <a:gdLst>
                  <a:gd name="T0" fmla="*/ 568 w 568"/>
                  <a:gd name="T1" fmla="*/ 381 h 381"/>
                  <a:gd name="T2" fmla="*/ 283 w 568"/>
                  <a:gd name="T3" fmla="*/ 0 h 381"/>
                  <a:gd name="T4" fmla="*/ 0 w 568"/>
                  <a:gd name="T5" fmla="*/ 381 h 381"/>
                  <a:gd name="T6" fmla="*/ 568 w 568"/>
                  <a:gd name="T7" fmla="*/ 381 h 381"/>
                </a:gdLst>
                <a:ahLst/>
                <a:cxnLst>
                  <a:cxn ang="0">
                    <a:pos x="T0" y="T1"/>
                  </a:cxn>
                  <a:cxn ang="0">
                    <a:pos x="T2" y="T3"/>
                  </a:cxn>
                  <a:cxn ang="0">
                    <a:pos x="T4" y="T5"/>
                  </a:cxn>
                  <a:cxn ang="0">
                    <a:pos x="T6" y="T7"/>
                  </a:cxn>
                </a:cxnLst>
                <a:rect l="0" t="0" r="r" b="b"/>
                <a:pathLst>
                  <a:path w="568" h="381">
                    <a:moveTo>
                      <a:pt x="568" y="381"/>
                    </a:moveTo>
                    <a:lnTo>
                      <a:pt x="283" y="0"/>
                    </a:lnTo>
                    <a:lnTo>
                      <a:pt x="0" y="381"/>
                    </a:lnTo>
                    <a:lnTo>
                      <a:pt x="568" y="381"/>
                    </a:ln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37" name="Freeform 53"/>
              <p:cNvSpPr>
                <a:spLocks/>
              </p:cNvSpPr>
              <p:nvPr/>
            </p:nvSpPr>
            <p:spPr bwMode="auto">
              <a:xfrm>
                <a:off x="762000" y="2405063"/>
                <a:ext cx="249767" cy="175531"/>
              </a:xfrm>
              <a:custGeom>
                <a:avLst/>
                <a:gdLst>
                  <a:gd name="T0" fmla="*/ 79 w 157"/>
                  <a:gd name="T1" fmla="*/ 0 h 110"/>
                  <a:gd name="T2" fmla="*/ 0 w 157"/>
                  <a:gd name="T3" fmla="*/ 106 h 110"/>
                  <a:gd name="T4" fmla="*/ 5 w 157"/>
                  <a:gd name="T5" fmla="*/ 110 h 110"/>
                  <a:gd name="T6" fmla="*/ 29 w 157"/>
                  <a:gd name="T7" fmla="*/ 91 h 110"/>
                  <a:gd name="T8" fmla="*/ 53 w 157"/>
                  <a:gd name="T9" fmla="*/ 110 h 110"/>
                  <a:gd name="T10" fmla="*/ 77 w 157"/>
                  <a:gd name="T11" fmla="*/ 91 h 110"/>
                  <a:gd name="T12" fmla="*/ 101 w 157"/>
                  <a:gd name="T13" fmla="*/ 110 h 110"/>
                  <a:gd name="T14" fmla="*/ 126 w 157"/>
                  <a:gd name="T15" fmla="*/ 91 h 110"/>
                  <a:gd name="T16" fmla="*/ 150 w 157"/>
                  <a:gd name="T17" fmla="*/ 110 h 110"/>
                  <a:gd name="T18" fmla="*/ 157 w 157"/>
                  <a:gd name="T19" fmla="*/ 104 h 110"/>
                  <a:gd name="T20" fmla="*/ 79 w 157"/>
                  <a:gd name="T21"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7" h="110">
                    <a:moveTo>
                      <a:pt x="79" y="0"/>
                    </a:moveTo>
                    <a:lnTo>
                      <a:pt x="0" y="106"/>
                    </a:lnTo>
                    <a:lnTo>
                      <a:pt x="5" y="110"/>
                    </a:lnTo>
                    <a:lnTo>
                      <a:pt x="29" y="91"/>
                    </a:lnTo>
                    <a:lnTo>
                      <a:pt x="53" y="110"/>
                    </a:lnTo>
                    <a:lnTo>
                      <a:pt x="77" y="91"/>
                    </a:lnTo>
                    <a:lnTo>
                      <a:pt x="101" y="110"/>
                    </a:lnTo>
                    <a:lnTo>
                      <a:pt x="126" y="91"/>
                    </a:lnTo>
                    <a:lnTo>
                      <a:pt x="150" y="110"/>
                    </a:lnTo>
                    <a:lnTo>
                      <a:pt x="157" y="104"/>
                    </a:lnTo>
                    <a:lnTo>
                      <a:pt x="79" y="0"/>
                    </a:lnTo>
                    <a:close/>
                  </a:path>
                </a:pathLst>
              </a:custGeom>
              <a:solidFill>
                <a:srgbClr val="D7EEEE"/>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39" name="Freeform 57"/>
              <p:cNvSpPr>
                <a:spLocks/>
              </p:cNvSpPr>
              <p:nvPr/>
            </p:nvSpPr>
            <p:spPr bwMode="auto">
              <a:xfrm>
                <a:off x="438151" y="2405063"/>
                <a:ext cx="455083" cy="604838"/>
              </a:xfrm>
              <a:custGeom>
                <a:avLst/>
                <a:gdLst>
                  <a:gd name="T0" fmla="*/ 283 w 287"/>
                  <a:gd name="T1" fmla="*/ 0 h 381"/>
                  <a:gd name="T2" fmla="*/ 283 w 287"/>
                  <a:gd name="T3" fmla="*/ 0 h 381"/>
                  <a:gd name="T4" fmla="*/ 0 w 287"/>
                  <a:gd name="T5" fmla="*/ 381 h 381"/>
                  <a:gd name="T6" fmla="*/ 287 w 287"/>
                  <a:gd name="T7" fmla="*/ 381 h 381"/>
                  <a:gd name="T8" fmla="*/ 284 w 287"/>
                  <a:gd name="T9" fmla="*/ 93 h 381"/>
                  <a:gd name="T10" fmla="*/ 281 w 287"/>
                  <a:gd name="T11" fmla="*/ 91 h 381"/>
                  <a:gd name="T12" fmla="*/ 257 w 287"/>
                  <a:gd name="T13" fmla="*/ 110 h 381"/>
                  <a:gd name="T14" fmla="*/ 233 w 287"/>
                  <a:gd name="T15" fmla="*/ 91 h 381"/>
                  <a:gd name="T16" fmla="*/ 209 w 287"/>
                  <a:gd name="T17" fmla="*/ 110 h 381"/>
                  <a:gd name="T18" fmla="*/ 204 w 287"/>
                  <a:gd name="T19" fmla="*/ 106 h 381"/>
                  <a:gd name="T20" fmla="*/ 283 w 287"/>
                  <a:gd name="T21" fmla="*/ 0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7" h="381">
                    <a:moveTo>
                      <a:pt x="283" y="0"/>
                    </a:moveTo>
                    <a:lnTo>
                      <a:pt x="283" y="0"/>
                    </a:lnTo>
                    <a:lnTo>
                      <a:pt x="0" y="381"/>
                    </a:lnTo>
                    <a:lnTo>
                      <a:pt x="287" y="381"/>
                    </a:lnTo>
                    <a:lnTo>
                      <a:pt x="284" y="93"/>
                    </a:lnTo>
                    <a:lnTo>
                      <a:pt x="281" y="91"/>
                    </a:lnTo>
                    <a:lnTo>
                      <a:pt x="257" y="110"/>
                    </a:lnTo>
                    <a:lnTo>
                      <a:pt x="233" y="91"/>
                    </a:lnTo>
                    <a:lnTo>
                      <a:pt x="209" y="110"/>
                    </a:lnTo>
                    <a:lnTo>
                      <a:pt x="204" y="106"/>
                    </a:lnTo>
                    <a:lnTo>
                      <a:pt x="283"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sp>
          <p:nvSpPr>
            <p:cNvPr id="135" name="Freeform 59"/>
            <p:cNvSpPr>
              <a:spLocks/>
            </p:cNvSpPr>
            <p:nvPr/>
          </p:nvSpPr>
          <p:spPr bwMode="auto">
            <a:xfrm>
              <a:off x="762000" y="2405063"/>
              <a:ext cx="127000" cy="175531"/>
            </a:xfrm>
            <a:custGeom>
              <a:avLst/>
              <a:gdLst>
                <a:gd name="T0" fmla="*/ 79 w 80"/>
                <a:gd name="T1" fmla="*/ 0 h 110"/>
                <a:gd name="T2" fmla="*/ 79 w 80"/>
                <a:gd name="T3" fmla="*/ 0 h 110"/>
                <a:gd name="T4" fmla="*/ 0 w 80"/>
                <a:gd name="T5" fmla="*/ 106 h 110"/>
                <a:gd name="T6" fmla="*/ 5 w 80"/>
                <a:gd name="T7" fmla="*/ 110 h 110"/>
                <a:gd name="T8" fmla="*/ 29 w 80"/>
                <a:gd name="T9" fmla="*/ 91 h 110"/>
                <a:gd name="T10" fmla="*/ 53 w 80"/>
                <a:gd name="T11" fmla="*/ 110 h 110"/>
                <a:gd name="T12" fmla="*/ 77 w 80"/>
                <a:gd name="T13" fmla="*/ 91 h 110"/>
                <a:gd name="T14" fmla="*/ 80 w 80"/>
                <a:gd name="T15" fmla="*/ 93 h 110"/>
                <a:gd name="T16" fmla="*/ 79 w 80"/>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110">
                  <a:moveTo>
                    <a:pt x="79" y="0"/>
                  </a:moveTo>
                  <a:lnTo>
                    <a:pt x="79" y="0"/>
                  </a:lnTo>
                  <a:lnTo>
                    <a:pt x="0" y="106"/>
                  </a:lnTo>
                  <a:lnTo>
                    <a:pt x="5" y="110"/>
                  </a:lnTo>
                  <a:lnTo>
                    <a:pt x="29" y="91"/>
                  </a:lnTo>
                  <a:lnTo>
                    <a:pt x="53" y="110"/>
                  </a:lnTo>
                  <a:lnTo>
                    <a:pt x="77" y="91"/>
                  </a:lnTo>
                  <a:lnTo>
                    <a:pt x="80" y="93"/>
                  </a:lnTo>
                  <a:lnTo>
                    <a:pt x="79"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154" name="Group 153"/>
          <p:cNvGrpSpPr>
            <a:grpSpLocks/>
          </p:cNvGrpSpPr>
          <p:nvPr/>
        </p:nvGrpSpPr>
        <p:grpSpPr>
          <a:xfrm>
            <a:off x="4073497" y="4813224"/>
            <a:ext cx="1507316" cy="330277"/>
            <a:chOff x="3387057" y="4645045"/>
            <a:chExt cx="1760964" cy="507114"/>
          </a:xfrm>
        </p:grpSpPr>
        <p:sp>
          <p:nvSpPr>
            <p:cNvPr id="165" name="Freeform 61"/>
            <p:cNvSpPr>
              <a:spLocks/>
            </p:cNvSpPr>
            <p:nvPr/>
          </p:nvSpPr>
          <p:spPr bwMode="auto">
            <a:xfrm>
              <a:off x="3387057" y="4645045"/>
              <a:ext cx="1760964" cy="496002"/>
            </a:xfrm>
            <a:custGeom>
              <a:avLst/>
              <a:gdLst>
                <a:gd name="T0" fmla="*/ 0 w 1089"/>
                <a:gd name="T1" fmla="*/ 279 h 279"/>
                <a:gd name="T2" fmla="*/ 545 w 1089"/>
                <a:gd name="T3" fmla="*/ 0 h 279"/>
                <a:gd name="T4" fmla="*/ 1089 w 1089"/>
                <a:gd name="T5" fmla="*/ 279 h 279"/>
                <a:gd name="T6" fmla="*/ 0 w 1089"/>
                <a:gd name="T7" fmla="*/ 279 h 279"/>
              </a:gdLst>
              <a:ahLst/>
              <a:cxnLst>
                <a:cxn ang="0">
                  <a:pos x="T0" y="T1"/>
                </a:cxn>
                <a:cxn ang="0">
                  <a:pos x="T2" y="T3"/>
                </a:cxn>
                <a:cxn ang="0">
                  <a:pos x="T4" y="T5"/>
                </a:cxn>
                <a:cxn ang="0">
                  <a:pos x="T6" y="T7"/>
                </a:cxn>
              </a:cxnLst>
              <a:rect l="0" t="0" r="r" b="b"/>
              <a:pathLst>
                <a:path w="1089" h="279">
                  <a:moveTo>
                    <a:pt x="0" y="279"/>
                  </a:moveTo>
                  <a:cubicBezTo>
                    <a:pt x="139" y="166"/>
                    <a:pt x="363" y="0"/>
                    <a:pt x="545" y="0"/>
                  </a:cubicBezTo>
                  <a:cubicBezTo>
                    <a:pt x="727" y="0"/>
                    <a:pt x="1051" y="193"/>
                    <a:pt x="1089" y="279"/>
                  </a:cubicBezTo>
                  <a:lnTo>
                    <a:pt x="0" y="279"/>
                  </a:lnTo>
                  <a:close/>
                </a:path>
              </a:pathLst>
            </a:custGeom>
            <a:solidFill>
              <a:srgbClr val="86C44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nvGrpSpPr>
            <p:cNvPr id="166" name="Group 165"/>
            <p:cNvGrpSpPr>
              <a:grpSpLocks/>
            </p:cNvGrpSpPr>
            <p:nvPr/>
          </p:nvGrpSpPr>
          <p:grpSpPr bwMode="auto">
            <a:xfrm>
              <a:off x="3434622" y="4993267"/>
              <a:ext cx="616436" cy="158892"/>
              <a:chOff x="438151" y="2865438"/>
              <a:chExt cx="665163" cy="157163"/>
            </a:xfrm>
          </p:grpSpPr>
          <p:sp>
            <p:nvSpPr>
              <p:cNvPr id="177" name="Rectangle 55"/>
              <p:cNvSpPr>
                <a:spLocks noChangeArrowheads="1"/>
              </p:cNvSpPr>
              <p:nvPr/>
            </p:nvSpPr>
            <p:spPr bwMode="auto">
              <a:xfrm>
                <a:off x="438151" y="3009858"/>
                <a:ext cx="455445" cy="2124"/>
              </a:xfrm>
              <a:prstGeom prst="rect">
                <a:avLst/>
              </a:prstGeom>
              <a:solidFill>
                <a:srgbClr val="ABA7A7"/>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78" name="Freeform 56"/>
              <p:cNvSpPr>
                <a:spLocks/>
              </p:cNvSpPr>
              <p:nvPr/>
            </p:nvSpPr>
            <p:spPr bwMode="auto">
              <a:xfrm>
                <a:off x="438151" y="3009858"/>
                <a:ext cx="455445" cy="0"/>
              </a:xfrm>
              <a:custGeom>
                <a:avLst/>
                <a:gdLst>
                  <a:gd name="T0" fmla="*/ 287 w 287"/>
                  <a:gd name="T1" fmla="*/ 0 w 287"/>
                  <a:gd name="T2" fmla="*/ 0 w 287"/>
                  <a:gd name="T3" fmla="*/ 287 w 287"/>
                </a:gdLst>
                <a:ahLst/>
                <a:cxnLst>
                  <a:cxn ang="0">
                    <a:pos x="T0" y="0"/>
                  </a:cxn>
                  <a:cxn ang="0">
                    <a:pos x="T1" y="0"/>
                  </a:cxn>
                  <a:cxn ang="0">
                    <a:pos x="T2" y="0"/>
                  </a:cxn>
                  <a:cxn ang="0">
                    <a:pos x="T3" y="0"/>
                  </a:cxn>
                </a:cxnLst>
                <a:rect l="0" t="0" r="r" b="b"/>
                <a:pathLst>
                  <a:path w="287">
                    <a:moveTo>
                      <a:pt x="287" y="0"/>
                    </a:moveTo>
                    <a:lnTo>
                      <a:pt x="0" y="0"/>
                    </a:lnTo>
                    <a:lnTo>
                      <a:pt x="0" y="0"/>
                    </a:lnTo>
                    <a:lnTo>
                      <a:pt x="28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79" name="Freeform 116"/>
              <p:cNvSpPr>
                <a:spLocks/>
              </p:cNvSpPr>
              <p:nvPr/>
            </p:nvSpPr>
            <p:spPr bwMode="auto">
              <a:xfrm>
                <a:off x="927490" y="2897296"/>
                <a:ext cx="175824" cy="93448"/>
              </a:xfrm>
              <a:custGeom>
                <a:avLst/>
                <a:gdLst>
                  <a:gd name="T0" fmla="*/ 0 w 111"/>
                  <a:gd name="T1" fmla="*/ 47 h 59"/>
                  <a:gd name="T2" fmla="*/ 17 w 111"/>
                  <a:gd name="T3" fmla="*/ 17 h 59"/>
                  <a:gd name="T4" fmla="*/ 49 w 111"/>
                  <a:gd name="T5" fmla="*/ 7 h 59"/>
                  <a:gd name="T6" fmla="*/ 75 w 111"/>
                  <a:gd name="T7" fmla="*/ 0 h 59"/>
                  <a:gd name="T8" fmla="*/ 103 w 111"/>
                  <a:gd name="T9" fmla="*/ 17 h 59"/>
                  <a:gd name="T10" fmla="*/ 111 w 111"/>
                  <a:gd name="T11" fmla="*/ 59 h 59"/>
                  <a:gd name="T12" fmla="*/ 0 w 111"/>
                  <a:gd name="T13" fmla="*/ 47 h 59"/>
                </a:gdLst>
                <a:ahLst/>
                <a:cxnLst>
                  <a:cxn ang="0">
                    <a:pos x="T0" y="T1"/>
                  </a:cxn>
                  <a:cxn ang="0">
                    <a:pos x="T2" y="T3"/>
                  </a:cxn>
                  <a:cxn ang="0">
                    <a:pos x="T4" y="T5"/>
                  </a:cxn>
                  <a:cxn ang="0">
                    <a:pos x="T6" y="T7"/>
                  </a:cxn>
                  <a:cxn ang="0">
                    <a:pos x="T8" y="T9"/>
                  </a:cxn>
                  <a:cxn ang="0">
                    <a:pos x="T10" y="T11"/>
                  </a:cxn>
                  <a:cxn ang="0">
                    <a:pos x="T12" y="T13"/>
                  </a:cxn>
                </a:cxnLst>
                <a:rect l="0" t="0" r="r" b="b"/>
                <a:pathLst>
                  <a:path w="111" h="59">
                    <a:moveTo>
                      <a:pt x="0" y="47"/>
                    </a:moveTo>
                    <a:lnTo>
                      <a:pt x="17" y="17"/>
                    </a:lnTo>
                    <a:lnTo>
                      <a:pt x="49" y="7"/>
                    </a:lnTo>
                    <a:lnTo>
                      <a:pt x="75" y="0"/>
                    </a:lnTo>
                    <a:lnTo>
                      <a:pt x="103" y="17"/>
                    </a:lnTo>
                    <a:lnTo>
                      <a:pt x="111" y="59"/>
                    </a:lnTo>
                    <a:lnTo>
                      <a:pt x="0" y="47"/>
                    </a:lnTo>
                    <a:close/>
                  </a:path>
                </a:pathLst>
              </a:custGeom>
              <a:solidFill>
                <a:srgbClr val="AD864A"/>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80" name="Freeform 117"/>
              <p:cNvSpPr>
                <a:spLocks/>
              </p:cNvSpPr>
              <p:nvPr/>
            </p:nvSpPr>
            <p:spPr bwMode="auto">
              <a:xfrm>
                <a:off x="666933" y="2865438"/>
                <a:ext cx="330463" cy="157163"/>
              </a:xfrm>
              <a:custGeom>
                <a:avLst/>
                <a:gdLst>
                  <a:gd name="T0" fmla="*/ 0 w 208"/>
                  <a:gd name="T1" fmla="*/ 99 h 99"/>
                  <a:gd name="T2" fmla="*/ 25 w 208"/>
                  <a:gd name="T3" fmla="*/ 36 h 99"/>
                  <a:gd name="T4" fmla="*/ 70 w 208"/>
                  <a:gd name="T5" fmla="*/ 0 h 99"/>
                  <a:gd name="T6" fmla="*/ 159 w 208"/>
                  <a:gd name="T7" fmla="*/ 0 h 99"/>
                  <a:gd name="T8" fmla="*/ 197 w 208"/>
                  <a:gd name="T9" fmla="*/ 30 h 99"/>
                  <a:gd name="T10" fmla="*/ 208 w 208"/>
                  <a:gd name="T11" fmla="*/ 99 h 99"/>
                  <a:gd name="T12" fmla="*/ 0 w 208"/>
                  <a:gd name="T13" fmla="*/ 99 h 99"/>
                </a:gdLst>
                <a:ahLst/>
                <a:cxnLst>
                  <a:cxn ang="0">
                    <a:pos x="T0" y="T1"/>
                  </a:cxn>
                  <a:cxn ang="0">
                    <a:pos x="T2" y="T3"/>
                  </a:cxn>
                  <a:cxn ang="0">
                    <a:pos x="T4" y="T5"/>
                  </a:cxn>
                  <a:cxn ang="0">
                    <a:pos x="T6" y="T7"/>
                  </a:cxn>
                  <a:cxn ang="0">
                    <a:pos x="T8" y="T9"/>
                  </a:cxn>
                  <a:cxn ang="0">
                    <a:pos x="T10" y="T11"/>
                  </a:cxn>
                  <a:cxn ang="0">
                    <a:pos x="T12" y="T13"/>
                  </a:cxn>
                </a:cxnLst>
                <a:rect l="0" t="0" r="r" b="b"/>
                <a:pathLst>
                  <a:path w="208" h="99">
                    <a:moveTo>
                      <a:pt x="0" y="99"/>
                    </a:moveTo>
                    <a:lnTo>
                      <a:pt x="25" y="36"/>
                    </a:lnTo>
                    <a:lnTo>
                      <a:pt x="70" y="0"/>
                    </a:lnTo>
                    <a:lnTo>
                      <a:pt x="159" y="0"/>
                    </a:lnTo>
                    <a:lnTo>
                      <a:pt x="197" y="30"/>
                    </a:lnTo>
                    <a:lnTo>
                      <a:pt x="208" y="99"/>
                    </a:lnTo>
                    <a:lnTo>
                      <a:pt x="0" y="99"/>
                    </a:lnTo>
                    <a:close/>
                  </a:path>
                </a:pathLst>
              </a:custGeom>
              <a:solidFill>
                <a:srgbClr val="EC9A1E"/>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172" name="Group 171"/>
            <p:cNvGrpSpPr>
              <a:grpSpLocks/>
            </p:cNvGrpSpPr>
            <p:nvPr/>
          </p:nvGrpSpPr>
          <p:grpSpPr bwMode="auto">
            <a:xfrm>
              <a:off x="4725392" y="4952561"/>
              <a:ext cx="408340" cy="193247"/>
              <a:chOff x="2105026" y="2824163"/>
              <a:chExt cx="441325" cy="188913"/>
            </a:xfrm>
          </p:grpSpPr>
          <p:sp>
            <p:nvSpPr>
              <p:cNvPr id="173" name="Freeform 115"/>
              <p:cNvSpPr>
                <a:spLocks/>
              </p:cNvSpPr>
              <p:nvPr/>
            </p:nvSpPr>
            <p:spPr bwMode="auto">
              <a:xfrm>
                <a:off x="2372367" y="2908124"/>
                <a:ext cx="173984" cy="94457"/>
              </a:xfrm>
              <a:custGeom>
                <a:avLst/>
                <a:gdLst>
                  <a:gd name="T0" fmla="*/ 110 w 110"/>
                  <a:gd name="T1" fmla="*/ 60 h 60"/>
                  <a:gd name="T2" fmla="*/ 102 w 110"/>
                  <a:gd name="T3" fmla="*/ 18 h 60"/>
                  <a:gd name="T4" fmla="*/ 76 w 110"/>
                  <a:gd name="T5" fmla="*/ 0 h 60"/>
                  <a:gd name="T6" fmla="*/ 50 w 110"/>
                  <a:gd name="T7" fmla="*/ 9 h 60"/>
                  <a:gd name="T8" fmla="*/ 17 w 110"/>
                  <a:gd name="T9" fmla="*/ 18 h 60"/>
                  <a:gd name="T10" fmla="*/ 0 w 110"/>
                  <a:gd name="T11" fmla="*/ 49 h 60"/>
                  <a:gd name="T12" fmla="*/ 110 w 110"/>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10" h="60">
                    <a:moveTo>
                      <a:pt x="110" y="60"/>
                    </a:moveTo>
                    <a:lnTo>
                      <a:pt x="102" y="18"/>
                    </a:lnTo>
                    <a:lnTo>
                      <a:pt x="76" y="0"/>
                    </a:lnTo>
                    <a:lnTo>
                      <a:pt x="50" y="9"/>
                    </a:lnTo>
                    <a:lnTo>
                      <a:pt x="17" y="18"/>
                    </a:lnTo>
                    <a:lnTo>
                      <a:pt x="0" y="49"/>
                    </a:lnTo>
                    <a:lnTo>
                      <a:pt x="110" y="60"/>
                    </a:lnTo>
                    <a:close/>
                  </a:path>
                </a:pathLst>
              </a:custGeom>
              <a:solidFill>
                <a:srgbClr val="AD864A"/>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76" name="Freeform 118"/>
              <p:cNvSpPr>
                <a:spLocks/>
              </p:cNvSpPr>
              <p:nvPr/>
            </p:nvSpPr>
            <p:spPr bwMode="auto">
              <a:xfrm>
                <a:off x="2105026" y="2824163"/>
                <a:ext cx="362819" cy="188913"/>
              </a:xfrm>
              <a:custGeom>
                <a:avLst/>
                <a:gdLst>
                  <a:gd name="T0" fmla="*/ 229 w 229"/>
                  <a:gd name="T1" fmla="*/ 119 h 119"/>
                  <a:gd name="T2" fmla="*/ 212 w 229"/>
                  <a:gd name="T3" fmla="*/ 35 h 119"/>
                  <a:gd name="T4" fmla="*/ 158 w 229"/>
                  <a:gd name="T5" fmla="*/ 0 h 119"/>
                  <a:gd name="T6" fmla="*/ 106 w 229"/>
                  <a:gd name="T7" fmla="*/ 16 h 119"/>
                  <a:gd name="T8" fmla="*/ 41 w 229"/>
                  <a:gd name="T9" fmla="*/ 35 h 119"/>
                  <a:gd name="T10" fmla="*/ 0 w 229"/>
                  <a:gd name="T11" fmla="*/ 117 h 119"/>
                  <a:gd name="T12" fmla="*/ 229 w 229"/>
                  <a:gd name="T13" fmla="*/ 119 h 119"/>
                </a:gdLst>
                <a:ahLst/>
                <a:cxnLst>
                  <a:cxn ang="0">
                    <a:pos x="T0" y="T1"/>
                  </a:cxn>
                  <a:cxn ang="0">
                    <a:pos x="T2" y="T3"/>
                  </a:cxn>
                  <a:cxn ang="0">
                    <a:pos x="T4" y="T5"/>
                  </a:cxn>
                  <a:cxn ang="0">
                    <a:pos x="T6" y="T7"/>
                  </a:cxn>
                  <a:cxn ang="0">
                    <a:pos x="T8" y="T9"/>
                  </a:cxn>
                  <a:cxn ang="0">
                    <a:pos x="T10" y="T11"/>
                  </a:cxn>
                  <a:cxn ang="0">
                    <a:pos x="T12" y="T13"/>
                  </a:cxn>
                </a:cxnLst>
                <a:rect l="0" t="0" r="r" b="b"/>
                <a:pathLst>
                  <a:path w="229" h="119">
                    <a:moveTo>
                      <a:pt x="229" y="119"/>
                    </a:moveTo>
                    <a:lnTo>
                      <a:pt x="212" y="35"/>
                    </a:lnTo>
                    <a:lnTo>
                      <a:pt x="158" y="0"/>
                    </a:lnTo>
                    <a:lnTo>
                      <a:pt x="106" y="16"/>
                    </a:lnTo>
                    <a:lnTo>
                      <a:pt x="41" y="35"/>
                    </a:lnTo>
                    <a:lnTo>
                      <a:pt x="0" y="117"/>
                    </a:lnTo>
                    <a:lnTo>
                      <a:pt x="229" y="119"/>
                    </a:lnTo>
                    <a:close/>
                  </a:path>
                </a:pathLst>
              </a:custGeom>
              <a:solidFill>
                <a:srgbClr val="EC9A1E"/>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grpSp>
      <p:grpSp>
        <p:nvGrpSpPr>
          <p:cNvPr id="181" name="Group 180"/>
          <p:cNvGrpSpPr>
            <a:grpSpLocks/>
          </p:cNvGrpSpPr>
          <p:nvPr/>
        </p:nvGrpSpPr>
        <p:grpSpPr bwMode="auto">
          <a:xfrm>
            <a:off x="2493081" y="4589392"/>
            <a:ext cx="1356936" cy="554108"/>
            <a:chOff x="438151" y="2405063"/>
            <a:chExt cx="901700" cy="604838"/>
          </a:xfrm>
        </p:grpSpPr>
        <p:grpSp>
          <p:nvGrpSpPr>
            <p:cNvPr id="182" name="Group 128"/>
            <p:cNvGrpSpPr>
              <a:grpSpLocks/>
            </p:cNvGrpSpPr>
            <p:nvPr/>
          </p:nvGrpSpPr>
          <p:grpSpPr bwMode="auto">
            <a:xfrm>
              <a:off x="438151" y="2405063"/>
              <a:ext cx="901700" cy="604838"/>
              <a:chOff x="438151" y="2405063"/>
              <a:chExt cx="901700" cy="604838"/>
            </a:xfrm>
          </p:grpSpPr>
          <p:sp>
            <p:nvSpPr>
              <p:cNvPr id="184" name="Freeform 51"/>
              <p:cNvSpPr>
                <a:spLocks/>
              </p:cNvSpPr>
              <p:nvPr/>
            </p:nvSpPr>
            <p:spPr bwMode="auto">
              <a:xfrm>
                <a:off x="438151" y="2405063"/>
                <a:ext cx="901700" cy="604838"/>
              </a:xfrm>
              <a:custGeom>
                <a:avLst/>
                <a:gdLst>
                  <a:gd name="T0" fmla="*/ 568 w 568"/>
                  <a:gd name="T1" fmla="*/ 381 h 381"/>
                  <a:gd name="T2" fmla="*/ 283 w 568"/>
                  <a:gd name="T3" fmla="*/ 0 h 381"/>
                  <a:gd name="T4" fmla="*/ 0 w 568"/>
                  <a:gd name="T5" fmla="*/ 381 h 381"/>
                  <a:gd name="T6" fmla="*/ 568 w 568"/>
                  <a:gd name="T7" fmla="*/ 381 h 381"/>
                </a:gdLst>
                <a:ahLst/>
                <a:cxnLst>
                  <a:cxn ang="0">
                    <a:pos x="T0" y="T1"/>
                  </a:cxn>
                  <a:cxn ang="0">
                    <a:pos x="T2" y="T3"/>
                  </a:cxn>
                  <a:cxn ang="0">
                    <a:pos x="T4" y="T5"/>
                  </a:cxn>
                  <a:cxn ang="0">
                    <a:pos x="T6" y="T7"/>
                  </a:cxn>
                </a:cxnLst>
                <a:rect l="0" t="0" r="r" b="b"/>
                <a:pathLst>
                  <a:path w="568" h="381">
                    <a:moveTo>
                      <a:pt x="568" y="381"/>
                    </a:moveTo>
                    <a:lnTo>
                      <a:pt x="283" y="0"/>
                    </a:lnTo>
                    <a:lnTo>
                      <a:pt x="0" y="381"/>
                    </a:lnTo>
                    <a:lnTo>
                      <a:pt x="568" y="381"/>
                    </a:ln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85" name="Freeform 53"/>
              <p:cNvSpPr>
                <a:spLocks/>
              </p:cNvSpPr>
              <p:nvPr/>
            </p:nvSpPr>
            <p:spPr bwMode="auto">
              <a:xfrm>
                <a:off x="762000" y="2405063"/>
                <a:ext cx="249767" cy="175531"/>
              </a:xfrm>
              <a:custGeom>
                <a:avLst/>
                <a:gdLst>
                  <a:gd name="T0" fmla="*/ 79 w 157"/>
                  <a:gd name="T1" fmla="*/ 0 h 110"/>
                  <a:gd name="T2" fmla="*/ 0 w 157"/>
                  <a:gd name="T3" fmla="*/ 106 h 110"/>
                  <a:gd name="T4" fmla="*/ 5 w 157"/>
                  <a:gd name="T5" fmla="*/ 110 h 110"/>
                  <a:gd name="T6" fmla="*/ 29 w 157"/>
                  <a:gd name="T7" fmla="*/ 91 h 110"/>
                  <a:gd name="T8" fmla="*/ 53 w 157"/>
                  <a:gd name="T9" fmla="*/ 110 h 110"/>
                  <a:gd name="T10" fmla="*/ 77 w 157"/>
                  <a:gd name="T11" fmla="*/ 91 h 110"/>
                  <a:gd name="T12" fmla="*/ 101 w 157"/>
                  <a:gd name="T13" fmla="*/ 110 h 110"/>
                  <a:gd name="T14" fmla="*/ 126 w 157"/>
                  <a:gd name="T15" fmla="*/ 91 h 110"/>
                  <a:gd name="T16" fmla="*/ 150 w 157"/>
                  <a:gd name="T17" fmla="*/ 110 h 110"/>
                  <a:gd name="T18" fmla="*/ 157 w 157"/>
                  <a:gd name="T19" fmla="*/ 104 h 110"/>
                  <a:gd name="T20" fmla="*/ 79 w 157"/>
                  <a:gd name="T21"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7" h="110">
                    <a:moveTo>
                      <a:pt x="79" y="0"/>
                    </a:moveTo>
                    <a:lnTo>
                      <a:pt x="0" y="106"/>
                    </a:lnTo>
                    <a:lnTo>
                      <a:pt x="5" y="110"/>
                    </a:lnTo>
                    <a:lnTo>
                      <a:pt x="29" y="91"/>
                    </a:lnTo>
                    <a:lnTo>
                      <a:pt x="53" y="110"/>
                    </a:lnTo>
                    <a:lnTo>
                      <a:pt x="77" y="91"/>
                    </a:lnTo>
                    <a:lnTo>
                      <a:pt x="101" y="110"/>
                    </a:lnTo>
                    <a:lnTo>
                      <a:pt x="126" y="91"/>
                    </a:lnTo>
                    <a:lnTo>
                      <a:pt x="150" y="110"/>
                    </a:lnTo>
                    <a:lnTo>
                      <a:pt x="157" y="104"/>
                    </a:lnTo>
                    <a:lnTo>
                      <a:pt x="79" y="0"/>
                    </a:lnTo>
                    <a:close/>
                  </a:path>
                </a:pathLst>
              </a:custGeom>
              <a:solidFill>
                <a:srgbClr val="D7EEEE"/>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86" name="Freeform 57"/>
              <p:cNvSpPr>
                <a:spLocks/>
              </p:cNvSpPr>
              <p:nvPr/>
            </p:nvSpPr>
            <p:spPr bwMode="auto">
              <a:xfrm>
                <a:off x="438151" y="2405063"/>
                <a:ext cx="455083" cy="604838"/>
              </a:xfrm>
              <a:custGeom>
                <a:avLst/>
                <a:gdLst>
                  <a:gd name="T0" fmla="*/ 283 w 287"/>
                  <a:gd name="T1" fmla="*/ 0 h 381"/>
                  <a:gd name="T2" fmla="*/ 283 w 287"/>
                  <a:gd name="T3" fmla="*/ 0 h 381"/>
                  <a:gd name="T4" fmla="*/ 0 w 287"/>
                  <a:gd name="T5" fmla="*/ 381 h 381"/>
                  <a:gd name="T6" fmla="*/ 287 w 287"/>
                  <a:gd name="T7" fmla="*/ 381 h 381"/>
                  <a:gd name="T8" fmla="*/ 284 w 287"/>
                  <a:gd name="T9" fmla="*/ 93 h 381"/>
                  <a:gd name="T10" fmla="*/ 281 w 287"/>
                  <a:gd name="T11" fmla="*/ 91 h 381"/>
                  <a:gd name="T12" fmla="*/ 257 w 287"/>
                  <a:gd name="T13" fmla="*/ 110 h 381"/>
                  <a:gd name="T14" fmla="*/ 233 w 287"/>
                  <a:gd name="T15" fmla="*/ 91 h 381"/>
                  <a:gd name="T16" fmla="*/ 209 w 287"/>
                  <a:gd name="T17" fmla="*/ 110 h 381"/>
                  <a:gd name="T18" fmla="*/ 204 w 287"/>
                  <a:gd name="T19" fmla="*/ 106 h 381"/>
                  <a:gd name="T20" fmla="*/ 283 w 287"/>
                  <a:gd name="T21" fmla="*/ 0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7" h="381">
                    <a:moveTo>
                      <a:pt x="283" y="0"/>
                    </a:moveTo>
                    <a:lnTo>
                      <a:pt x="283" y="0"/>
                    </a:lnTo>
                    <a:lnTo>
                      <a:pt x="0" y="381"/>
                    </a:lnTo>
                    <a:lnTo>
                      <a:pt x="287" y="381"/>
                    </a:lnTo>
                    <a:lnTo>
                      <a:pt x="284" y="93"/>
                    </a:lnTo>
                    <a:lnTo>
                      <a:pt x="281" y="91"/>
                    </a:lnTo>
                    <a:lnTo>
                      <a:pt x="257" y="110"/>
                    </a:lnTo>
                    <a:lnTo>
                      <a:pt x="233" y="91"/>
                    </a:lnTo>
                    <a:lnTo>
                      <a:pt x="209" y="110"/>
                    </a:lnTo>
                    <a:lnTo>
                      <a:pt x="204" y="106"/>
                    </a:lnTo>
                    <a:lnTo>
                      <a:pt x="283"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sp>
          <p:nvSpPr>
            <p:cNvPr id="183" name="Freeform 59"/>
            <p:cNvSpPr>
              <a:spLocks/>
            </p:cNvSpPr>
            <p:nvPr/>
          </p:nvSpPr>
          <p:spPr bwMode="auto">
            <a:xfrm>
              <a:off x="762000" y="2405063"/>
              <a:ext cx="127000" cy="175531"/>
            </a:xfrm>
            <a:custGeom>
              <a:avLst/>
              <a:gdLst>
                <a:gd name="T0" fmla="*/ 79 w 80"/>
                <a:gd name="T1" fmla="*/ 0 h 110"/>
                <a:gd name="T2" fmla="*/ 79 w 80"/>
                <a:gd name="T3" fmla="*/ 0 h 110"/>
                <a:gd name="T4" fmla="*/ 0 w 80"/>
                <a:gd name="T5" fmla="*/ 106 h 110"/>
                <a:gd name="T6" fmla="*/ 5 w 80"/>
                <a:gd name="T7" fmla="*/ 110 h 110"/>
                <a:gd name="T8" fmla="*/ 29 w 80"/>
                <a:gd name="T9" fmla="*/ 91 h 110"/>
                <a:gd name="T10" fmla="*/ 53 w 80"/>
                <a:gd name="T11" fmla="*/ 110 h 110"/>
                <a:gd name="T12" fmla="*/ 77 w 80"/>
                <a:gd name="T13" fmla="*/ 91 h 110"/>
                <a:gd name="T14" fmla="*/ 80 w 80"/>
                <a:gd name="T15" fmla="*/ 93 h 110"/>
                <a:gd name="T16" fmla="*/ 79 w 80"/>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110">
                  <a:moveTo>
                    <a:pt x="79" y="0"/>
                  </a:moveTo>
                  <a:lnTo>
                    <a:pt x="79" y="0"/>
                  </a:lnTo>
                  <a:lnTo>
                    <a:pt x="0" y="106"/>
                  </a:lnTo>
                  <a:lnTo>
                    <a:pt x="5" y="110"/>
                  </a:lnTo>
                  <a:lnTo>
                    <a:pt x="29" y="91"/>
                  </a:lnTo>
                  <a:lnTo>
                    <a:pt x="53" y="110"/>
                  </a:lnTo>
                  <a:lnTo>
                    <a:pt x="77" y="91"/>
                  </a:lnTo>
                  <a:lnTo>
                    <a:pt x="80" y="93"/>
                  </a:lnTo>
                  <a:lnTo>
                    <a:pt x="79"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sp>
        <p:nvSpPr>
          <p:cNvPr id="187" name="Rectangle 14"/>
          <p:cNvSpPr>
            <a:spLocks noChangeArrowheads="1"/>
          </p:cNvSpPr>
          <p:nvPr/>
        </p:nvSpPr>
        <p:spPr bwMode="auto">
          <a:xfrm>
            <a:off x="5115324" y="4673203"/>
            <a:ext cx="35719" cy="3214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88" name="Freeform 15"/>
          <p:cNvSpPr>
            <a:spLocks/>
          </p:cNvSpPr>
          <p:nvPr/>
        </p:nvSpPr>
        <p:spPr bwMode="auto">
          <a:xfrm>
            <a:off x="5240339" y="4663678"/>
            <a:ext cx="41672" cy="39291"/>
          </a:xfrm>
          <a:custGeom>
            <a:avLst/>
            <a:gdLst>
              <a:gd name="T0" fmla="*/ 11 w 14"/>
              <a:gd name="T1" fmla="*/ 0 h 13"/>
              <a:gd name="T2" fmla="*/ 0 w 14"/>
              <a:gd name="T3" fmla="*/ 3 h 13"/>
              <a:gd name="T4" fmla="*/ 2 w 14"/>
              <a:gd name="T5" fmla="*/ 13 h 13"/>
              <a:gd name="T6" fmla="*/ 14 w 14"/>
              <a:gd name="T7" fmla="*/ 11 h 13"/>
              <a:gd name="T8" fmla="*/ 11 w 14"/>
              <a:gd name="T9" fmla="*/ 0 h 13"/>
            </a:gdLst>
            <a:ahLst/>
            <a:cxnLst>
              <a:cxn ang="0">
                <a:pos x="T0" y="T1"/>
              </a:cxn>
              <a:cxn ang="0">
                <a:pos x="T2" y="T3"/>
              </a:cxn>
              <a:cxn ang="0">
                <a:pos x="T4" y="T5"/>
              </a:cxn>
              <a:cxn ang="0">
                <a:pos x="T6" y="T7"/>
              </a:cxn>
              <a:cxn ang="0">
                <a:pos x="T8" y="T9"/>
              </a:cxn>
            </a:cxnLst>
            <a:rect l="0" t="0" r="r" b="b"/>
            <a:pathLst>
              <a:path w="14" h="13">
                <a:moveTo>
                  <a:pt x="11" y="0"/>
                </a:moveTo>
                <a:cubicBezTo>
                  <a:pt x="8" y="1"/>
                  <a:pt x="4" y="2"/>
                  <a:pt x="0" y="3"/>
                </a:cubicBezTo>
                <a:cubicBezTo>
                  <a:pt x="2" y="13"/>
                  <a:pt x="2" y="13"/>
                  <a:pt x="2" y="13"/>
                </a:cubicBezTo>
                <a:cubicBezTo>
                  <a:pt x="6" y="13"/>
                  <a:pt x="10" y="12"/>
                  <a:pt x="14" y="11"/>
                </a:cubicBezTo>
                <a:lnTo>
                  <a:pt x="11"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nvGrpSpPr>
          <p:cNvPr id="197" name="Group 196"/>
          <p:cNvGrpSpPr/>
          <p:nvPr/>
        </p:nvGrpSpPr>
        <p:grpSpPr>
          <a:xfrm>
            <a:off x="403566" y="1791787"/>
            <a:ext cx="353268" cy="353268"/>
            <a:chOff x="7212975" y="1374657"/>
            <a:chExt cx="353268" cy="353268"/>
          </a:xfrm>
        </p:grpSpPr>
        <p:sp>
          <p:nvSpPr>
            <p:cNvPr id="198" name="Oval 197"/>
            <p:cNvSpPr/>
            <p:nvPr/>
          </p:nvSpPr>
          <p:spPr>
            <a:xfrm>
              <a:off x="7212975" y="1374657"/>
              <a:ext cx="353268" cy="353268"/>
            </a:xfrm>
            <a:prstGeom prst="ellipse">
              <a:avLst/>
            </a:prstGeom>
            <a:solidFill>
              <a:srgbClr val="02376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a:p>
          </p:txBody>
        </p:sp>
        <p:grpSp>
          <p:nvGrpSpPr>
            <p:cNvPr id="199" name="Group 198"/>
            <p:cNvGrpSpPr/>
            <p:nvPr/>
          </p:nvGrpSpPr>
          <p:grpSpPr>
            <a:xfrm>
              <a:off x="7263691" y="1449072"/>
              <a:ext cx="251836" cy="266185"/>
              <a:chOff x="11280776" y="3148013"/>
              <a:chExt cx="557213" cy="588962"/>
            </a:xfrm>
            <a:solidFill>
              <a:schemeClr val="bg1"/>
            </a:solidFill>
          </p:grpSpPr>
          <p:sp>
            <p:nvSpPr>
              <p:cNvPr id="200" name="Freeform 532"/>
              <p:cNvSpPr>
                <a:spLocks noEditPoints="1"/>
              </p:cNvSpPr>
              <p:nvPr/>
            </p:nvSpPr>
            <p:spPr bwMode="auto">
              <a:xfrm>
                <a:off x="11280776" y="3148013"/>
                <a:ext cx="557213" cy="588962"/>
              </a:xfrm>
              <a:custGeom>
                <a:avLst/>
                <a:gdLst>
                  <a:gd name="T0" fmla="*/ 222 w 225"/>
                  <a:gd name="T1" fmla="*/ 12 h 238"/>
                  <a:gd name="T2" fmla="*/ 174 w 225"/>
                  <a:gd name="T3" fmla="*/ 1 h 238"/>
                  <a:gd name="T4" fmla="*/ 171 w 225"/>
                  <a:gd name="T5" fmla="*/ 1 h 238"/>
                  <a:gd name="T6" fmla="*/ 114 w 225"/>
                  <a:gd name="T7" fmla="*/ 27 h 238"/>
                  <a:gd name="T8" fmla="*/ 61 w 225"/>
                  <a:gd name="T9" fmla="*/ 5 h 238"/>
                  <a:gd name="T10" fmla="*/ 58 w 225"/>
                  <a:gd name="T11" fmla="*/ 5 h 238"/>
                  <a:gd name="T12" fmla="*/ 3 w 225"/>
                  <a:gd name="T13" fmla="*/ 27 h 238"/>
                  <a:gd name="T14" fmla="*/ 0 w 225"/>
                  <a:gd name="T15" fmla="*/ 31 h 238"/>
                  <a:gd name="T16" fmla="*/ 0 w 225"/>
                  <a:gd name="T17" fmla="*/ 182 h 238"/>
                  <a:gd name="T18" fmla="*/ 2 w 225"/>
                  <a:gd name="T19" fmla="*/ 186 h 238"/>
                  <a:gd name="T20" fmla="*/ 6 w 225"/>
                  <a:gd name="T21" fmla="*/ 187 h 238"/>
                  <a:gd name="T22" fmla="*/ 60 w 225"/>
                  <a:gd name="T23" fmla="*/ 166 h 238"/>
                  <a:gd name="T24" fmla="*/ 112 w 225"/>
                  <a:gd name="T25" fmla="*/ 188 h 238"/>
                  <a:gd name="T26" fmla="*/ 114 w 225"/>
                  <a:gd name="T27" fmla="*/ 188 h 238"/>
                  <a:gd name="T28" fmla="*/ 116 w 225"/>
                  <a:gd name="T29" fmla="*/ 188 h 238"/>
                  <a:gd name="T30" fmla="*/ 124 w 225"/>
                  <a:gd name="T31" fmla="*/ 184 h 238"/>
                  <a:gd name="T32" fmla="*/ 154 w 225"/>
                  <a:gd name="T33" fmla="*/ 236 h 238"/>
                  <a:gd name="T34" fmla="*/ 158 w 225"/>
                  <a:gd name="T35" fmla="*/ 238 h 238"/>
                  <a:gd name="T36" fmla="*/ 162 w 225"/>
                  <a:gd name="T37" fmla="*/ 236 h 238"/>
                  <a:gd name="T38" fmla="*/ 199 w 225"/>
                  <a:gd name="T39" fmla="*/ 168 h 238"/>
                  <a:gd name="T40" fmla="*/ 220 w 225"/>
                  <a:gd name="T41" fmla="*/ 172 h 238"/>
                  <a:gd name="T42" fmla="*/ 224 w 225"/>
                  <a:gd name="T43" fmla="*/ 171 h 238"/>
                  <a:gd name="T44" fmla="*/ 225 w 225"/>
                  <a:gd name="T45" fmla="*/ 168 h 238"/>
                  <a:gd name="T46" fmla="*/ 225 w 225"/>
                  <a:gd name="T47" fmla="*/ 16 h 238"/>
                  <a:gd name="T48" fmla="*/ 222 w 225"/>
                  <a:gd name="T49" fmla="*/ 12 h 238"/>
                  <a:gd name="T50" fmla="*/ 158 w 225"/>
                  <a:gd name="T51" fmla="*/ 224 h 238"/>
                  <a:gd name="T52" fmla="*/ 119 w 225"/>
                  <a:gd name="T53" fmla="*/ 144 h 238"/>
                  <a:gd name="T54" fmla="*/ 158 w 225"/>
                  <a:gd name="T55" fmla="*/ 106 h 238"/>
                  <a:gd name="T56" fmla="*/ 196 w 225"/>
                  <a:gd name="T57" fmla="*/ 144 h 238"/>
                  <a:gd name="T58" fmla="*/ 158 w 225"/>
                  <a:gd name="T59" fmla="*/ 224 h 238"/>
                  <a:gd name="T60" fmla="*/ 216 w 225"/>
                  <a:gd name="T61" fmla="*/ 162 h 238"/>
                  <a:gd name="T62" fmla="*/ 202 w 225"/>
                  <a:gd name="T63" fmla="*/ 159 h 238"/>
                  <a:gd name="T64" fmla="*/ 205 w 225"/>
                  <a:gd name="T65" fmla="*/ 144 h 238"/>
                  <a:gd name="T66" fmla="*/ 158 w 225"/>
                  <a:gd name="T67" fmla="*/ 96 h 238"/>
                  <a:gd name="T68" fmla="*/ 110 w 225"/>
                  <a:gd name="T69" fmla="*/ 144 h 238"/>
                  <a:gd name="T70" fmla="*/ 120 w 225"/>
                  <a:gd name="T71" fmla="*/ 176 h 238"/>
                  <a:gd name="T72" fmla="*/ 114 w 225"/>
                  <a:gd name="T73" fmla="*/ 178 h 238"/>
                  <a:gd name="T74" fmla="*/ 61 w 225"/>
                  <a:gd name="T75" fmla="*/ 157 h 238"/>
                  <a:gd name="T76" fmla="*/ 60 w 225"/>
                  <a:gd name="T77" fmla="*/ 156 h 238"/>
                  <a:gd name="T78" fmla="*/ 58 w 225"/>
                  <a:gd name="T79" fmla="*/ 156 h 238"/>
                  <a:gd name="T80" fmla="*/ 9 w 225"/>
                  <a:gd name="T81" fmla="*/ 175 h 238"/>
                  <a:gd name="T82" fmla="*/ 9 w 225"/>
                  <a:gd name="T83" fmla="*/ 34 h 238"/>
                  <a:gd name="T84" fmla="*/ 60 w 225"/>
                  <a:gd name="T85" fmla="*/ 15 h 238"/>
                  <a:gd name="T86" fmla="*/ 112 w 225"/>
                  <a:gd name="T87" fmla="*/ 37 h 238"/>
                  <a:gd name="T88" fmla="*/ 116 w 225"/>
                  <a:gd name="T89" fmla="*/ 37 h 238"/>
                  <a:gd name="T90" fmla="*/ 174 w 225"/>
                  <a:gd name="T91" fmla="*/ 10 h 238"/>
                  <a:gd name="T92" fmla="*/ 216 w 225"/>
                  <a:gd name="T93" fmla="*/ 20 h 238"/>
                  <a:gd name="T94" fmla="*/ 216 w 225"/>
                  <a:gd name="T95" fmla="*/ 162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5" h="238">
                    <a:moveTo>
                      <a:pt x="222" y="12"/>
                    </a:moveTo>
                    <a:cubicBezTo>
                      <a:pt x="174" y="1"/>
                      <a:pt x="174" y="1"/>
                      <a:pt x="174" y="1"/>
                    </a:cubicBezTo>
                    <a:cubicBezTo>
                      <a:pt x="173" y="0"/>
                      <a:pt x="172" y="0"/>
                      <a:pt x="171" y="1"/>
                    </a:cubicBezTo>
                    <a:cubicBezTo>
                      <a:pt x="114" y="27"/>
                      <a:pt x="114" y="27"/>
                      <a:pt x="114" y="27"/>
                    </a:cubicBezTo>
                    <a:cubicBezTo>
                      <a:pt x="61" y="5"/>
                      <a:pt x="61" y="5"/>
                      <a:pt x="61" y="5"/>
                    </a:cubicBezTo>
                    <a:cubicBezTo>
                      <a:pt x="60" y="5"/>
                      <a:pt x="59" y="5"/>
                      <a:pt x="58" y="5"/>
                    </a:cubicBezTo>
                    <a:cubicBezTo>
                      <a:pt x="3" y="27"/>
                      <a:pt x="3" y="27"/>
                      <a:pt x="3" y="27"/>
                    </a:cubicBezTo>
                    <a:cubicBezTo>
                      <a:pt x="1" y="27"/>
                      <a:pt x="0" y="29"/>
                      <a:pt x="0" y="31"/>
                    </a:cubicBezTo>
                    <a:cubicBezTo>
                      <a:pt x="0" y="182"/>
                      <a:pt x="0" y="182"/>
                      <a:pt x="0" y="182"/>
                    </a:cubicBezTo>
                    <a:cubicBezTo>
                      <a:pt x="0" y="184"/>
                      <a:pt x="0" y="185"/>
                      <a:pt x="2" y="186"/>
                    </a:cubicBezTo>
                    <a:cubicBezTo>
                      <a:pt x="3" y="187"/>
                      <a:pt x="5" y="187"/>
                      <a:pt x="6" y="187"/>
                    </a:cubicBezTo>
                    <a:cubicBezTo>
                      <a:pt x="60" y="166"/>
                      <a:pt x="60" y="166"/>
                      <a:pt x="60" y="166"/>
                    </a:cubicBezTo>
                    <a:cubicBezTo>
                      <a:pt x="112" y="188"/>
                      <a:pt x="112" y="188"/>
                      <a:pt x="112" y="188"/>
                    </a:cubicBezTo>
                    <a:cubicBezTo>
                      <a:pt x="113" y="188"/>
                      <a:pt x="113" y="188"/>
                      <a:pt x="114" y="188"/>
                    </a:cubicBezTo>
                    <a:cubicBezTo>
                      <a:pt x="115" y="188"/>
                      <a:pt x="115" y="188"/>
                      <a:pt x="116" y="188"/>
                    </a:cubicBezTo>
                    <a:cubicBezTo>
                      <a:pt x="124" y="184"/>
                      <a:pt x="124" y="184"/>
                      <a:pt x="124" y="184"/>
                    </a:cubicBezTo>
                    <a:cubicBezTo>
                      <a:pt x="136" y="208"/>
                      <a:pt x="151" y="232"/>
                      <a:pt x="154" y="236"/>
                    </a:cubicBezTo>
                    <a:cubicBezTo>
                      <a:pt x="154" y="237"/>
                      <a:pt x="156" y="238"/>
                      <a:pt x="158" y="238"/>
                    </a:cubicBezTo>
                    <a:cubicBezTo>
                      <a:pt x="159" y="238"/>
                      <a:pt x="161" y="237"/>
                      <a:pt x="162" y="236"/>
                    </a:cubicBezTo>
                    <a:cubicBezTo>
                      <a:pt x="165" y="231"/>
                      <a:pt x="188" y="195"/>
                      <a:pt x="199" y="168"/>
                    </a:cubicBezTo>
                    <a:cubicBezTo>
                      <a:pt x="220" y="172"/>
                      <a:pt x="220" y="172"/>
                      <a:pt x="220" y="172"/>
                    </a:cubicBezTo>
                    <a:cubicBezTo>
                      <a:pt x="221" y="173"/>
                      <a:pt x="222" y="172"/>
                      <a:pt x="224" y="171"/>
                    </a:cubicBezTo>
                    <a:cubicBezTo>
                      <a:pt x="225" y="170"/>
                      <a:pt x="225" y="169"/>
                      <a:pt x="225" y="168"/>
                    </a:cubicBezTo>
                    <a:cubicBezTo>
                      <a:pt x="225" y="16"/>
                      <a:pt x="225" y="16"/>
                      <a:pt x="225" y="16"/>
                    </a:cubicBezTo>
                    <a:cubicBezTo>
                      <a:pt x="225" y="14"/>
                      <a:pt x="224" y="12"/>
                      <a:pt x="222" y="12"/>
                    </a:cubicBezTo>
                    <a:close/>
                    <a:moveTo>
                      <a:pt x="158" y="224"/>
                    </a:moveTo>
                    <a:cubicBezTo>
                      <a:pt x="144" y="203"/>
                      <a:pt x="119" y="160"/>
                      <a:pt x="119" y="144"/>
                    </a:cubicBezTo>
                    <a:cubicBezTo>
                      <a:pt x="119" y="123"/>
                      <a:pt x="136" y="106"/>
                      <a:pt x="158" y="106"/>
                    </a:cubicBezTo>
                    <a:cubicBezTo>
                      <a:pt x="179" y="106"/>
                      <a:pt x="196" y="123"/>
                      <a:pt x="196" y="144"/>
                    </a:cubicBezTo>
                    <a:cubicBezTo>
                      <a:pt x="196" y="160"/>
                      <a:pt x="171" y="203"/>
                      <a:pt x="158" y="224"/>
                    </a:cubicBezTo>
                    <a:close/>
                    <a:moveTo>
                      <a:pt x="216" y="162"/>
                    </a:moveTo>
                    <a:cubicBezTo>
                      <a:pt x="202" y="159"/>
                      <a:pt x="202" y="159"/>
                      <a:pt x="202" y="159"/>
                    </a:cubicBezTo>
                    <a:cubicBezTo>
                      <a:pt x="204" y="153"/>
                      <a:pt x="205" y="148"/>
                      <a:pt x="205" y="144"/>
                    </a:cubicBezTo>
                    <a:cubicBezTo>
                      <a:pt x="205" y="117"/>
                      <a:pt x="184" y="96"/>
                      <a:pt x="158" y="96"/>
                    </a:cubicBezTo>
                    <a:cubicBezTo>
                      <a:pt x="131" y="96"/>
                      <a:pt x="110" y="117"/>
                      <a:pt x="110" y="144"/>
                    </a:cubicBezTo>
                    <a:cubicBezTo>
                      <a:pt x="110" y="152"/>
                      <a:pt x="114" y="163"/>
                      <a:pt x="120" y="176"/>
                    </a:cubicBezTo>
                    <a:cubicBezTo>
                      <a:pt x="114" y="178"/>
                      <a:pt x="114" y="178"/>
                      <a:pt x="114" y="178"/>
                    </a:cubicBezTo>
                    <a:cubicBezTo>
                      <a:pt x="61" y="157"/>
                      <a:pt x="61" y="157"/>
                      <a:pt x="61" y="157"/>
                    </a:cubicBezTo>
                    <a:cubicBezTo>
                      <a:pt x="61" y="156"/>
                      <a:pt x="60" y="156"/>
                      <a:pt x="60" y="156"/>
                    </a:cubicBezTo>
                    <a:cubicBezTo>
                      <a:pt x="59" y="156"/>
                      <a:pt x="58" y="156"/>
                      <a:pt x="58" y="156"/>
                    </a:cubicBezTo>
                    <a:cubicBezTo>
                      <a:pt x="9" y="175"/>
                      <a:pt x="9" y="175"/>
                      <a:pt x="9" y="175"/>
                    </a:cubicBezTo>
                    <a:cubicBezTo>
                      <a:pt x="9" y="34"/>
                      <a:pt x="9" y="34"/>
                      <a:pt x="9" y="34"/>
                    </a:cubicBezTo>
                    <a:cubicBezTo>
                      <a:pt x="60" y="15"/>
                      <a:pt x="60" y="15"/>
                      <a:pt x="60" y="15"/>
                    </a:cubicBezTo>
                    <a:cubicBezTo>
                      <a:pt x="112" y="37"/>
                      <a:pt x="112" y="37"/>
                      <a:pt x="112" y="37"/>
                    </a:cubicBezTo>
                    <a:cubicBezTo>
                      <a:pt x="113" y="37"/>
                      <a:pt x="115" y="37"/>
                      <a:pt x="116" y="37"/>
                    </a:cubicBezTo>
                    <a:cubicBezTo>
                      <a:pt x="174" y="10"/>
                      <a:pt x="174" y="10"/>
                      <a:pt x="174" y="10"/>
                    </a:cubicBezTo>
                    <a:cubicBezTo>
                      <a:pt x="216" y="20"/>
                      <a:pt x="216" y="20"/>
                      <a:pt x="216" y="20"/>
                    </a:cubicBezTo>
                    <a:lnTo>
                      <a:pt x="216" y="16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01" name="Freeform 533"/>
              <p:cNvSpPr>
                <a:spLocks/>
              </p:cNvSpPr>
              <p:nvPr/>
            </p:nvSpPr>
            <p:spPr bwMode="auto">
              <a:xfrm>
                <a:off x="11417301" y="3232150"/>
                <a:ext cx="22225" cy="260350"/>
              </a:xfrm>
              <a:custGeom>
                <a:avLst/>
                <a:gdLst>
                  <a:gd name="T0" fmla="*/ 5 w 9"/>
                  <a:gd name="T1" fmla="*/ 0 h 105"/>
                  <a:gd name="T2" fmla="*/ 0 w 9"/>
                  <a:gd name="T3" fmla="*/ 5 h 105"/>
                  <a:gd name="T4" fmla="*/ 0 w 9"/>
                  <a:gd name="T5" fmla="*/ 101 h 105"/>
                  <a:gd name="T6" fmla="*/ 5 w 9"/>
                  <a:gd name="T7" fmla="*/ 105 h 105"/>
                  <a:gd name="T8" fmla="*/ 9 w 9"/>
                  <a:gd name="T9" fmla="*/ 101 h 105"/>
                  <a:gd name="T10" fmla="*/ 9 w 9"/>
                  <a:gd name="T11" fmla="*/ 5 h 105"/>
                  <a:gd name="T12" fmla="*/ 5 w 9"/>
                  <a:gd name="T13" fmla="*/ 0 h 105"/>
                </a:gdLst>
                <a:ahLst/>
                <a:cxnLst>
                  <a:cxn ang="0">
                    <a:pos x="T0" y="T1"/>
                  </a:cxn>
                  <a:cxn ang="0">
                    <a:pos x="T2" y="T3"/>
                  </a:cxn>
                  <a:cxn ang="0">
                    <a:pos x="T4" y="T5"/>
                  </a:cxn>
                  <a:cxn ang="0">
                    <a:pos x="T6" y="T7"/>
                  </a:cxn>
                  <a:cxn ang="0">
                    <a:pos x="T8" y="T9"/>
                  </a:cxn>
                  <a:cxn ang="0">
                    <a:pos x="T10" y="T11"/>
                  </a:cxn>
                  <a:cxn ang="0">
                    <a:pos x="T12" y="T13"/>
                  </a:cxn>
                </a:cxnLst>
                <a:rect l="0" t="0" r="r" b="b"/>
                <a:pathLst>
                  <a:path w="9" h="105">
                    <a:moveTo>
                      <a:pt x="5" y="0"/>
                    </a:moveTo>
                    <a:cubicBezTo>
                      <a:pt x="2" y="0"/>
                      <a:pt x="0" y="2"/>
                      <a:pt x="0" y="5"/>
                    </a:cubicBezTo>
                    <a:cubicBezTo>
                      <a:pt x="0" y="101"/>
                      <a:pt x="0" y="101"/>
                      <a:pt x="0" y="101"/>
                    </a:cubicBezTo>
                    <a:cubicBezTo>
                      <a:pt x="0" y="103"/>
                      <a:pt x="2" y="105"/>
                      <a:pt x="5" y="105"/>
                    </a:cubicBezTo>
                    <a:cubicBezTo>
                      <a:pt x="7" y="105"/>
                      <a:pt x="9" y="103"/>
                      <a:pt x="9" y="101"/>
                    </a:cubicBezTo>
                    <a:cubicBezTo>
                      <a:pt x="9" y="5"/>
                      <a:pt x="9" y="5"/>
                      <a:pt x="9" y="5"/>
                    </a:cubicBezTo>
                    <a:cubicBezTo>
                      <a:pt x="9" y="2"/>
                      <a:pt x="7" y="0"/>
                      <a:pt x="5"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02" name="Freeform 534"/>
              <p:cNvSpPr>
                <a:spLocks/>
              </p:cNvSpPr>
              <p:nvPr/>
            </p:nvSpPr>
            <p:spPr bwMode="auto">
              <a:xfrm>
                <a:off x="11550651" y="3276600"/>
                <a:ext cx="25400" cy="115887"/>
              </a:xfrm>
              <a:custGeom>
                <a:avLst/>
                <a:gdLst>
                  <a:gd name="T0" fmla="*/ 5 w 10"/>
                  <a:gd name="T1" fmla="*/ 0 h 47"/>
                  <a:gd name="T2" fmla="*/ 0 w 10"/>
                  <a:gd name="T3" fmla="*/ 5 h 47"/>
                  <a:gd name="T4" fmla="*/ 0 w 10"/>
                  <a:gd name="T5" fmla="*/ 42 h 47"/>
                  <a:gd name="T6" fmla="*/ 5 w 10"/>
                  <a:gd name="T7" fmla="*/ 47 h 47"/>
                  <a:gd name="T8" fmla="*/ 10 w 10"/>
                  <a:gd name="T9" fmla="*/ 42 h 47"/>
                  <a:gd name="T10" fmla="*/ 10 w 10"/>
                  <a:gd name="T11" fmla="*/ 5 h 47"/>
                  <a:gd name="T12" fmla="*/ 5 w 10"/>
                  <a:gd name="T13" fmla="*/ 0 h 47"/>
                </a:gdLst>
                <a:ahLst/>
                <a:cxnLst>
                  <a:cxn ang="0">
                    <a:pos x="T0" y="T1"/>
                  </a:cxn>
                  <a:cxn ang="0">
                    <a:pos x="T2" y="T3"/>
                  </a:cxn>
                  <a:cxn ang="0">
                    <a:pos x="T4" y="T5"/>
                  </a:cxn>
                  <a:cxn ang="0">
                    <a:pos x="T6" y="T7"/>
                  </a:cxn>
                  <a:cxn ang="0">
                    <a:pos x="T8" y="T9"/>
                  </a:cxn>
                  <a:cxn ang="0">
                    <a:pos x="T10" y="T11"/>
                  </a:cxn>
                  <a:cxn ang="0">
                    <a:pos x="T12" y="T13"/>
                  </a:cxn>
                </a:cxnLst>
                <a:rect l="0" t="0" r="r" b="b"/>
                <a:pathLst>
                  <a:path w="10" h="47">
                    <a:moveTo>
                      <a:pt x="5" y="0"/>
                    </a:moveTo>
                    <a:cubicBezTo>
                      <a:pt x="2" y="0"/>
                      <a:pt x="0" y="3"/>
                      <a:pt x="0" y="5"/>
                    </a:cubicBezTo>
                    <a:cubicBezTo>
                      <a:pt x="0" y="42"/>
                      <a:pt x="0" y="42"/>
                      <a:pt x="0" y="42"/>
                    </a:cubicBezTo>
                    <a:cubicBezTo>
                      <a:pt x="0" y="44"/>
                      <a:pt x="2" y="47"/>
                      <a:pt x="5" y="47"/>
                    </a:cubicBezTo>
                    <a:cubicBezTo>
                      <a:pt x="8" y="47"/>
                      <a:pt x="10" y="44"/>
                      <a:pt x="10" y="42"/>
                    </a:cubicBezTo>
                    <a:cubicBezTo>
                      <a:pt x="10" y="5"/>
                      <a:pt x="10" y="5"/>
                      <a:pt x="10" y="5"/>
                    </a:cubicBezTo>
                    <a:cubicBezTo>
                      <a:pt x="10" y="3"/>
                      <a:pt x="8" y="0"/>
                      <a:pt x="5"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03" name="Freeform 535"/>
              <p:cNvSpPr>
                <a:spLocks/>
              </p:cNvSpPr>
              <p:nvPr/>
            </p:nvSpPr>
            <p:spPr bwMode="auto">
              <a:xfrm>
                <a:off x="11699876" y="3214688"/>
                <a:ext cx="25400" cy="142875"/>
              </a:xfrm>
              <a:custGeom>
                <a:avLst/>
                <a:gdLst>
                  <a:gd name="T0" fmla="*/ 0 w 10"/>
                  <a:gd name="T1" fmla="*/ 5 h 58"/>
                  <a:gd name="T2" fmla="*/ 0 w 10"/>
                  <a:gd name="T3" fmla="*/ 53 h 58"/>
                  <a:gd name="T4" fmla="*/ 5 w 10"/>
                  <a:gd name="T5" fmla="*/ 58 h 58"/>
                  <a:gd name="T6" fmla="*/ 10 w 10"/>
                  <a:gd name="T7" fmla="*/ 53 h 58"/>
                  <a:gd name="T8" fmla="*/ 10 w 10"/>
                  <a:gd name="T9" fmla="*/ 5 h 58"/>
                  <a:gd name="T10" fmla="*/ 5 w 10"/>
                  <a:gd name="T11" fmla="*/ 0 h 58"/>
                  <a:gd name="T12" fmla="*/ 0 w 10"/>
                  <a:gd name="T13" fmla="*/ 5 h 58"/>
                </a:gdLst>
                <a:ahLst/>
                <a:cxnLst>
                  <a:cxn ang="0">
                    <a:pos x="T0" y="T1"/>
                  </a:cxn>
                  <a:cxn ang="0">
                    <a:pos x="T2" y="T3"/>
                  </a:cxn>
                  <a:cxn ang="0">
                    <a:pos x="T4" y="T5"/>
                  </a:cxn>
                  <a:cxn ang="0">
                    <a:pos x="T6" y="T7"/>
                  </a:cxn>
                  <a:cxn ang="0">
                    <a:pos x="T8" y="T9"/>
                  </a:cxn>
                  <a:cxn ang="0">
                    <a:pos x="T10" y="T11"/>
                  </a:cxn>
                  <a:cxn ang="0">
                    <a:pos x="T12" y="T13"/>
                  </a:cxn>
                </a:cxnLst>
                <a:rect l="0" t="0" r="r" b="b"/>
                <a:pathLst>
                  <a:path w="10" h="58">
                    <a:moveTo>
                      <a:pt x="0" y="5"/>
                    </a:moveTo>
                    <a:cubicBezTo>
                      <a:pt x="0" y="53"/>
                      <a:pt x="0" y="53"/>
                      <a:pt x="0" y="53"/>
                    </a:cubicBezTo>
                    <a:cubicBezTo>
                      <a:pt x="0" y="56"/>
                      <a:pt x="2" y="58"/>
                      <a:pt x="5" y="58"/>
                    </a:cubicBezTo>
                    <a:cubicBezTo>
                      <a:pt x="8" y="58"/>
                      <a:pt x="10" y="56"/>
                      <a:pt x="10" y="53"/>
                    </a:cubicBezTo>
                    <a:cubicBezTo>
                      <a:pt x="10" y="5"/>
                      <a:pt x="10" y="5"/>
                      <a:pt x="10" y="5"/>
                    </a:cubicBezTo>
                    <a:cubicBezTo>
                      <a:pt x="10" y="2"/>
                      <a:pt x="8" y="0"/>
                      <a:pt x="5" y="0"/>
                    </a:cubicBezTo>
                    <a:cubicBezTo>
                      <a:pt x="2" y="0"/>
                      <a:pt x="0" y="2"/>
                      <a:pt x="0" y="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04" name="Freeform 536"/>
              <p:cNvSpPr>
                <a:spLocks noEditPoints="1"/>
              </p:cNvSpPr>
              <p:nvPr/>
            </p:nvSpPr>
            <p:spPr bwMode="auto">
              <a:xfrm>
                <a:off x="11628438" y="3444875"/>
                <a:ext cx="85725" cy="88900"/>
              </a:xfrm>
              <a:custGeom>
                <a:avLst/>
                <a:gdLst>
                  <a:gd name="T0" fmla="*/ 18 w 35"/>
                  <a:gd name="T1" fmla="*/ 0 h 36"/>
                  <a:gd name="T2" fmla="*/ 0 w 35"/>
                  <a:gd name="T3" fmla="*/ 18 h 36"/>
                  <a:gd name="T4" fmla="*/ 18 w 35"/>
                  <a:gd name="T5" fmla="*/ 36 h 36"/>
                  <a:gd name="T6" fmla="*/ 35 w 35"/>
                  <a:gd name="T7" fmla="*/ 18 h 36"/>
                  <a:gd name="T8" fmla="*/ 18 w 35"/>
                  <a:gd name="T9" fmla="*/ 0 h 36"/>
                  <a:gd name="T10" fmla="*/ 18 w 35"/>
                  <a:gd name="T11" fmla="*/ 27 h 36"/>
                  <a:gd name="T12" fmla="*/ 9 w 35"/>
                  <a:gd name="T13" fmla="*/ 18 h 36"/>
                  <a:gd name="T14" fmla="*/ 18 w 35"/>
                  <a:gd name="T15" fmla="*/ 10 h 36"/>
                  <a:gd name="T16" fmla="*/ 26 w 35"/>
                  <a:gd name="T17" fmla="*/ 18 h 36"/>
                  <a:gd name="T18" fmla="*/ 18 w 35"/>
                  <a:gd name="T19" fmla="*/ 27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36">
                    <a:moveTo>
                      <a:pt x="18" y="0"/>
                    </a:moveTo>
                    <a:cubicBezTo>
                      <a:pt x="8" y="0"/>
                      <a:pt x="0" y="8"/>
                      <a:pt x="0" y="18"/>
                    </a:cubicBezTo>
                    <a:cubicBezTo>
                      <a:pt x="0" y="28"/>
                      <a:pt x="8" y="36"/>
                      <a:pt x="18" y="36"/>
                    </a:cubicBezTo>
                    <a:cubicBezTo>
                      <a:pt x="27" y="36"/>
                      <a:pt x="35" y="28"/>
                      <a:pt x="35" y="18"/>
                    </a:cubicBezTo>
                    <a:cubicBezTo>
                      <a:pt x="35" y="8"/>
                      <a:pt x="27" y="0"/>
                      <a:pt x="18" y="0"/>
                    </a:cubicBezTo>
                    <a:close/>
                    <a:moveTo>
                      <a:pt x="18" y="27"/>
                    </a:moveTo>
                    <a:cubicBezTo>
                      <a:pt x="13" y="27"/>
                      <a:pt x="9" y="23"/>
                      <a:pt x="9" y="18"/>
                    </a:cubicBezTo>
                    <a:cubicBezTo>
                      <a:pt x="9" y="14"/>
                      <a:pt x="13" y="10"/>
                      <a:pt x="18" y="10"/>
                    </a:cubicBezTo>
                    <a:cubicBezTo>
                      <a:pt x="22" y="10"/>
                      <a:pt x="26" y="14"/>
                      <a:pt x="26" y="18"/>
                    </a:cubicBezTo>
                    <a:cubicBezTo>
                      <a:pt x="26" y="23"/>
                      <a:pt x="22" y="27"/>
                      <a:pt x="18" y="2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grpSp>
        <p:nvGrpSpPr>
          <p:cNvPr id="209" name="Group 208"/>
          <p:cNvGrpSpPr/>
          <p:nvPr/>
        </p:nvGrpSpPr>
        <p:grpSpPr>
          <a:xfrm>
            <a:off x="1113831" y="1791787"/>
            <a:ext cx="353268" cy="353268"/>
            <a:chOff x="7212975" y="1374657"/>
            <a:chExt cx="353268" cy="353268"/>
          </a:xfrm>
        </p:grpSpPr>
        <p:sp>
          <p:nvSpPr>
            <p:cNvPr id="210" name="Oval 209"/>
            <p:cNvSpPr/>
            <p:nvPr/>
          </p:nvSpPr>
          <p:spPr>
            <a:xfrm>
              <a:off x="7212975" y="1374657"/>
              <a:ext cx="353268" cy="353268"/>
            </a:xfrm>
            <a:prstGeom prst="ellipse">
              <a:avLst/>
            </a:prstGeom>
            <a:solidFill>
              <a:srgbClr val="02376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a:p>
          </p:txBody>
        </p:sp>
        <p:grpSp>
          <p:nvGrpSpPr>
            <p:cNvPr id="211" name="Group 210"/>
            <p:cNvGrpSpPr/>
            <p:nvPr/>
          </p:nvGrpSpPr>
          <p:grpSpPr>
            <a:xfrm>
              <a:off x="7263691" y="1449072"/>
              <a:ext cx="251836" cy="266185"/>
              <a:chOff x="11280776" y="3148013"/>
              <a:chExt cx="557213" cy="588962"/>
            </a:xfrm>
            <a:solidFill>
              <a:schemeClr val="bg1"/>
            </a:solidFill>
          </p:grpSpPr>
          <p:sp>
            <p:nvSpPr>
              <p:cNvPr id="212" name="Freeform 532"/>
              <p:cNvSpPr>
                <a:spLocks noEditPoints="1"/>
              </p:cNvSpPr>
              <p:nvPr/>
            </p:nvSpPr>
            <p:spPr bwMode="auto">
              <a:xfrm>
                <a:off x="11280776" y="3148013"/>
                <a:ext cx="557213" cy="588962"/>
              </a:xfrm>
              <a:custGeom>
                <a:avLst/>
                <a:gdLst>
                  <a:gd name="T0" fmla="*/ 222 w 225"/>
                  <a:gd name="T1" fmla="*/ 12 h 238"/>
                  <a:gd name="T2" fmla="*/ 174 w 225"/>
                  <a:gd name="T3" fmla="*/ 1 h 238"/>
                  <a:gd name="T4" fmla="*/ 171 w 225"/>
                  <a:gd name="T5" fmla="*/ 1 h 238"/>
                  <a:gd name="T6" fmla="*/ 114 w 225"/>
                  <a:gd name="T7" fmla="*/ 27 h 238"/>
                  <a:gd name="T8" fmla="*/ 61 w 225"/>
                  <a:gd name="T9" fmla="*/ 5 h 238"/>
                  <a:gd name="T10" fmla="*/ 58 w 225"/>
                  <a:gd name="T11" fmla="*/ 5 h 238"/>
                  <a:gd name="T12" fmla="*/ 3 w 225"/>
                  <a:gd name="T13" fmla="*/ 27 h 238"/>
                  <a:gd name="T14" fmla="*/ 0 w 225"/>
                  <a:gd name="T15" fmla="*/ 31 h 238"/>
                  <a:gd name="T16" fmla="*/ 0 w 225"/>
                  <a:gd name="T17" fmla="*/ 182 h 238"/>
                  <a:gd name="T18" fmla="*/ 2 w 225"/>
                  <a:gd name="T19" fmla="*/ 186 h 238"/>
                  <a:gd name="T20" fmla="*/ 6 w 225"/>
                  <a:gd name="T21" fmla="*/ 187 h 238"/>
                  <a:gd name="T22" fmla="*/ 60 w 225"/>
                  <a:gd name="T23" fmla="*/ 166 h 238"/>
                  <a:gd name="T24" fmla="*/ 112 w 225"/>
                  <a:gd name="T25" fmla="*/ 188 h 238"/>
                  <a:gd name="T26" fmla="*/ 114 w 225"/>
                  <a:gd name="T27" fmla="*/ 188 h 238"/>
                  <a:gd name="T28" fmla="*/ 116 w 225"/>
                  <a:gd name="T29" fmla="*/ 188 h 238"/>
                  <a:gd name="T30" fmla="*/ 124 w 225"/>
                  <a:gd name="T31" fmla="*/ 184 h 238"/>
                  <a:gd name="T32" fmla="*/ 154 w 225"/>
                  <a:gd name="T33" fmla="*/ 236 h 238"/>
                  <a:gd name="T34" fmla="*/ 158 w 225"/>
                  <a:gd name="T35" fmla="*/ 238 h 238"/>
                  <a:gd name="T36" fmla="*/ 162 w 225"/>
                  <a:gd name="T37" fmla="*/ 236 h 238"/>
                  <a:gd name="T38" fmla="*/ 199 w 225"/>
                  <a:gd name="T39" fmla="*/ 168 h 238"/>
                  <a:gd name="T40" fmla="*/ 220 w 225"/>
                  <a:gd name="T41" fmla="*/ 172 h 238"/>
                  <a:gd name="T42" fmla="*/ 224 w 225"/>
                  <a:gd name="T43" fmla="*/ 171 h 238"/>
                  <a:gd name="T44" fmla="*/ 225 w 225"/>
                  <a:gd name="T45" fmla="*/ 168 h 238"/>
                  <a:gd name="T46" fmla="*/ 225 w 225"/>
                  <a:gd name="T47" fmla="*/ 16 h 238"/>
                  <a:gd name="T48" fmla="*/ 222 w 225"/>
                  <a:gd name="T49" fmla="*/ 12 h 238"/>
                  <a:gd name="T50" fmla="*/ 158 w 225"/>
                  <a:gd name="T51" fmla="*/ 224 h 238"/>
                  <a:gd name="T52" fmla="*/ 119 w 225"/>
                  <a:gd name="T53" fmla="*/ 144 h 238"/>
                  <a:gd name="T54" fmla="*/ 158 w 225"/>
                  <a:gd name="T55" fmla="*/ 106 h 238"/>
                  <a:gd name="T56" fmla="*/ 196 w 225"/>
                  <a:gd name="T57" fmla="*/ 144 h 238"/>
                  <a:gd name="T58" fmla="*/ 158 w 225"/>
                  <a:gd name="T59" fmla="*/ 224 h 238"/>
                  <a:gd name="T60" fmla="*/ 216 w 225"/>
                  <a:gd name="T61" fmla="*/ 162 h 238"/>
                  <a:gd name="T62" fmla="*/ 202 w 225"/>
                  <a:gd name="T63" fmla="*/ 159 h 238"/>
                  <a:gd name="T64" fmla="*/ 205 w 225"/>
                  <a:gd name="T65" fmla="*/ 144 h 238"/>
                  <a:gd name="T66" fmla="*/ 158 w 225"/>
                  <a:gd name="T67" fmla="*/ 96 h 238"/>
                  <a:gd name="T68" fmla="*/ 110 w 225"/>
                  <a:gd name="T69" fmla="*/ 144 h 238"/>
                  <a:gd name="T70" fmla="*/ 120 w 225"/>
                  <a:gd name="T71" fmla="*/ 176 h 238"/>
                  <a:gd name="T72" fmla="*/ 114 w 225"/>
                  <a:gd name="T73" fmla="*/ 178 h 238"/>
                  <a:gd name="T74" fmla="*/ 61 w 225"/>
                  <a:gd name="T75" fmla="*/ 157 h 238"/>
                  <a:gd name="T76" fmla="*/ 60 w 225"/>
                  <a:gd name="T77" fmla="*/ 156 h 238"/>
                  <a:gd name="T78" fmla="*/ 58 w 225"/>
                  <a:gd name="T79" fmla="*/ 156 h 238"/>
                  <a:gd name="T80" fmla="*/ 9 w 225"/>
                  <a:gd name="T81" fmla="*/ 175 h 238"/>
                  <a:gd name="T82" fmla="*/ 9 w 225"/>
                  <a:gd name="T83" fmla="*/ 34 h 238"/>
                  <a:gd name="T84" fmla="*/ 60 w 225"/>
                  <a:gd name="T85" fmla="*/ 15 h 238"/>
                  <a:gd name="T86" fmla="*/ 112 w 225"/>
                  <a:gd name="T87" fmla="*/ 37 h 238"/>
                  <a:gd name="T88" fmla="*/ 116 w 225"/>
                  <a:gd name="T89" fmla="*/ 37 h 238"/>
                  <a:gd name="T90" fmla="*/ 174 w 225"/>
                  <a:gd name="T91" fmla="*/ 10 h 238"/>
                  <a:gd name="T92" fmla="*/ 216 w 225"/>
                  <a:gd name="T93" fmla="*/ 20 h 238"/>
                  <a:gd name="T94" fmla="*/ 216 w 225"/>
                  <a:gd name="T95" fmla="*/ 162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5" h="238">
                    <a:moveTo>
                      <a:pt x="222" y="12"/>
                    </a:moveTo>
                    <a:cubicBezTo>
                      <a:pt x="174" y="1"/>
                      <a:pt x="174" y="1"/>
                      <a:pt x="174" y="1"/>
                    </a:cubicBezTo>
                    <a:cubicBezTo>
                      <a:pt x="173" y="0"/>
                      <a:pt x="172" y="0"/>
                      <a:pt x="171" y="1"/>
                    </a:cubicBezTo>
                    <a:cubicBezTo>
                      <a:pt x="114" y="27"/>
                      <a:pt x="114" y="27"/>
                      <a:pt x="114" y="27"/>
                    </a:cubicBezTo>
                    <a:cubicBezTo>
                      <a:pt x="61" y="5"/>
                      <a:pt x="61" y="5"/>
                      <a:pt x="61" y="5"/>
                    </a:cubicBezTo>
                    <a:cubicBezTo>
                      <a:pt x="60" y="5"/>
                      <a:pt x="59" y="5"/>
                      <a:pt x="58" y="5"/>
                    </a:cubicBezTo>
                    <a:cubicBezTo>
                      <a:pt x="3" y="27"/>
                      <a:pt x="3" y="27"/>
                      <a:pt x="3" y="27"/>
                    </a:cubicBezTo>
                    <a:cubicBezTo>
                      <a:pt x="1" y="27"/>
                      <a:pt x="0" y="29"/>
                      <a:pt x="0" y="31"/>
                    </a:cubicBezTo>
                    <a:cubicBezTo>
                      <a:pt x="0" y="182"/>
                      <a:pt x="0" y="182"/>
                      <a:pt x="0" y="182"/>
                    </a:cubicBezTo>
                    <a:cubicBezTo>
                      <a:pt x="0" y="184"/>
                      <a:pt x="0" y="185"/>
                      <a:pt x="2" y="186"/>
                    </a:cubicBezTo>
                    <a:cubicBezTo>
                      <a:pt x="3" y="187"/>
                      <a:pt x="5" y="187"/>
                      <a:pt x="6" y="187"/>
                    </a:cubicBezTo>
                    <a:cubicBezTo>
                      <a:pt x="60" y="166"/>
                      <a:pt x="60" y="166"/>
                      <a:pt x="60" y="166"/>
                    </a:cubicBezTo>
                    <a:cubicBezTo>
                      <a:pt x="112" y="188"/>
                      <a:pt x="112" y="188"/>
                      <a:pt x="112" y="188"/>
                    </a:cubicBezTo>
                    <a:cubicBezTo>
                      <a:pt x="113" y="188"/>
                      <a:pt x="113" y="188"/>
                      <a:pt x="114" y="188"/>
                    </a:cubicBezTo>
                    <a:cubicBezTo>
                      <a:pt x="115" y="188"/>
                      <a:pt x="115" y="188"/>
                      <a:pt x="116" y="188"/>
                    </a:cubicBezTo>
                    <a:cubicBezTo>
                      <a:pt x="124" y="184"/>
                      <a:pt x="124" y="184"/>
                      <a:pt x="124" y="184"/>
                    </a:cubicBezTo>
                    <a:cubicBezTo>
                      <a:pt x="136" y="208"/>
                      <a:pt x="151" y="232"/>
                      <a:pt x="154" y="236"/>
                    </a:cubicBezTo>
                    <a:cubicBezTo>
                      <a:pt x="154" y="237"/>
                      <a:pt x="156" y="238"/>
                      <a:pt x="158" y="238"/>
                    </a:cubicBezTo>
                    <a:cubicBezTo>
                      <a:pt x="159" y="238"/>
                      <a:pt x="161" y="237"/>
                      <a:pt x="162" y="236"/>
                    </a:cubicBezTo>
                    <a:cubicBezTo>
                      <a:pt x="165" y="231"/>
                      <a:pt x="188" y="195"/>
                      <a:pt x="199" y="168"/>
                    </a:cubicBezTo>
                    <a:cubicBezTo>
                      <a:pt x="220" y="172"/>
                      <a:pt x="220" y="172"/>
                      <a:pt x="220" y="172"/>
                    </a:cubicBezTo>
                    <a:cubicBezTo>
                      <a:pt x="221" y="173"/>
                      <a:pt x="222" y="172"/>
                      <a:pt x="224" y="171"/>
                    </a:cubicBezTo>
                    <a:cubicBezTo>
                      <a:pt x="225" y="170"/>
                      <a:pt x="225" y="169"/>
                      <a:pt x="225" y="168"/>
                    </a:cubicBezTo>
                    <a:cubicBezTo>
                      <a:pt x="225" y="16"/>
                      <a:pt x="225" y="16"/>
                      <a:pt x="225" y="16"/>
                    </a:cubicBezTo>
                    <a:cubicBezTo>
                      <a:pt x="225" y="14"/>
                      <a:pt x="224" y="12"/>
                      <a:pt x="222" y="12"/>
                    </a:cubicBezTo>
                    <a:close/>
                    <a:moveTo>
                      <a:pt x="158" y="224"/>
                    </a:moveTo>
                    <a:cubicBezTo>
                      <a:pt x="144" y="203"/>
                      <a:pt x="119" y="160"/>
                      <a:pt x="119" y="144"/>
                    </a:cubicBezTo>
                    <a:cubicBezTo>
                      <a:pt x="119" y="123"/>
                      <a:pt x="136" y="106"/>
                      <a:pt x="158" y="106"/>
                    </a:cubicBezTo>
                    <a:cubicBezTo>
                      <a:pt x="179" y="106"/>
                      <a:pt x="196" y="123"/>
                      <a:pt x="196" y="144"/>
                    </a:cubicBezTo>
                    <a:cubicBezTo>
                      <a:pt x="196" y="160"/>
                      <a:pt x="171" y="203"/>
                      <a:pt x="158" y="224"/>
                    </a:cubicBezTo>
                    <a:close/>
                    <a:moveTo>
                      <a:pt x="216" y="162"/>
                    </a:moveTo>
                    <a:cubicBezTo>
                      <a:pt x="202" y="159"/>
                      <a:pt x="202" y="159"/>
                      <a:pt x="202" y="159"/>
                    </a:cubicBezTo>
                    <a:cubicBezTo>
                      <a:pt x="204" y="153"/>
                      <a:pt x="205" y="148"/>
                      <a:pt x="205" y="144"/>
                    </a:cubicBezTo>
                    <a:cubicBezTo>
                      <a:pt x="205" y="117"/>
                      <a:pt x="184" y="96"/>
                      <a:pt x="158" y="96"/>
                    </a:cubicBezTo>
                    <a:cubicBezTo>
                      <a:pt x="131" y="96"/>
                      <a:pt x="110" y="117"/>
                      <a:pt x="110" y="144"/>
                    </a:cubicBezTo>
                    <a:cubicBezTo>
                      <a:pt x="110" y="152"/>
                      <a:pt x="114" y="163"/>
                      <a:pt x="120" y="176"/>
                    </a:cubicBezTo>
                    <a:cubicBezTo>
                      <a:pt x="114" y="178"/>
                      <a:pt x="114" y="178"/>
                      <a:pt x="114" y="178"/>
                    </a:cubicBezTo>
                    <a:cubicBezTo>
                      <a:pt x="61" y="157"/>
                      <a:pt x="61" y="157"/>
                      <a:pt x="61" y="157"/>
                    </a:cubicBezTo>
                    <a:cubicBezTo>
                      <a:pt x="61" y="156"/>
                      <a:pt x="60" y="156"/>
                      <a:pt x="60" y="156"/>
                    </a:cubicBezTo>
                    <a:cubicBezTo>
                      <a:pt x="59" y="156"/>
                      <a:pt x="58" y="156"/>
                      <a:pt x="58" y="156"/>
                    </a:cubicBezTo>
                    <a:cubicBezTo>
                      <a:pt x="9" y="175"/>
                      <a:pt x="9" y="175"/>
                      <a:pt x="9" y="175"/>
                    </a:cubicBezTo>
                    <a:cubicBezTo>
                      <a:pt x="9" y="34"/>
                      <a:pt x="9" y="34"/>
                      <a:pt x="9" y="34"/>
                    </a:cubicBezTo>
                    <a:cubicBezTo>
                      <a:pt x="60" y="15"/>
                      <a:pt x="60" y="15"/>
                      <a:pt x="60" y="15"/>
                    </a:cubicBezTo>
                    <a:cubicBezTo>
                      <a:pt x="112" y="37"/>
                      <a:pt x="112" y="37"/>
                      <a:pt x="112" y="37"/>
                    </a:cubicBezTo>
                    <a:cubicBezTo>
                      <a:pt x="113" y="37"/>
                      <a:pt x="115" y="37"/>
                      <a:pt x="116" y="37"/>
                    </a:cubicBezTo>
                    <a:cubicBezTo>
                      <a:pt x="174" y="10"/>
                      <a:pt x="174" y="10"/>
                      <a:pt x="174" y="10"/>
                    </a:cubicBezTo>
                    <a:cubicBezTo>
                      <a:pt x="216" y="20"/>
                      <a:pt x="216" y="20"/>
                      <a:pt x="216" y="20"/>
                    </a:cubicBezTo>
                    <a:lnTo>
                      <a:pt x="216" y="16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13" name="Freeform 533"/>
              <p:cNvSpPr>
                <a:spLocks/>
              </p:cNvSpPr>
              <p:nvPr/>
            </p:nvSpPr>
            <p:spPr bwMode="auto">
              <a:xfrm>
                <a:off x="11417301" y="3232150"/>
                <a:ext cx="22225" cy="260350"/>
              </a:xfrm>
              <a:custGeom>
                <a:avLst/>
                <a:gdLst>
                  <a:gd name="T0" fmla="*/ 5 w 9"/>
                  <a:gd name="T1" fmla="*/ 0 h 105"/>
                  <a:gd name="T2" fmla="*/ 0 w 9"/>
                  <a:gd name="T3" fmla="*/ 5 h 105"/>
                  <a:gd name="T4" fmla="*/ 0 w 9"/>
                  <a:gd name="T5" fmla="*/ 101 h 105"/>
                  <a:gd name="T6" fmla="*/ 5 w 9"/>
                  <a:gd name="T7" fmla="*/ 105 h 105"/>
                  <a:gd name="T8" fmla="*/ 9 w 9"/>
                  <a:gd name="T9" fmla="*/ 101 h 105"/>
                  <a:gd name="T10" fmla="*/ 9 w 9"/>
                  <a:gd name="T11" fmla="*/ 5 h 105"/>
                  <a:gd name="T12" fmla="*/ 5 w 9"/>
                  <a:gd name="T13" fmla="*/ 0 h 105"/>
                </a:gdLst>
                <a:ahLst/>
                <a:cxnLst>
                  <a:cxn ang="0">
                    <a:pos x="T0" y="T1"/>
                  </a:cxn>
                  <a:cxn ang="0">
                    <a:pos x="T2" y="T3"/>
                  </a:cxn>
                  <a:cxn ang="0">
                    <a:pos x="T4" y="T5"/>
                  </a:cxn>
                  <a:cxn ang="0">
                    <a:pos x="T6" y="T7"/>
                  </a:cxn>
                  <a:cxn ang="0">
                    <a:pos x="T8" y="T9"/>
                  </a:cxn>
                  <a:cxn ang="0">
                    <a:pos x="T10" y="T11"/>
                  </a:cxn>
                  <a:cxn ang="0">
                    <a:pos x="T12" y="T13"/>
                  </a:cxn>
                </a:cxnLst>
                <a:rect l="0" t="0" r="r" b="b"/>
                <a:pathLst>
                  <a:path w="9" h="105">
                    <a:moveTo>
                      <a:pt x="5" y="0"/>
                    </a:moveTo>
                    <a:cubicBezTo>
                      <a:pt x="2" y="0"/>
                      <a:pt x="0" y="2"/>
                      <a:pt x="0" y="5"/>
                    </a:cubicBezTo>
                    <a:cubicBezTo>
                      <a:pt x="0" y="101"/>
                      <a:pt x="0" y="101"/>
                      <a:pt x="0" y="101"/>
                    </a:cubicBezTo>
                    <a:cubicBezTo>
                      <a:pt x="0" y="103"/>
                      <a:pt x="2" y="105"/>
                      <a:pt x="5" y="105"/>
                    </a:cubicBezTo>
                    <a:cubicBezTo>
                      <a:pt x="7" y="105"/>
                      <a:pt x="9" y="103"/>
                      <a:pt x="9" y="101"/>
                    </a:cubicBezTo>
                    <a:cubicBezTo>
                      <a:pt x="9" y="5"/>
                      <a:pt x="9" y="5"/>
                      <a:pt x="9" y="5"/>
                    </a:cubicBezTo>
                    <a:cubicBezTo>
                      <a:pt x="9" y="2"/>
                      <a:pt x="7" y="0"/>
                      <a:pt x="5"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14" name="Freeform 534"/>
              <p:cNvSpPr>
                <a:spLocks/>
              </p:cNvSpPr>
              <p:nvPr/>
            </p:nvSpPr>
            <p:spPr bwMode="auto">
              <a:xfrm>
                <a:off x="11550651" y="3276600"/>
                <a:ext cx="25400" cy="115887"/>
              </a:xfrm>
              <a:custGeom>
                <a:avLst/>
                <a:gdLst>
                  <a:gd name="T0" fmla="*/ 5 w 10"/>
                  <a:gd name="T1" fmla="*/ 0 h 47"/>
                  <a:gd name="T2" fmla="*/ 0 w 10"/>
                  <a:gd name="T3" fmla="*/ 5 h 47"/>
                  <a:gd name="T4" fmla="*/ 0 w 10"/>
                  <a:gd name="T5" fmla="*/ 42 h 47"/>
                  <a:gd name="T6" fmla="*/ 5 w 10"/>
                  <a:gd name="T7" fmla="*/ 47 h 47"/>
                  <a:gd name="T8" fmla="*/ 10 w 10"/>
                  <a:gd name="T9" fmla="*/ 42 h 47"/>
                  <a:gd name="T10" fmla="*/ 10 w 10"/>
                  <a:gd name="T11" fmla="*/ 5 h 47"/>
                  <a:gd name="T12" fmla="*/ 5 w 10"/>
                  <a:gd name="T13" fmla="*/ 0 h 47"/>
                </a:gdLst>
                <a:ahLst/>
                <a:cxnLst>
                  <a:cxn ang="0">
                    <a:pos x="T0" y="T1"/>
                  </a:cxn>
                  <a:cxn ang="0">
                    <a:pos x="T2" y="T3"/>
                  </a:cxn>
                  <a:cxn ang="0">
                    <a:pos x="T4" y="T5"/>
                  </a:cxn>
                  <a:cxn ang="0">
                    <a:pos x="T6" y="T7"/>
                  </a:cxn>
                  <a:cxn ang="0">
                    <a:pos x="T8" y="T9"/>
                  </a:cxn>
                  <a:cxn ang="0">
                    <a:pos x="T10" y="T11"/>
                  </a:cxn>
                  <a:cxn ang="0">
                    <a:pos x="T12" y="T13"/>
                  </a:cxn>
                </a:cxnLst>
                <a:rect l="0" t="0" r="r" b="b"/>
                <a:pathLst>
                  <a:path w="10" h="47">
                    <a:moveTo>
                      <a:pt x="5" y="0"/>
                    </a:moveTo>
                    <a:cubicBezTo>
                      <a:pt x="2" y="0"/>
                      <a:pt x="0" y="3"/>
                      <a:pt x="0" y="5"/>
                    </a:cubicBezTo>
                    <a:cubicBezTo>
                      <a:pt x="0" y="42"/>
                      <a:pt x="0" y="42"/>
                      <a:pt x="0" y="42"/>
                    </a:cubicBezTo>
                    <a:cubicBezTo>
                      <a:pt x="0" y="44"/>
                      <a:pt x="2" y="47"/>
                      <a:pt x="5" y="47"/>
                    </a:cubicBezTo>
                    <a:cubicBezTo>
                      <a:pt x="8" y="47"/>
                      <a:pt x="10" y="44"/>
                      <a:pt x="10" y="42"/>
                    </a:cubicBezTo>
                    <a:cubicBezTo>
                      <a:pt x="10" y="5"/>
                      <a:pt x="10" y="5"/>
                      <a:pt x="10" y="5"/>
                    </a:cubicBezTo>
                    <a:cubicBezTo>
                      <a:pt x="10" y="3"/>
                      <a:pt x="8" y="0"/>
                      <a:pt x="5"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15" name="Freeform 535"/>
              <p:cNvSpPr>
                <a:spLocks/>
              </p:cNvSpPr>
              <p:nvPr/>
            </p:nvSpPr>
            <p:spPr bwMode="auto">
              <a:xfrm>
                <a:off x="11699876" y="3214688"/>
                <a:ext cx="25400" cy="142875"/>
              </a:xfrm>
              <a:custGeom>
                <a:avLst/>
                <a:gdLst>
                  <a:gd name="T0" fmla="*/ 0 w 10"/>
                  <a:gd name="T1" fmla="*/ 5 h 58"/>
                  <a:gd name="T2" fmla="*/ 0 w 10"/>
                  <a:gd name="T3" fmla="*/ 53 h 58"/>
                  <a:gd name="T4" fmla="*/ 5 w 10"/>
                  <a:gd name="T5" fmla="*/ 58 h 58"/>
                  <a:gd name="T6" fmla="*/ 10 w 10"/>
                  <a:gd name="T7" fmla="*/ 53 h 58"/>
                  <a:gd name="T8" fmla="*/ 10 w 10"/>
                  <a:gd name="T9" fmla="*/ 5 h 58"/>
                  <a:gd name="T10" fmla="*/ 5 w 10"/>
                  <a:gd name="T11" fmla="*/ 0 h 58"/>
                  <a:gd name="T12" fmla="*/ 0 w 10"/>
                  <a:gd name="T13" fmla="*/ 5 h 58"/>
                </a:gdLst>
                <a:ahLst/>
                <a:cxnLst>
                  <a:cxn ang="0">
                    <a:pos x="T0" y="T1"/>
                  </a:cxn>
                  <a:cxn ang="0">
                    <a:pos x="T2" y="T3"/>
                  </a:cxn>
                  <a:cxn ang="0">
                    <a:pos x="T4" y="T5"/>
                  </a:cxn>
                  <a:cxn ang="0">
                    <a:pos x="T6" y="T7"/>
                  </a:cxn>
                  <a:cxn ang="0">
                    <a:pos x="T8" y="T9"/>
                  </a:cxn>
                  <a:cxn ang="0">
                    <a:pos x="T10" y="T11"/>
                  </a:cxn>
                  <a:cxn ang="0">
                    <a:pos x="T12" y="T13"/>
                  </a:cxn>
                </a:cxnLst>
                <a:rect l="0" t="0" r="r" b="b"/>
                <a:pathLst>
                  <a:path w="10" h="58">
                    <a:moveTo>
                      <a:pt x="0" y="5"/>
                    </a:moveTo>
                    <a:cubicBezTo>
                      <a:pt x="0" y="53"/>
                      <a:pt x="0" y="53"/>
                      <a:pt x="0" y="53"/>
                    </a:cubicBezTo>
                    <a:cubicBezTo>
                      <a:pt x="0" y="56"/>
                      <a:pt x="2" y="58"/>
                      <a:pt x="5" y="58"/>
                    </a:cubicBezTo>
                    <a:cubicBezTo>
                      <a:pt x="8" y="58"/>
                      <a:pt x="10" y="56"/>
                      <a:pt x="10" y="53"/>
                    </a:cubicBezTo>
                    <a:cubicBezTo>
                      <a:pt x="10" y="5"/>
                      <a:pt x="10" y="5"/>
                      <a:pt x="10" y="5"/>
                    </a:cubicBezTo>
                    <a:cubicBezTo>
                      <a:pt x="10" y="2"/>
                      <a:pt x="8" y="0"/>
                      <a:pt x="5" y="0"/>
                    </a:cubicBezTo>
                    <a:cubicBezTo>
                      <a:pt x="2" y="0"/>
                      <a:pt x="0" y="2"/>
                      <a:pt x="0" y="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16" name="Freeform 536"/>
              <p:cNvSpPr>
                <a:spLocks noEditPoints="1"/>
              </p:cNvSpPr>
              <p:nvPr/>
            </p:nvSpPr>
            <p:spPr bwMode="auto">
              <a:xfrm>
                <a:off x="11628438" y="3444875"/>
                <a:ext cx="85725" cy="88900"/>
              </a:xfrm>
              <a:custGeom>
                <a:avLst/>
                <a:gdLst>
                  <a:gd name="T0" fmla="*/ 18 w 35"/>
                  <a:gd name="T1" fmla="*/ 0 h 36"/>
                  <a:gd name="T2" fmla="*/ 0 w 35"/>
                  <a:gd name="T3" fmla="*/ 18 h 36"/>
                  <a:gd name="T4" fmla="*/ 18 w 35"/>
                  <a:gd name="T5" fmla="*/ 36 h 36"/>
                  <a:gd name="T6" fmla="*/ 35 w 35"/>
                  <a:gd name="T7" fmla="*/ 18 h 36"/>
                  <a:gd name="T8" fmla="*/ 18 w 35"/>
                  <a:gd name="T9" fmla="*/ 0 h 36"/>
                  <a:gd name="T10" fmla="*/ 18 w 35"/>
                  <a:gd name="T11" fmla="*/ 27 h 36"/>
                  <a:gd name="T12" fmla="*/ 9 w 35"/>
                  <a:gd name="T13" fmla="*/ 18 h 36"/>
                  <a:gd name="T14" fmla="*/ 18 w 35"/>
                  <a:gd name="T15" fmla="*/ 10 h 36"/>
                  <a:gd name="T16" fmla="*/ 26 w 35"/>
                  <a:gd name="T17" fmla="*/ 18 h 36"/>
                  <a:gd name="T18" fmla="*/ 18 w 35"/>
                  <a:gd name="T19" fmla="*/ 27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36">
                    <a:moveTo>
                      <a:pt x="18" y="0"/>
                    </a:moveTo>
                    <a:cubicBezTo>
                      <a:pt x="8" y="0"/>
                      <a:pt x="0" y="8"/>
                      <a:pt x="0" y="18"/>
                    </a:cubicBezTo>
                    <a:cubicBezTo>
                      <a:pt x="0" y="28"/>
                      <a:pt x="8" y="36"/>
                      <a:pt x="18" y="36"/>
                    </a:cubicBezTo>
                    <a:cubicBezTo>
                      <a:pt x="27" y="36"/>
                      <a:pt x="35" y="28"/>
                      <a:pt x="35" y="18"/>
                    </a:cubicBezTo>
                    <a:cubicBezTo>
                      <a:pt x="35" y="8"/>
                      <a:pt x="27" y="0"/>
                      <a:pt x="18" y="0"/>
                    </a:cubicBezTo>
                    <a:close/>
                    <a:moveTo>
                      <a:pt x="18" y="27"/>
                    </a:moveTo>
                    <a:cubicBezTo>
                      <a:pt x="13" y="27"/>
                      <a:pt x="9" y="23"/>
                      <a:pt x="9" y="18"/>
                    </a:cubicBezTo>
                    <a:cubicBezTo>
                      <a:pt x="9" y="14"/>
                      <a:pt x="13" y="10"/>
                      <a:pt x="18" y="10"/>
                    </a:cubicBezTo>
                    <a:cubicBezTo>
                      <a:pt x="22" y="10"/>
                      <a:pt x="26" y="14"/>
                      <a:pt x="26" y="18"/>
                    </a:cubicBezTo>
                    <a:cubicBezTo>
                      <a:pt x="26" y="23"/>
                      <a:pt x="22" y="27"/>
                      <a:pt x="18" y="2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grpSp>
        <p:nvGrpSpPr>
          <p:cNvPr id="217" name="Group 216"/>
          <p:cNvGrpSpPr/>
          <p:nvPr/>
        </p:nvGrpSpPr>
        <p:grpSpPr>
          <a:xfrm>
            <a:off x="1824096" y="1791787"/>
            <a:ext cx="353268" cy="353268"/>
            <a:chOff x="7212975" y="1374657"/>
            <a:chExt cx="353268" cy="353268"/>
          </a:xfrm>
        </p:grpSpPr>
        <p:sp>
          <p:nvSpPr>
            <p:cNvPr id="218" name="Oval 217"/>
            <p:cNvSpPr/>
            <p:nvPr/>
          </p:nvSpPr>
          <p:spPr>
            <a:xfrm>
              <a:off x="7212975" y="1374657"/>
              <a:ext cx="353268" cy="353268"/>
            </a:xfrm>
            <a:prstGeom prst="ellipse">
              <a:avLst/>
            </a:prstGeom>
            <a:solidFill>
              <a:srgbClr val="02376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a:p>
          </p:txBody>
        </p:sp>
        <p:grpSp>
          <p:nvGrpSpPr>
            <p:cNvPr id="219" name="Group 218"/>
            <p:cNvGrpSpPr/>
            <p:nvPr/>
          </p:nvGrpSpPr>
          <p:grpSpPr>
            <a:xfrm>
              <a:off x="7263691" y="1449072"/>
              <a:ext cx="251836" cy="266185"/>
              <a:chOff x="11280776" y="3148013"/>
              <a:chExt cx="557213" cy="588962"/>
            </a:xfrm>
            <a:solidFill>
              <a:schemeClr val="bg1"/>
            </a:solidFill>
          </p:grpSpPr>
          <p:sp>
            <p:nvSpPr>
              <p:cNvPr id="220" name="Freeform 532"/>
              <p:cNvSpPr>
                <a:spLocks noEditPoints="1"/>
              </p:cNvSpPr>
              <p:nvPr/>
            </p:nvSpPr>
            <p:spPr bwMode="auto">
              <a:xfrm>
                <a:off x="11280776" y="3148013"/>
                <a:ext cx="557213" cy="588962"/>
              </a:xfrm>
              <a:custGeom>
                <a:avLst/>
                <a:gdLst>
                  <a:gd name="T0" fmla="*/ 222 w 225"/>
                  <a:gd name="T1" fmla="*/ 12 h 238"/>
                  <a:gd name="T2" fmla="*/ 174 w 225"/>
                  <a:gd name="T3" fmla="*/ 1 h 238"/>
                  <a:gd name="T4" fmla="*/ 171 w 225"/>
                  <a:gd name="T5" fmla="*/ 1 h 238"/>
                  <a:gd name="T6" fmla="*/ 114 w 225"/>
                  <a:gd name="T7" fmla="*/ 27 h 238"/>
                  <a:gd name="T8" fmla="*/ 61 w 225"/>
                  <a:gd name="T9" fmla="*/ 5 h 238"/>
                  <a:gd name="T10" fmla="*/ 58 w 225"/>
                  <a:gd name="T11" fmla="*/ 5 h 238"/>
                  <a:gd name="T12" fmla="*/ 3 w 225"/>
                  <a:gd name="T13" fmla="*/ 27 h 238"/>
                  <a:gd name="T14" fmla="*/ 0 w 225"/>
                  <a:gd name="T15" fmla="*/ 31 h 238"/>
                  <a:gd name="T16" fmla="*/ 0 w 225"/>
                  <a:gd name="T17" fmla="*/ 182 h 238"/>
                  <a:gd name="T18" fmla="*/ 2 w 225"/>
                  <a:gd name="T19" fmla="*/ 186 h 238"/>
                  <a:gd name="T20" fmla="*/ 6 w 225"/>
                  <a:gd name="T21" fmla="*/ 187 h 238"/>
                  <a:gd name="T22" fmla="*/ 60 w 225"/>
                  <a:gd name="T23" fmla="*/ 166 h 238"/>
                  <a:gd name="T24" fmla="*/ 112 w 225"/>
                  <a:gd name="T25" fmla="*/ 188 h 238"/>
                  <a:gd name="T26" fmla="*/ 114 w 225"/>
                  <a:gd name="T27" fmla="*/ 188 h 238"/>
                  <a:gd name="T28" fmla="*/ 116 w 225"/>
                  <a:gd name="T29" fmla="*/ 188 h 238"/>
                  <a:gd name="T30" fmla="*/ 124 w 225"/>
                  <a:gd name="T31" fmla="*/ 184 h 238"/>
                  <a:gd name="T32" fmla="*/ 154 w 225"/>
                  <a:gd name="T33" fmla="*/ 236 h 238"/>
                  <a:gd name="T34" fmla="*/ 158 w 225"/>
                  <a:gd name="T35" fmla="*/ 238 h 238"/>
                  <a:gd name="T36" fmla="*/ 162 w 225"/>
                  <a:gd name="T37" fmla="*/ 236 h 238"/>
                  <a:gd name="T38" fmla="*/ 199 w 225"/>
                  <a:gd name="T39" fmla="*/ 168 h 238"/>
                  <a:gd name="T40" fmla="*/ 220 w 225"/>
                  <a:gd name="T41" fmla="*/ 172 h 238"/>
                  <a:gd name="T42" fmla="*/ 224 w 225"/>
                  <a:gd name="T43" fmla="*/ 171 h 238"/>
                  <a:gd name="T44" fmla="*/ 225 w 225"/>
                  <a:gd name="T45" fmla="*/ 168 h 238"/>
                  <a:gd name="T46" fmla="*/ 225 w 225"/>
                  <a:gd name="T47" fmla="*/ 16 h 238"/>
                  <a:gd name="T48" fmla="*/ 222 w 225"/>
                  <a:gd name="T49" fmla="*/ 12 h 238"/>
                  <a:gd name="T50" fmla="*/ 158 w 225"/>
                  <a:gd name="T51" fmla="*/ 224 h 238"/>
                  <a:gd name="T52" fmla="*/ 119 w 225"/>
                  <a:gd name="T53" fmla="*/ 144 h 238"/>
                  <a:gd name="T54" fmla="*/ 158 w 225"/>
                  <a:gd name="T55" fmla="*/ 106 h 238"/>
                  <a:gd name="T56" fmla="*/ 196 w 225"/>
                  <a:gd name="T57" fmla="*/ 144 h 238"/>
                  <a:gd name="T58" fmla="*/ 158 w 225"/>
                  <a:gd name="T59" fmla="*/ 224 h 238"/>
                  <a:gd name="T60" fmla="*/ 216 w 225"/>
                  <a:gd name="T61" fmla="*/ 162 h 238"/>
                  <a:gd name="T62" fmla="*/ 202 w 225"/>
                  <a:gd name="T63" fmla="*/ 159 h 238"/>
                  <a:gd name="T64" fmla="*/ 205 w 225"/>
                  <a:gd name="T65" fmla="*/ 144 h 238"/>
                  <a:gd name="T66" fmla="*/ 158 w 225"/>
                  <a:gd name="T67" fmla="*/ 96 h 238"/>
                  <a:gd name="T68" fmla="*/ 110 w 225"/>
                  <a:gd name="T69" fmla="*/ 144 h 238"/>
                  <a:gd name="T70" fmla="*/ 120 w 225"/>
                  <a:gd name="T71" fmla="*/ 176 h 238"/>
                  <a:gd name="T72" fmla="*/ 114 w 225"/>
                  <a:gd name="T73" fmla="*/ 178 h 238"/>
                  <a:gd name="T74" fmla="*/ 61 w 225"/>
                  <a:gd name="T75" fmla="*/ 157 h 238"/>
                  <a:gd name="T76" fmla="*/ 60 w 225"/>
                  <a:gd name="T77" fmla="*/ 156 h 238"/>
                  <a:gd name="T78" fmla="*/ 58 w 225"/>
                  <a:gd name="T79" fmla="*/ 156 h 238"/>
                  <a:gd name="T80" fmla="*/ 9 w 225"/>
                  <a:gd name="T81" fmla="*/ 175 h 238"/>
                  <a:gd name="T82" fmla="*/ 9 w 225"/>
                  <a:gd name="T83" fmla="*/ 34 h 238"/>
                  <a:gd name="T84" fmla="*/ 60 w 225"/>
                  <a:gd name="T85" fmla="*/ 15 h 238"/>
                  <a:gd name="T86" fmla="*/ 112 w 225"/>
                  <a:gd name="T87" fmla="*/ 37 h 238"/>
                  <a:gd name="T88" fmla="*/ 116 w 225"/>
                  <a:gd name="T89" fmla="*/ 37 h 238"/>
                  <a:gd name="T90" fmla="*/ 174 w 225"/>
                  <a:gd name="T91" fmla="*/ 10 h 238"/>
                  <a:gd name="T92" fmla="*/ 216 w 225"/>
                  <a:gd name="T93" fmla="*/ 20 h 238"/>
                  <a:gd name="T94" fmla="*/ 216 w 225"/>
                  <a:gd name="T95" fmla="*/ 162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5" h="238">
                    <a:moveTo>
                      <a:pt x="222" y="12"/>
                    </a:moveTo>
                    <a:cubicBezTo>
                      <a:pt x="174" y="1"/>
                      <a:pt x="174" y="1"/>
                      <a:pt x="174" y="1"/>
                    </a:cubicBezTo>
                    <a:cubicBezTo>
                      <a:pt x="173" y="0"/>
                      <a:pt x="172" y="0"/>
                      <a:pt x="171" y="1"/>
                    </a:cubicBezTo>
                    <a:cubicBezTo>
                      <a:pt x="114" y="27"/>
                      <a:pt x="114" y="27"/>
                      <a:pt x="114" y="27"/>
                    </a:cubicBezTo>
                    <a:cubicBezTo>
                      <a:pt x="61" y="5"/>
                      <a:pt x="61" y="5"/>
                      <a:pt x="61" y="5"/>
                    </a:cubicBezTo>
                    <a:cubicBezTo>
                      <a:pt x="60" y="5"/>
                      <a:pt x="59" y="5"/>
                      <a:pt x="58" y="5"/>
                    </a:cubicBezTo>
                    <a:cubicBezTo>
                      <a:pt x="3" y="27"/>
                      <a:pt x="3" y="27"/>
                      <a:pt x="3" y="27"/>
                    </a:cubicBezTo>
                    <a:cubicBezTo>
                      <a:pt x="1" y="27"/>
                      <a:pt x="0" y="29"/>
                      <a:pt x="0" y="31"/>
                    </a:cubicBezTo>
                    <a:cubicBezTo>
                      <a:pt x="0" y="182"/>
                      <a:pt x="0" y="182"/>
                      <a:pt x="0" y="182"/>
                    </a:cubicBezTo>
                    <a:cubicBezTo>
                      <a:pt x="0" y="184"/>
                      <a:pt x="0" y="185"/>
                      <a:pt x="2" y="186"/>
                    </a:cubicBezTo>
                    <a:cubicBezTo>
                      <a:pt x="3" y="187"/>
                      <a:pt x="5" y="187"/>
                      <a:pt x="6" y="187"/>
                    </a:cubicBezTo>
                    <a:cubicBezTo>
                      <a:pt x="60" y="166"/>
                      <a:pt x="60" y="166"/>
                      <a:pt x="60" y="166"/>
                    </a:cubicBezTo>
                    <a:cubicBezTo>
                      <a:pt x="112" y="188"/>
                      <a:pt x="112" y="188"/>
                      <a:pt x="112" y="188"/>
                    </a:cubicBezTo>
                    <a:cubicBezTo>
                      <a:pt x="113" y="188"/>
                      <a:pt x="113" y="188"/>
                      <a:pt x="114" y="188"/>
                    </a:cubicBezTo>
                    <a:cubicBezTo>
                      <a:pt x="115" y="188"/>
                      <a:pt x="115" y="188"/>
                      <a:pt x="116" y="188"/>
                    </a:cubicBezTo>
                    <a:cubicBezTo>
                      <a:pt x="124" y="184"/>
                      <a:pt x="124" y="184"/>
                      <a:pt x="124" y="184"/>
                    </a:cubicBezTo>
                    <a:cubicBezTo>
                      <a:pt x="136" y="208"/>
                      <a:pt x="151" y="232"/>
                      <a:pt x="154" y="236"/>
                    </a:cubicBezTo>
                    <a:cubicBezTo>
                      <a:pt x="154" y="237"/>
                      <a:pt x="156" y="238"/>
                      <a:pt x="158" y="238"/>
                    </a:cubicBezTo>
                    <a:cubicBezTo>
                      <a:pt x="159" y="238"/>
                      <a:pt x="161" y="237"/>
                      <a:pt x="162" y="236"/>
                    </a:cubicBezTo>
                    <a:cubicBezTo>
                      <a:pt x="165" y="231"/>
                      <a:pt x="188" y="195"/>
                      <a:pt x="199" y="168"/>
                    </a:cubicBezTo>
                    <a:cubicBezTo>
                      <a:pt x="220" y="172"/>
                      <a:pt x="220" y="172"/>
                      <a:pt x="220" y="172"/>
                    </a:cubicBezTo>
                    <a:cubicBezTo>
                      <a:pt x="221" y="173"/>
                      <a:pt x="222" y="172"/>
                      <a:pt x="224" y="171"/>
                    </a:cubicBezTo>
                    <a:cubicBezTo>
                      <a:pt x="225" y="170"/>
                      <a:pt x="225" y="169"/>
                      <a:pt x="225" y="168"/>
                    </a:cubicBezTo>
                    <a:cubicBezTo>
                      <a:pt x="225" y="16"/>
                      <a:pt x="225" y="16"/>
                      <a:pt x="225" y="16"/>
                    </a:cubicBezTo>
                    <a:cubicBezTo>
                      <a:pt x="225" y="14"/>
                      <a:pt x="224" y="12"/>
                      <a:pt x="222" y="12"/>
                    </a:cubicBezTo>
                    <a:close/>
                    <a:moveTo>
                      <a:pt x="158" y="224"/>
                    </a:moveTo>
                    <a:cubicBezTo>
                      <a:pt x="144" y="203"/>
                      <a:pt x="119" y="160"/>
                      <a:pt x="119" y="144"/>
                    </a:cubicBezTo>
                    <a:cubicBezTo>
                      <a:pt x="119" y="123"/>
                      <a:pt x="136" y="106"/>
                      <a:pt x="158" y="106"/>
                    </a:cubicBezTo>
                    <a:cubicBezTo>
                      <a:pt x="179" y="106"/>
                      <a:pt x="196" y="123"/>
                      <a:pt x="196" y="144"/>
                    </a:cubicBezTo>
                    <a:cubicBezTo>
                      <a:pt x="196" y="160"/>
                      <a:pt x="171" y="203"/>
                      <a:pt x="158" y="224"/>
                    </a:cubicBezTo>
                    <a:close/>
                    <a:moveTo>
                      <a:pt x="216" y="162"/>
                    </a:moveTo>
                    <a:cubicBezTo>
                      <a:pt x="202" y="159"/>
                      <a:pt x="202" y="159"/>
                      <a:pt x="202" y="159"/>
                    </a:cubicBezTo>
                    <a:cubicBezTo>
                      <a:pt x="204" y="153"/>
                      <a:pt x="205" y="148"/>
                      <a:pt x="205" y="144"/>
                    </a:cubicBezTo>
                    <a:cubicBezTo>
                      <a:pt x="205" y="117"/>
                      <a:pt x="184" y="96"/>
                      <a:pt x="158" y="96"/>
                    </a:cubicBezTo>
                    <a:cubicBezTo>
                      <a:pt x="131" y="96"/>
                      <a:pt x="110" y="117"/>
                      <a:pt x="110" y="144"/>
                    </a:cubicBezTo>
                    <a:cubicBezTo>
                      <a:pt x="110" y="152"/>
                      <a:pt x="114" y="163"/>
                      <a:pt x="120" y="176"/>
                    </a:cubicBezTo>
                    <a:cubicBezTo>
                      <a:pt x="114" y="178"/>
                      <a:pt x="114" y="178"/>
                      <a:pt x="114" y="178"/>
                    </a:cubicBezTo>
                    <a:cubicBezTo>
                      <a:pt x="61" y="157"/>
                      <a:pt x="61" y="157"/>
                      <a:pt x="61" y="157"/>
                    </a:cubicBezTo>
                    <a:cubicBezTo>
                      <a:pt x="61" y="156"/>
                      <a:pt x="60" y="156"/>
                      <a:pt x="60" y="156"/>
                    </a:cubicBezTo>
                    <a:cubicBezTo>
                      <a:pt x="59" y="156"/>
                      <a:pt x="58" y="156"/>
                      <a:pt x="58" y="156"/>
                    </a:cubicBezTo>
                    <a:cubicBezTo>
                      <a:pt x="9" y="175"/>
                      <a:pt x="9" y="175"/>
                      <a:pt x="9" y="175"/>
                    </a:cubicBezTo>
                    <a:cubicBezTo>
                      <a:pt x="9" y="34"/>
                      <a:pt x="9" y="34"/>
                      <a:pt x="9" y="34"/>
                    </a:cubicBezTo>
                    <a:cubicBezTo>
                      <a:pt x="60" y="15"/>
                      <a:pt x="60" y="15"/>
                      <a:pt x="60" y="15"/>
                    </a:cubicBezTo>
                    <a:cubicBezTo>
                      <a:pt x="112" y="37"/>
                      <a:pt x="112" y="37"/>
                      <a:pt x="112" y="37"/>
                    </a:cubicBezTo>
                    <a:cubicBezTo>
                      <a:pt x="113" y="37"/>
                      <a:pt x="115" y="37"/>
                      <a:pt x="116" y="37"/>
                    </a:cubicBezTo>
                    <a:cubicBezTo>
                      <a:pt x="174" y="10"/>
                      <a:pt x="174" y="10"/>
                      <a:pt x="174" y="10"/>
                    </a:cubicBezTo>
                    <a:cubicBezTo>
                      <a:pt x="216" y="20"/>
                      <a:pt x="216" y="20"/>
                      <a:pt x="216" y="20"/>
                    </a:cubicBezTo>
                    <a:lnTo>
                      <a:pt x="216" y="16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21" name="Freeform 533"/>
              <p:cNvSpPr>
                <a:spLocks/>
              </p:cNvSpPr>
              <p:nvPr/>
            </p:nvSpPr>
            <p:spPr bwMode="auto">
              <a:xfrm>
                <a:off x="11417301" y="3232150"/>
                <a:ext cx="22225" cy="260350"/>
              </a:xfrm>
              <a:custGeom>
                <a:avLst/>
                <a:gdLst>
                  <a:gd name="T0" fmla="*/ 5 w 9"/>
                  <a:gd name="T1" fmla="*/ 0 h 105"/>
                  <a:gd name="T2" fmla="*/ 0 w 9"/>
                  <a:gd name="T3" fmla="*/ 5 h 105"/>
                  <a:gd name="T4" fmla="*/ 0 w 9"/>
                  <a:gd name="T5" fmla="*/ 101 h 105"/>
                  <a:gd name="T6" fmla="*/ 5 w 9"/>
                  <a:gd name="T7" fmla="*/ 105 h 105"/>
                  <a:gd name="T8" fmla="*/ 9 w 9"/>
                  <a:gd name="T9" fmla="*/ 101 h 105"/>
                  <a:gd name="T10" fmla="*/ 9 w 9"/>
                  <a:gd name="T11" fmla="*/ 5 h 105"/>
                  <a:gd name="T12" fmla="*/ 5 w 9"/>
                  <a:gd name="T13" fmla="*/ 0 h 105"/>
                </a:gdLst>
                <a:ahLst/>
                <a:cxnLst>
                  <a:cxn ang="0">
                    <a:pos x="T0" y="T1"/>
                  </a:cxn>
                  <a:cxn ang="0">
                    <a:pos x="T2" y="T3"/>
                  </a:cxn>
                  <a:cxn ang="0">
                    <a:pos x="T4" y="T5"/>
                  </a:cxn>
                  <a:cxn ang="0">
                    <a:pos x="T6" y="T7"/>
                  </a:cxn>
                  <a:cxn ang="0">
                    <a:pos x="T8" y="T9"/>
                  </a:cxn>
                  <a:cxn ang="0">
                    <a:pos x="T10" y="T11"/>
                  </a:cxn>
                  <a:cxn ang="0">
                    <a:pos x="T12" y="T13"/>
                  </a:cxn>
                </a:cxnLst>
                <a:rect l="0" t="0" r="r" b="b"/>
                <a:pathLst>
                  <a:path w="9" h="105">
                    <a:moveTo>
                      <a:pt x="5" y="0"/>
                    </a:moveTo>
                    <a:cubicBezTo>
                      <a:pt x="2" y="0"/>
                      <a:pt x="0" y="2"/>
                      <a:pt x="0" y="5"/>
                    </a:cubicBezTo>
                    <a:cubicBezTo>
                      <a:pt x="0" y="101"/>
                      <a:pt x="0" y="101"/>
                      <a:pt x="0" y="101"/>
                    </a:cubicBezTo>
                    <a:cubicBezTo>
                      <a:pt x="0" y="103"/>
                      <a:pt x="2" y="105"/>
                      <a:pt x="5" y="105"/>
                    </a:cubicBezTo>
                    <a:cubicBezTo>
                      <a:pt x="7" y="105"/>
                      <a:pt x="9" y="103"/>
                      <a:pt x="9" y="101"/>
                    </a:cubicBezTo>
                    <a:cubicBezTo>
                      <a:pt x="9" y="5"/>
                      <a:pt x="9" y="5"/>
                      <a:pt x="9" y="5"/>
                    </a:cubicBezTo>
                    <a:cubicBezTo>
                      <a:pt x="9" y="2"/>
                      <a:pt x="7" y="0"/>
                      <a:pt x="5"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22" name="Freeform 534"/>
              <p:cNvSpPr>
                <a:spLocks/>
              </p:cNvSpPr>
              <p:nvPr/>
            </p:nvSpPr>
            <p:spPr bwMode="auto">
              <a:xfrm>
                <a:off x="11550651" y="3276600"/>
                <a:ext cx="25400" cy="115887"/>
              </a:xfrm>
              <a:custGeom>
                <a:avLst/>
                <a:gdLst>
                  <a:gd name="T0" fmla="*/ 5 w 10"/>
                  <a:gd name="T1" fmla="*/ 0 h 47"/>
                  <a:gd name="T2" fmla="*/ 0 w 10"/>
                  <a:gd name="T3" fmla="*/ 5 h 47"/>
                  <a:gd name="T4" fmla="*/ 0 w 10"/>
                  <a:gd name="T5" fmla="*/ 42 h 47"/>
                  <a:gd name="T6" fmla="*/ 5 w 10"/>
                  <a:gd name="T7" fmla="*/ 47 h 47"/>
                  <a:gd name="T8" fmla="*/ 10 w 10"/>
                  <a:gd name="T9" fmla="*/ 42 h 47"/>
                  <a:gd name="T10" fmla="*/ 10 w 10"/>
                  <a:gd name="T11" fmla="*/ 5 h 47"/>
                  <a:gd name="T12" fmla="*/ 5 w 10"/>
                  <a:gd name="T13" fmla="*/ 0 h 47"/>
                </a:gdLst>
                <a:ahLst/>
                <a:cxnLst>
                  <a:cxn ang="0">
                    <a:pos x="T0" y="T1"/>
                  </a:cxn>
                  <a:cxn ang="0">
                    <a:pos x="T2" y="T3"/>
                  </a:cxn>
                  <a:cxn ang="0">
                    <a:pos x="T4" y="T5"/>
                  </a:cxn>
                  <a:cxn ang="0">
                    <a:pos x="T6" y="T7"/>
                  </a:cxn>
                  <a:cxn ang="0">
                    <a:pos x="T8" y="T9"/>
                  </a:cxn>
                  <a:cxn ang="0">
                    <a:pos x="T10" y="T11"/>
                  </a:cxn>
                  <a:cxn ang="0">
                    <a:pos x="T12" y="T13"/>
                  </a:cxn>
                </a:cxnLst>
                <a:rect l="0" t="0" r="r" b="b"/>
                <a:pathLst>
                  <a:path w="10" h="47">
                    <a:moveTo>
                      <a:pt x="5" y="0"/>
                    </a:moveTo>
                    <a:cubicBezTo>
                      <a:pt x="2" y="0"/>
                      <a:pt x="0" y="3"/>
                      <a:pt x="0" y="5"/>
                    </a:cubicBezTo>
                    <a:cubicBezTo>
                      <a:pt x="0" y="42"/>
                      <a:pt x="0" y="42"/>
                      <a:pt x="0" y="42"/>
                    </a:cubicBezTo>
                    <a:cubicBezTo>
                      <a:pt x="0" y="44"/>
                      <a:pt x="2" y="47"/>
                      <a:pt x="5" y="47"/>
                    </a:cubicBezTo>
                    <a:cubicBezTo>
                      <a:pt x="8" y="47"/>
                      <a:pt x="10" y="44"/>
                      <a:pt x="10" y="42"/>
                    </a:cubicBezTo>
                    <a:cubicBezTo>
                      <a:pt x="10" y="5"/>
                      <a:pt x="10" y="5"/>
                      <a:pt x="10" y="5"/>
                    </a:cubicBezTo>
                    <a:cubicBezTo>
                      <a:pt x="10" y="3"/>
                      <a:pt x="8" y="0"/>
                      <a:pt x="5"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23" name="Freeform 535"/>
              <p:cNvSpPr>
                <a:spLocks/>
              </p:cNvSpPr>
              <p:nvPr/>
            </p:nvSpPr>
            <p:spPr bwMode="auto">
              <a:xfrm>
                <a:off x="11699876" y="3214688"/>
                <a:ext cx="25400" cy="142875"/>
              </a:xfrm>
              <a:custGeom>
                <a:avLst/>
                <a:gdLst>
                  <a:gd name="T0" fmla="*/ 0 w 10"/>
                  <a:gd name="T1" fmla="*/ 5 h 58"/>
                  <a:gd name="T2" fmla="*/ 0 w 10"/>
                  <a:gd name="T3" fmla="*/ 53 h 58"/>
                  <a:gd name="T4" fmla="*/ 5 w 10"/>
                  <a:gd name="T5" fmla="*/ 58 h 58"/>
                  <a:gd name="T6" fmla="*/ 10 w 10"/>
                  <a:gd name="T7" fmla="*/ 53 h 58"/>
                  <a:gd name="T8" fmla="*/ 10 w 10"/>
                  <a:gd name="T9" fmla="*/ 5 h 58"/>
                  <a:gd name="T10" fmla="*/ 5 w 10"/>
                  <a:gd name="T11" fmla="*/ 0 h 58"/>
                  <a:gd name="T12" fmla="*/ 0 w 10"/>
                  <a:gd name="T13" fmla="*/ 5 h 58"/>
                </a:gdLst>
                <a:ahLst/>
                <a:cxnLst>
                  <a:cxn ang="0">
                    <a:pos x="T0" y="T1"/>
                  </a:cxn>
                  <a:cxn ang="0">
                    <a:pos x="T2" y="T3"/>
                  </a:cxn>
                  <a:cxn ang="0">
                    <a:pos x="T4" y="T5"/>
                  </a:cxn>
                  <a:cxn ang="0">
                    <a:pos x="T6" y="T7"/>
                  </a:cxn>
                  <a:cxn ang="0">
                    <a:pos x="T8" y="T9"/>
                  </a:cxn>
                  <a:cxn ang="0">
                    <a:pos x="T10" y="T11"/>
                  </a:cxn>
                  <a:cxn ang="0">
                    <a:pos x="T12" y="T13"/>
                  </a:cxn>
                </a:cxnLst>
                <a:rect l="0" t="0" r="r" b="b"/>
                <a:pathLst>
                  <a:path w="10" h="58">
                    <a:moveTo>
                      <a:pt x="0" y="5"/>
                    </a:moveTo>
                    <a:cubicBezTo>
                      <a:pt x="0" y="53"/>
                      <a:pt x="0" y="53"/>
                      <a:pt x="0" y="53"/>
                    </a:cubicBezTo>
                    <a:cubicBezTo>
                      <a:pt x="0" y="56"/>
                      <a:pt x="2" y="58"/>
                      <a:pt x="5" y="58"/>
                    </a:cubicBezTo>
                    <a:cubicBezTo>
                      <a:pt x="8" y="58"/>
                      <a:pt x="10" y="56"/>
                      <a:pt x="10" y="53"/>
                    </a:cubicBezTo>
                    <a:cubicBezTo>
                      <a:pt x="10" y="5"/>
                      <a:pt x="10" y="5"/>
                      <a:pt x="10" y="5"/>
                    </a:cubicBezTo>
                    <a:cubicBezTo>
                      <a:pt x="10" y="2"/>
                      <a:pt x="8" y="0"/>
                      <a:pt x="5" y="0"/>
                    </a:cubicBezTo>
                    <a:cubicBezTo>
                      <a:pt x="2" y="0"/>
                      <a:pt x="0" y="2"/>
                      <a:pt x="0" y="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39" name="Freeform 536"/>
              <p:cNvSpPr>
                <a:spLocks noEditPoints="1"/>
              </p:cNvSpPr>
              <p:nvPr/>
            </p:nvSpPr>
            <p:spPr bwMode="auto">
              <a:xfrm>
                <a:off x="11628438" y="3444875"/>
                <a:ext cx="85725" cy="88900"/>
              </a:xfrm>
              <a:custGeom>
                <a:avLst/>
                <a:gdLst>
                  <a:gd name="T0" fmla="*/ 18 w 35"/>
                  <a:gd name="T1" fmla="*/ 0 h 36"/>
                  <a:gd name="T2" fmla="*/ 0 w 35"/>
                  <a:gd name="T3" fmla="*/ 18 h 36"/>
                  <a:gd name="T4" fmla="*/ 18 w 35"/>
                  <a:gd name="T5" fmla="*/ 36 h 36"/>
                  <a:gd name="T6" fmla="*/ 35 w 35"/>
                  <a:gd name="T7" fmla="*/ 18 h 36"/>
                  <a:gd name="T8" fmla="*/ 18 w 35"/>
                  <a:gd name="T9" fmla="*/ 0 h 36"/>
                  <a:gd name="T10" fmla="*/ 18 w 35"/>
                  <a:gd name="T11" fmla="*/ 27 h 36"/>
                  <a:gd name="T12" fmla="*/ 9 w 35"/>
                  <a:gd name="T13" fmla="*/ 18 h 36"/>
                  <a:gd name="T14" fmla="*/ 18 w 35"/>
                  <a:gd name="T15" fmla="*/ 10 h 36"/>
                  <a:gd name="T16" fmla="*/ 26 w 35"/>
                  <a:gd name="T17" fmla="*/ 18 h 36"/>
                  <a:gd name="T18" fmla="*/ 18 w 35"/>
                  <a:gd name="T19" fmla="*/ 27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36">
                    <a:moveTo>
                      <a:pt x="18" y="0"/>
                    </a:moveTo>
                    <a:cubicBezTo>
                      <a:pt x="8" y="0"/>
                      <a:pt x="0" y="8"/>
                      <a:pt x="0" y="18"/>
                    </a:cubicBezTo>
                    <a:cubicBezTo>
                      <a:pt x="0" y="28"/>
                      <a:pt x="8" y="36"/>
                      <a:pt x="18" y="36"/>
                    </a:cubicBezTo>
                    <a:cubicBezTo>
                      <a:pt x="27" y="36"/>
                      <a:pt x="35" y="28"/>
                      <a:pt x="35" y="18"/>
                    </a:cubicBezTo>
                    <a:cubicBezTo>
                      <a:pt x="35" y="8"/>
                      <a:pt x="27" y="0"/>
                      <a:pt x="18" y="0"/>
                    </a:cubicBezTo>
                    <a:close/>
                    <a:moveTo>
                      <a:pt x="18" y="27"/>
                    </a:moveTo>
                    <a:cubicBezTo>
                      <a:pt x="13" y="27"/>
                      <a:pt x="9" y="23"/>
                      <a:pt x="9" y="18"/>
                    </a:cubicBezTo>
                    <a:cubicBezTo>
                      <a:pt x="9" y="14"/>
                      <a:pt x="13" y="10"/>
                      <a:pt x="18" y="10"/>
                    </a:cubicBezTo>
                    <a:cubicBezTo>
                      <a:pt x="22" y="10"/>
                      <a:pt x="26" y="14"/>
                      <a:pt x="26" y="18"/>
                    </a:cubicBezTo>
                    <a:cubicBezTo>
                      <a:pt x="26" y="23"/>
                      <a:pt x="22" y="27"/>
                      <a:pt x="18" y="2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grpSp>
        <p:nvGrpSpPr>
          <p:cNvPr id="240" name="Group 239"/>
          <p:cNvGrpSpPr/>
          <p:nvPr/>
        </p:nvGrpSpPr>
        <p:grpSpPr>
          <a:xfrm>
            <a:off x="2534361" y="1791787"/>
            <a:ext cx="353268" cy="353268"/>
            <a:chOff x="7212975" y="1374657"/>
            <a:chExt cx="353268" cy="353268"/>
          </a:xfrm>
        </p:grpSpPr>
        <p:sp>
          <p:nvSpPr>
            <p:cNvPr id="241" name="Oval 240"/>
            <p:cNvSpPr/>
            <p:nvPr/>
          </p:nvSpPr>
          <p:spPr>
            <a:xfrm>
              <a:off x="7212975" y="1374657"/>
              <a:ext cx="353268" cy="353268"/>
            </a:xfrm>
            <a:prstGeom prst="ellipse">
              <a:avLst/>
            </a:prstGeom>
            <a:solidFill>
              <a:srgbClr val="02376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a:p>
          </p:txBody>
        </p:sp>
        <p:grpSp>
          <p:nvGrpSpPr>
            <p:cNvPr id="258" name="Group 257"/>
            <p:cNvGrpSpPr/>
            <p:nvPr/>
          </p:nvGrpSpPr>
          <p:grpSpPr>
            <a:xfrm>
              <a:off x="7263691" y="1449072"/>
              <a:ext cx="251836" cy="266185"/>
              <a:chOff x="11280776" y="3148013"/>
              <a:chExt cx="557213" cy="588962"/>
            </a:xfrm>
            <a:solidFill>
              <a:schemeClr val="bg1"/>
            </a:solidFill>
          </p:grpSpPr>
          <p:sp>
            <p:nvSpPr>
              <p:cNvPr id="277" name="Freeform 532"/>
              <p:cNvSpPr>
                <a:spLocks noEditPoints="1"/>
              </p:cNvSpPr>
              <p:nvPr/>
            </p:nvSpPr>
            <p:spPr bwMode="auto">
              <a:xfrm>
                <a:off x="11280776" y="3148013"/>
                <a:ext cx="557213" cy="588962"/>
              </a:xfrm>
              <a:custGeom>
                <a:avLst/>
                <a:gdLst>
                  <a:gd name="T0" fmla="*/ 222 w 225"/>
                  <a:gd name="T1" fmla="*/ 12 h 238"/>
                  <a:gd name="T2" fmla="*/ 174 w 225"/>
                  <a:gd name="T3" fmla="*/ 1 h 238"/>
                  <a:gd name="T4" fmla="*/ 171 w 225"/>
                  <a:gd name="T5" fmla="*/ 1 h 238"/>
                  <a:gd name="T6" fmla="*/ 114 w 225"/>
                  <a:gd name="T7" fmla="*/ 27 h 238"/>
                  <a:gd name="T8" fmla="*/ 61 w 225"/>
                  <a:gd name="T9" fmla="*/ 5 h 238"/>
                  <a:gd name="T10" fmla="*/ 58 w 225"/>
                  <a:gd name="T11" fmla="*/ 5 h 238"/>
                  <a:gd name="T12" fmla="*/ 3 w 225"/>
                  <a:gd name="T13" fmla="*/ 27 h 238"/>
                  <a:gd name="T14" fmla="*/ 0 w 225"/>
                  <a:gd name="T15" fmla="*/ 31 h 238"/>
                  <a:gd name="T16" fmla="*/ 0 w 225"/>
                  <a:gd name="T17" fmla="*/ 182 h 238"/>
                  <a:gd name="T18" fmla="*/ 2 w 225"/>
                  <a:gd name="T19" fmla="*/ 186 h 238"/>
                  <a:gd name="T20" fmla="*/ 6 w 225"/>
                  <a:gd name="T21" fmla="*/ 187 h 238"/>
                  <a:gd name="T22" fmla="*/ 60 w 225"/>
                  <a:gd name="T23" fmla="*/ 166 h 238"/>
                  <a:gd name="T24" fmla="*/ 112 w 225"/>
                  <a:gd name="T25" fmla="*/ 188 h 238"/>
                  <a:gd name="T26" fmla="*/ 114 w 225"/>
                  <a:gd name="T27" fmla="*/ 188 h 238"/>
                  <a:gd name="T28" fmla="*/ 116 w 225"/>
                  <a:gd name="T29" fmla="*/ 188 h 238"/>
                  <a:gd name="T30" fmla="*/ 124 w 225"/>
                  <a:gd name="T31" fmla="*/ 184 h 238"/>
                  <a:gd name="T32" fmla="*/ 154 w 225"/>
                  <a:gd name="T33" fmla="*/ 236 h 238"/>
                  <a:gd name="T34" fmla="*/ 158 w 225"/>
                  <a:gd name="T35" fmla="*/ 238 h 238"/>
                  <a:gd name="T36" fmla="*/ 162 w 225"/>
                  <a:gd name="T37" fmla="*/ 236 h 238"/>
                  <a:gd name="T38" fmla="*/ 199 w 225"/>
                  <a:gd name="T39" fmla="*/ 168 h 238"/>
                  <a:gd name="T40" fmla="*/ 220 w 225"/>
                  <a:gd name="T41" fmla="*/ 172 h 238"/>
                  <a:gd name="T42" fmla="*/ 224 w 225"/>
                  <a:gd name="T43" fmla="*/ 171 h 238"/>
                  <a:gd name="T44" fmla="*/ 225 w 225"/>
                  <a:gd name="T45" fmla="*/ 168 h 238"/>
                  <a:gd name="T46" fmla="*/ 225 w 225"/>
                  <a:gd name="T47" fmla="*/ 16 h 238"/>
                  <a:gd name="T48" fmla="*/ 222 w 225"/>
                  <a:gd name="T49" fmla="*/ 12 h 238"/>
                  <a:gd name="T50" fmla="*/ 158 w 225"/>
                  <a:gd name="T51" fmla="*/ 224 h 238"/>
                  <a:gd name="T52" fmla="*/ 119 w 225"/>
                  <a:gd name="T53" fmla="*/ 144 h 238"/>
                  <a:gd name="T54" fmla="*/ 158 w 225"/>
                  <a:gd name="T55" fmla="*/ 106 h 238"/>
                  <a:gd name="T56" fmla="*/ 196 w 225"/>
                  <a:gd name="T57" fmla="*/ 144 h 238"/>
                  <a:gd name="T58" fmla="*/ 158 w 225"/>
                  <a:gd name="T59" fmla="*/ 224 h 238"/>
                  <a:gd name="T60" fmla="*/ 216 w 225"/>
                  <a:gd name="T61" fmla="*/ 162 h 238"/>
                  <a:gd name="T62" fmla="*/ 202 w 225"/>
                  <a:gd name="T63" fmla="*/ 159 h 238"/>
                  <a:gd name="T64" fmla="*/ 205 w 225"/>
                  <a:gd name="T65" fmla="*/ 144 h 238"/>
                  <a:gd name="T66" fmla="*/ 158 w 225"/>
                  <a:gd name="T67" fmla="*/ 96 h 238"/>
                  <a:gd name="T68" fmla="*/ 110 w 225"/>
                  <a:gd name="T69" fmla="*/ 144 h 238"/>
                  <a:gd name="T70" fmla="*/ 120 w 225"/>
                  <a:gd name="T71" fmla="*/ 176 h 238"/>
                  <a:gd name="T72" fmla="*/ 114 w 225"/>
                  <a:gd name="T73" fmla="*/ 178 h 238"/>
                  <a:gd name="T74" fmla="*/ 61 w 225"/>
                  <a:gd name="T75" fmla="*/ 157 h 238"/>
                  <a:gd name="T76" fmla="*/ 60 w 225"/>
                  <a:gd name="T77" fmla="*/ 156 h 238"/>
                  <a:gd name="T78" fmla="*/ 58 w 225"/>
                  <a:gd name="T79" fmla="*/ 156 h 238"/>
                  <a:gd name="T80" fmla="*/ 9 w 225"/>
                  <a:gd name="T81" fmla="*/ 175 h 238"/>
                  <a:gd name="T82" fmla="*/ 9 w 225"/>
                  <a:gd name="T83" fmla="*/ 34 h 238"/>
                  <a:gd name="T84" fmla="*/ 60 w 225"/>
                  <a:gd name="T85" fmla="*/ 15 h 238"/>
                  <a:gd name="T86" fmla="*/ 112 w 225"/>
                  <a:gd name="T87" fmla="*/ 37 h 238"/>
                  <a:gd name="T88" fmla="*/ 116 w 225"/>
                  <a:gd name="T89" fmla="*/ 37 h 238"/>
                  <a:gd name="T90" fmla="*/ 174 w 225"/>
                  <a:gd name="T91" fmla="*/ 10 h 238"/>
                  <a:gd name="T92" fmla="*/ 216 w 225"/>
                  <a:gd name="T93" fmla="*/ 20 h 238"/>
                  <a:gd name="T94" fmla="*/ 216 w 225"/>
                  <a:gd name="T95" fmla="*/ 162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5" h="238">
                    <a:moveTo>
                      <a:pt x="222" y="12"/>
                    </a:moveTo>
                    <a:cubicBezTo>
                      <a:pt x="174" y="1"/>
                      <a:pt x="174" y="1"/>
                      <a:pt x="174" y="1"/>
                    </a:cubicBezTo>
                    <a:cubicBezTo>
                      <a:pt x="173" y="0"/>
                      <a:pt x="172" y="0"/>
                      <a:pt x="171" y="1"/>
                    </a:cubicBezTo>
                    <a:cubicBezTo>
                      <a:pt x="114" y="27"/>
                      <a:pt x="114" y="27"/>
                      <a:pt x="114" y="27"/>
                    </a:cubicBezTo>
                    <a:cubicBezTo>
                      <a:pt x="61" y="5"/>
                      <a:pt x="61" y="5"/>
                      <a:pt x="61" y="5"/>
                    </a:cubicBezTo>
                    <a:cubicBezTo>
                      <a:pt x="60" y="5"/>
                      <a:pt x="59" y="5"/>
                      <a:pt x="58" y="5"/>
                    </a:cubicBezTo>
                    <a:cubicBezTo>
                      <a:pt x="3" y="27"/>
                      <a:pt x="3" y="27"/>
                      <a:pt x="3" y="27"/>
                    </a:cubicBezTo>
                    <a:cubicBezTo>
                      <a:pt x="1" y="27"/>
                      <a:pt x="0" y="29"/>
                      <a:pt x="0" y="31"/>
                    </a:cubicBezTo>
                    <a:cubicBezTo>
                      <a:pt x="0" y="182"/>
                      <a:pt x="0" y="182"/>
                      <a:pt x="0" y="182"/>
                    </a:cubicBezTo>
                    <a:cubicBezTo>
                      <a:pt x="0" y="184"/>
                      <a:pt x="0" y="185"/>
                      <a:pt x="2" y="186"/>
                    </a:cubicBezTo>
                    <a:cubicBezTo>
                      <a:pt x="3" y="187"/>
                      <a:pt x="5" y="187"/>
                      <a:pt x="6" y="187"/>
                    </a:cubicBezTo>
                    <a:cubicBezTo>
                      <a:pt x="60" y="166"/>
                      <a:pt x="60" y="166"/>
                      <a:pt x="60" y="166"/>
                    </a:cubicBezTo>
                    <a:cubicBezTo>
                      <a:pt x="112" y="188"/>
                      <a:pt x="112" y="188"/>
                      <a:pt x="112" y="188"/>
                    </a:cubicBezTo>
                    <a:cubicBezTo>
                      <a:pt x="113" y="188"/>
                      <a:pt x="113" y="188"/>
                      <a:pt x="114" y="188"/>
                    </a:cubicBezTo>
                    <a:cubicBezTo>
                      <a:pt x="115" y="188"/>
                      <a:pt x="115" y="188"/>
                      <a:pt x="116" y="188"/>
                    </a:cubicBezTo>
                    <a:cubicBezTo>
                      <a:pt x="124" y="184"/>
                      <a:pt x="124" y="184"/>
                      <a:pt x="124" y="184"/>
                    </a:cubicBezTo>
                    <a:cubicBezTo>
                      <a:pt x="136" y="208"/>
                      <a:pt x="151" y="232"/>
                      <a:pt x="154" y="236"/>
                    </a:cubicBezTo>
                    <a:cubicBezTo>
                      <a:pt x="154" y="237"/>
                      <a:pt x="156" y="238"/>
                      <a:pt x="158" y="238"/>
                    </a:cubicBezTo>
                    <a:cubicBezTo>
                      <a:pt x="159" y="238"/>
                      <a:pt x="161" y="237"/>
                      <a:pt x="162" y="236"/>
                    </a:cubicBezTo>
                    <a:cubicBezTo>
                      <a:pt x="165" y="231"/>
                      <a:pt x="188" y="195"/>
                      <a:pt x="199" y="168"/>
                    </a:cubicBezTo>
                    <a:cubicBezTo>
                      <a:pt x="220" y="172"/>
                      <a:pt x="220" y="172"/>
                      <a:pt x="220" y="172"/>
                    </a:cubicBezTo>
                    <a:cubicBezTo>
                      <a:pt x="221" y="173"/>
                      <a:pt x="222" y="172"/>
                      <a:pt x="224" y="171"/>
                    </a:cubicBezTo>
                    <a:cubicBezTo>
                      <a:pt x="225" y="170"/>
                      <a:pt x="225" y="169"/>
                      <a:pt x="225" y="168"/>
                    </a:cubicBezTo>
                    <a:cubicBezTo>
                      <a:pt x="225" y="16"/>
                      <a:pt x="225" y="16"/>
                      <a:pt x="225" y="16"/>
                    </a:cubicBezTo>
                    <a:cubicBezTo>
                      <a:pt x="225" y="14"/>
                      <a:pt x="224" y="12"/>
                      <a:pt x="222" y="12"/>
                    </a:cubicBezTo>
                    <a:close/>
                    <a:moveTo>
                      <a:pt x="158" y="224"/>
                    </a:moveTo>
                    <a:cubicBezTo>
                      <a:pt x="144" y="203"/>
                      <a:pt x="119" y="160"/>
                      <a:pt x="119" y="144"/>
                    </a:cubicBezTo>
                    <a:cubicBezTo>
                      <a:pt x="119" y="123"/>
                      <a:pt x="136" y="106"/>
                      <a:pt x="158" y="106"/>
                    </a:cubicBezTo>
                    <a:cubicBezTo>
                      <a:pt x="179" y="106"/>
                      <a:pt x="196" y="123"/>
                      <a:pt x="196" y="144"/>
                    </a:cubicBezTo>
                    <a:cubicBezTo>
                      <a:pt x="196" y="160"/>
                      <a:pt x="171" y="203"/>
                      <a:pt x="158" y="224"/>
                    </a:cubicBezTo>
                    <a:close/>
                    <a:moveTo>
                      <a:pt x="216" y="162"/>
                    </a:moveTo>
                    <a:cubicBezTo>
                      <a:pt x="202" y="159"/>
                      <a:pt x="202" y="159"/>
                      <a:pt x="202" y="159"/>
                    </a:cubicBezTo>
                    <a:cubicBezTo>
                      <a:pt x="204" y="153"/>
                      <a:pt x="205" y="148"/>
                      <a:pt x="205" y="144"/>
                    </a:cubicBezTo>
                    <a:cubicBezTo>
                      <a:pt x="205" y="117"/>
                      <a:pt x="184" y="96"/>
                      <a:pt x="158" y="96"/>
                    </a:cubicBezTo>
                    <a:cubicBezTo>
                      <a:pt x="131" y="96"/>
                      <a:pt x="110" y="117"/>
                      <a:pt x="110" y="144"/>
                    </a:cubicBezTo>
                    <a:cubicBezTo>
                      <a:pt x="110" y="152"/>
                      <a:pt x="114" y="163"/>
                      <a:pt x="120" y="176"/>
                    </a:cubicBezTo>
                    <a:cubicBezTo>
                      <a:pt x="114" y="178"/>
                      <a:pt x="114" y="178"/>
                      <a:pt x="114" y="178"/>
                    </a:cubicBezTo>
                    <a:cubicBezTo>
                      <a:pt x="61" y="157"/>
                      <a:pt x="61" y="157"/>
                      <a:pt x="61" y="157"/>
                    </a:cubicBezTo>
                    <a:cubicBezTo>
                      <a:pt x="61" y="156"/>
                      <a:pt x="60" y="156"/>
                      <a:pt x="60" y="156"/>
                    </a:cubicBezTo>
                    <a:cubicBezTo>
                      <a:pt x="59" y="156"/>
                      <a:pt x="58" y="156"/>
                      <a:pt x="58" y="156"/>
                    </a:cubicBezTo>
                    <a:cubicBezTo>
                      <a:pt x="9" y="175"/>
                      <a:pt x="9" y="175"/>
                      <a:pt x="9" y="175"/>
                    </a:cubicBezTo>
                    <a:cubicBezTo>
                      <a:pt x="9" y="34"/>
                      <a:pt x="9" y="34"/>
                      <a:pt x="9" y="34"/>
                    </a:cubicBezTo>
                    <a:cubicBezTo>
                      <a:pt x="60" y="15"/>
                      <a:pt x="60" y="15"/>
                      <a:pt x="60" y="15"/>
                    </a:cubicBezTo>
                    <a:cubicBezTo>
                      <a:pt x="112" y="37"/>
                      <a:pt x="112" y="37"/>
                      <a:pt x="112" y="37"/>
                    </a:cubicBezTo>
                    <a:cubicBezTo>
                      <a:pt x="113" y="37"/>
                      <a:pt x="115" y="37"/>
                      <a:pt x="116" y="37"/>
                    </a:cubicBezTo>
                    <a:cubicBezTo>
                      <a:pt x="174" y="10"/>
                      <a:pt x="174" y="10"/>
                      <a:pt x="174" y="10"/>
                    </a:cubicBezTo>
                    <a:cubicBezTo>
                      <a:pt x="216" y="20"/>
                      <a:pt x="216" y="20"/>
                      <a:pt x="216" y="20"/>
                    </a:cubicBezTo>
                    <a:lnTo>
                      <a:pt x="216" y="16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78" name="Freeform 533"/>
              <p:cNvSpPr>
                <a:spLocks/>
              </p:cNvSpPr>
              <p:nvPr/>
            </p:nvSpPr>
            <p:spPr bwMode="auto">
              <a:xfrm>
                <a:off x="11417301" y="3232150"/>
                <a:ext cx="22225" cy="260350"/>
              </a:xfrm>
              <a:custGeom>
                <a:avLst/>
                <a:gdLst>
                  <a:gd name="T0" fmla="*/ 5 w 9"/>
                  <a:gd name="T1" fmla="*/ 0 h 105"/>
                  <a:gd name="T2" fmla="*/ 0 w 9"/>
                  <a:gd name="T3" fmla="*/ 5 h 105"/>
                  <a:gd name="T4" fmla="*/ 0 w 9"/>
                  <a:gd name="T5" fmla="*/ 101 h 105"/>
                  <a:gd name="T6" fmla="*/ 5 w 9"/>
                  <a:gd name="T7" fmla="*/ 105 h 105"/>
                  <a:gd name="T8" fmla="*/ 9 w 9"/>
                  <a:gd name="T9" fmla="*/ 101 h 105"/>
                  <a:gd name="T10" fmla="*/ 9 w 9"/>
                  <a:gd name="T11" fmla="*/ 5 h 105"/>
                  <a:gd name="T12" fmla="*/ 5 w 9"/>
                  <a:gd name="T13" fmla="*/ 0 h 105"/>
                </a:gdLst>
                <a:ahLst/>
                <a:cxnLst>
                  <a:cxn ang="0">
                    <a:pos x="T0" y="T1"/>
                  </a:cxn>
                  <a:cxn ang="0">
                    <a:pos x="T2" y="T3"/>
                  </a:cxn>
                  <a:cxn ang="0">
                    <a:pos x="T4" y="T5"/>
                  </a:cxn>
                  <a:cxn ang="0">
                    <a:pos x="T6" y="T7"/>
                  </a:cxn>
                  <a:cxn ang="0">
                    <a:pos x="T8" y="T9"/>
                  </a:cxn>
                  <a:cxn ang="0">
                    <a:pos x="T10" y="T11"/>
                  </a:cxn>
                  <a:cxn ang="0">
                    <a:pos x="T12" y="T13"/>
                  </a:cxn>
                </a:cxnLst>
                <a:rect l="0" t="0" r="r" b="b"/>
                <a:pathLst>
                  <a:path w="9" h="105">
                    <a:moveTo>
                      <a:pt x="5" y="0"/>
                    </a:moveTo>
                    <a:cubicBezTo>
                      <a:pt x="2" y="0"/>
                      <a:pt x="0" y="2"/>
                      <a:pt x="0" y="5"/>
                    </a:cubicBezTo>
                    <a:cubicBezTo>
                      <a:pt x="0" y="101"/>
                      <a:pt x="0" y="101"/>
                      <a:pt x="0" y="101"/>
                    </a:cubicBezTo>
                    <a:cubicBezTo>
                      <a:pt x="0" y="103"/>
                      <a:pt x="2" y="105"/>
                      <a:pt x="5" y="105"/>
                    </a:cubicBezTo>
                    <a:cubicBezTo>
                      <a:pt x="7" y="105"/>
                      <a:pt x="9" y="103"/>
                      <a:pt x="9" y="101"/>
                    </a:cubicBezTo>
                    <a:cubicBezTo>
                      <a:pt x="9" y="5"/>
                      <a:pt x="9" y="5"/>
                      <a:pt x="9" y="5"/>
                    </a:cubicBezTo>
                    <a:cubicBezTo>
                      <a:pt x="9" y="2"/>
                      <a:pt x="7" y="0"/>
                      <a:pt x="5"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79" name="Freeform 534"/>
              <p:cNvSpPr>
                <a:spLocks/>
              </p:cNvSpPr>
              <p:nvPr/>
            </p:nvSpPr>
            <p:spPr bwMode="auto">
              <a:xfrm>
                <a:off x="11550651" y="3276600"/>
                <a:ext cx="25400" cy="115887"/>
              </a:xfrm>
              <a:custGeom>
                <a:avLst/>
                <a:gdLst>
                  <a:gd name="T0" fmla="*/ 5 w 10"/>
                  <a:gd name="T1" fmla="*/ 0 h 47"/>
                  <a:gd name="T2" fmla="*/ 0 w 10"/>
                  <a:gd name="T3" fmla="*/ 5 h 47"/>
                  <a:gd name="T4" fmla="*/ 0 w 10"/>
                  <a:gd name="T5" fmla="*/ 42 h 47"/>
                  <a:gd name="T6" fmla="*/ 5 w 10"/>
                  <a:gd name="T7" fmla="*/ 47 h 47"/>
                  <a:gd name="T8" fmla="*/ 10 w 10"/>
                  <a:gd name="T9" fmla="*/ 42 h 47"/>
                  <a:gd name="T10" fmla="*/ 10 w 10"/>
                  <a:gd name="T11" fmla="*/ 5 h 47"/>
                  <a:gd name="T12" fmla="*/ 5 w 10"/>
                  <a:gd name="T13" fmla="*/ 0 h 47"/>
                </a:gdLst>
                <a:ahLst/>
                <a:cxnLst>
                  <a:cxn ang="0">
                    <a:pos x="T0" y="T1"/>
                  </a:cxn>
                  <a:cxn ang="0">
                    <a:pos x="T2" y="T3"/>
                  </a:cxn>
                  <a:cxn ang="0">
                    <a:pos x="T4" y="T5"/>
                  </a:cxn>
                  <a:cxn ang="0">
                    <a:pos x="T6" y="T7"/>
                  </a:cxn>
                  <a:cxn ang="0">
                    <a:pos x="T8" y="T9"/>
                  </a:cxn>
                  <a:cxn ang="0">
                    <a:pos x="T10" y="T11"/>
                  </a:cxn>
                  <a:cxn ang="0">
                    <a:pos x="T12" y="T13"/>
                  </a:cxn>
                </a:cxnLst>
                <a:rect l="0" t="0" r="r" b="b"/>
                <a:pathLst>
                  <a:path w="10" h="47">
                    <a:moveTo>
                      <a:pt x="5" y="0"/>
                    </a:moveTo>
                    <a:cubicBezTo>
                      <a:pt x="2" y="0"/>
                      <a:pt x="0" y="3"/>
                      <a:pt x="0" y="5"/>
                    </a:cubicBezTo>
                    <a:cubicBezTo>
                      <a:pt x="0" y="42"/>
                      <a:pt x="0" y="42"/>
                      <a:pt x="0" y="42"/>
                    </a:cubicBezTo>
                    <a:cubicBezTo>
                      <a:pt x="0" y="44"/>
                      <a:pt x="2" y="47"/>
                      <a:pt x="5" y="47"/>
                    </a:cubicBezTo>
                    <a:cubicBezTo>
                      <a:pt x="8" y="47"/>
                      <a:pt x="10" y="44"/>
                      <a:pt x="10" y="42"/>
                    </a:cubicBezTo>
                    <a:cubicBezTo>
                      <a:pt x="10" y="5"/>
                      <a:pt x="10" y="5"/>
                      <a:pt x="10" y="5"/>
                    </a:cubicBezTo>
                    <a:cubicBezTo>
                      <a:pt x="10" y="3"/>
                      <a:pt x="8" y="0"/>
                      <a:pt x="5"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80" name="Freeform 535"/>
              <p:cNvSpPr>
                <a:spLocks/>
              </p:cNvSpPr>
              <p:nvPr/>
            </p:nvSpPr>
            <p:spPr bwMode="auto">
              <a:xfrm>
                <a:off x="11699876" y="3214688"/>
                <a:ext cx="25400" cy="142875"/>
              </a:xfrm>
              <a:custGeom>
                <a:avLst/>
                <a:gdLst>
                  <a:gd name="T0" fmla="*/ 0 w 10"/>
                  <a:gd name="T1" fmla="*/ 5 h 58"/>
                  <a:gd name="T2" fmla="*/ 0 w 10"/>
                  <a:gd name="T3" fmla="*/ 53 h 58"/>
                  <a:gd name="T4" fmla="*/ 5 w 10"/>
                  <a:gd name="T5" fmla="*/ 58 h 58"/>
                  <a:gd name="T6" fmla="*/ 10 w 10"/>
                  <a:gd name="T7" fmla="*/ 53 h 58"/>
                  <a:gd name="T8" fmla="*/ 10 w 10"/>
                  <a:gd name="T9" fmla="*/ 5 h 58"/>
                  <a:gd name="T10" fmla="*/ 5 w 10"/>
                  <a:gd name="T11" fmla="*/ 0 h 58"/>
                  <a:gd name="T12" fmla="*/ 0 w 10"/>
                  <a:gd name="T13" fmla="*/ 5 h 58"/>
                </a:gdLst>
                <a:ahLst/>
                <a:cxnLst>
                  <a:cxn ang="0">
                    <a:pos x="T0" y="T1"/>
                  </a:cxn>
                  <a:cxn ang="0">
                    <a:pos x="T2" y="T3"/>
                  </a:cxn>
                  <a:cxn ang="0">
                    <a:pos x="T4" y="T5"/>
                  </a:cxn>
                  <a:cxn ang="0">
                    <a:pos x="T6" y="T7"/>
                  </a:cxn>
                  <a:cxn ang="0">
                    <a:pos x="T8" y="T9"/>
                  </a:cxn>
                  <a:cxn ang="0">
                    <a:pos x="T10" y="T11"/>
                  </a:cxn>
                  <a:cxn ang="0">
                    <a:pos x="T12" y="T13"/>
                  </a:cxn>
                </a:cxnLst>
                <a:rect l="0" t="0" r="r" b="b"/>
                <a:pathLst>
                  <a:path w="10" h="58">
                    <a:moveTo>
                      <a:pt x="0" y="5"/>
                    </a:moveTo>
                    <a:cubicBezTo>
                      <a:pt x="0" y="53"/>
                      <a:pt x="0" y="53"/>
                      <a:pt x="0" y="53"/>
                    </a:cubicBezTo>
                    <a:cubicBezTo>
                      <a:pt x="0" y="56"/>
                      <a:pt x="2" y="58"/>
                      <a:pt x="5" y="58"/>
                    </a:cubicBezTo>
                    <a:cubicBezTo>
                      <a:pt x="8" y="58"/>
                      <a:pt x="10" y="56"/>
                      <a:pt x="10" y="53"/>
                    </a:cubicBezTo>
                    <a:cubicBezTo>
                      <a:pt x="10" y="5"/>
                      <a:pt x="10" y="5"/>
                      <a:pt x="10" y="5"/>
                    </a:cubicBezTo>
                    <a:cubicBezTo>
                      <a:pt x="10" y="2"/>
                      <a:pt x="8" y="0"/>
                      <a:pt x="5" y="0"/>
                    </a:cubicBezTo>
                    <a:cubicBezTo>
                      <a:pt x="2" y="0"/>
                      <a:pt x="0" y="2"/>
                      <a:pt x="0" y="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81" name="Freeform 536"/>
              <p:cNvSpPr>
                <a:spLocks noEditPoints="1"/>
              </p:cNvSpPr>
              <p:nvPr/>
            </p:nvSpPr>
            <p:spPr bwMode="auto">
              <a:xfrm>
                <a:off x="11628438" y="3444875"/>
                <a:ext cx="85725" cy="88900"/>
              </a:xfrm>
              <a:custGeom>
                <a:avLst/>
                <a:gdLst>
                  <a:gd name="T0" fmla="*/ 18 w 35"/>
                  <a:gd name="T1" fmla="*/ 0 h 36"/>
                  <a:gd name="T2" fmla="*/ 0 w 35"/>
                  <a:gd name="T3" fmla="*/ 18 h 36"/>
                  <a:gd name="T4" fmla="*/ 18 w 35"/>
                  <a:gd name="T5" fmla="*/ 36 h 36"/>
                  <a:gd name="T6" fmla="*/ 35 w 35"/>
                  <a:gd name="T7" fmla="*/ 18 h 36"/>
                  <a:gd name="T8" fmla="*/ 18 w 35"/>
                  <a:gd name="T9" fmla="*/ 0 h 36"/>
                  <a:gd name="T10" fmla="*/ 18 w 35"/>
                  <a:gd name="T11" fmla="*/ 27 h 36"/>
                  <a:gd name="T12" fmla="*/ 9 w 35"/>
                  <a:gd name="T13" fmla="*/ 18 h 36"/>
                  <a:gd name="T14" fmla="*/ 18 w 35"/>
                  <a:gd name="T15" fmla="*/ 10 h 36"/>
                  <a:gd name="T16" fmla="*/ 26 w 35"/>
                  <a:gd name="T17" fmla="*/ 18 h 36"/>
                  <a:gd name="T18" fmla="*/ 18 w 35"/>
                  <a:gd name="T19" fmla="*/ 27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36">
                    <a:moveTo>
                      <a:pt x="18" y="0"/>
                    </a:moveTo>
                    <a:cubicBezTo>
                      <a:pt x="8" y="0"/>
                      <a:pt x="0" y="8"/>
                      <a:pt x="0" y="18"/>
                    </a:cubicBezTo>
                    <a:cubicBezTo>
                      <a:pt x="0" y="28"/>
                      <a:pt x="8" y="36"/>
                      <a:pt x="18" y="36"/>
                    </a:cubicBezTo>
                    <a:cubicBezTo>
                      <a:pt x="27" y="36"/>
                      <a:pt x="35" y="28"/>
                      <a:pt x="35" y="18"/>
                    </a:cubicBezTo>
                    <a:cubicBezTo>
                      <a:pt x="35" y="8"/>
                      <a:pt x="27" y="0"/>
                      <a:pt x="18" y="0"/>
                    </a:cubicBezTo>
                    <a:close/>
                    <a:moveTo>
                      <a:pt x="18" y="27"/>
                    </a:moveTo>
                    <a:cubicBezTo>
                      <a:pt x="13" y="27"/>
                      <a:pt x="9" y="23"/>
                      <a:pt x="9" y="18"/>
                    </a:cubicBezTo>
                    <a:cubicBezTo>
                      <a:pt x="9" y="14"/>
                      <a:pt x="13" y="10"/>
                      <a:pt x="18" y="10"/>
                    </a:cubicBezTo>
                    <a:cubicBezTo>
                      <a:pt x="22" y="10"/>
                      <a:pt x="26" y="14"/>
                      <a:pt x="26" y="18"/>
                    </a:cubicBezTo>
                    <a:cubicBezTo>
                      <a:pt x="26" y="23"/>
                      <a:pt x="22" y="27"/>
                      <a:pt x="18" y="2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grpSp>
        <p:nvGrpSpPr>
          <p:cNvPr id="282" name="Group 281"/>
          <p:cNvGrpSpPr/>
          <p:nvPr/>
        </p:nvGrpSpPr>
        <p:grpSpPr>
          <a:xfrm>
            <a:off x="3244626" y="1791787"/>
            <a:ext cx="353268" cy="353268"/>
            <a:chOff x="7212975" y="1374657"/>
            <a:chExt cx="353268" cy="353268"/>
          </a:xfrm>
        </p:grpSpPr>
        <p:sp>
          <p:nvSpPr>
            <p:cNvPr id="283" name="Oval 282"/>
            <p:cNvSpPr/>
            <p:nvPr/>
          </p:nvSpPr>
          <p:spPr>
            <a:xfrm>
              <a:off x="7212975" y="1374657"/>
              <a:ext cx="353268" cy="353268"/>
            </a:xfrm>
            <a:prstGeom prst="ellipse">
              <a:avLst/>
            </a:prstGeom>
            <a:solidFill>
              <a:srgbClr val="02376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a:p>
          </p:txBody>
        </p:sp>
        <p:grpSp>
          <p:nvGrpSpPr>
            <p:cNvPr id="284" name="Group 283"/>
            <p:cNvGrpSpPr/>
            <p:nvPr/>
          </p:nvGrpSpPr>
          <p:grpSpPr>
            <a:xfrm>
              <a:off x="7263691" y="1449072"/>
              <a:ext cx="251836" cy="266185"/>
              <a:chOff x="11280776" y="3148013"/>
              <a:chExt cx="557213" cy="588962"/>
            </a:xfrm>
            <a:solidFill>
              <a:schemeClr val="bg1"/>
            </a:solidFill>
          </p:grpSpPr>
          <p:sp>
            <p:nvSpPr>
              <p:cNvPr id="285" name="Freeform 532"/>
              <p:cNvSpPr>
                <a:spLocks noEditPoints="1"/>
              </p:cNvSpPr>
              <p:nvPr/>
            </p:nvSpPr>
            <p:spPr bwMode="auto">
              <a:xfrm>
                <a:off x="11280776" y="3148013"/>
                <a:ext cx="557213" cy="588962"/>
              </a:xfrm>
              <a:custGeom>
                <a:avLst/>
                <a:gdLst>
                  <a:gd name="T0" fmla="*/ 222 w 225"/>
                  <a:gd name="T1" fmla="*/ 12 h 238"/>
                  <a:gd name="T2" fmla="*/ 174 w 225"/>
                  <a:gd name="T3" fmla="*/ 1 h 238"/>
                  <a:gd name="T4" fmla="*/ 171 w 225"/>
                  <a:gd name="T5" fmla="*/ 1 h 238"/>
                  <a:gd name="T6" fmla="*/ 114 w 225"/>
                  <a:gd name="T7" fmla="*/ 27 h 238"/>
                  <a:gd name="T8" fmla="*/ 61 w 225"/>
                  <a:gd name="T9" fmla="*/ 5 h 238"/>
                  <a:gd name="T10" fmla="*/ 58 w 225"/>
                  <a:gd name="T11" fmla="*/ 5 h 238"/>
                  <a:gd name="T12" fmla="*/ 3 w 225"/>
                  <a:gd name="T13" fmla="*/ 27 h 238"/>
                  <a:gd name="T14" fmla="*/ 0 w 225"/>
                  <a:gd name="T15" fmla="*/ 31 h 238"/>
                  <a:gd name="T16" fmla="*/ 0 w 225"/>
                  <a:gd name="T17" fmla="*/ 182 h 238"/>
                  <a:gd name="T18" fmla="*/ 2 w 225"/>
                  <a:gd name="T19" fmla="*/ 186 h 238"/>
                  <a:gd name="T20" fmla="*/ 6 w 225"/>
                  <a:gd name="T21" fmla="*/ 187 h 238"/>
                  <a:gd name="T22" fmla="*/ 60 w 225"/>
                  <a:gd name="T23" fmla="*/ 166 h 238"/>
                  <a:gd name="T24" fmla="*/ 112 w 225"/>
                  <a:gd name="T25" fmla="*/ 188 h 238"/>
                  <a:gd name="T26" fmla="*/ 114 w 225"/>
                  <a:gd name="T27" fmla="*/ 188 h 238"/>
                  <a:gd name="T28" fmla="*/ 116 w 225"/>
                  <a:gd name="T29" fmla="*/ 188 h 238"/>
                  <a:gd name="T30" fmla="*/ 124 w 225"/>
                  <a:gd name="T31" fmla="*/ 184 h 238"/>
                  <a:gd name="T32" fmla="*/ 154 w 225"/>
                  <a:gd name="T33" fmla="*/ 236 h 238"/>
                  <a:gd name="T34" fmla="*/ 158 w 225"/>
                  <a:gd name="T35" fmla="*/ 238 h 238"/>
                  <a:gd name="T36" fmla="*/ 162 w 225"/>
                  <a:gd name="T37" fmla="*/ 236 h 238"/>
                  <a:gd name="T38" fmla="*/ 199 w 225"/>
                  <a:gd name="T39" fmla="*/ 168 h 238"/>
                  <a:gd name="T40" fmla="*/ 220 w 225"/>
                  <a:gd name="T41" fmla="*/ 172 h 238"/>
                  <a:gd name="T42" fmla="*/ 224 w 225"/>
                  <a:gd name="T43" fmla="*/ 171 h 238"/>
                  <a:gd name="T44" fmla="*/ 225 w 225"/>
                  <a:gd name="T45" fmla="*/ 168 h 238"/>
                  <a:gd name="T46" fmla="*/ 225 w 225"/>
                  <a:gd name="T47" fmla="*/ 16 h 238"/>
                  <a:gd name="T48" fmla="*/ 222 w 225"/>
                  <a:gd name="T49" fmla="*/ 12 h 238"/>
                  <a:gd name="T50" fmla="*/ 158 w 225"/>
                  <a:gd name="T51" fmla="*/ 224 h 238"/>
                  <a:gd name="T52" fmla="*/ 119 w 225"/>
                  <a:gd name="T53" fmla="*/ 144 h 238"/>
                  <a:gd name="T54" fmla="*/ 158 w 225"/>
                  <a:gd name="T55" fmla="*/ 106 h 238"/>
                  <a:gd name="T56" fmla="*/ 196 w 225"/>
                  <a:gd name="T57" fmla="*/ 144 h 238"/>
                  <a:gd name="T58" fmla="*/ 158 w 225"/>
                  <a:gd name="T59" fmla="*/ 224 h 238"/>
                  <a:gd name="T60" fmla="*/ 216 w 225"/>
                  <a:gd name="T61" fmla="*/ 162 h 238"/>
                  <a:gd name="T62" fmla="*/ 202 w 225"/>
                  <a:gd name="T63" fmla="*/ 159 h 238"/>
                  <a:gd name="T64" fmla="*/ 205 w 225"/>
                  <a:gd name="T65" fmla="*/ 144 h 238"/>
                  <a:gd name="T66" fmla="*/ 158 w 225"/>
                  <a:gd name="T67" fmla="*/ 96 h 238"/>
                  <a:gd name="T68" fmla="*/ 110 w 225"/>
                  <a:gd name="T69" fmla="*/ 144 h 238"/>
                  <a:gd name="T70" fmla="*/ 120 w 225"/>
                  <a:gd name="T71" fmla="*/ 176 h 238"/>
                  <a:gd name="T72" fmla="*/ 114 w 225"/>
                  <a:gd name="T73" fmla="*/ 178 h 238"/>
                  <a:gd name="T74" fmla="*/ 61 w 225"/>
                  <a:gd name="T75" fmla="*/ 157 h 238"/>
                  <a:gd name="T76" fmla="*/ 60 w 225"/>
                  <a:gd name="T77" fmla="*/ 156 h 238"/>
                  <a:gd name="T78" fmla="*/ 58 w 225"/>
                  <a:gd name="T79" fmla="*/ 156 h 238"/>
                  <a:gd name="T80" fmla="*/ 9 w 225"/>
                  <a:gd name="T81" fmla="*/ 175 h 238"/>
                  <a:gd name="T82" fmla="*/ 9 w 225"/>
                  <a:gd name="T83" fmla="*/ 34 h 238"/>
                  <a:gd name="T84" fmla="*/ 60 w 225"/>
                  <a:gd name="T85" fmla="*/ 15 h 238"/>
                  <a:gd name="T86" fmla="*/ 112 w 225"/>
                  <a:gd name="T87" fmla="*/ 37 h 238"/>
                  <a:gd name="T88" fmla="*/ 116 w 225"/>
                  <a:gd name="T89" fmla="*/ 37 h 238"/>
                  <a:gd name="T90" fmla="*/ 174 w 225"/>
                  <a:gd name="T91" fmla="*/ 10 h 238"/>
                  <a:gd name="T92" fmla="*/ 216 w 225"/>
                  <a:gd name="T93" fmla="*/ 20 h 238"/>
                  <a:gd name="T94" fmla="*/ 216 w 225"/>
                  <a:gd name="T95" fmla="*/ 162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5" h="238">
                    <a:moveTo>
                      <a:pt x="222" y="12"/>
                    </a:moveTo>
                    <a:cubicBezTo>
                      <a:pt x="174" y="1"/>
                      <a:pt x="174" y="1"/>
                      <a:pt x="174" y="1"/>
                    </a:cubicBezTo>
                    <a:cubicBezTo>
                      <a:pt x="173" y="0"/>
                      <a:pt x="172" y="0"/>
                      <a:pt x="171" y="1"/>
                    </a:cubicBezTo>
                    <a:cubicBezTo>
                      <a:pt x="114" y="27"/>
                      <a:pt x="114" y="27"/>
                      <a:pt x="114" y="27"/>
                    </a:cubicBezTo>
                    <a:cubicBezTo>
                      <a:pt x="61" y="5"/>
                      <a:pt x="61" y="5"/>
                      <a:pt x="61" y="5"/>
                    </a:cubicBezTo>
                    <a:cubicBezTo>
                      <a:pt x="60" y="5"/>
                      <a:pt x="59" y="5"/>
                      <a:pt x="58" y="5"/>
                    </a:cubicBezTo>
                    <a:cubicBezTo>
                      <a:pt x="3" y="27"/>
                      <a:pt x="3" y="27"/>
                      <a:pt x="3" y="27"/>
                    </a:cubicBezTo>
                    <a:cubicBezTo>
                      <a:pt x="1" y="27"/>
                      <a:pt x="0" y="29"/>
                      <a:pt x="0" y="31"/>
                    </a:cubicBezTo>
                    <a:cubicBezTo>
                      <a:pt x="0" y="182"/>
                      <a:pt x="0" y="182"/>
                      <a:pt x="0" y="182"/>
                    </a:cubicBezTo>
                    <a:cubicBezTo>
                      <a:pt x="0" y="184"/>
                      <a:pt x="0" y="185"/>
                      <a:pt x="2" y="186"/>
                    </a:cubicBezTo>
                    <a:cubicBezTo>
                      <a:pt x="3" y="187"/>
                      <a:pt x="5" y="187"/>
                      <a:pt x="6" y="187"/>
                    </a:cubicBezTo>
                    <a:cubicBezTo>
                      <a:pt x="60" y="166"/>
                      <a:pt x="60" y="166"/>
                      <a:pt x="60" y="166"/>
                    </a:cubicBezTo>
                    <a:cubicBezTo>
                      <a:pt x="112" y="188"/>
                      <a:pt x="112" y="188"/>
                      <a:pt x="112" y="188"/>
                    </a:cubicBezTo>
                    <a:cubicBezTo>
                      <a:pt x="113" y="188"/>
                      <a:pt x="113" y="188"/>
                      <a:pt x="114" y="188"/>
                    </a:cubicBezTo>
                    <a:cubicBezTo>
                      <a:pt x="115" y="188"/>
                      <a:pt x="115" y="188"/>
                      <a:pt x="116" y="188"/>
                    </a:cubicBezTo>
                    <a:cubicBezTo>
                      <a:pt x="124" y="184"/>
                      <a:pt x="124" y="184"/>
                      <a:pt x="124" y="184"/>
                    </a:cubicBezTo>
                    <a:cubicBezTo>
                      <a:pt x="136" y="208"/>
                      <a:pt x="151" y="232"/>
                      <a:pt x="154" y="236"/>
                    </a:cubicBezTo>
                    <a:cubicBezTo>
                      <a:pt x="154" y="237"/>
                      <a:pt x="156" y="238"/>
                      <a:pt x="158" y="238"/>
                    </a:cubicBezTo>
                    <a:cubicBezTo>
                      <a:pt x="159" y="238"/>
                      <a:pt x="161" y="237"/>
                      <a:pt x="162" y="236"/>
                    </a:cubicBezTo>
                    <a:cubicBezTo>
                      <a:pt x="165" y="231"/>
                      <a:pt x="188" y="195"/>
                      <a:pt x="199" y="168"/>
                    </a:cubicBezTo>
                    <a:cubicBezTo>
                      <a:pt x="220" y="172"/>
                      <a:pt x="220" y="172"/>
                      <a:pt x="220" y="172"/>
                    </a:cubicBezTo>
                    <a:cubicBezTo>
                      <a:pt x="221" y="173"/>
                      <a:pt x="222" y="172"/>
                      <a:pt x="224" y="171"/>
                    </a:cubicBezTo>
                    <a:cubicBezTo>
                      <a:pt x="225" y="170"/>
                      <a:pt x="225" y="169"/>
                      <a:pt x="225" y="168"/>
                    </a:cubicBezTo>
                    <a:cubicBezTo>
                      <a:pt x="225" y="16"/>
                      <a:pt x="225" y="16"/>
                      <a:pt x="225" y="16"/>
                    </a:cubicBezTo>
                    <a:cubicBezTo>
                      <a:pt x="225" y="14"/>
                      <a:pt x="224" y="12"/>
                      <a:pt x="222" y="12"/>
                    </a:cubicBezTo>
                    <a:close/>
                    <a:moveTo>
                      <a:pt x="158" y="224"/>
                    </a:moveTo>
                    <a:cubicBezTo>
                      <a:pt x="144" y="203"/>
                      <a:pt x="119" y="160"/>
                      <a:pt x="119" y="144"/>
                    </a:cubicBezTo>
                    <a:cubicBezTo>
                      <a:pt x="119" y="123"/>
                      <a:pt x="136" y="106"/>
                      <a:pt x="158" y="106"/>
                    </a:cubicBezTo>
                    <a:cubicBezTo>
                      <a:pt x="179" y="106"/>
                      <a:pt x="196" y="123"/>
                      <a:pt x="196" y="144"/>
                    </a:cubicBezTo>
                    <a:cubicBezTo>
                      <a:pt x="196" y="160"/>
                      <a:pt x="171" y="203"/>
                      <a:pt x="158" y="224"/>
                    </a:cubicBezTo>
                    <a:close/>
                    <a:moveTo>
                      <a:pt x="216" y="162"/>
                    </a:moveTo>
                    <a:cubicBezTo>
                      <a:pt x="202" y="159"/>
                      <a:pt x="202" y="159"/>
                      <a:pt x="202" y="159"/>
                    </a:cubicBezTo>
                    <a:cubicBezTo>
                      <a:pt x="204" y="153"/>
                      <a:pt x="205" y="148"/>
                      <a:pt x="205" y="144"/>
                    </a:cubicBezTo>
                    <a:cubicBezTo>
                      <a:pt x="205" y="117"/>
                      <a:pt x="184" y="96"/>
                      <a:pt x="158" y="96"/>
                    </a:cubicBezTo>
                    <a:cubicBezTo>
                      <a:pt x="131" y="96"/>
                      <a:pt x="110" y="117"/>
                      <a:pt x="110" y="144"/>
                    </a:cubicBezTo>
                    <a:cubicBezTo>
                      <a:pt x="110" y="152"/>
                      <a:pt x="114" y="163"/>
                      <a:pt x="120" y="176"/>
                    </a:cubicBezTo>
                    <a:cubicBezTo>
                      <a:pt x="114" y="178"/>
                      <a:pt x="114" y="178"/>
                      <a:pt x="114" y="178"/>
                    </a:cubicBezTo>
                    <a:cubicBezTo>
                      <a:pt x="61" y="157"/>
                      <a:pt x="61" y="157"/>
                      <a:pt x="61" y="157"/>
                    </a:cubicBezTo>
                    <a:cubicBezTo>
                      <a:pt x="61" y="156"/>
                      <a:pt x="60" y="156"/>
                      <a:pt x="60" y="156"/>
                    </a:cubicBezTo>
                    <a:cubicBezTo>
                      <a:pt x="59" y="156"/>
                      <a:pt x="58" y="156"/>
                      <a:pt x="58" y="156"/>
                    </a:cubicBezTo>
                    <a:cubicBezTo>
                      <a:pt x="9" y="175"/>
                      <a:pt x="9" y="175"/>
                      <a:pt x="9" y="175"/>
                    </a:cubicBezTo>
                    <a:cubicBezTo>
                      <a:pt x="9" y="34"/>
                      <a:pt x="9" y="34"/>
                      <a:pt x="9" y="34"/>
                    </a:cubicBezTo>
                    <a:cubicBezTo>
                      <a:pt x="60" y="15"/>
                      <a:pt x="60" y="15"/>
                      <a:pt x="60" y="15"/>
                    </a:cubicBezTo>
                    <a:cubicBezTo>
                      <a:pt x="112" y="37"/>
                      <a:pt x="112" y="37"/>
                      <a:pt x="112" y="37"/>
                    </a:cubicBezTo>
                    <a:cubicBezTo>
                      <a:pt x="113" y="37"/>
                      <a:pt x="115" y="37"/>
                      <a:pt x="116" y="37"/>
                    </a:cubicBezTo>
                    <a:cubicBezTo>
                      <a:pt x="174" y="10"/>
                      <a:pt x="174" y="10"/>
                      <a:pt x="174" y="10"/>
                    </a:cubicBezTo>
                    <a:cubicBezTo>
                      <a:pt x="216" y="20"/>
                      <a:pt x="216" y="20"/>
                      <a:pt x="216" y="20"/>
                    </a:cubicBezTo>
                    <a:lnTo>
                      <a:pt x="216" y="16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86" name="Freeform 533"/>
              <p:cNvSpPr>
                <a:spLocks/>
              </p:cNvSpPr>
              <p:nvPr/>
            </p:nvSpPr>
            <p:spPr bwMode="auto">
              <a:xfrm>
                <a:off x="11417301" y="3232150"/>
                <a:ext cx="22225" cy="260350"/>
              </a:xfrm>
              <a:custGeom>
                <a:avLst/>
                <a:gdLst>
                  <a:gd name="T0" fmla="*/ 5 w 9"/>
                  <a:gd name="T1" fmla="*/ 0 h 105"/>
                  <a:gd name="T2" fmla="*/ 0 w 9"/>
                  <a:gd name="T3" fmla="*/ 5 h 105"/>
                  <a:gd name="T4" fmla="*/ 0 w 9"/>
                  <a:gd name="T5" fmla="*/ 101 h 105"/>
                  <a:gd name="T6" fmla="*/ 5 w 9"/>
                  <a:gd name="T7" fmla="*/ 105 h 105"/>
                  <a:gd name="T8" fmla="*/ 9 w 9"/>
                  <a:gd name="T9" fmla="*/ 101 h 105"/>
                  <a:gd name="T10" fmla="*/ 9 w 9"/>
                  <a:gd name="T11" fmla="*/ 5 h 105"/>
                  <a:gd name="T12" fmla="*/ 5 w 9"/>
                  <a:gd name="T13" fmla="*/ 0 h 105"/>
                </a:gdLst>
                <a:ahLst/>
                <a:cxnLst>
                  <a:cxn ang="0">
                    <a:pos x="T0" y="T1"/>
                  </a:cxn>
                  <a:cxn ang="0">
                    <a:pos x="T2" y="T3"/>
                  </a:cxn>
                  <a:cxn ang="0">
                    <a:pos x="T4" y="T5"/>
                  </a:cxn>
                  <a:cxn ang="0">
                    <a:pos x="T6" y="T7"/>
                  </a:cxn>
                  <a:cxn ang="0">
                    <a:pos x="T8" y="T9"/>
                  </a:cxn>
                  <a:cxn ang="0">
                    <a:pos x="T10" y="T11"/>
                  </a:cxn>
                  <a:cxn ang="0">
                    <a:pos x="T12" y="T13"/>
                  </a:cxn>
                </a:cxnLst>
                <a:rect l="0" t="0" r="r" b="b"/>
                <a:pathLst>
                  <a:path w="9" h="105">
                    <a:moveTo>
                      <a:pt x="5" y="0"/>
                    </a:moveTo>
                    <a:cubicBezTo>
                      <a:pt x="2" y="0"/>
                      <a:pt x="0" y="2"/>
                      <a:pt x="0" y="5"/>
                    </a:cubicBezTo>
                    <a:cubicBezTo>
                      <a:pt x="0" y="101"/>
                      <a:pt x="0" y="101"/>
                      <a:pt x="0" y="101"/>
                    </a:cubicBezTo>
                    <a:cubicBezTo>
                      <a:pt x="0" y="103"/>
                      <a:pt x="2" y="105"/>
                      <a:pt x="5" y="105"/>
                    </a:cubicBezTo>
                    <a:cubicBezTo>
                      <a:pt x="7" y="105"/>
                      <a:pt x="9" y="103"/>
                      <a:pt x="9" y="101"/>
                    </a:cubicBezTo>
                    <a:cubicBezTo>
                      <a:pt x="9" y="5"/>
                      <a:pt x="9" y="5"/>
                      <a:pt x="9" y="5"/>
                    </a:cubicBezTo>
                    <a:cubicBezTo>
                      <a:pt x="9" y="2"/>
                      <a:pt x="7" y="0"/>
                      <a:pt x="5"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87" name="Freeform 534"/>
              <p:cNvSpPr>
                <a:spLocks/>
              </p:cNvSpPr>
              <p:nvPr/>
            </p:nvSpPr>
            <p:spPr bwMode="auto">
              <a:xfrm>
                <a:off x="11550651" y="3276600"/>
                <a:ext cx="25400" cy="115887"/>
              </a:xfrm>
              <a:custGeom>
                <a:avLst/>
                <a:gdLst>
                  <a:gd name="T0" fmla="*/ 5 w 10"/>
                  <a:gd name="T1" fmla="*/ 0 h 47"/>
                  <a:gd name="T2" fmla="*/ 0 w 10"/>
                  <a:gd name="T3" fmla="*/ 5 h 47"/>
                  <a:gd name="T4" fmla="*/ 0 w 10"/>
                  <a:gd name="T5" fmla="*/ 42 h 47"/>
                  <a:gd name="T6" fmla="*/ 5 w 10"/>
                  <a:gd name="T7" fmla="*/ 47 h 47"/>
                  <a:gd name="T8" fmla="*/ 10 w 10"/>
                  <a:gd name="T9" fmla="*/ 42 h 47"/>
                  <a:gd name="T10" fmla="*/ 10 w 10"/>
                  <a:gd name="T11" fmla="*/ 5 h 47"/>
                  <a:gd name="T12" fmla="*/ 5 w 10"/>
                  <a:gd name="T13" fmla="*/ 0 h 47"/>
                </a:gdLst>
                <a:ahLst/>
                <a:cxnLst>
                  <a:cxn ang="0">
                    <a:pos x="T0" y="T1"/>
                  </a:cxn>
                  <a:cxn ang="0">
                    <a:pos x="T2" y="T3"/>
                  </a:cxn>
                  <a:cxn ang="0">
                    <a:pos x="T4" y="T5"/>
                  </a:cxn>
                  <a:cxn ang="0">
                    <a:pos x="T6" y="T7"/>
                  </a:cxn>
                  <a:cxn ang="0">
                    <a:pos x="T8" y="T9"/>
                  </a:cxn>
                  <a:cxn ang="0">
                    <a:pos x="T10" y="T11"/>
                  </a:cxn>
                  <a:cxn ang="0">
                    <a:pos x="T12" y="T13"/>
                  </a:cxn>
                </a:cxnLst>
                <a:rect l="0" t="0" r="r" b="b"/>
                <a:pathLst>
                  <a:path w="10" h="47">
                    <a:moveTo>
                      <a:pt x="5" y="0"/>
                    </a:moveTo>
                    <a:cubicBezTo>
                      <a:pt x="2" y="0"/>
                      <a:pt x="0" y="3"/>
                      <a:pt x="0" y="5"/>
                    </a:cubicBezTo>
                    <a:cubicBezTo>
                      <a:pt x="0" y="42"/>
                      <a:pt x="0" y="42"/>
                      <a:pt x="0" y="42"/>
                    </a:cubicBezTo>
                    <a:cubicBezTo>
                      <a:pt x="0" y="44"/>
                      <a:pt x="2" y="47"/>
                      <a:pt x="5" y="47"/>
                    </a:cubicBezTo>
                    <a:cubicBezTo>
                      <a:pt x="8" y="47"/>
                      <a:pt x="10" y="44"/>
                      <a:pt x="10" y="42"/>
                    </a:cubicBezTo>
                    <a:cubicBezTo>
                      <a:pt x="10" y="5"/>
                      <a:pt x="10" y="5"/>
                      <a:pt x="10" y="5"/>
                    </a:cubicBezTo>
                    <a:cubicBezTo>
                      <a:pt x="10" y="3"/>
                      <a:pt x="8" y="0"/>
                      <a:pt x="5"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88" name="Freeform 535"/>
              <p:cNvSpPr>
                <a:spLocks/>
              </p:cNvSpPr>
              <p:nvPr/>
            </p:nvSpPr>
            <p:spPr bwMode="auto">
              <a:xfrm>
                <a:off x="11699876" y="3214688"/>
                <a:ext cx="25400" cy="142875"/>
              </a:xfrm>
              <a:custGeom>
                <a:avLst/>
                <a:gdLst>
                  <a:gd name="T0" fmla="*/ 0 w 10"/>
                  <a:gd name="T1" fmla="*/ 5 h 58"/>
                  <a:gd name="T2" fmla="*/ 0 w 10"/>
                  <a:gd name="T3" fmla="*/ 53 h 58"/>
                  <a:gd name="T4" fmla="*/ 5 w 10"/>
                  <a:gd name="T5" fmla="*/ 58 h 58"/>
                  <a:gd name="T6" fmla="*/ 10 w 10"/>
                  <a:gd name="T7" fmla="*/ 53 h 58"/>
                  <a:gd name="T8" fmla="*/ 10 w 10"/>
                  <a:gd name="T9" fmla="*/ 5 h 58"/>
                  <a:gd name="T10" fmla="*/ 5 w 10"/>
                  <a:gd name="T11" fmla="*/ 0 h 58"/>
                  <a:gd name="T12" fmla="*/ 0 w 10"/>
                  <a:gd name="T13" fmla="*/ 5 h 58"/>
                </a:gdLst>
                <a:ahLst/>
                <a:cxnLst>
                  <a:cxn ang="0">
                    <a:pos x="T0" y="T1"/>
                  </a:cxn>
                  <a:cxn ang="0">
                    <a:pos x="T2" y="T3"/>
                  </a:cxn>
                  <a:cxn ang="0">
                    <a:pos x="T4" y="T5"/>
                  </a:cxn>
                  <a:cxn ang="0">
                    <a:pos x="T6" y="T7"/>
                  </a:cxn>
                  <a:cxn ang="0">
                    <a:pos x="T8" y="T9"/>
                  </a:cxn>
                  <a:cxn ang="0">
                    <a:pos x="T10" y="T11"/>
                  </a:cxn>
                  <a:cxn ang="0">
                    <a:pos x="T12" y="T13"/>
                  </a:cxn>
                </a:cxnLst>
                <a:rect l="0" t="0" r="r" b="b"/>
                <a:pathLst>
                  <a:path w="10" h="58">
                    <a:moveTo>
                      <a:pt x="0" y="5"/>
                    </a:moveTo>
                    <a:cubicBezTo>
                      <a:pt x="0" y="53"/>
                      <a:pt x="0" y="53"/>
                      <a:pt x="0" y="53"/>
                    </a:cubicBezTo>
                    <a:cubicBezTo>
                      <a:pt x="0" y="56"/>
                      <a:pt x="2" y="58"/>
                      <a:pt x="5" y="58"/>
                    </a:cubicBezTo>
                    <a:cubicBezTo>
                      <a:pt x="8" y="58"/>
                      <a:pt x="10" y="56"/>
                      <a:pt x="10" y="53"/>
                    </a:cubicBezTo>
                    <a:cubicBezTo>
                      <a:pt x="10" y="5"/>
                      <a:pt x="10" y="5"/>
                      <a:pt x="10" y="5"/>
                    </a:cubicBezTo>
                    <a:cubicBezTo>
                      <a:pt x="10" y="2"/>
                      <a:pt x="8" y="0"/>
                      <a:pt x="5" y="0"/>
                    </a:cubicBezTo>
                    <a:cubicBezTo>
                      <a:pt x="2" y="0"/>
                      <a:pt x="0" y="2"/>
                      <a:pt x="0" y="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89" name="Freeform 536"/>
              <p:cNvSpPr>
                <a:spLocks noEditPoints="1"/>
              </p:cNvSpPr>
              <p:nvPr/>
            </p:nvSpPr>
            <p:spPr bwMode="auto">
              <a:xfrm>
                <a:off x="11628438" y="3444875"/>
                <a:ext cx="85725" cy="88900"/>
              </a:xfrm>
              <a:custGeom>
                <a:avLst/>
                <a:gdLst>
                  <a:gd name="T0" fmla="*/ 18 w 35"/>
                  <a:gd name="T1" fmla="*/ 0 h 36"/>
                  <a:gd name="T2" fmla="*/ 0 w 35"/>
                  <a:gd name="T3" fmla="*/ 18 h 36"/>
                  <a:gd name="T4" fmla="*/ 18 w 35"/>
                  <a:gd name="T5" fmla="*/ 36 h 36"/>
                  <a:gd name="T6" fmla="*/ 35 w 35"/>
                  <a:gd name="T7" fmla="*/ 18 h 36"/>
                  <a:gd name="T8" fmla="*/ 18 w 35"/>
                  <a:gd name="T9" fmla="*/ 0 h 36"/>
                  <a:gd name="T10" fmla="*/ 18 w 35"/>
                  <a:gd name="T11" fmla="*/ 27 h 36"/>
                  <a:gd name="T12" fmla="*/ 9 w 35"/>
                  <a:gd name="T13" fmla="*/ 18 h 36"/>
                  <a:gd name="T14" fmla="*/ 18 w 35"/>
                  <a:gd name="T15" fmla="*/ 10 h 36"/>
                  <a:gd name="T16" fmla="*/ 26 w 35"/>
                  <a:gd name="T17" fmla="*/ 18 h 36"/>
                  <a:gd name="T18" fmla="*/ 18 w 35"/>
                  <a:gd name="T19" fmla="*/ 27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36">
                    <a:moveTo>
                      <a:pt x="18" y="0"/>
                    </a:moveTo>
                    <a:cubicBezTo>
                      <a:pt x="8" y="0"/>
                      <a:pt x="0" y="8"/>
                      <a:pt x="0" y="18"/>
                    </a:cubicBezTo>
                    <a:cubicBezTo>
                      <a:pt x="0" y="28"/>
                      <a:pt x="8" y="36"/>
                      <a:pt x="18" y="36"/>
                    </a:cubicBezTo>
                    <a:cubicBezTo>
                      <a:pt x="27" y="36"/>
                      <a:pt x="35" y="28"/>
                      <a:pt x="35" y="18"/>
                    </a:cubicBezTo>
                    <a:cubicBezTo>
                      <a:pt x="35" y="8"/>
                      <a:pt x="27" y="0"/>
                      <a:pt x="18" y="0"/>
                    </a:cubicBezTo>
                    <a:close/>
                    <a:moveTo>
                      <a:pt x="18" y="27"/>
                    </a:moveTo>
                    <a:cubicBezTo>
                      <a:pt x="13" y="27"/>
                      <a:pt x="9" y="23"/>
                      <a:pt x="9" y="18"/>
                    </a:cubicBezTo>
                    <a:cubicBezTo>
                      <a:pt x="9" y="14"/>
                      <a:pt x="13" y="10"/>
                      <a:pt x="18" y="10"/>
                    </a:cubicBezTo>
                    <a:cubicBezTo>
                      <a:pt x="22" y="10"/>
                      <a:pt x="26" y="14"/>
                      <a:pt x="26" y="18"/>
                    </a:cubicBezTo>
                    <a:cubicBezTo>
                      <a:pt x="26" y="23"/>
                      <a:pt x="22" y="27"/>
                      <a:pt x="18" y="2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grpSp>
        <p:nvGrpSpPr>
          <p:cNvPr id="290" name="Group 289"/>
          <p:cNvGrpSpPr/>
          <p:nvPr/>
        </p:nvGrpSpPr>
        <p:grpSpPr>
          <a:xfrm>
            <a:off x="3954891" y="1791787"/>
            <a:ext cx="353268" cy="353268"/>
            <a:chOff x="7212975" y="1374657"/>
            <a:chExt cx="353268" cy="353268"/>
          </a:xfrm>
        </p:grpSpPr>
        <p:sp>
          <p:nvSpPr>
            <p:cNvPr id="291" name="Oval 290"/>
            <p:cNvSpPr/>
            <p:nvPr/>
          </p:nvSpPr>
          <p:spPr>
            <a:xfrm>
              <a:off x="7212975" y="1374657"/>
              <a:ext cx="353268" cy="353268"/>
            </a:xfrm>
            <a:prstGeom prst="ellipse">
              <a:avLst/>
            </a:prstGeom>
            <a:solidFill>
              <a:srgbClr val="02376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a:p>
          </p:txBody>
        </p:sp>
        <p:grpSp>
          <p:nvGrpSpPr>
            <p:cNvPr id="292" name="Group 291"/>
            <p:cNvGrpSpPr/>
            <p:nvPr/>
          </p:nvGrpSpPr>
          <p:grpSpPr>
            <a:xfrm>
              <a:off x="7263691" y="1449072"/>
              <a:ext cx="251836" cy="266185"/>
              <a:chOff x="11280776" y="3148013"/>
              <a:chExt cx="557213" cy="588962"/>
            </a:xfrm>
            <a:solidFill>
              <a:schemeClr val="bg1"/>
            </a:solidFill>
          </p:grpSpPr>
          <p:sp>
            <p:nvSpPr>
              <p:cNvPr id="293" name="Freeform 532"/>
              <p:cNvSpPr>
                <a:spLocks noEditPoints="1"/>
              </p:cNvSpPr>
              <p:nvPr/>
            </p:nvSpPr>
            <p:spPr bwMode="auto">
              <a:xfrm>
                <a:off x="11280776" y="3148013"/>
                <a:ext cx="557213" cy="588962"/>
              </a:xfrm>
              <a:custGeom>
                <a:avLst/>
                <a:gdLst>
                  <a:gd name="T0" fmla="*/ 222 w 225"/>
                  <a:gd name="T1" fmla="*/ 12 h 238"/>
                  <a:gd name="T2" fmla="*/ 174 w 225"/>
                  <a:gd name="T3" fmla="*/ 1 h 238"/>
                  <a:gd name="T4" fmla="*/ 171 w 225"/>
                  <a:gd name="T5" fmla="*/ 1 h 238"/>
                  <a:gd name="T6" fmla="*/ 114 w 225"/>
                  <a:gd name="T7" fmla="*/ 27 h 238"/>
                  <a:gd name="T8" fmla="*/ 61 w 225"/>
                  <a:gd name="T9" fmla="*/ 5 h 238"/>
                  <a:gd name="T10" fmla="*/ 58 w 225"/>
                  <a:gd name="T11" fmla="*/ 5 h 238"/>
                  <a:gd name="T12" fmla="*/ 3 w 225"/>
                  <a:gd name="T13" fmla="*/ 27 h 238"/>
                  <a:gd name="T14" fmla="*/ 0 w 225"/>
                  <a:gd name="T15" fmla="*/ 31 h 238"/>
                  <a:gd name="T16" fmla="*/ 0 w 225"/>
                  <a:gd name="T17" fmla="*/ 182 h 238"/>
                  <a:gd name="T18" fmla="*/ 2 w 225"/>
                  <a:gd name="T19" fmla="*/ 186 h 238"/>
                  <a:gd name="T20" fmla="*/ 6 w 225"/>
                  <a:gd name="T21" fmla="*/ 187 h 238"/>
                  <a:gd name="T22" fmla="*/ 60 w 225"/>
                  <a:gd name="T23" fmla="*/ 166 h 238"/>
                  <a:gd name="T24" fmla="*/ 112 w 225"/>
                  <a:gd name="T25" fmla="*/ 188 h 238"/>
                  <a:gd name="T26" fmla="*/ 114 w 225"/>
                  <a:gd name="T27" fmla="*/ 188 h 238"/>
                  <a:gd name="T28" fmla="*/ 116 w 225"/>
                  <a:gd name="T29" fmla="*/ 188 h 238"/>
                  <a:gd name="T30" fmla="*/ 124 w 225"/>
                  <a:gd name="T31" fmla="*/ 184 h 238"/>
                  <a:gd name="T32" fmla="*/ 154 w 225"/>
                  <a:gd name="T33" fmla="*/ 236 h 238"/>
                  <a:gd name="T34" fmla="*/ 158 w 225"/>
                  <a:gd name="T35" fmla="*/ 238 h 238"/>
                  <a:gd name="T36" fmla="*/ 162 w 225"/>
                  <a:gd name="T37" fmla="*/ 236 h 238"/>
                  <a:gd name="T38" fmla="*/ 199 w 225"/>
                  <a:gd name="T39" fmla="*/ 168 h 238"/>
                  <a:gd name="T40" fmla="*/ 220 w 225"/>
                  <a:gd name="T41" fmla="*/ 172 h 238"/>
                  <a:gd name="T42" fmla="*/ 224 w 225"/>
                  <a:gd name="T43" fmla="*/ 171 h 238"/>
                  <a:gd name="T44" fmla="*/ 225 w 225"/>
                  <a:gd name="T45" fmla="*/ 168 h 238"/>
                  <a:gd name="T46" fmla="*/ 225 w 225"/>
                  <a:gd name="T47" fmla="*/ 16 h 238"/>
                  <a:gd name="T48" fmla="*/ 222 w 225"/>
                  <a:gd name="T49" fmla="*/ 12 h 238"/>
                  <a:gd name="T50" fmla="*/ 158 w 225"/>
                  <a:gd name="T51" fmla="*/ 224 h 238"/>
                  <a:gd name="T52" fmla="*/ 119 w 225"/>
                  <a:gd name="T53" fmla="*/ 144 h 238"/>
                  <a:gd name="T54" fmla="*/ 158 w 225"/>
                  <a:gd name="T55" fmla="*/ 106 h 238"/>
                  <a:gd name="T56" fmla="*/ 196 w 225"/>
                  <a:gd name="T57" fmla="*/ 144 h 238"/>
                  <a:gd name="T58" fmla="*/ 158 w 225"/>
                  <a:gd name="T59" fmla="*/ 224 h 238"/>
                  <a:gd name="T60" fmla="*/ 216 w 225"/>
                  <a:gd name="T61" fmla="*/ 162 h 238"/>
                  <a:gd name="T62" fmla="*/ 202 w 225"/>
                  <a:gd name="T63" fmla="*/ 159 h 238"/>
                  <a:gd name="T64" fmla="*/ 205 w 225"/>
                  <a:gd name="T65" fmla="*/ 144 h 238"/>
                  <a:gd name="T66" fmla="*/ 158 w 225"/>
                  <a:gd name="T67" fmla="*/ 96 h 238"/>
                  <a:gd name="T68" fmla="*/ 110 w 225"/>
                  <a:gd name="T69" fmla="*/ 144 h 238"/>
                  <a:gd name="T70" fmla="*/ 120 w 225"/>
                  <a:gd name="T71" fmla="*/ 176 h 238"/>
                  <a:gd name="T72" fmla="*/ 114 w 225"/>
                  <a:gd name="T73" fmla="*/ 178 h 238"/>
                  <a:gd name="T74" fmla="*/ 61 w 225"/>
                  <a:gd name="T75" fmla="*/ 157 h 238"/>
                  <a:gd name="T76" fmla="*/ 60 w 225"/>
                  <a:gd name="T77" fmla="*/ 156 h 238"/>
                  <a:gd name="T78" fmla="*/ 58 w 225"/>
                  <a:gd name="T79" fmla="*/ 156 h 238"/>
                  <a:gd name="T80" fmla="*/ 9 w 225"/>
                  <a:gd name="T81" fmla="*/ 175 h 238"/>
                  <a:gd name="T82" fmla="*/ 9 w 225"/>
                  <a:gd name="T83" fmla="*/ 34 h 238"/>
                  <a:gd name="T84" fmla="*/ 60 w 225"/>
                  <a:gd name="T85" fmla="*/ 15 h 238"/>
                  <a:gd name="T86" fmla="*/ 112 w 225"/>
                  <a:gd name="T87" fmla="*/ 37 h 238"/>
                  <a:gd name="T88" fmla="*/ 116 w 225"/>
                  <a:gd name="T89" fmla="*/ 37 h 238"/>
                  <a:gd name="T90" fmla="*/ 174 w 225"/>
                  <a:gd name="T91" fmla="*/ 10 h 238"/>
                  <a:gd name="T92" fmla="*/ 216 w 225"/>
                  <a:gd name="T93" fmla="*/ 20 h 238"/>
                  <a:gd name="T94" fmla="*/ 216 w 225"/>
                  <a:gd name="T95" fmla="*/ 162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5" h="238">
                    <a:moveTo>
                      <a:pt x="222" y="12"/>
                    </a:moveTo>
                    <a:cubicBezTo>
                      <a:pt x="174" y="1"/>
                      <a:pt x="174" y="1"/>
                      <a:pt x="174" y="1"/>
                    </a:cubicBezTo>
                    <a:cubicBezTo>
                      <a:pt x="173" y="0"/>
                      <a:pt x="172" y="0"/>
                      <a:pt x="171" y="1"/>
                    </a:cubicBezTo>
                    <a:cubicBezTo>
                      <a:pt x="114" y="27"/>
                      <a:pt x="114" y="27"/>
                      <a:pt x="114" y="27"/>
                    </a:cubicBezTo>
                    <a:cubicBezTo>
                      <a:pt x="61" y="5"/>
                      <a:pt x="61" y="5"/>
                      <a:pt x="61" y="5"/>
                    </a:cubicBezTo>
                    <a:cubicBezTo>
                      <a:pt x="60" y="5"/>
                      <a:pt x="59" y="5"/>
                      <a:pt x="58" y="5"/>
                    </a:cubicBezTo>
                    <a:cubicBezTo>
                      <a:pt x="3" y="27"/>
                      <a:pt x="3" y="27"/>
                      <a:pt x="3" y="27"/>
                    </a:cubicBezTo>
                    <a:cubicBezTo>
                      <a:pt x="1" y="27"/>
                      <a:pt x="0" y="29"/>
                      <a:pt x="0" y="31"/>
                    </a:cubicBezTo>
                    <a:cubicBezTo>
                      <a:pt x="0" y="182"/>
                      <a:pt x="0" y="182"/>
                      <a:pt x="0" y="182"/>
                    </a:cubicBezTo>
                    <a:cubicBezTo>
                      <a:pt x="0" y="184"/>
                      <a:pt x="0" y="185"/>
                      <a:pt x="2" y="186"/>
                    </a:cubicBezTo>
                    <a:cubicBezTo>
                      <a:pt x="3" y="187"/>
                      <a:pt x="5" y="187"/>
                      <a:pt x="6" y="187"/>
                    </a:cubicBezTo>
                    <a:cubicBezTo>
                      <a:pt x="60" y="166"/>
                      <a:pt x="60" y="166"/>
                      <a:pt x="60" y="166"/>
                    </a:cubicBezTo>
                    <a:cubicBezTo>
                      <a:pt x="112" y="188"/>
                      <a:pt x="112" y="188"/>
                      <a:pt x="112" y="188"/>
                    </a:cubicBezTo>
                    <a:cubicBezTo>
                      <a:pt x="113" y="188"/>
                      <a:pt x="113" y="188"/>
                      <a:pt x="114" y="188"/>
                    </a:cubicBezTo>
                    <a:cubicBezTo>
                      <a:pt x="115" y="188"/>
                      <a:pt x="115" y="188"/>
                      <a:pt x="116" y="188"/>
                    </a:cubicBezTo>
                    <a:cubicBezTo>
                      <a:pt x="124" y="184"/>
                      <a:pt x="124" y="184"/>
                      <a:pt x="124" y="184"/>
                    </a:cubicBezTo>
                    <a:cubicBezTo>
                      <a:pt x="136" y="208"/>
                      <a:pt x="151" y="232"/>
                      <a:pt x="154" y="236"/>
                    </a:cubicBezTo>
                    <a:cubicBezTo>
                      <a:pt x="154" y="237"/>
                      <a:pt x="156" y="238"/>
                      <a:pt x="158" y="238"/>
                    </a:cubicBezTo>
                    <a:cubicBezTo>
                      <a:pt x="159" y="238"/>
                      <a:pt x="161" y="237"/>
                      <a:pt x="162" y="236"/>
                    </a:cubicBezTo>
                    <a:cubicBezTo>
                      <a:pt x="165" y="231"/>
                      <a:pt x="188" y="195"/>
                      <a:pt x="199" y="168"/>
                    </a:cubicBezTo>
                    <a:cubicBezTo>
                      <a:pt x="220" y="172"/>
                      <a:pt x="220" y="172"/>
                      <a:pt x="220" y="172"/>
                    </a:cubicBezTo>
                    <a:cubicBezTo>
                      <a:pt x="221" y="173"/>
                      <a:pt x="222" y="172"/>
                      <a:pt x="224" y="171"/>
                    </a:cubicBezTo>
                    <a:cubicBezTo>
                      <a:pt x="225" y="170"/>
                      <a:pt x="225" y="169"/>
                      <a:pt x="225" y="168"/>
                    </a:cubicBezTo>
                    <a:cubicBezTo>
                      <a:pt x="225" y="16"/>
                      <a:pt x="225" y="16"/>
                      <a:pt x="225" y="16"/>
                    </a:cubicBezTo>
                    <a:cubicBezTo>
                      <a:pt x="225" y="14"/>
                      <a:pt x="224" y="12"/>
                      <a:pt x="222" y="12"/>
                    </a:cubicBezTo>
                    <a:close/>
                    <a:moveTo>
                      <a:pt x="158" y="224"/>
                    </a:moveTo>
                    <a:cubicBezTo>
                      <a:pt x="144" y="203"/>
                      <a:pt x="119" y="160"/>
                      <a:pt x="119" y="144"/>
                    </a:cubicBezTo>
                    <a:cubicBezTo>
                      <a:pt x="119" y="123"/>
                      <a:pt x="136" y="106"/>
                      <a:pt x="158" y="106"/>
                    </a:cubicBezTo>
                    <a:cubicBezTo>
                      <a:pt x="179" y="106"/>
                      <a:pt x="196" y="123"/>
                      <a:pt x="196" y="144"/>
                    </a:cubicBezTo>
                    <a:cubicBezTo>
                      <a:pt x="196" y="160"/>
                      <a:pt x="171" y="203"/>
                      <a:pt x="158" y="224"/>
                    </a:cubicBezTo>
                    <a:close/>
                    <a:moveTo>
                      <a:pt x="216" y="162"/>
                    </a:moveTo>
                    <a:cubicBezTo>
                      <a:pt x="202" y="159"/>
                      <a:pt x="202" y="159"/>
                      <a:pt x="202" y="159"/>
                    </a:cubicBezTo>
                    <a:cubicBezTo>
                      <a:pt x="204" y="153"/>
                      <a:pt x="205" y="148"/>
                      <a:pt x="205" y="144"/>
                    </a:cubicBezTo>
                    <a:cubicBezTo>
                      <a:pt x="205" y="117"/>
                      <a:pt x="184" y="96"/>
                      <a:pt x="158" y="96"/>
                    </a:cubicBezTo>
                    <a:cubicBezTo>
                      <a:pt x="131" y="96"/>
                      <a:pt x="110" y="117"/>
                      <a:pt x="110" y="144"/>
                    </a:cubicBezTo>
                    <a:cubicBezTo>
                      <a:pt x="110" y="152"/>
                      <a:pt x="114" y="163"/>
                      <a:pt x="120" y="176"/>
                    </a:cubicBezTo>
                    <a:cubicBezTo>
                      <a:pt x="114" y="178"/>
                      <a:pt x="114" y="178"/>
                      <a:pt x="114" y="178"/>
                    </a:cubicBezTo>
                    <a:cubicBezTo>
                      <a:pt x="61" y="157"/>
                      <a:pt x="61" y="157"/>
                      <a:pt x="61" y="157"/>
                    </a:cubicBezTo>
                    <a:cubicBezTo>
                      <a:pt x="61" y="156"/>
                      <a:pt x="60" y="156"/>
                      <a:pt x="60" y="156"/>
                    </a:cubicBezTo>
                    <a:cubicBezTo>
                      <a:pt x="59" y="156"/>
                      <a:pt x="58" y="156"/>
                      <a:pt x="58" y="156"/>
                    </a:cubicBezTo>
                    <a:cubicBezTo>
                      <a:pt x="9" y="175"/>
                      <a:pt x="9" y="175"/>
                      <a:pt x="9" y="175"/>
                    </a:cubicBezTo>
                    <a:cubicBezTo>
                      <a:pt x="9" y="34"/>
                      <a:pt x="9" y="34"/>
                      <a:pt x="9" y="34"/>
                    </a:cubicBezTo>
                    <a:cubicBezTo>
                      <a:pt x="60" y="15"/>
                      <a:pt x="60" y="15"/>
                      <a:pt x="60" y="15"/>
                    </a:cubicBezTo>
                    <a:cubicBezTo>
                      <a:pt x="112" y="37"/>
                      <a:pt x="112" y="37"/>
                      <a:pt x="112" y="37"/>
                    </a:cubicBezTo>
                    <a:cubicBezTo>
                      <a:pt x="113" y="37"/>
                      <a:pt x="115" y="37"/>
                      <a:pt x="116" y="37"/>
                    </a:cubicBezTo>
                    <a:cubicBezTo>
                      <a:pt x="174" y="10"/>
                      <a:pt x="174" y="10"/>
                      <a:pt x="174" y="10"/>
                    </a:cubicBezTo>
                    <a:cubicBezTo>
                      <a:pt x="216" y="20"/>
                      <a:pt x="216" y="20"/>
                      <a:pt x="216" y="20"/>
                    </a:cubicBezTo>
                    <a:lnTo>
                      <a:pt x="216" y="16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94" name="Freeform 533"/>
              <p:cNvSpPr>
                <a:spLocks/>
              </p:cNvSpPr>
              <p:nvPr/>
            </p:nvSpPr>
            <p:spPr bwMode="auto">
              <a:xfrm>
                <a:off x="11417301" y="3232150"/>
                <a:ext cx="22225" cy="260350"/>
              </a:xfrm>
              <a:custGeom>
                <a:avLst/>
                <a:gdLst>
                  <a:gd name="T0" fmla="*/ 5 w 9"/>
                  <a:gd name="T1" fmla="*/ 0 h 105"/>
                  <a:gd name="T2" fmla="*/ 0 w 9"/>
                  <a:gd name="T3" fmla="*/ 5 h 105"/>
                  <a:gd name="T4" fmla="*/ 0 w 9"/>
                  <a:gd name="T5" fmla="*/ 101 h 105"/>
                  <a:gd name="T6" fmla="*/ 5 w 9"/>
                  <a:gd name="T7" fmla="*/ 105 h 105"/>
                  <a:gd name="T8" fmla="*/ 9 w 9"/>
                  <a:gd name="T9" fmla="*/ 101 h 105"/>
                  <a:gd name="T10" fmla="*/ 9 w 9"/>
                  <a:gd name="T11" fmla="*/ 5 h 105"/>
                  <a:gd name="T12" fmla="*/ 5 w 9"/>
                  <a:gd name="T13" fmla="*/ 0 h 105"/>
                </a:gdLst>
                <a:ahLst/>
                <a:cxnLst>
                  <a:cxn ang="0">
                    <a:pos x="T0" y="T1"/>
                  </a:cxn>
                  <a:cxn ang="0">
                    <a:pos x="T2" y="T3"/>
                  </a:cxn>
                  <a:cxn ang="0">
                    <a:pos x="T4" y="T5"/>
                  </a:cxn>
                  <a:cxn ang="0">
                    <a:pos x="T6" y="T7"/>
                  </a:cxn>
                  <a:cxn ang="0">
                    <a:pos x="T8" y="T9"/>
                  </a:cxn>
                  <a:cxn ang="0">
                    <a:pos x="T10" y="T11"/>
                  </a:cxn>
                  <a:cxn ang="0">
                    <a:pos x="T12" y="T13"/>
                  </a:cxn>
                </a:cxnLst>
                <a:rect l="0" t="0" r="r" b="b"/>
                <a:pathLst>
                  <a:path w="9" h="105">
                    <a:moveTo>
                      <a:pt x="5" y="0"/>
                    </a:moveTo>
                    <a:cubicBezTo>
                      <a:pt x="2" y="0"/>
                      <a:pt x="0" y="2"/>
                      <a:pt x="0" y="5"/>
                    </a:cubicBezTo>
                    <a:cubicBezTo>
                      <a:pt x="0" y="101"/>
                      <a:pt x="0" y="101"/>
                      <a:pt x="0" y="101"/>
                    </a:cubicBezTo>
                    <a:cubicBezTo>
                      <a:pt x="0" y="103"/>
                      <a:pt x="2" y="105"/>
                      <a:pt x="5" y="105"/>
                    </a:cubicBezTo>
                    <a:cubicBezTo>
                      <a:pt x="7" y="105"/>
                      <a:pt x="9" y="103"/>
                      <a:pt x="9" y="101"/>
                    </a:cubicBezTo>
                    <a:cubicBezTo>
                      <a:pt x="9" y="5"/>
                      <a:pt x="9" y="5"/>
                      <a:pt x="9" y="5"/>
                    </a:cubicBezTo>
                    <a:cubicBezTo>
                      <a:pt x="9" y="2"/>
                      <a:pt x="7" y="0"/>
                      <a:pt x="5"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95" name="Freeform 534"/>
              <p:cNvSpPr>
                <a:spLocks/>
              </p:cNvSpPr>
              <p:nvPr/>
            </p:nvSpPr>
            <p:spPr bwMode="auto">
              <a:xfrm>
                <a:off x="11550651" y="3276600"/>
                <a:ext cx="25400" cy="115887"/>
              </a:xfrm>
              <a:custGeom>
                <a:avLst/>
                <a:gdLst>
                  <a:gd name="T0" fmla="*/ 5 w 10"/>
                  <a:gd name="T1" fmla="*/ 0 h 47"/>
                  <a:gd name="T2" fmla="*/ 0 w 10"/>
                  <a:gd name="T3" fmla="*/ 5 h 47"/>
                  <a:gd name="T4" fmla="*/ 0 w 10"/>
                  <a:gd name="T5" fmla="*/ 42 h 47"/>
                  <a:gd name="T6" fmla="*/ 5 w 10"/>
                  <a:gd name="T7" fmla="*/ 47 h 47"/>
                  <a:gd name="T8" fmla="*/ 10 w 10"/>
                  <a:gd name="T9" fmla="*/ 42 h 47"/>
                  <a:gd name="T10" fmla="*/ 10 w 10"/>
                  <a:gd name="T11" fmla="*/ 5 h 47"/>
                  <a:gd name="T12" fmla="*/ 5 w 10"/>
                  <a:gd name="T13" fmla="*/ 0 h 47"/>
                </a:gdLst>
                <a:ahLst/>
                <a:cxnLst>
                  <a:cxn ang="0">
                    <a:pos x="T0" y="T1"/>
                  </a:cxn>
                  <a:cxn ang="0">
                    <a:pos x="T2" y="T3"/>
                  </a:cxn>
                  <a:cxn ang="0">
                    <a:pos x="T4" y="T5"/>
                  </a:cxn>
                  <a:cxn ang="0">
                    <a:pos x="T6" y="T7"/>
                  </a:cxn>
                  <a:cxn ang="0">
                    <a:pos x="T8" y="T9"/>
                  </a:cxn>
                  <a:cxn ang="0">
                    <a:pos x="T10" y="T11"/>
                  </a:cxn>
                  <a:cxn ang="0">
                    <a:pos x="T12" y="T13"/>
                  </a:cxn>
                </a:cxnLst>
                <a:rect l="0" t="0" r="r" b="b"/>
                <a:pathLst>
                  <a:path w="10" h="47">
                    <a:moveTo>
                      <a:pt x="5" y="0"/>
                    </a:moveTo>
                    <a:cubicBezTo>
                      <a:pt x="2" y="0"/>
                      <a:pt x="0" y="3"/>
                      <a:pt x="0" y="5"/>
                    </a:cubicBezTo>
                    <a:cubicBezTo>
                      <a:pt x="0" y="42"/>
                      <a:pt x="0" y="42"/>
                      <a:pt x="0" y="42"/>
                    </a:cubicBezTo>
                    <a:cubicBezTo>
                      <a:pt x="0" y="44"/>
                      <a:pt x="2" y="47"/>
                      <a:pt x="5" y="47"/>
                    </a:cubicBezTo>
                    <a:cubicBezTo>
                      <a:pt x="8" y="47"/>
                      <a:pt x="10" y="44"/>
                      <a:pt x="10" y="42"/>
                    </a:cubicBezTo>
                    <a:cubicBezTo>
                      <a:pt x="10" y="5"/>
                      <a:pt x="10" y="5"/>
                      <a:pt x="10" y="5"/>
                    </a:cubicBezTo>
                    <a:cubicBezTo>
                      <a:pt x="10" y="3"/>
                      <a:pt x="8" y="0"/>
                      <a:pt x="5"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96" name="Freeform 535"/>
              <p:cNvSpPr>
                <a:spLocks/>
              </p:cNvSpPr>
              <p:nvPr/>
            </p:nvSpPr>
            <p:spPr bwMode="auto">
              <a:xfrm>
                <a:off x="11699876" y="3214688"/>
                <a:ext cx="25400" cy="142875"/>
              </a:xfrm>
              <a:custGeom>
                <a:avLst/>
                <a:gdLst>
                  <a:gd name="T0" fmla="*/ 0 w 10"/>
                  <a:gd name="T1" fmla="*/ 5 h 58"/>
                  <a:gd name="T2" fmla="*/ 0 w 10"/>
                  <a:gd name="T3" fmla="*/ 53 h 58"/>
                  <a:gd name="T4" fmla="*/ 5 w 10"/>
                  <a:gd name="T5" fmla="*/ 58 h 58"/>
                  <a:gd name="T6" fmla="*/ 10 w 10"/>
                  <a:gd name="T7" fmla="*/ 53 h 58"/>
                  <a:gd name="T8" fmla="*/ 10 w 10"/>
                  <a:gd name="T9" fmla="*/ 5 h 58"/>
                  <a:gd name="T10" fmla="*/ 5 w 10"/>
                  <a:gd name="T11" fmla="*/ 0 h 58"/>
                  <a:gd name="T12" fmla="*/ 0 w 10"/>
                  <a:gd name="T13" fmla="*/ 5 h 58"/>
                </a:gdLst>
                <a:ahLst/>
                <a:cxnLst>
                  <a:cxn ang="0">
                    <a:pos x="T0" y="T1"/>
                  </a:cxn>
                  <a:cxn ang="0">
                    <a:pos x="T2" y="T3"/>
                  </a:cxn>
                  <a:cxn ang="0">
                    <a:pos x="T4" y="T5"/>
                  </a:cxn>
                  <a:cxn ang="0">
                    <a:pos x="T6" y="T7"/>
                  </a:cxn>
                  <a:cxn ang="0">
                    <a:pos x="T8" y="T9"/>
                  </a:cxn>
                  <a:cxn ang="0">
                    <a:pos x="T10" y="T11"/>
                  </a:cxn>
                  <a:cxn ang="0">
                    <a:pos x="T12" y="T13"/>
                  </a:cxn>
                </a:cxnLst>
                <a:rect l="0" t="0" r="r" b="b"/>
                <a:pathLst>
                  <a:path w="10" h="58">
                    <a:moveTo>
                      <a:pt x="0" y="5"/>
                    </a:moveTo>
                    <a:cubicBezTo>
                      <a:pt x="0" y="53"/>
                      <a:pt x="0" y="53"/>
                      <a:pt x="0" y="53"/>
                    </a:cubicBezTo>
                    <a:cubicBezTo>
                      <a:pt x="0" y="56"/>
                      <a:pt x="2" y="58"/>
                      <a:pt x="5" y="58"/>
                    </a:cubicBezTo>
                    <a:cubicBezTo>
                      <a:pt x="8" y="58"/>
                      <a:pt x="10" y="56"/>
                      <a:pt x="10" y="53"/>
                    </a:cubicBezTo>
                    <a:cubicBezTo>
                      <a:pt x="10" y="5"/>
                      <a:pt x="10" y="5"/>
                      <a:pt x="10" y="5"/>
                    </a:cubicBezTo>
                    <a:cubicBezTo>
                      <a:pt x="10" y="2"/>
                      <a:pt x="8" y="0"/>
                      <a:pt x="5" y="0"/>
                    </a:cubicBezTo>
                    <a:cubicBezTo>
                      <a:pt x="2" y="0"/>
                      <a:pt x="0" y="2"/>
                      <a:pt x="0" y="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97" name="Freeform 536"/>
              <p:cNvSpPr>
                <a:spLocks noEditPoints="1"/>
              </p:cNvSpPr>
              <p:nvPr/>
            </p:nvSpPr>
            <p:spPr bwMode="auto">
              <a:xfrm>
                <a:off x="11628438" y="3444875"/>
                <a:ext cx="85725" cy="88900"/>
              </a:xfrm>
              <a:custGeom>
                <a:avLst/>
                <a:gdLst>
                  <a:gd name="T0" fmla="*/ 18 w 35"/>
                  <a:gd name="T1" fmla="*/ 0 h 36"/>
                  <a:gd name="T2" fmla="*/ 0 w 35"/>
                  <a:gd name="T3" fmla="*/ 18 h 36"/>
                  <a:gd name="T4" fmla="*/ 18 w 35"/>
                  <a:gd name="T5" fmla="*/ 36 h 36"/>
                  <a:gd name="T6" fmla="*/ 35 w 35"/>
                  <a:gd name="T7" fmla="*/ 18 h 36"/>
                  <a:gd name="T8" fmla="*/ 18 w 35"/>
                  <a:gd name="T9" fmla="*/ 0 h 36"/>
                  <a:gd name="T10" fmla="*/ 18 w 35"/>
                  <a:gd name="T11" fmla="*/ 27 h 36"/>
                  <a:gd name="T12" fmla="*/ 9 w 35"/>
                  <a:gd name="T13" fmla="*/ 18 h 36"/>
                  <a:gd name="T14" fmla="*/ 18 w 35"/>
                  <a:gd name="T15" fmla="*/ 10 h 36"/>
                  <a:gd name="T16" fmla="*/ 26 w 35"/>
                  <a:gd name="T17" fmla="*/ 18 h 36"/>
                  <a:gd name="T18" fmla="*/ 18 w 35"/>
                  <a:gd name="T19" fmla="*/ 27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36">
                    <a:moveTo>
                      <a:pt x="18" y="0"/>
                    </a:moveTo>
                    <a:cubicBezTo>
                      <a:pt x="8" y="0"/>
                      <a:pt x="0" y="8"/>
                      <a:pt x="0" y="18"/>
                    </a:cubicBezTo>
                    <a:cubicBezTo>
                      <a:pt x="0" y="28"/>
                      <a:pt x="8" y="36"/>
                      <a:pt x="18" y="36"/>
                    </a:cubicBezTo>
                    <a:cubicBezTo>
                      <a:pt x="27" y="36"/>
                      <a:pt x="35" y="28"/>
                      <a:pt x="35" y="18"/>
                    </a:cubicBezTo>
                    <a:cubicBezTo>
                      <a:pt x="35" y="8"/>
                      <a:pt x="27" y="0"/>
                      <a:pt x="18" y="0"/>
                    </a:cubicBezTo>
                    <a:close/>
                    <a:moveTo>
                      <a:pt x="18" y="27"/>
                    </a:moveTo>
                    <a:cubicBezTo>
                      <a:pt x="13" y="27"/>
                      <a:pt x="9" y="23"/>
                      <a:pt x="9" y="18"/>
                    </a:cubicBezTo>
                    <a:cubicBezTo>
                      <a:pt x="9" y="14"/>
                      <a:pt x="13" y="10"/>
                      <a:pt x="18" y="10"/>
                    </a:cubicBezTo>
                    <a:cubicBezTo>
                      <a:pt x="22" y="10"/>
                      <a:pt x="26" y="14"/>
                      <a:pt x="26" y="18"/>
                    </a:cubicBezTo>
                    <a:cubicBezTo>
                      <a:pt x="26" y="23"/>
                      <a:pt x="22" y="27"/>
                      <a:pt x="18" y="2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grpSp>
        <p:nvGrpSpPr>
          <p:cNvPr id="298" name="Group 297"/>
          <p:cNvGrpSpPr/>
          <p:nvPr/>
        </p:nvGrpSpPr>
        <p:grpSpPr>
          <a:xfrm>
            <a:off x="4665156" y="1791787"/>
            <a:ext cx="353268" cy="353268"/>
            <a:chOff x="7212975" y="1374657"/>
            <a:chExt cx="353268" cy="353268"/>
          </a:xfrm>
        </p:grpSpPr>
        <p:sp>
          <p:nvSpPr>
            <p:cNvPr id="299" name="Oval 298"/>
            <p:cNvSpPr/>
            <p:nvPr/>
          </p:nvSpPr>
          <p:spPr>
            <a:xfrm>
              <a:off x="7212975" y="1374657"/>
              <a:ext cx="353268" cy="353268"/>
            </a:xfrm>
            <a:prstGeom prst="ellipse">
              <a:avLst/>
            </a:prstGeom>
            <a:solidFill>
              <a:srgbClr val="02376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a:p>
          </p:txBody>
        </p:sp>
        <p:grpSp>
          <p:nvGrpSpPr>
            <p:cNvPr id="300" name="Group 299"/>
            <p:cNvGrpSpPr/>
            <p:nvPr/>
          </p:nvGrpSpPr>
          <p:grpSpPr>
            <a:xfrm>
              <a:off x="7263691" y="1449072"/>
              <a:ext cx="251836" cy="266185"/>
              <a:chOff x="11280776" y="3148013"/>
              <a:chExt cx="557213" cy="588962"/>
            </a:xfrm>
            <a:solidFill>
              <a:schemeClr val="bg1"/>
            </a:solidFill>
          </p:grpSpPr>
          <p:sp>
            <p:nvSpPr>
              <p:cNvPr id="301" name="Freeform 532"/>
              <p:cNvSpPr>
                <a:spLocks noEditPoints="1"/>
              </p:cNvSpPr>
              <p:nvPr/>
            </p:nvSpPr>
            <p:spPr bwMode="auto">
              <a:xfrm>
                <a:off x="11280776" y="3148013"/>
                <a:ext cx="557213" cy="588962"/>
              </a:xfrm>
              <a:custGeom>
                <a:avLst/>
                <a:gdLst>
                  <a:gd name="T0" fmla="*/ 222 w 225"/>
                  <a:gd name="T1" fmla="*/ 12 h 238"/>
                  <a:gd name="T2" fmla="*/ 174 w 225"/>
                  <a:gd name="T3" fmla="*/ 1 h 238"/>
                  <a:gd name="T4" fmla="*/ 171 w 225"/>
                  <a:gd name="T5" fmla="*/ 1 h 238"/>
                  <a:gd name="T6" fmla="*/ 114 w 225"/>
                  <a:gd name="T7" fmla="*/ 27 h 238"/>
                  <a:gd name="T8" fmla="*/ 61 w 225"/>
                  <a:gd name="T9" fmla="*/ 5 h 238"/>
                  <a:gd name="T10" fmla="*/ 58 w 225"/>
                  <a:gd name="T11" fmla="*/ 5 h 238"/>
                  <a:gd name="T12" fmla="*/ 3 w 225"/>
                  <a:gd name="T13" fmla="*/ 27 h 238"/>
                  <a:gd name="T14" fmla="*/ 0 w 225"/>
                  <a:gd name="T15" fmla="*/ 31 h 238"/>
                  <a:gd name="T16" fmla="*/ 0 w 225"/>
                  <a:gd name="T17" fmla="*/ 182 h 238"/>
                  <a:gd name="T18" fmla="*/ 2 w 225"/>
                  <a:gd name="T19" fmla="*/ 186 h 238"/>
                  <a:gd name="T20" fmla="*/ 6 w 225"/>
                  <a:gd name="T21" fmla="*/ 187 h 238"/>
                  <a:gd name="T22" fmla="*/ 60 w 225"/>
                  <a:gd name="T23" fmla="*/ 166 h 238"/>
                  <a:gd name="T24" fmla="*/ 112 w 225"/>
                  <a:gd name="T25" fmla="*/ 188 h 238"/>
                  <a:gd name="T26" fmla="*/ 114 w 225"/>
                  <a:gd name="T27" fmla="*/ 188 h 238"/>
                  <a:gd name="T28" fmla="*/ 116 w 225"/>
                  <a:gd name="T29" fmla="*/ 188 h 238"/>
                  <a:gd name="T30" fmla="*/ 124 w 225"/>
                  <a:gd name="T31" fmla="*/ 184 h 238"/>
                  <a:gd name="T32" fmla="*/ 154 w 225"/>
                  <a:gd name="T33" fmla="*/ 236 h 238"/>
                  <a:gd name="T34" fmla="*/ 158 w 225"/>
                  <a:gd name="T35" fmla="*/ 238 h 238"/>
                  <a:gd name="T36" fmla="*/ 162 w 225"/>
                  <a:gd name="T37" fmla="*/ 236 h 238"/>
                  <a:gd name="T38" fmla="*/ 199 w 225"/>
                  <a:gd name="T39" fmla="*/ 168 h 238"/>
                  <a:gd name="T40" fmla="*/ 220 w 225"/>
                  <a:gd name="T41" fmla="*/ 172 h 238"/>
                  <a:gd name="T42" fmla="*/ 224 w 225"/>
                  <a:gd name="T43" fmla="*/ 171 h 238"/>
                  <a:gd name="T44" fmla="*/ 225 w 225"/>
                  <a:gd name="T45" fmla="*/ 168 h 238"/>
                  <a:gd name="T46" fmla="*/ 225 w 225"/>
                  <a:gd name="T47" fmla="*/ 16 h 238"/>
                  <a:gd name="T48" fmla="*/ 222 w 225"/>
                  <a:gd name="T49" fmla="*/ 12 h 238"/>
                  <a:gd name="T50" fmla="*/ 158 w 225"/>
                  <a:gd name="T51" fmla="*/ 224 h 238"/>
                  <a:gd name="T52" fmla="*/ 119 w 225"/>
                  <a:gd name="T53" fmla="*/ 144 h 238"/>
                  <a:gd name="T54" fmla="*/ 158 w 225"/>
                  <a:gd name="T55" fmla="*/ 106 h 238"/>
                  <a:gd name="T56" fmla="*/ 196 w 225"/>
                  <a:gd name="T57" fmla="*/ 144 h 238"/>
                  <a:gd name="T58" fmla="*/ 158 w 225"/>
                  <a:gd name="T59" fmla="*/ 224 h 238"/>
                  <a:gd name="T60" fmla="*/ 216 w 225"/>
                  <a:gd name="T61" fmla="*/ 162 h 238"/>
                  <a:gd name="T62" fmla="*/ 202 w 225"/>
                  <a:gd name="T63" fmla="*/ 159 h 238"/>
                  <a:gd name="T64" fmla="*/ 205 w 225"/>
                  <a:gd name="T65" fmla="*/ 144 h 238"/>
                  <a:gd name="T66" fmla="*/ 158 w 225"/>
                  <a:gd name="T67" fmla="*/ 96 h 238"/>
                  <a:gd name="T68" fmla="*/ 110 w 225"/>
                  <a:gd name="T69" fmla="*/ 144 h 238"/>
                  <a:gd name="T70" fmla="*/ 120 w 225"/>
                  <a:gd name="T71" fmla="*/ 176 h 238"/>
                  <a:gd name="T72" fmla="*/ 114 w 225"/>
                  <a:gd name="T73" fmla="*/ 178 h 238"/>
                  <a:gd name="T74" fmla="*/ 61 w 225"/>
                  <a:gd name="T75" fmla="*/ 157 h 238"/>
                  <a:gd name="T76" fmla="*/ 60 w 225"/>
                  <a:gd name="T77" fmla="*/ 156 h 238"/>
                  <a:gd name="T78" fmla="*/ 58 w 225"/>
                  <a:gd name="T79" fmla="*/ 156 h 238"/>
                  <a:gd name="T80" fmla="*/ 9 w 225"/>
                  <a:gd name="T81" fmla="*/ 175 h 238"/>
                  <a:gd name="T82" fmla="*/ 9 w 225"/>
                  <a:gd name="T83" fmla="*/ 34 h 238"/>
                  <a:gd name="T84" fmla="*/ 60 w 225"/>
                  <a:gd name="T85" fmla="*/ 15 h 238"/>
                  <a:gd name="T86" fmla="*/ 112 w 225"/>
                  <a:gd name="T87" fmla="*/ 37 h 238"/>
                  <a:gd name="T88" fmla="*/ 116 w 225"/>
                  <a:gd name="T89" fmla="*/ 37 h 238"/>
                  <a:gd name="T90" fmla="*/ 174 w 225"/>
                  <a:gd name="T91" fmla="*/ 10 h 238"/>
                  <a:gd name="T92" fmla="*/ 216 w 225"/>
                  <a:gd name="T93" fmla="*/ 20 h 238"/>
                  <a:gd name="T94" fmla="*/ 216 w 225"/>
                  <a:gd name="T95" fmla="*/ 162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5" h="238">
                    <a:moveTo>
                      <a:pt x="222" y="12"/>
                    </a:moveTo>
                    <a:cubicBezTo>
                      <a:pt x="174" y="1"/>
                      <a:pt x="174" y="1"/>
                      <a:pt x="174" y="1"/>
                    </a:cubicBezTo>
                    <a:cubicBezTo>
                      <a:pt x="173" y="0"/>
                      <a:pt x="172" y="0"/>
                      <a:pt x="171" y="1"/>
                    </a:cubicBezTo>
                    <a:cubicBezTo>
                      <a:pt x="114" y="27"/>
                      <a:pt x="114" y="27"/>
                      <a:pt x="114" y="27"/>
                    </a:cubicBezTo>
                    <a:cubicBezTo>
                      <a:pt x="61" y="5"/>
                      <a:pt x="61" y="5"/>
                      <a:pt x="61" y="5"/>
                    </a:cubicBezTo>
                    <a:cubicBezTo>
                      <a:pt x="60" y="5"/>
                      <a:pt x="59" y="5"/>
                      <a:pt x="58" y="5"/>
                    </a:cubicBezTo>
                    <a:cubicBezTo>
                      <a:pt x="3" y="27"/>
                      <a:pt x="3" y="27"/>
                      <a:pt x="3" y="27"/>
                    </a:cubicBezTo>
                    <a:cubicBezTo>
                      <a:pt x="1" y="27"/>
                      <a:pt x="0" y="29"/>
                      <a:pt x="0" y="31"/>
                    </a:cubicBezTo>
                    <a:cubicBezTo>
                      <a:pt x="0" y="182"/>
                      <a:pt x="0" y="182"/>
                      <a:pt x="0" y="182"/>
                    </a:cubicBezTo>
                    <a:cubicBezTo>
                      <a:pt x="0" y="184"/>
                      <a:pt x="0" y="185"/>
                      <a:pt x="2" y="186"/>
                    </a:cubicBezTo>
                    <a:cubicBezTo>
                      <a:pt x="3" y="187"/>
                      <a:pt x="5" y="187"/>
                      <a:pt x="6" y="187"/>
                    </a:cubicBezTo>
                    <a:cubicBezTo>
                      <a:pt x="60" y="166"/>
                      <a:pt x="60" y="166"/>
                      <a:pt x="60" y="166"/>
                    </a:cubicBezTo>
                    <a:cubicBezTo>
                      <a:pt x="112" y="188"/>
                      <a:pt x="112" y="188"/>
                      <a:pt x="112" y="188"/>
                    </a:cubicBezTo>
                    <a:cubicBezTo>
                      <a:pt x="113" y="188"/>
                      <a:pt x="113" y="188"/>
                      <a:pt x="114" y="188"/>
                    </a:cubicBezTo>
                    <a:cubicBezTo>
                      <a:pt x="115" y="188"/>
                      <a:pt x="115" y="188"/>
                      <a:pt x="116" y="188"/>
                    </a:cubicBezTo>
                    <a:cubicBezTo>
                      <a:pt x="124" y="184"/>
                      <a:pt x="124" y="184"/>
                      <a:pt x="124" y="184"/>
                    </a:cubicBezTo>
                    <a:cubicBezTo>
                      <a:pt x="136" y="208"/>
                      <a:pt x="151" y="232"/>
                      <a:pt x="154" y="236"/>
                    </a:cubicBezTo>
                    <a:cubicBezTo>
                      <a:pt x="154" y="237"/>
                      <a:pt x="156" y="238"/>
                      <a:pt x="158" y="238"/>
                    </a:cubicBezTo>
                    <a:cubicBezTo>
                      <a:pt x="159" y="238"/>
                      <a:pt x="161" y="237"/>
                      <a:pt x="162" y="236"/>
                    </a:cubicBezTo>
                    <a:cubicBezTo>
                      <a:pt x="165" y="231"/>
                      <a:pt x="188" y="195"/>
                      <a:pt x="199" y="168"/>
                    </a:cubicBezTo>
                    <a:cubicBezTo>
                      <a:pt x="220" y="172"/>
                      <a:pt x="220" y="172"/>
                      <a:pt x="220" y="172"/>
                    </a:cubicBezTo>
                    <a:cubicBezTo>
                      <a:pt x="221" y="173"/>
                      <a:pt x="222" y="172"/>
                      <a:pt x="224" y="171"/>
                    </a:cubicBezTo>
                    <a:cubicBezTo>
                      <a:pt x="225" y="170"/>
                      <a:pt x="225" y="169"/>
                      <a:pt x="225" y="168"/>
                    </a:cubicBezTo>
                    <a:cubicBezTo>
                      <a:pt x="225" y="16"/>
                      <a:pt x="225" y="16"/>
                      <a:pt x="225" y="16"/>
                    </a:cubicBezTo>
                    <a:cubicBezTo>
                      <a:pt x="225" y="14"/>
                      <a:pt x="224" y="12"/>
                      <a:pt x="222" y="12"/>
                    </a:cubicBezTo>
                    <a:close/>
                    <a:moveTo>
                      <a:pt x="158" y="224"/>
                    </a:moveTo>
                    <a:cubicBezTo>
                      <a:pt x="144" y="203"/>
                      <a:pt x="119" y="160"/>
                      <a:pt x="119" y="144"/>
                    </a:cubicBezTo>
                    <a:cubicBezTo>
                      <a:pt x="119" y="123"/>
                      <a:pt x="136" y="106"/>
                      <a:pt x="158" y="106"/>
                    </a:cubicBezTo>
                    <a:cubicBezTo>
                      <a:pt x="179" y="106"/>
                      <a:pt x="196" y="123"/>
                      <a:pt x="196" y="144"/>
                    </a:cubicBezTo>
                    <a:cubicBezTo>
                      <a:pt x="196" y="160"/>
                      <a:pt x="171" y="203"/>
                      <a:pt x="158" y="224"/>
                    </a:cubicBezTo>
                    <a:close/>
                    <a:moveTo>
                      <a:pt x="216" y="162"/>
                    </a:moveTo>
                    <a:cubicBezTo>
                      <a:pt x="202" y="159"/>
                      <a:pt x="202" y="159"/>
                      <a:pt x="202" y="159"/>
                    </a:cubicBezTo>
                    <a:cubicBezTo>
                      <a:pt x="204" y="153"/>
                      <a:pt x="205" y="148"/>
                      <a:pt x="205" y="144"/>
                    </a:cubicBezTo>
                    <a:cubicBezTo>
                      <a:pt x="205" y="117"/>
                      <a:pt x="184" y="96"/>
                      <a:pt x="158" y="96"/>
                    </a:cubicBezTo>
                    <a:cubicBezTo>
                      <a:pt x="131" y="96"/>
                      <a:pt x="110" y="117"/>
                      <a:pt x="110" y="144"/>
                    </a:cubicBezTo>
                    <a:cubicBezTo>
                      <a:pt x="110" y="152"/>
                      <a:pt x="114" y="163"/>
                      <a:pt x="120" y="176"/>
                    </a:cubicBezTo>
                    <a:cubicBezTo>
                      <a:pt x="114" y="178"/>
                      <a:pt x="114" y="178"/>
                      <a:pt x="114" y="178"/>
                    </a:cubicBezTo>
                    <a:cubicBezTo>
                      <a:pt x="61" y="157"/>
                      <a:pt x="61" y="157"/>
                      <a:pt x="61" y="157"/>
                    </a:cubicBezTo>
                    <a:cubicBezTo>
                      <a:pt x="61" y="156"/>
                      <a:pt x="60" y="156"/>
                      <a:pt x="60" y="156"/>
                    </a:cubicBezTo>
                    <a:cubicBezTo>
                      <a:pt x="59" y="156"/>
                      <a:pt x="58" y="156"/>
                      <a:pt x="58" y="156"/>
                    </a:cubicBezTo>
                    <a:cubicBezTo>
                      <a:pt x="9" y="175"/>
                      <a:pt x="9" y="175"/>
                      <a:pt x="9" y="175"/>
                    </a:cubicBezTo>
                    <a:cubicBezTo>
                      <a:pt x="9" y="34"/>
                      <a:pt x="9" y="34"/>
                      <a:pt x="9" y="34"/>
                    </a:cubicBezTo>
                    <a:cubicBezTo>
                      <a:pt x="60" y="15"/>
                      <a:pt x="60" y="15"/>
                      <a:pt x="60" y="15"/>
                    </a:cubicBezTo>
                    <a:cubicBezTo>
                      <a:pt x="112" y="37"/>
                      <a:pt x="112" y="37"/>
                      <a:pt x="112" y="37"/>
                    </a:cubicBezTo>
                    <a:cubicBezTo>
                      <a:pt x="113" y="37"/>
                      <a:pt x="115" y="37"/>
                      <a:pt x="116" y="37"/>
                    </a:cubicBezTo>
                    <a:cubicBezTo>
                      <a:pt x="174" y="10"/>
                      <a:pt x="174" y="10"/>
                      <a:pt x="174" y="10"/>
                    </a:cubicBezTo>
                    <a:cubicBezTo>
                      <a:pt x="216" y="20"/>
                      <a:pt x="216" y="20"/>
                      <a:pt x="216" y="20"/>
                    </a:cubicBezTo>
                    <a:lnTo>
                      <a:pt x="216" y="16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302" name="Freeform 533"/>
              <p:cNvSpPr>
                <a:spLocks/>
              </p:cNvSpPr>
              <p:nvPr/>
            </p:nvSpPr>
            <p:spPr bwMode="auto">
              <a:xfrm>
                <a:off x="11417301" y="3232150"/>
                <a:ext cx="22225" cy="260350"/>
              </a:xfrm>
              <a:custGeom>
                <a:avLst/>
                <a:gdLst>
                  <a:gd name="T0" fmla="*/ 5 w 9"/>
                  <a:gd name="T1" fmla="*/ 0 h 105"/>
                  <a:gd name="T2" fmla="*/ 0 w 9"/>
                  <a:gd name="T3" fmla="*/ 5 h 105"/>
                  <a:gd name="T4" fmla="*/ 0 w 9"/>
                  <a:gd name="T5" fmla="*/ 101 h 105"/>
                  <a:gd name="T6" fmla="*/ 5 w 9"/>
                  <a:gd name="T7" fmla="*/ 105 h 105"/>
                  <a:gd name="T8" fmla="*/ 9 w 9"/>
                  <a:gd name="T9" fmla="*/ 101 h 105"/>
                  <a:gd name="T10" fmla="*/ 9 w 9"/>
                  <a:gd name="T11" fmla="*/ 5 h 105"/>
                  <a:gd name="T12" fmla="*/ 5 w 9"/>
                  <a:gd name="T13" fmla="*/ 0 h 105"/>
                </a:gdLst>
                <a:ahLst/>
                <a:cxnLst>
                  <a:cxn ang="0">
                    <a:pos x="T0" y="T1"/>
                  </a:cxn>
                  <a:cxn ang="0">
                    <a:pos x="T2" y="T3"/>
                  </a:cxn>
                  <a:cxn ang="0">
                    <a:pos x="T4" y="T5"/>
                  </a:cxn>
                  <a:cxn ang="0">
                    <a:pos x="T6" y="T7"/>
                  </a:cxn>
                  <a:cxn ang="0">
                    <a:pos x="T8" y="T9"/>
                  </a:cxn>
                  <a:cxn ang="0">
                    <a:pos x="T10" y="T11"/>
                  </a:cxn>
                  <a:cxn ang="0">
                    <a:pos x="T12" y="T13"/>
                  </a:cxn>
                </a:cxnLst>
                <a:rect l="0" t="0" r="r" b="b"/>
                <a:pathLst>
                  <a:path w="9" h="105">
                    <a:moveTo>
                      <a:pt x="5" y="0"/>
                    </a:moveTo>
                    <a:cubicBezTo>
                      <a:pt x="2" y="0"/>
                      <a:pt x="0" y="2"/>
                      <a:pt x="0" y="5"/>
                    </a:cubicBezTo>
                    <a:cubicBezTo>
                      <a:pt x="0" y="101"/>
                      <a:pt x="0" y="101"/>
                      <a:pt x="0" y="101"/>
                    </a:cubicBezTo>
                    <a:cubicBezTo>
                      <a:pt x="0" y="103"/>
                      <a:pt x="2" y="105"/>
                      <a:pt x="5" y="105"/>
                    </a:cubicBezTo>
                    <a:cubicBezTo>
                      <a:pt x="7" y="105"/>
                      <a:pt x="9" y="103"/>
                      <a:pt x="9" y="101"/>
                    </a:cubicBezTo>
                    <a:cubicBezTo>
                      <a:pt x="9" y="5"/>
                      <a:pt x="9" y="5"/>
                      <a:pt x="9" y="5"/>
                    </a:cubicBezTo>
                    <a:cubicBezTo>
                      <a:pt x="9" y="2"/>
                      <a:pt x="7" y="0"/>
                      <a:pt x="5"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303" name="Freeform 534"/>
              <p:cNvSpPr>
                <a:spLocks/>
              </p:cNvSpPr>
              <p:nvPr/>
            </p:nvSpPr>
            <p:spPr bwMode="auto">
              <a:xfrm>
                <a:off x="11550651" y="3276600"/>
                <a:ext cx="25400" cy="115887"/>
              </a:xfrm>
              <a:custGeom>
                <a:avLst/>
                <a:gdLst>
                  <a:gd name="T0" fmla="*/ 5 w 10"/>
                  <a:gd name="T1" fmla="*/ 0 h 47"/>
                  <a:gd name="T2" fmla="*/ 0 w 10"/>
                  <a:gd name="T3" fmla="*/ 5 h 47"/>
                  <a:gd name="T4" fmla="*/ 0 w 10"/>
                  <a:gd name="T5" fmla="*/ 42 h 47"/>
                  <a:gd name="T6" fmla="*/ 5 w 10"/>
                  <a:gd name="T7" fmla="*/ 47 h 47"/>
                  <a:gd name="T8" fmla="*/ 10 w 10"/>
                  <a:gd name="T9" fmla="*/ 42 h 47"/>
                  <a:gd name="T10" fmla="*/ 10 w 10"/>
                  <a:gd name="T11" fmla="*/ 5 h 47"/>
                  <a:gd name="T12" fmla="*/ 5 w 10"/>
                  <a:gd name="T13" fmla="*/ 0 h 47"/>
                </a:gdLst>
                <a:ahLst/>
                <a:cxnLst>
                  <a:cxn ang="0">
                    <a:pos x="T0" y="T1"/>
                  </a:cxn>
                  <a:cxn ang="0">
                    <a:pos x="T2" y="T3"/>
                  </a:cxn>
                  <a:cxn ang="0">
                    <a:pos x="T4" y="T5"/>
                  </a:cxn>
                  <a:cxn ang="0">
                    <a:pos x="T6" y="T7"/>
                  </a:cxn>
                  <a:cxn ang="0">
                    <a:pos x="T8" y="T9"/>
                  </a:cxn>
                  <a:cxn ang="0">
                    <a:pos x="T10" y="T11"/>
                  </a:cxn>
                  <a:cxn ang="0">
                    <a:pos x="T12" y="T13"/>
                  </a:cxn>
                </a:cxnLst>
                <a:rect l="0" t="0" r="r" b="b"/>
                <a:pathLst>
                  <a:path w="10" h="47">
                    <a:moveTo>
                      <a:pt x="5" y="0"/>
                    </a:moveTo>
                    <a:cubicBezTo>
                      <a:pt x="2" y="0"/>
                      <a:pt x="0" y="3"/>
                      <a:pt x="0" y="5"/>
                    </a:cubicBezTo>
                    <a:cubicBezTo>
                      <a:pt x="0" y="42"/>
                      <a:pt x="0" y="42"/>
                      <a:pt x="0" y="42"/>
                    </a:cubicBezTo>
                    <a:cubicBezTo>
                      <a:pt x="0" y="44"/>
                      <a:pt x="2" y="47"/>
                      <a:pt x="5" y="47"/>
                    </a:cubicBezTo>
                    <a:cubicBezTo>
                      <a:pt x="8" y="47"/>
                      <a:pt x="10" y="44"/>
                      <a:pt x="10" y="42"/>
                    </a:cubicBezTo>
                    <a:cubicBezTo>
                      <a:pt x="10" y="5"/>
                      <a:pt x="10" y="5"/>
                      <a:pt x="10" y="5"/>
                    </a:cubicBezTo>
                    <a:cubicBezTo>
                      <a:pt x="10" y="3"/>
                      <a:pt x="8" y="0"/>
                      <a:pt x="5"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304" name="Freeform 535"/>
              <p:cNvSpPr>
                <a:spLocks/>
              </p:cNvSpPr>
              <p:nvPr/>
            </p:nvSpPr>
            <p:spPr bwMode="auto">
              <a:xfrm>
                <a:off x="11699876" y="3214688"/>
                <a:ext cx="25400" cy="142875"/>
              </a:xfrm>
              <a:custGeom>
                <a:avLst/>
                <a:gdLst>
                  <a:gd name="T0" fmla="*/ 0 w 10"/>
                  <a:gd name="T1" fmla="*/ 5 h 58"/>
                  <a:gd name="T2" fmla="*/ 0 w 10"/>
                  <a:gd name="T3" fmla="*/ 53 h 58"/>
                  <a:gd name="T4" fmla="*/ 5 w 10"/>
                  <a:gd name="T5" fmla="*/ 58 h 58"/>
                  <a:gd name="T6" fmla="*/ 10 w 10"/>
                  <a:gd name="T7" fmla="*/ 53 h 58"/>
                  <a:gd name="T8" fmla="*/ 10 w 10"/>
                  <a:gd name="T9" fmla="*/ 5 h 58"/>
                  <a:gd name="T10" fmla="*/ 5 w 10"/>
                  <a:gd name="T11" fmla="*/ 0 h 58"/>
                  <a:gd name="T12" fmla="*/ 0 w 10"/>
                  <a:gd name="T13" fmla="*/ 5 h 58"/>
                </a:gdLst>
                <a:ahLst/>
                <a:cxnLst>
                  <a:cxn ang="0">
                    <a:pos x="T0" y="T1"/>
                  </a:cxn>
                  <a:cxn ang="0">
                    <a:pos x="T2" y="T3"/>
                  </a:cxn>
                  <a:cxn ang="0">
                    <a:pos x="T4" y="T5"/>
                  </a:cxn>
                  <a:cxn ang="0">
                    <a:pos x="T6" y="T7"/>
                  </a:cxn>
                  <a:cxn ang="0">
                    <a:pos x="T8" y="T9"/>
                  </a:cxn>
                  <a:cxn ang="0">
                    <a:pos x="T10" y="T11"/>
                  </a:cxn>
                  <a:cxn ang="0">
                    <a:pos x="T12" y="T13"/>
                  </a:cxn>
                </a:cxnLst>
                <a:rect l="0" t="0" r="r" b="b"/>
                <a:pathLst>
                  <a:path w="10" h="58">
                    <a:moveTo>
                      <a:pt x="0" y="5"/>
                    </a:moveTo>
                    <a:cubicBezTo>
                      <a:pt x="0" y="53"/>
                      <a:pt x="0" y="53"/>
                      <a:pt x="0" y="53"/>
                    </a:cubicBezTo>
                    <a:cubicBezTo>
                      <a:pt x="0" y="56"/>
                      <a:pt x="2" y="58"/>
                      <a:pt x="5" y="58"/>
                    </a:cubicBezTo>
                    <a:cubicBezTo>
                      <a:pt x="8" y="58"/>
                      <a:pt x="10" y="56"/>
                      <a:pt x="10" y="53"/>
                    </a:cubicBezTo>
                    <a:cubicBezTo>
                      <a:pt x="10" y="5"/>
                      <a:pt x="10" y="5"/>
                      <a:pt x="10" y="5"/>
                    </a:cubicBezTo>
                    <a:cubicBezTo>
                      <a:pt x="10" y="2"/>
                      <a:pt x="8" y="0"/>
                      <a:pt x="5" y="0"/>
                    </a:cubicBezTo>
                    <a:cubicBezTo>
                      <a:pt x="2" y="0"/>
                      <a:pt x="0" y="2"/>
                      <a:pt x="0" y="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305" name="Freeform 536"/>
              <p:cNvSpPr>
                <a:spLocks noEditPoints="1"/>
              </p:cNvSpPr>
              <p:nvPr/>
            </p:nvSpPr>
            <p:spPr bwMode="auto">
              <a:xfrm>
                <a:off x="11628438" y="3444875"/>
                <a:ext cx="85725" cy="88900"/>
              </a:xfrm>
              <a:custGeom>
                <a:avLst/>
                <a:gdLst>
                  <a:gd name="T0" fmla="*/ 18 w 35"/>
                  <a:gd name="T1" fmla="*/ 0 h 36"/>
                  <a:gd name="T2" fmla="*/ 0 w 35"/>
                  <a:gd name="T3" fmla="*/ 18 h 36"/>
                  <a:gd name="T4" fmla="*/ 18 w 35"/>
                  <a:gd name="T5" fmla="*/ 36 h 36"/>
                  <a:gd name="T6" fmla="*/ 35 w 35"/>
                  <a:gd name="T7" fmla="*/ 18 h 36"/>
                  <a:gd name="T8" fmla="*/ 18 w 35"/>
                  <a:gd name="T9" fmla="*/ 0 h 36"/>
                  <a:gd name="T10" fmla="*/ 18 w 35"/>
                  <a:gd name="T11" fmla="*/ 27 h 36"/>
                  <a:gd name="T12" fmla="*/ 9 w 35"/>
                  <a:gd name="T13" fmla="*/ 18 h 36"/>
                  <a:gd name="T14" fmla="*/ 18 w 35"/>
                  <a:gd name="T15" fmla="*/ 10 h 36"/>
                  <a:gd name="T16" fmla="*/ 26 w 35"/>
                  <a:gd name="T17" fmla="*/ 18 h 36"/>
                  <a:gd name="T18" fmla="*/ 18 w 35"/>
                  <a:gd name="T19" fmla="*/ 27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36">
                    <a:moveTo>
                      <a:pt x="18" y="0"/>
                    </a:moveTo>
                    <a:cubicBezTo>
                      <a:pt x="8" y="0"/>
                      <a:pt x="0" y="8"/>
                      <a:pt x="0" y="18"/>
                    </a:cubicBezTo>
                    <a:cubicBezTo>
                      <a:pt x="0" y="28"/>
                      <a:pt x="8" y="36"/>
                      <a:pt x="18" y="36"/>
                    </a:cubicBezTo>
                    <a:cubicBezTo>
                      <a:pt x="27" y="36"/>
                      <a:pt x="35" y="28"/>
                      <a:pt x="35" y="18"/>
                    </a:cubicBezTo>
                    <a:cubicBezTo>
                      <a:pt x="35" y="8"/>
                      <a:pt x="27" y="0"/>
                      <a:pt x="18" y="0"/>
                    </a:cubicBezTo>
                    <a:close/>
                    <a:moveTo>
                      <a:pt x="18" y="27"/>
                    </a:moveTo>
                    <a:cubicBezTo>
                      <a:pt x="13" y="27"/>
                      <a:pt x="9" y="23"/>
                      <a:pt x="9" y="18"/>
                    </a:cubicBezTo>
                    <a:cubicBezTo>
                      <a:pt x="9" y="14"/>
                      <a:pt x="13" y="10"/>
                      <a:pt x="18" y="10"/>
                    </a:cubicBezTo>
                    <a:cubicBezTo>
                      <a:pt x="22" y="10"/>
                      <a:pt x="26" y="14"/>
                      <a:pt x="26" y="18"/>
                    </a:cubicBezTo>
                    <a:cubicBezTo>
                      <a:pt x="26" y="23"/>
                      <a:pt x="22" y="27"/>
                      <a:pt x="18" y="2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grpSp>
        <p:nvGrpSpPr>
          <p:cNvPr id="306" name="Group 305"/>
          <p:cNvGrpSpPr/>
          <p:nvPr/>
        </p:nvGrpSpPr>
        <p:grpSpPr>
          <a:xfrm>
            <a:off x="5375421" y="1791787"/>
            <a:ext cx="353268" cy="353268"/>
            <a:chOff x="7212975" y="1374657"/>
            <a:chExt cx="353268" cy="353268"/>
          </a:xfrm>
        </p:grpSpPr>
        <p:sp>
          <p:nvSpPr>
            <p:cNvPr id="307" name="Oval 306"/>
            <p:cNvSpPr/>
            <p:nvPr/>
          </p:nvSpPr>
          <p:spPr>
            <a:xfrm>
              <a:off x="7212975" y="1374657"/>
              <a:ext cx="353268" cy="353268"/>
            </a:xfrm>
            <a:prstGeom prst="ellipse">
              <a:avLst/>
            </a:prstGeom>
            <a:solidFill>
              <a:srgbClr val="02376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a:p>
          </p:txBody>
        </p:sp>
        <p:grpSp>
          <p:nvGrpSpPr>
            <p:cNvPr id="308" name="Group 307"/>
            <p:cNvGrpSpPr/>
            <p:nvPr/>
          </p:nvGrpSpPr>
          <p:grpSpPr>
            <a:xfrm>
              <a:off x="7263691" y="1449072"/>
              <a:ext cx="251836" cy="266185"/>
              <a:chOff x="11280776" y="3148013"/>
              <a:chExt cx="557213" cy="588962"/>
            </a:xfrm>
            <a:solidFill>
              <a:schemeClr val="bg1"/>
            </a:solidFill>
          </p:grpSpPr>
          <p:sp>
            <p:nvSpPr>
              <p:cNvPr id="309" name="Freeform 532"/>
              <p:cNvSpPr>
                <a:spLocks noEditPoints="1"/>
              </p:cNvSpPr>
              <p:nvPr/>
            </p:nvSpPr>
            <p:spPr bwMode="auto">
              <a:xfrm>
                <a:off x="11280776" y="3148013"/>
                <a:ext cx="557213" cy="588962"/>
              </a:xfrm>
              <a:custGeom>
                <a:avLst/>
                <a:gdLst>
                  <a:gd name="T0" fmla="*/ 222 w 225"/>
                  <a:gd name="T1" fmla="*/ 12 h 238"/>
                  <a:gd name="T2" fmla="*/ 174 w 225"/>
                  <a:gd name="T3" fmla="*/ 1 h 238"/>
                  <a:gd name="T4" fmla="*/ 171 w 225"/>
                  <a:gd name="T5" fmla="*/ 1 h 238"/>
                  <a:gd name="T6" fmla="*/ 114 w 225"/>
                  <a:gd name="T7" fmla="*/ 27 h 238"/>
                  <a:gd name="T8" fmla="*/ 61 w 225"/>
                  <a:gd name="T9" fmla="*/ 5 h 238"/>
                  <a:gd name="T10" fmla="*/ 58 w 225"/>
                  <a:gd name="T11" fmla="*/ 5 h 238"/>
                  <a:gd name="T12" fmla="*/ 3 w 225"/>
                  <a:gd name="T13" fmla="*/ 27 h 238"/>
                  <a:gd name="T14" fmla="*/ 0 w 225"/>
                  <a:gd name="T15" fmla="*/ 31 h 238"/>
                  <a:gd name="T16" fmla="*/ 0 w 225"/>
                  <a:gd name="T17" fmla="*/ 182 h 238"/>
                  <a:gd name="T18" fmla="*/ 2 w 225"/>
                  <a:gd name="T19" fmla="*/ 186 h 238"/>
                  <a:gd name="T20" fmla="*/ 6 w 225"/>
                  <a:gd name="T21" fmla="*/ 187 h 238"/>
                  <a:gd name="T22" fmla="*/ 60 w 225"/>
                  <a:gd name="T23" fmla="*/ 166 h 238"/>
                  <a:gd name="T24" fmla="*/ 112 w 225"/>
                  <a:gd name="T25" fmla="*/ 188 h 238"/>
                  <a:gd name="T26" fmla="*/ 114 w 225"/>
                  <a:gd name="T27" fmla="*/ 188 h 238"/>
                  <a:gd name="T28" fmla="*/ 116 w 225"/>
                  <a:gd name="T29" fmla="*/ 188 h 238"/>
                  <a:gd name="T30" fmla="*/ 124 w 225"/>
                  <a:gd name="T31" fmla="*/ 184 h 238"/>
                  <a:gd name="T32" fmla="*/ 154 w 225"/>
                  <a:gd name="T33" fmla="*/ 236 h 238"/>
                  <a:gd name="T34" fmla="*/ 158 w 225"/>
                  <a:gd name="T35" fmla="*/ 238 h 238"/>
                  <a:gd name="T36" fmla="*/ 162 w 225"/>
                  <a:gd name="T37" fmla="*/ 236 h 238"/>
                  <a:gd name="T38" fmla="*/ 199 w 225"/>
                  <a:gd name="T39" fmla="*/ 168 h 238"/>
                  <a:gd name="T40" fmla="*/ 220 w 225"/>
                  <a:gd name="T41" fmla="*/ 172 h 238"/>
                  <a:gd name="T42" fmla="*/ 224 w 225"/>
                  <a:gd name="T43" fmla="*/ 171 h 238"/>
                  <a:gd name="T44" fmla="*/ 225 w 225"/>
                  <a:gd name="T45" fmla="*/ 168 h 238"/>
                  <a:gd name="T46" fmla="*/ 225 w 225"/>
                  <a:gd name="T47" fmla="*/ 16 h 238"/>
                  <a:gd name="T48" fmla="*/ 222 w 225"/>
                  <a:gd name="T49" fmla="*/ 12 h 238"/>
                  <a:gd name="T50" fmla="*/ 158 w 225"/>
                  <a:gd name="T51" fmla="*/ 224 h 238"/>
                  <a:gd name="T52" fmla="*/ 119 w 225"/>
                  <a:gd name="T53" fmla="*/ 144 h 238"/>
                  <a:gd name="T54" fmla="*/ 158 w 225"/>
                  <a:gd name="T55" fmla="*/ 106 h 238"/>
                  <a:gd name="T56" fmla="*/ 196 w 225"/>
                  <a:gd name="T57" fmla="*/ 144 h 238"/>
                  <a:gd name="T58" fmla="*/ 158 w 225"/>
                  <a:gd name="T59" fmla="*/ 224 h 238"/>
                  <a:gd name="T60" fmla="*/ 216 w 225"/>
                  <a:gd name="T61" fmla="*/ 162 h 238"/>
                  <a:gd name="T62" fmla="*/ 202 w 225"/>
                  <a:gd name="T63" fmla="*/ 159 h 238"/>
                  <a:gd name="T64" fmla="*/ 205 w 225"/>
                  <a:gd name="T65" fmla="*/ 144 h 238"/>
                  <a:gd name="T66" fmla="*/ 158 w 225"/>
                  <a:gd name="T67" fmla="*/ 96 h 238"/>
                  <a:gd name="T68" fmla="*/ 110 w 225"/>
                  <a:gd name="T69" fmla="*/ 144 h 238"/>
                  <a:gd name="T70" fmla="*/ 120 w 225"/>
                  <a:gd name="T71" fmla="*/ 176 h 238"/>
                  <a:gd name="T72" fmla="*/ 114 w 225"/>
                  <a:gd name="T73" fmla="*/ 178 h 238"/>
                  <a:gd name="T74" fmla="*/ 61 w 225"/>
                  <a:gd name="T75" fmla="*/ 157 h 238"/>
                  <a:gd name="T76" fmla="*/ 60 w 225"/>
                  <a:gd name="T77" fmla="*/ 156 h 238"/>
                  <a:gd name="T78" fmla="*/ 58 w 225"/>
                  <a:gd name="T79" fmla="*/ 156 h 238"/>
                  <a:gd name="T80" fmla="*/ 9 w 225"/>
                  <a:gd name="T81" fmla="*/ 175 h 238"/>
                  <a:gd name="T82" fmla="*/ 9 w 225"/>
                  <a:gd name="T83" fmla="*/ 34 h 238"/>
                  <a:gd name="T84" fmla="*/ 60 w 225"/>
                  <a:gd name="T85" fmla="*/ 15 h 238"/>
                  <a:gd name="T86" fmla="*/ 112 w 225"/>
                  <a:gd name="T87" fmla="*/ 37 h 238"/>
                  <a:gd name="T88" fmla="*/ 116 w 225"/>
                  <a:gd name="T89" fmla="*/ 37 h 238"/>
                  <a:gd name="T90" fmla="*/ 174 w 225"/>
                  <a:gd name="T91" fmla="*/ 10 h 238"/>
                  <a:gd name="T92" fmla="*/ 216 w 225"/>
                  <a:gd name="T93" fmla="*/ 20 h 238"/>
                  <a:gd name="T94" fmla="*/ 216 w 225"/>
                  <a:gd name="T95" fmla="*/ 162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5" h="238">
                    <a:moveTo>
                      <a:pt x="222" y="12"/>
                    </a:moveTo>
                    <a:cubicBezTo>
                      <a:pt x="174" y="1"/>
                      <a:pt x="174" y="1"/>
                      <a:pt x="174" y="1"/>
                    </a:cubicBezTo>
                    <a:cubicBezTo>
                      <a:pt x="173" y="0"/>
                      <a:pt x="172" y="0"/>
                      <a:pt x="171" y="1"/>
                    </a:cubicBezTo>
                    <a:cubicBezTo>
                      <a:pt x="114" y="27"/>
                      <a:pt x="114" y="27"/>
                      <a:pt x="114" y="27"/>
                    </a:cubicBezTo>
                    <a:cubicBezTo>
                      <a:pt x="61" y="5"/>
                      <a:pt x="61" y="5"/>
                      <a:pt x="61" y="5"/>
                    </a:cubicBezTo>
                    <a:cubicBezTo>
                      <a:pt x="60" y="5"/>
                      <a:pt x="59" y="5"/>
                      <a:pt x="58" y="5"/>
                    </a:cubicBezTo>
                    <a:cubicBezTo>
                      <a:pt x="3" y="27"/>
                      <a:pt x="3" y="27"/>
                      <a:pt x="3" y="27"/>
                    </a:cubicBezTo>
                    <a:cubicBezTo>
                      <a:pt x="1" y="27"/>
                      <a:pt x="0" y="29"/>
                      <a:pt x="0" y="31"/>
                    </a:cubicBezTo>
                    <a:cubicBezTo>
                      <a:pt x="0" y="182"/>
                      <a:pt x="0" y="182"/>
                      <a:pt x="0" y="182"/>
                    </a:cubicBezTo>
                    <a:cubicBezTo>
                      <a:pt x="0" y="184"/>
                      <a:pt x="0" y="185"/>
                      <a:pt x="2" y="186"/>
                    </a:cubicBezTo>
                    <a:cubicBezTo>
                      <a:pt x="3" y="187"/>
                      <a:pt x="5" y="187"/>
                      <a:pt x="6" y="187"/>
                    </a:cubicBezTo>
                    <a:cubicBezTo>
                      <a:pt x="60" y="166"/>
                      <a:pt x="60" y="166"/>
                      <a:pt x="60" y="166"/>
                    </a:cubicBezTo>
                    <a:cubicBezTo>
                      <a:pt x="112" y="188"/>
                      <a:pt x="112" y="188"/>
                      <a:pt x="112" y="188"/>
                    </a:cubicBezTo>
                    <a:cubicBezTo>
                      <a:pt x="113" y="188"/>
                      <a:pt x="113" y="188"/>
                      <a:pt x="114" y="188"/>
                    </a:cubicBezTo>
                    <a:cubicBezTo>
                      <a:pt x="115" y="188"/>
                      <a:pt x="115" y="188"/>
                      <a:pt x="116" y="188"/>
                    </a:cubicBezTo>
                    <a:cubicBezTo>
                      <a:pt x="124" y="184"/>
                      <a:pt x="124" y="184"/>
                      <a:pt x="124" y="184"/>
                    </a:cubicBezTo>
                    <a:cubicBezTo>
                      <a:pt x="136" y="208"/>
                      <a:pt x="151" y="232"/>
                      <a:pt x="154" y="236"/>
                    </a:cubicBezTo>
                    <a:cubicBezTo>
                      <a:pt x="154" y="237"/>
                      <a:pt x="156" y="238"/>
                      <a:pt x="158" y="238"/>
                    </a:cubicBezTo>
                    <a:cubicBezTo>
                      <a:pt x="159" y="238"/>
                      <a:pt x="161" y="237"/>
                      <a:pt x="162" y="236"/>
                    </a:cubicBezTo>
                    <a:cubicBezTo>
                      <a:pt x="165" y="231"/>
                      <a:pt x="188" y="195"/>
                      <a:pt x="199" y="168"/>
                    </a:cubicBezTo>
                    <a:cubicBezTo>
                      <a:pt x="220" y="172"/>
                      <a:pt x="220" y="172"/>
                      <a:pt x="220" y="172"/>
                    </a:cubicBezTo>
                    <a:cubicBezTo>
                      <a:pt x="221" y="173"/>
                      <a:pt x="222" y="172"/>
                      <a:pt x="224" y="171"/>
                    </a:cubicBezTo>
                    <a:cubicBezTo>
                      <a:pt x="225" y="170"/>
                      <a:pt x="225" y="169"/>
                      <a:pt x="225" y="168"/>
                    </a:cubicBezTo>
                    <a:cubicBezTo>
                      <a:pt x="225" y="16"/>
                      <a:pt x="225" y="16"/>
                      <a:pt x="225" y="16"/>
                    </a:cubicBezTo>
                    <a:cubicBezTo>
                      <a:pt x="225" y="14"/>
                      <a:pt x="224" y="12"/>
                      <a:pt x="222" y="12"/>
                    </a:cubicBezTo>
                    <a:close/>
                    <a:moveTo>
                      <a:pt x="158" y="224"/>
                    </a:moveTo>
                    <a:cubicBezTo>
                      <a:pt x="144" y="203"/>
                      <a:pt x="119" y="160"/>
                      <a:pt x="119" y="144"/>
                    </a:cubicBezTo>
                    <a:cubicBezTo>
                      <a:pt x="119" y="123"/>
                      <a:pt x="136" y="106"/>
                      <a:pt x="158" y="106"/>
                    </a:cubicBezTo>
                    <a:cubicBezTo>
                      <a:pt x="179" y="106"/>
                      <a:pt x="196" y="123"/>
                      <a:pt x="196" y="144"/>
                    </a:cubicBezTo>
                    <a:cubicBezTo>
                      <a:pt x="196" y="160"/>
                      <a:pt x="171" y="203"/>
                      <a:pt x="158" y="224"/>
                    </a:cubicBezTo>
                    <a:close/>
                    <a:moveTo>
                      <a:pt x="216" y="162"/>
                    </a:moveTo>
                    <a:cubicBezTo>
                      <a:pt x="202" y="159"/>
                      <a:pt x="202" y="159"/>
                      <a:pt x="202" y="159"/>
                    </a:cubicBezTo>
                    <a:cubicBezTo>
                      <a:pt x="204" y="153"/>
                      <a:pt x="205" y="148"/>
                      <a:pt x="205" y="144"/>
                    </a:cubicBezTo>
                    <a:cubicBezTo>
                      <a:pt x="205" y="117"/>
                      <a:pt x="184" y="96"/>
                      <a:pt x="158" y="96"/>
                    </a:cubicBezTo>
                    <a:cubicBezTo>
                      <a:pt x="131" y="96"/>
                      <a:pt x="110" y="117"/>
                      <a:pt x="110" y="144"/>
                    </a:cubicBezTo>
                    <a:cubicBezTo>
                      <a:pt x="110" y="152"/>
                      <a:pt x="114" y="163"/>
                      <a:pt x="120" y="176"/>
                    </a:cubicBezTo>
                    <a:cubicBezTo>
                      <a:pt x="114" y="178"/>
                      <a:pt x="114" y="178"/>
                      <a:pt x="114" y="178"/>
                    </a:cubicBezTo>
                    <a:cubicBezTo>
                      <a:pt x="61" y="157"/>
                      <a:pt x="61" y="157"/>
                      <a:pt x="61" y="157"/>
                    </a:cubicBezTo>
                    <a:cubicBezTo>
                      <a:pt x="61" y="156"/>
                      <a:pt x="60" y="156"/>
                      <a:pt x="60" y="156"/>
                    </a:cubicBezTo>
                    <a:cubicBezTo>
                      <a:pt x="59" y="156"/>
                      <a:pt x="58" y="156"/>
                      <a:pt x="58" y="156"/>
                    </a:cubicBezTo>
                    <a:cubicBezTo>
                      <a:pt x="9" y="175"/>
                      <a:pt x="9" y="175"/>
                      <a:pt x="9" y="175"/>
                    </a:cubicBezTo>
                    <a:cubicBezTo>
                      <a:pt x="9" y="34"/>
                      <a:pt x="9" y="34"/>
                      <a:pt x="9" y="34"/>
                    </a:cubicBezTo>
                    <a:cubicBezTo>
                      <a:pt x="60" y="15"/>
                      <a:pt x="60" y="15"/>
                      <a:pt x="60" y="15"/>
                    </a:cubicBezTo>
                    <a:cubicBezTo>
                      <a:pt x="112" y="37"/>
                      <a:pt x="112" y="37"/>
                      <a:pt x="112" y="37"/>
                    </a:cubicBezTo>
                    <a:cubicBezTo>
                      <a:pt x="113" y="37"/>
                      <a:pt x="115" y="37"/>
                      <a:pt x="116" y="37"/>
                    </a:cubicBezTo>
                    <a:cubicBezTo>
                      <a:pt x="174" y="10"/>
                      <a:pt x="174" y="10"/>
                      <a:pt x="174" y="10"/>
                    </a:cubicBezTo>
                    <a:cubicBezTo>
                      <a:pt x="216" y="20"/>
                      <a:pt x="216" y="20"/>
                      <a:pt x="216" y="20"/>
                    </a:cubicBezTo>
                    <a:lnTo>
                      <a:pt x="216" y="16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310" name="Freeform 533"/>
              <p:cNvSpPr>
                <a:spLocks/>
              </p:cNvSpPr>
              <p:nvPr/>
            </p:nvSpPr>
            <p:spPr bwMode="auto">
              <a:xfrm>
                <a:off x="11417301" y="3232150"/>
                <a:ext cx="22225" cy="260350"/>
              </a:xfrm>
              <a:custGeom>
                <a:avLst/>
                <a:gdLst>
                  <a:gd name="T0" fmla="*/ 5 w 9"/>
                  <a:gd name="T1" fmla="*/ 0 h 105"/>
                  <a:gd name="T2" fmla="*/ 0 w 9"/>
                  <a:gd name="T3" fmla="*/ 5 h 105"/>
                  <a:gd name="T4" fmla="*/ 0 w 9"/>
                  <a:gd name="T5" fmla="*/ 101 h 105"/>
                  <a:gd name="T6" fmla="*/ 5 w 9"/>
                  <a:gd name="T7" fmla="*/ 105 h 105"/>
                  <a:gd name="T8" fmla="*/ 9 w 9"/>
                  <a:gd name="T9" fmla="*/ 101 h 105"/>
                  <a:gd name="T10" fmla="*/ 9 w 9"/>
                  <a:gd name="T11" fmla="*/ 5 h 105"/>
                  <a:gd name="T12" fmla="*/ 5 w 9"/>
                  <a:gd name="T13" fmla="*/ 0 h 105"/>
                </a:gdLst>
                <a:ahLst/>
                <a:cxnLst>
                  <a:cxn ang="0">
                    <a:pos x="T0" y="T1"/>
                  </a:cxn>
                  <a:cxn ang="0">
                    <a:pos x="T2" y="T3"/>
                  </a:cxn>
                  <a:cxn ang="0">
                    <a:pos x="T4" y="T5"/>
                  </a:cxn>
                  <a:cxn ang="0">
                    <a:pos x="T6" y="T7"/>
                  </a:cxn>
                  <a:cxn ang="0">
                    <a:pos x="T8" y="T9"/>
                  </a:cxn>
                  <a:cxn ang="0">
                    <a:pos x="T10" y="T11"/>
                  </a:cxn>
                  <a:cxn ang="0">
                    <a:pos x="T12" y="T13"/>
                  </a:cxn>
                </a:cxnLst>
                <a:rect l="0" t="0" r="r" b="b"/>
                <a:pathLst>
                  <a:path w="9" h="105">
                    <a:moveTo>
                      <a:pt x="5" y="0"/>
                    </a:moveTo>
                    <a:cubicBezTo>
                      <a:pt x="2" y="0"/>
                      <a:pt x="0" y="2"/>
                      <a:pt x="0" y="5"/>
                    </a:cubicBezTo>
                    <a:cubicBezTo>
                      <a:pt x="0" y="101"/>
                      <a:pt x="0" y="101"/>
                      <a:pt x="0" y="101"/>
                    </a:cubicBezTo>
                    <a:cubicBezTo>
                      <a:pt x="0" y="103"/>
                      <a:pt x="2" y="105"/>
                      <a:pt x="5" y="105"/>
                    </a:cubicBezTo>
                    <a:cubicBezTo>
                      <a:pt x="7" y="105"/>
                      <a:pt x="9" y="103"/>
                      <a:pt x="9" y="101"/>
                    </a:cubicBezTo>
                    <a:cubicBezTo>
                      <a:pt x="9" y="5"/>
                      <a:pt x="9" y="5"/>
                      <a:pt x="9" y="5"/>
                    </a:cubicBezTo>
                    <a:cubicBezTo>
                      <a:pt x="9" y="2"/>
                      <a:pt x="7" y="0"/>
                      <a:pt x="5"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311" name="Freeform 534"/>
              <p:cNvSpPr>
                <a:spLocks/>
              </p:cNvSpPr>
              <p:nvPr/>
            </p:nvSpPr>
            <p:spPr bwMode="auto">
              <a:xfrm>
                <a:off x="11550651" y="3276600"/>
                <a:ext cx="25400" cy="115887"/>
              </a:xfrm>
              <a:custGeom>
                <a:avLst/>
                <a:gdLst>
                  <a:gd name="T0" fmla="*/ 5 w 10"/>
                  <a:gd name="T1" fmla="*/ 0 h 47"/>
                  <a:gd name="T2" fmla="*/ 0 w 10"/>
                  <a:gd name="T3" fmla="*/ 5 h 47"/>
                  <a:gd name="T4" fmla="*/ 0 w 10"/>
                  <a:gd name="T5" fmla="*/ 42 h 47"/>
                  <a:gd name="T6" fmla="*/ 5 w 10"/>
                  <a:gd name="T7" fmla="*/ 47 h 47"/>
                  <a:gd name="T8" fmla="*/ 10 w 10"/>
                  <a:gd name="T9" fmla="*/ 42 h 47"/>
                  <a:gd name="T10" fmla="*/ 10 w 10"/>
                  <a:gd name="T11" fmla="*/ 5 h 47"/>
                  <a:gd name="T12" fmla="*/ 5 w 10"/>
                  <a:gd name="T13" fmla="*/ 0 h 47"/>
                </a:gdLst>
                <a:ahLst/>
                <a:cxnLst>
                  <a:cxn ang="0">
                    <a:pos x="T0" y="T1"/>
                  </a:cxn>
                  <a:cxn ang="0">
                    <a:pos x="T2" y="T3"/>
                  </a:cxn>
                  <a:cxn ang="0">
                    <a:pos x="T4" y="T5"/>
                  </a:cxn>
                  <a:cxn ang="0">
                    <a:pos x="T6" y="T7"/>
                  </a:cxn>
                  <a:cxn ang="0">
                    <a:pos x="T8" y="T9"/>
                  </a:cxn>
                  <a:cxn ang="0">
                    <a:pos x="T10" y="T11"/>
                  </a:cxn>
                  <a:cxn ang="0">
                    <a:pos x="T12" y="T13"/>
                  </a:cxn>
                </a:cxnLst>
                <a:rect l="0" t="0" r="r" b="b"/>
                <a:pathLst>
                  <a:path w="10" h="47">
                    <a:moveTo>
                      <a:pt x="5" y="0"/>
                    </a:moveTo>
                    <a:cubicBezTo>
                      <a:pt x="2" y="0"/>
                      <a:pt x="0" y="3"/>
                      <a:pt x="0" y="5"/>
                    </a:cubicBezTo>
                    <a:cubicBezTo>
                      <a:pt x="0" y="42"/>
                      <a:pt x="0" y="42"/>
                      <a:pt x="0" y="42"/>
                    </a:cubicBezTo>
                    <a:cubicBezTo>
                      <a:pt x="0" y="44"/>
                      <a:pt x="2" y="47"/>
                      <a:pt x="5" y="47"/>
                    </a:cubicBezTo>
                    <a:cubicBezTo>
                      <a:pt x="8" y="47"/>
                      <a:pt x="10" y="44"/>
                      <a:pt x="10" y="42"/>
                    </a:cubicBezTo>
                    <a:cubicBezTo>
                      <a:pt x="10" y="5"/>
                      <a:pt x="10" y="5"/>
                      <a:pt x="10" y="5"/>
                    </a:cubicBezTo>
                    <a:cubicBezTo>
                      <a:pt x="10" y="3"/>
                      <a:pt x="8" y="0"/>
                      <a:pt x="5"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312" name="Freeform 535"/>
              <p:cNvSpPr>
                <a:spLocks/>
              </p:cNvSpPr>
              <p:nvPr/>
            </p:nvSpPr>
            <p:spPr bwMode="auto">
              <a:xfrm>
                <a:off x="11699876" y="3214688"/>
                <a:ext cx="25400" cy="142875"/>
              </a:xfrm>
              <a:custGeom>
                <a:avLst/>
                <a:gdLst>
                  <a:gd name="T0" fmla="*/ 0 w 10"/>
                  <a:gd name="T1" fmla="*/ 5 h 58"/>
                  <a:gd name="T2" fmla="*/ 0 w 10"/>
                  <a:gd name="T3" fmla="*/ 53 h 58"/>
                  <a:gd name="T4" fmla="*/ 5 w 10"/>
                  <a:gd name="T5" fmla="*/ 58 h 58"/>
                  <a:gd name="T6" fmla="*/ 10 w 10"/>
                  <a:gd name="T7" fmla="*/ 53 h 58"/>
                  <a:gd name="T8" fmla="*/ 10 w 10"/>
                  <a:gd name="T9" fmla="*/ 5 h 58"/>
                  <a:gd name="T10" fmla="*/ 5 w 10"/>
                  <a:gd name="T11" fmla="*/ 0 h 58"/>
                  <a:gd name="T12" fmla="*/ 0 w 10"/>
                  <a:gd name="T13" fmla="*/ 5 h 58"/>
                </a:gdLst>
                <a:ahLst/>
                <a:cxnLst>
                  <a:cxn ang="0">
                    <a:pos x="T0" y="T1"/>
                  </a:cxn>
                  <a:cxn ang="0">
                    <a:pos x="T2" y="T3"/>
                  </a:cxn>
                  <a:cxn ang="0">
                    <a:pos x="T4" y="T5"/>
                  </a:cxn>
                  <a:cxn ang="0">
                    <a:pos x="T6" y="T7"/>
                  </a:cxn>
                  <a:cxn ang="0">
                    <a:pos x="T8" y="T9"/>
                  </a:cxn>
                  <a:cxn ang="0">
                    <a:pos x="T10" y="T11"/>
                  </a:cxn>
                  <a:cxn ang="0">
                    <a:pos x="T12" y="T13"/>
                  </a:cxn>
                </a:cxnLst>
                <a:rect l="0" t="0" r="r" b="b"/>
                <a:pathLst>
                  <a:path w="10" h="58">
                    <a:moveTo>
                      <a:pt x="0" y="5"/>
                    </a:moveTo>
                    <a:cubicBezTo>
                      <a:pt x="0" y="53"/>
                      <a:pt x="0" y="53"/>
                      <a:pt x="0" y="53"/>
                    </a:cubicBezTo>
                    <a:cubicBezTo>
                      <a:pt x="0" y="56"/>
                      <a:pt x="2" y="58"/>
                      <a:pt x="5" y="58"/>
                    </a:cubicBezTo>
                    <a:cubicBezTo>
                      <a:pt x="8" y="58"/>
                      <a:pt x="10" y="56"/>
                      <a:pt x="10" y="53"/>
                    </a:cubicBezTo>
                    <a:cubicBezTo>
                      <a:pt x="10" y="5"/>
                      <a:pt x="10" y="5"/>
                      <a:pt x="10" y="5"/>
                    </a:cubicBezTo>
                    <a:cubicBezTo>
                      <a:pt x="10" y="2"/>
                      <a:pt x="8" y="0"/>
                      <a:pt x="5" y="0"/>
                    </a:cubicBezTo>
                    <a:cubicBezTo>
                      <a:pt x="2" y="0"/>
                      <a:pt x="0" y="2"/>
                      <a:pt x="0" y="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313" name="Freeform 536"/>
              <p:cNvSpPr>
                <a:spLocks noEditPoints="1"/>
              </p:cNvSpPr>
              <p:nvPr/>
            </p:nvSpPr>
            <p:spPr bwMode="auto">
              <a:xfrm>
                <a:off x="11628438" y="3444875"/>
                <a:ext cx="85725" cy="88900"/>
              </a:xfrm>
              <a:custGeom>
                <a:avLst/>
                <a:gdLst>
                  <a:gd name="T0" fmla="*/ 18 w 35"/>
                  <a:gd name="T1" fmla="*/ 0 h 36"/>
                  <a:gd name="T2" fmla="*/ 0 w 35"/>
                  <a:gd name="T3" fmla="*/ 18 h 36"/>
                  <a:gd name="T4" fmla="*/ 18 w 35"/>
                  <a:gd name="T5" fmla="*/ 36 h 36"/>
                  <a:gd name="T6" fmla="*/ 35 w 35"/>
                  <a:gd name="T7" fmla="*/ 18 h 36"/>
                  <a:gd name="T8" fmla="*/ 18 w 35"/>
                  <a:gd name="T9" fmla="*/ 0 h 36"/>
                  <a:gd name="T10" fmla="*/ 18 w 35"/>
                  <a:gd name="T11" fmla="*/ 27 h 36"/>
                  <a:gd name="T12" fmla="*/ 9 w 35"/>
                  <a:gd name="T13" fmla="*/ 18 h 36"/>
                  <a:gd name="T14" fmla="*/ 18 w 35"/>
                  <a:gd name="T15" fmla="*/ 10 h 36"/>
                  <a:gd name="T16" fmla="*/ 26 w 35"/>
                  <a:gd name="T17" fmla="*/ 18 h 36"/>
                  <a:gd name="T18" fmla="*/ 18 w 35"/>
                  <a:gd name="T19" fmla="*/ 27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36">
                    <a:moveTo>
                      <a:pt x="18" y="0"/>
                    </a:moveTo>
                    <a:cubicBezTo>
                      <a:pt x="8" y="0"/>
                      <a:pt x="0" y="8"/>
                      <a:pt x="0" y="18"/>
                    </a:cubicBezTo>
                    <a:cubicBezTo>
                      <a:pt x="0" y="28"/>
                      <a:pt x="8" y="36"/>
                      <a:pt x="18" y="36"/>
                    </a:cubicBezTo>
                    <a:cubicBezTo>
                      <a:pt x="27" y="36"/>
                      <a:pt x="35" y="28"/>
                      <a:pt x="35" y="18"/>
                    </a:cubicBezTo>
                    <a:cubicBezTo>
                      <a:pt x="35" y="8"/>
                      <a:pt x="27" y="0"/>
                      <a:pt x="18" y="0"/>
                    </a:cubicBezTo>
                    <a:close/>
                    <a:moveTo>
                      <a:pt x="18" y="27"/>
                    </a:moveTo>
                    <a:cubicBezTo>
                      <a:pt x="13" y="27"/>
                      <a:pt x="9" y="23"/>
                      <a:pt x="9" y="18"/>
                    </a:cubicBezTo>
                    <a:cubicBezTo>
                      <a:pt x="9" y="14"/>
                      <a:pt x="13" y="10"/>
                      <a:pt x="18" y="10"/>
                    </a:cubicBezTo>
                    <a:cubicBezTo>
                      <a:pt x="22" y="10"/>
                      <a:pt x="26" y="14"/>
                      <a:pt x="26" y="18"/>
                    </a:cubicBezTo>
                    <a:cubicBezTo>
                      <a:pt x="26" y="23"/>
                      <a:pt x="22" y="27"/>
                      <a:pt x="18" y="2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grpSp>
        <p:nvGrpSpPr>
          <p:cNvPr id="314" name="Group 313"/>
          <p:cNvGrpSpPr/>
          <p:nvPr/>
        </p:nvGrpSpPr>
        <p:grpSpPr>
          <a:xfrm>
            <a:off x="6085686" y="1791787"/>
            <a:ext cx="353268" cy="353268"/>
            <a:chOff x="7212975" y="1374657"/>
            <a:chExt cx="353268" cy="353268"/>
          </a:xfrm>
        </p:grpSpPr>
        <p:sp>
          <p:nvSpPr>
            <p:cNvPr id="315" name="Oval 314"/>
            <p:cNvSpPr/>
            <p:nvPr/>
          </p:nvSpPr>
          <p:spPr>
            <a:xfrm>
              <a:off x="7212975" y="1374657"/>
              <a:ext cx="353268" cy="353268"/>
            </a:xfrm>
            <a:prstGeom prst="ellipse">
              <a:avLst/>
            </a:prstGeom>
            <a:solidFill>
              <a:srgbClr val="02376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a:p>
          </p:txBody>
        </p:sp>
        <p:grpSp>
          <p:nvGrpSpPr>
            <p:cNvPr id="316" name="Group 315"/>
            <p:cNvGrpSpPr/>
            <p:nvPr/>
          </p:nvGrpSpPr>
          <p:grpSpPr>
            <a:xfrm>
              <a:off x="7263691" y="1449072"/>
              <a:ext cx="251836" cy="266185"/>
              <a:chOff x="11280776" y="3148013"/>
              <a:chExt cx="557213" cy="588962"/>
            </a:xfrm>
            <a:solidFill>
              <a:schemeClr val="bg1"/>
            </a:solidFill>
          </p:grpSpPr>
          <p:sp>
            <p:nvSpPr>
              <p:cNvPr id="317" name="Freeform 532"/>
              <p:cNvSpPr>
                <a:spLocks noEditPoints="1"/>
              </p:cNvSpPr>
              <p:nvPr/>
            </p:nvSpPr>
            <p:spPr bwMode="auto">
              <a:xfrm>
                <a:off x="11280776" y="3148013"/>
                <a:ext cx="557213" cy="588962"/>
              </a:xfrm>
              <a:custGeom>
                <a:avLst/>
                <a:gdLst>
                  <a:gd name="T0" fmla="*/ 222 w 225"/>
                  <a:gd name="T1" fmla="*/ 12 h 238"/>
                  <a:gd name="T2" fmla="*/ 174 w 225"/>
                  <a:gd name="T3" fmla="*/ 1 h 238"/>
                  <a:gd name="T4" fmla="*/ 171 w 225"/>
                  <a:gd name="T5" fmla="*/ 1 h 238"/>
                  <a:gd name="T6" fmla="*/ 114 w 225"/>
                  <a:gd name="T7" fmla="*/ 27 h 238"/>
                  <a:gd name="T8" fmla="*/ 61 w 225"/>
                  <a:gd name="T9" fmla="*/ 5 h 238"/>
                  <a:gd name="T10" fmla="*/ 58 w 225"/>
                  <a:gd name="T11" fmla="*/ 5 h 238"/>
                  <a:gd name="T12" fmla="*/ 3 w 225"/>
                  <a:gd name="T13" fmla="*/ 27 h 238"/>
                  <a:gd name="T14" fmla="*/ 0 w 225"/>
                  <a:gd name="T15" fmla="*/ 31 h 238"/>
                  <a:gd name="T16" fmla="*/ 0 w 225"/>
                  <a:gd name="T17" fmla="*/ 182 h 238"/>
                  <a:gd name="T18" fmla="*/ 2 w 225"/>
                  <a:gd name="T19" fmla="*/ 186 h 238"/>
                  <a:gd name="T20" fmla="*/ 6 w 225"/>
                  <a:gd name="T21" fmla="*/ 187 h 238"/>
                  <a:gd name="T22" fmla="*/ 60 w 225"/>
                  <a:gd name="T23" fmla="*/ 166 h 238"/>
                  <a:gd name="T24" fmla="*/ 112 w 225"/>
                  <a:gd name="T25" fmla="*/ 188 h 238"/>
                  <a:gd name="T26" fmla="*/ 114 w 225"/>
                  <a:gd name="T27" fmla="*/ 188 h 238"/>
                  <a:gd name="T28" fmla="*/ 116 w 225"/>
                  <a:gd name="T29" fmla="*/ 188 h 238"/>
                  <a:gd name="T30" fmla="*/ 124 w 225"/>
                  <a:gd name="T31" fmla="*/ 184 h 238"/>
                  <a:gd name="T32" fmla="*/ 154 w 225"/>
                  <a:gd name="T33" fmla="*/ 236 h 238"/>
                  <a:gd name="T34" fmla="*/ 158 w 225"/>
                  <a:gd name="T35" fmla="*/ 238 h 238"/>
                  <a:gd name="T36" fmla="*/ 162 w 225"/>
                  <a:gd name="T37" fmla="*/ 236 h 238"/>
                  <a:gd name="T38" fmla="*/ 199 w 225"/>
                  <a:gd name="T39" fmla="*/ 168 h 238"/>
                  <a:gd name="T40" fmla="*/ 220 w 225"/>
                  <a:gd name="T41" fmla="*/ 172 h 238"/>
                  <a:gd name="T42" fmla="*/ 224 w 225"/>
                  <a:gd name="T43" fmla="*/ 171 h 238"/>
                  <a:gd name="T44" fmla="*/ 225 w 225"/>
                  <a:gd name="T45" fmla="*/ 168 h 238"/>
                  <a:gd name="T46" fmla="*/ 225 w 225"/>
                  <a:gd name="T47" fmla="*/ 16 h 238"/>
                  <a:gd name="T48" fmla="*/ 222 w 225"/>
                  <a:gd name="T49" fmla="*/ 12 h 238"/>
                  <a:gd name="T50" fmla="*/ 158 w 225"/>
                  <a:gd name="T51" fmla="*/ 224 h 238"/>
                  <a:gd name="T52" fmla="*/ 119 w 225"/>
                  <a:gd name="T53" fmla="*/ 144 h 238"/>
                  <a:gd name="T54" fmla="*/ 158 w 225"/>
                  <a:gd name="T55" fmla="*/ 106 h 238"/>
                  <a:gd name="T56" fmla="*/ 196 w 225"/>
                  <a:gd name="T57" fmla="*/ 144 h 238"/>
                  <a:gd name="T58" fmla="*/ 158 w 225"/>
                  <a:gd name="T59" fmla="*/ 224 h 238"/>
                  <a:gd name="T60" fmla="*/ 216 w 225"/>
                  <a:gd name="T61" fmla="*/ 162 h 238"/>
                  <a:gd name="T62" fmla="*/ 202 w 225"/>
                  <a:gd name="T63" fmla="*/ 159 h 238"/>
                  <a:gd name="T64" fmla="*/ 205 w 225"/>
                  <a:gd name="T65" fmla="*/ 144 h 238"/>
                  <a:gd name="T66" fmla="*/ 158 w 225"/>
                  <a:gd name="T67" fmla="*/ 96 h 238"/>
                  <a:gd name="T68" fmla="*/ 110 w 225"/>
                  <a:gd name="T69" fmla="*/ 144 h 238"/>
                  <a:gd name="T70" fmla="*/ 120 w 225"/>
                  <a:gd name="T71" fmla="*/ 176 h 238"/>
                  <a:gd name="T72" fmla="*/ 114 w 225"/>
                  <a:gd name="T73" fmla="*/ 178 h 238"/>
                  <a:gd name="T74" fmla="*/ 61 w 225"/>
                  <a:gd name="T75" fmla="*/ 157 h 238"/>
                  <a:gd name="T76" fmla="*/ 60 w 225"/>
                  <a:gd name="T77" fmla="*/ 156 h 238"/>
                  <a:gd name="T78" fmla="*/ 58 w 225"/>
                  <a:gd name="T79" fmla="*/ 156 h 238"/>
                  <a:gd name="T80" fmla="*/ 9 w 225"/>
                  <a:gd name="T81" fmla="*/ 175 h 238"/>
                  <a:gd name="T82" fmla="*/ 9 w 225"/>
                  <a:gd name="T83" fmla="*/ 34 h 238"/>
                  <a:gd name="T84" fmla="*/ 60 w 225"/>
                  <a:gd name="T85" fmla="*/ 15 h 238"/>
                  <a:gd name="T86" fmla="*/ 112 w 225"/>
                  <a:gd name="T87" fmla="*/ 37 h 238"/>
                  <a:gd name="T88" fmla="*/ 116 w 225"/>
                  <a:gd name="T89" fmla="*/ 37 h 238"/>
                  <a:gd name="T90" fmla="*/ 174 w 225"/>
                  <a:gd name="T91" fmla="*/ 10 h 238"/>
                  <a:gd name="T92" fmla="*/ 216 w 225"/>
                  <a:gd name="T93" fmla="*/ 20 h 238"/>
                  <a:gd name="T94" fmla="*/ 216 w 225"/>
                  <a:gd name="T95" fmla="*/ 162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5" h="238">
                    <a:moveTo>
                      <a:pt x="222" y="12"/>
                    </a:moveTo>
                    <a:cubicBezTo>
                      <a:pt x="174" y="1"/>
                      <a:pt x="174" y="1"/>
                      <a:pt x="174" y="1"/>
                    </a:cubicBezTo>
                    <a:cubicBezTo>
                      <a:pt x="173" y="0"/>
                      <a:pt x="172" y="0"/>
                      <a:pt x="171" y="1"/>
                    </a:cubicBezTo>
                    <a:cubicBezTo>
                      <a:pt x="114" y="27"/>
                      <a:pt x="114" y="27"/>
                      <a:pt x="114" y="27"/>
                    </a:cubicBezTo>
                    <a:cubicBezTo>
                      <a:pt x="61" y="5"/>
                      <a:pt x="61" y="5"/>
                      <a:pt x="61" y="5"/>
                    </a:cubicBezTo>
                    <a:cubicBezTo>
                      <a:pt x="60" y="5"/>
                      <a:pt x="59" y="5"/>
                      <a:pt x="58" y="5"/>
                    </a:cubicBezTo>
                    <a:cubicBezTo>
                      <a:pt x="3" y="27"/>
                      <a:pt x="3" y="27"/>
                      <a:pt x="3" y="27"/>
                    </a:cubicBezTo>
                    <a:cubicBezTo>
                      <a:pt x="1" y="27"/>
                      <a:pt x="0" y="29"/>
                      <a:pt x="0" y="31"/>
                    </a:cubicBezTo>
                    <a:cubicBezTo>
                      <a:pt x="0" y="182"/>
                      <a:pt x="0" y="182"/>
                      <a:pt x="0" y="182"/>
                    </a:cubicBezTo>
                    <a:cubicBezTo>
                      <a:pt x="0" y="184"/>
                      <a:pt x="0" y="185"/>
                      <a:pt x="2" y="186"/>
                    </a:cubicBezTo>
                    <a:cubicBezTo>
                      <a:pt x="3" y="187"/>
                      <a:pt x="5" y="187"/>
                      <a:pt x="6" y="187"/>
                    </a:cubicBezTo>
                    <a:cubicBezTo>
                      <a:pt x="60" y="166"/>
                      <a:pt x="60" y="166"/>
                      <a:pt x="60" y="166"/>
                    </a:cubicBezTo>
                    <a:cubicBezTo>
                      <a:pt x="112" y="188"/>
                      <a:pt x="112" y="188"/>
                      <a:pt x="112" y="188"/>
                    </a:cubicBezTo>
                    <a:cubicBezTo>
                      <a:pt x="113" y="188"/>
                      <a:pt x="113" y="188"/>
                      <a:pt x="114" y="188"/>
                    </a:cubicBezTo>
                    <a:cubicBezTo>
                      <a:pt x="115" y="188"/>
                      <a:pt x="115" y="188"/>
                      <a:pt x="116" y="188"/>
                    </a:cubicBezTo>
                    <a:cubicBezTo>
                      <a:pt x="124" y="184"/>
                      <a:pt x="124" y="184"/>
                      <a:pt x="124" y="184"/>
                    </a:cubicBezTo>
                    <a:cubicBezTo>
                      <a:pt x="136" y="208"/>
                      <a:pt x="151" y="232"/>
                      <a:pt x="154" y="236"/>
                    </a:cubicBezTo>
                    <a:cubicBezTo>
                      <a:pt x="154" y="237"/>
                      <a:pt x="156" y="238"/>
                      <a:pt x="158" y="238"/>
                    </a:cubicBezTo>
                    <a:cubicBezTo>
                      <a:pt x="159" y="238"/>
                      <a:pt x="161" y="237"/>
                      <a:pt x="162" y="236"/>
                    </a:cubicBezTo>
                    <a:cubicBezTo>
                      <a:pt x="165" y="231"/>
                      <a:pt x="188" y="195"/>
                      <a:pt x="199" y="168"/>
                    </a:cubicBezTo>
                    <a:cubicBezTo>
                      <a:pt x="220" y="172"/>
                      <a:pt x="220" y="172"/>
                      <a:pt x="220" y="172"/>
                    </a:cubicBezTo>
                    <a:cubicBezTo>
                      <a:pt x="221" y="173"/>
                      <a:pt x="222" y="172"/>
                      <a:pt x="224" y="171"/>
                    </a:cubicBezTo>
                    <a:cubicBezTo>
                      <a:pt x="225" y="170"/>
                      <a:pt x="225" y="169"/>
                      <a:pt x="225" y="168"/>
                    </a:cubicBezTo>
                    <a:cubicBezTo>
                      <a:pt x="225" y="16"/>
                      <a:pt x="225" y="16"/>
                      <a:pt x="225" y="16"/>
                    </a:cubicBezTo>
                    <a:cubicBezTo>
                      <a:pt x="225" y="14"/>
                      <a:pt x="224" y="12"/>
                      <a:pt x="222" y="12"/>
                    </a:cubicBezTo>
                    <a:close/>
                    <a:moveTo>
                      <a:pt x="158" y="224"/>
                    </a:moveTo>
                    <a:cubicBezTo>
                      <a:pt x="144" y="203"/>
                      <a:pt x="119" y="160"/>
                      <a:pt x="119" y="144"/>
                    </a:cubicBezTo>
                    <a:cubicBezTo>
                      <a:pt x="119" y="123"/>
                      <a:pt x="136" y="106"/>
                      <a:pt x="158" y="106"/>
                    </a:cubicBezTo>
                    <a:cubicBezTo>
                      <a:pt x="179" y="106"/>
                      <a:pt x="196" y="123"/>
                      <a:pt x="196" y="144"/>
                    </a:cubicBezTo>
                    <a:cubicBezTo>
                      <a:pt x="196" y="160"/>
                      <a:pt x="171" y="203"/>
                      <a:pt x="158" y="224"/>
                    </a:cubicBezTo>
                    <a:close/>
                    <a:moveTo>
                      <a:pt x="216" y="162"/>
                    </a:moveTo>
                    <a:cubicBezTo>
                      <a:pt x="202" y="159"/>
                      <a:pt x="202" y="159"/>
                      <a:pt x="202" y="159"/>
                    </a:cubicBezTo>
                    <a:cubicBezTo>
                      <a:pt x="204" y="153"/>
                      <a:pt x="205" y="148"/>
                      <a:pt x="205" y="144"/>
                    </a:cubicBezTo>
                    <a:cubicBezTo>
                      <a:pt x="205" y="117"/>
                      <a:pt x="184" y="96"/>
                      <a:pt x="158" y="96"/>
                    </a:cubicBezTo>
                    <a:cubicBezTo>
                      <a:pt x="131" y="96"/>
                      <a:pt x="110" y="117"/>
                      <a:pt x="110" y="144"/>
                    </a:cubicBezTo>
                    <a:cubicBezTo>
                      <a:pt x="110" y="152"/>
                      <a:pt x="114" y="163"/>
                      <a:pt x="120" y="176"/>
                    </a:cubicBezTo>
                    <a:cubicBezTo>
                      <a:pt x="114" y="178"/>
                      <a:pt x="114" y="178"/>
                      <a:pt x="114" y="178"/>
                    </a:cubicBezTo>
                    <a:cubicBezTo>
                      <a:pt x="61" y="157"/>
                      <a:pt x="61" y="157"/>
                      <a:pt x="61" y="157"/>
                    </a:cubicBezTo>
                    <a:cubicBezTo>
                      <a:pt x="61" y="156"/>
                      <a:pt x="60" y="156"/>
                      <a:pt x="60" y="156"/>
                    </a:cubicBezTo>
                    <a:cubicBezTo>
                      <a:pt x="59" y="156"/>
                      <a:pt x="58" y="156"/>
                      <a:pt x="58" y="156"/>
                    </a:cubicBezTo>
                    <a:cubicBezTo>
                      <a:pt x="9" y="175"/>
                      <a:pt x="9" y="175"/>
                      <a:pt x="9" y="175"/>
                    </a:cubicBezTo>
                    <a:cubicBezTo>
                      <a:pt x="9" y="34"/>
                      <a:pt x="9" y="34"/>
                      <a:pt x="9" y="34"/>
                    </a:cubicBezTo>
                    <a:cubicBezTo>
                      <a:pt x="60" y="15"/>
                      <a:pt x="60" y="15"/>
                      <a:pt x="60" y="15"/>
                    </a:cubicBezTo>
                    <a:cubicBezTo>
                      <a:pt x="112" y="37"/>
                      <a:pt x="112" y="37"/>
                      <a:pt x="112" y="37"/>
                    </a:cubicBezTo>
                    <a:cubicBezTo>
                      <a:pt x="113" y="37"/>
                      <a:pt x="115" y="37"/>
                      <a:pt x="116" y="37"/>
                    </a:cubicBezTo>
                    <a:cubicBezTo>
                      <a:pt x="174" y="10"/>
                      <a:pt x="174" y="10"/>
                      <a:pt x="174" y="10"/>
                    </a:cubicBezTo>
                    <a:cubicBezTo>
                      <a:pt x="216" y="20"/>
                      <a:pt x="216" y="20"/>
                      <a:pt x="216" y="20"/>
                    </a:cubicBezTo>
                    <a:lnTo>
                      <a:pt x="216" y="16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318" name="Freeform 533"/>
              <p:cNvSpPr>
                <a:spLocks/>
              </p:cNvSpPr>
              <p:nvPr/>
            </p:nvSpPr>
            <p:spPr bwMode="auto">
              <a:xfrm>
                <a:off x="11417301" y="3232150"/>
                <a:ext cx="22225" cy="260350"/>
              </a:xfrm>
              <a:custGeom>
                <a:avLst/>
                <a:gdLst>
                  <a:gd name="T0" fmla="*/ 5 w 9"/>
                  <a:gd name="T1" fmla="*/ 0 h 105"/>
                  <a:gd name="T2" fmla="*/ 0 w 9"/>
                  <a:gd name="T3" fmla="*/ 5 h 105"/>
                  <a:gd name="T4" fmla="*/ 0 w 9"/>
                  <a:gd name="T5" fmla="*/ 101 h 105"/>
                  <a:gd name="T6" fmla="*/ 5 w 9"/>
                  <a:gd name="T7" fmla="*/ 105 h 105"/>
                  <a:gd name="T8" fmla="*/ 9 w 9"/>
                  <a:gd name="T9" fmla="*/ 101 h 105"/>
                  <a:gd name="T10" fmla="*/ 9 w 9"/>
                  <a:gd name="T11" fmla="*/ 5 h 105"/>
                  <a:gd name="T12" fmla="*/ 5 w 9"/>
                  <a:gd name="T13" fmla="*/ 0 h 105"/>
                </a:gdLst>
                <a:ahLst/>
                <a:cxnLst>
                  <a:cxn ang="0">
                    <a:pos x="T0" y="T1"/>
                  </a:cxn>
                  <a:cxn ang="0">
                    <a:pos x="T2" y="T3"/>
                  </a:cxn>
                  <a:cxn ang="0">
                    <a:pos x="T4" y="T5"/>
                  </a:cxn>
                  <a:cxn ang="0">
                    <a:pos x="T6" y="T7"/>
                  </a:cxn>
                  <a:cxn ang="0">
                    <a:pos x="T8" y="T9"/>
                  </a:cxn>
                  <a:cxn ang="0">
                    <a:pos x="T10" y="T11"/>
                  </a:cxn>
                  <a:cxn ang="0">
                    <a:pos x="T12" y="T13"/>
                  </a:cxn>
                </a:cxnLst>
                <a:rect l="0" t="0" r="r" b="b"/>
                <a:pathLst>
                  <a:path w="9" h="105">
                    <a:moveTo>
                      <a:pt x="5" y="0"/>
                    </a:moveTo>
                    <a:cubicBezTo>
                      <a:pt x="2" y="0"/>
                      <a:pt x="0" y="2"/>
                      <a:pt x="0" y="5"/>
                    </a:cubicBezTo>
                    <a:cubicBezTo>
                      <a:pt x="0" y="101"/>
                      <a:pt x="0" y="101"/>
                      <a:pt x="0" y="101"/>
                    </a:cubicBezTo>
                    <a:cubicBezTo>
                      <a:pt x="0" y="103"/>
                      <a:pt x="2" y="105"/>
                      <a:pt x="5" y="105"/>
                    </a:cubicBezTo>
                    <a:cubicBezTo>
                      <a:pt x="7" y="105"/>
                      <a:pt x="9" y="103"/>
                      <a:pt x="9" y="101"/>
                    </a:cubicBezTo>
                    <a:cubicBezTo>
                      <a:pt x="9" y="5"/>
                      <a:pt x="9" y="5"/>
                      <a:pt x="9" y="5"/>
                    </a:cubicBezTo>
                    <a:cubicBezTo>
                      <a:pt x="9" y="2"/>
                      <a:pt x="7" y="0"/>
                      <a:pt x="5"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319" name="Freeform 534"/>
              <p:cNvSpPr>
                <a:spLocks/>
              </p:cNvSpPr>
              <p:nvPr/>
            </p:nvSpPr>
            <p:spPr bwMode="auto">
              <a:xfrm>
                <a:off x="11550651" y="3276600"/>
                <a:ext cx="25400" cy="115887"/>
              </a:xfrm>
              <a:custGeom>
                <a:avLst/>
                <a:gdLst>
                  <a:gd name="T0" fmla="*/ 5 w 10"/>
                  <a:gd name="T1" fmla="*/ 0 h 47"/>
                  <a:gd name="T2" fmla="*/ 0 w 10"/>
                  <a:gd name="T3" fmla="*/ 5 h 47"/>
                  <a:gd name="T4" fmla="*/ 0 w 10"/>
                  <a:gd name="T5" fmla="*/ 42 h 47"/>
                  <a:gd name="T6" fmla="*/ 5 w 10"/>
                  <a:gd name="T7" fmla="*/ 47 h 47"/>
                  <a:gd name="T8" fmla="*/ 10 w 10"/>
                  <a:gd name="T9" fmla="*/ 42 h 47"/>
                  <a:gd name="T10" fmla="*/ 10 w 10"/>
                  <a:gd name="T11" fmla="*/ 5 h 47"/>
                  <a:gd name="T12" fmla="*/ 5 w 10"/>
                  <a:gd name="T13" fmla="*/ 0 h 47"/>
                </a:gdLst>
                <a:ahLst/>
                <a:cxnLst>
                  <a:cxn ang="0">
                    <a:pos x="T0" y="T1"/>
                  </a:cxn>
                  <a:cxn ang="0">
                    <a:pos x="T2" y="T3"/>
                  </a:cxn>
                  <a:cxn ang="0">
                    <a:pos x="T4" y="T5"/>
                  </a:cxn>
                  <a:cxn ang="0">
                    <a:pos x="T6" y="T7"/>
                  </a:cxn>
                  <a:cxn ang="0">
                    <a:pos x="T8" y="T9"/>
                  </a:cxn>
                  <a:cxn ang="0">
                    <a:pos x="T10" y="T11"/>
                  </a:cxn>
                  <a:cxn ang="0">
                    <a:pos x="T12" y="T13"/>
                  </a:cxn>
                </a:cxnLst>
                <a:rect l="0" t="0" r="r" b="b"/>
                <a:pathLst>
                  <a:path w="10" h="47">
                    <a:moveTo>
                      <a:pt x="5" y="0"/>
                    </a:moveTo>
                    <a:cubicBezTo>
                      <a:pt x="2" y="0"/>
                      <a:pt x="0" y="3"/>
                      <a:pt x="0" y="5"/>
                    </a:cubicBezTo>
                    <a:cubicBezTo>
                      <a:pt x="0" y="42"/>
                      <a:pt x="0" y="42"/>
                      <a:pt x="0" y="42"/>
                    </a:cubicBezTo>
                    <a:cubicBezTo>
                      <a:pt x="0" y="44"/>
                      <a:pt x="2" y="47"/>
                      <a:pt x="5" y="47"/>
                    </a:cubicBezTo>
                    <a:cubicBezTo>
                      <a:pt x="8" y="47"/>
                      <a:pt x="10" y="44"/>
                      <a:pt x="10" y="42"/>
                    </a:cubicBezTo>
                    <a:cubicBezTo>
                      <a:pt x="10" y="5"/>
                      <a:pt x="10" y="5"/>
                      <a:pt x="10" y="5"/>
                    </a:cubicBezTo>
                    <a:cubicBezTo>
                      <a:pt x="10" y="3"/>
                      <a:pt x="8" y="0"/>
                      <a:pt x="5"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320" name="Freeform 535"/>
              <p:cNvSpPr>
                <a:spLocks/>
              </p:cNvSpPr>
              <p:nvPr/>
            </p:nvSpPr>
            <p:spPr bwMode="auto">
              <a:xfrm>
                <a:off x="11699876" y="3214688"/>
                <a:ext cx="25400" cy="142875"/>
              </a:xfrm>
              <a:custGeom>
                <a:avLst/>
                <a:gdLst>
                  <a:gd name="T0" fmla="*/ 0 w 10"/>
                  <a:gd name="T1" fmla="*/ 5 h 58"/>
                  <a:gd name="T2" fmla="*/ 0 w 10"/>
                  <a:gd name="T3" fmla="*/ 53 h 58"/>
                  <a:gd name="T4" fmla="*/ 5 w 10"/>
                  <a:gd name="T5" fmla="*/ 58 h 58"/>
                  <a:gd name="T6" fmla="*/ 10 w 10"/>
                  <a:gd name="T7" fmla="*/ 53 h 58"/>
                  <a:gd name="T8" fmla="*/ 10 w 10"/>
                  <a:gd name="T9" fmla="*/ 5 h 58"/>
                  <a:gd name="T10" fmla="*/ 5 w 10"/>
                  <a:gd name="T11" fmla="*/ 0 h 58"/>
                  <a:gd name="T12" fmla="*/ 0 w 10"/>
                  <a:gd name="T13" fmla="*/ 5 h 58"/>
                </a:gdLst>
                <a:ahLst/>
                <a:cxnLst>
                  <a:cxn ang="0">
                    <a:pos x="T0" y="T1"/>
                  </a:cxn>
                  <a:cxn ang="0">
                    <a:pos x="T2" y="T3"/>
                  </a:cxn>
                  <a:cxn ang="0">
                    <a:pos x="T4" y="T5"/>
                  </a:cxn>
                  <a:cxn ang="0">
                    <a:pos x="T6" y="T7"/>
                  </a:cxn>
                  <a:cxn ang="0">
                    <a:pos x="T8" y="T9"/>
                  </a:cxn>
                  <a:cxn ang="0">
                    <a:pos x="T10" y="T11"/>
                  </a:cxn>
                  <a:cxn ang="0">
                    <a:pos x="T12" y="T13"/>
                  </a:cxn>
                </a:cxnLst>
                <a:rect l="0" t="0" r="r" b="b"/>
                <a:pathLst>
                  <a:path w="10" h="58">
                    <a:moveTo>
                      <a:pt x="0" y="5"/>
                    </a:moveTo>
                    <a:cubicBezTo>
                      <a:pt x="0" y="53"/>
                      <a:pt x="0" y="53"/>
                      <a:pt x="0" y="53"/>
                    </a:cubicBezTo>
                    <a:cubicBezTo>
                      <a:pt x="0" y="56"/>
                      <a:pt x="2" y="58"/>
                      <a:pt x="5" y="58"/>
                    </a:cubicBezTo>
                    <a:cubicBezTo>
                      <a:pt x="8" y="58"/>
                      <a:pt x="10" y="56"/>
                      <a:pt x="10" y="53"/>
                    </a:cubicBezTo>
                    <a:cubicBezTo>
                      <a:pt x="10" y="5"/>
                      <a:pt x="10" y="5"/>
                      <a:pt x="10" y="5"/>
                    </a:cubicBezTo>
                    <a:cubicBezTo>
                      <a:pt x="10" y="2"/>
                      <a:pt x="8" y="0"/>
                      <a:pt x="5" y="0"/>
                    </a:cubicBezTo>
                    <a:cubicBezTo>
                      <a:pt x="2" y="0"/>
                      <a:pt x="0" y="2"/>
                      <a:pt x="0" y="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321" name="Freeform 536"/>
              <p:cNvSpPr>
                <a:spLocks noEditPoints="1"/>
              </p:cNvSpPr>
              <p:nvPr/>
            </p:nvSpPr>
            <p:spPr bwMode="auto">
              <a:xfrm>
                <a:off x="11628438" y="3444875"/>
                <a:ext cx="85725" cy="88900"/>
              </a:xfrm>
              <a:custGeom>
                <a:avLst/>
                <a:gdLst>
                  <a:gd name="T0" fmla="*/ 18 w 35"/>
                  <a:gd name="T1" fmla="*/ 0 h 36"/>
                  <a:gd name="T2" fmla="*/ 0 w 35"/>
                  <a:gd name="T3" fmla="*/ 18 h 36"/>
                  <a:gd name="T4" fmla="*/ 18 w 35"/>
                  <a:gd name="T5" fmla="*/ 36 h 36"/>
                  <a:gd name="T6" fmla="*/ 35 w 35"/>
                  <a:gd name="T7" fmla="*/ 18 h 36"/>
                  <a:gd name="T8" fmla="*/ 18 w 35"/>
                  <a:gd name="T9" fmla="*/ 0 h 36"/>
                  <a:gd name="T10" fmla="*/ 18 w 35"/>
                  <a:gd name="T11" fmla="*/ 27 h 36"/>
                  <a:gd name="T12" fmla="*/ 9 w 35"/>
                  <a:gd name="T13" fmla="*/ 18 h 36"/>
                  <a:gd name="T14" fmla="*/ 18 w 35"/>
                  <a:gd name="T15" fmla="*/ 10 h 36"/>
                  <a:gd name="T16" fmla="*/ 26 w 35"/>
                  <a:gd name="T17" fmla="*/ 18 h 36"/>
                  <a:gd name="T18" fmla="*/ 18 w 35"/>
                  <a:gd name="T19" fmla="*/ 27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36">
                    <a:moveTo>
                      <a:pt x="18" y="0"/>
                    </a:moveTo>
                    <a:cubicBezTo>
                      <a:pt x="8" y="0"/>
                      <a:pt x="0" y="8"/>
                      <a:pt x="0" y="18"/>
                    </a:cubicBezTo>
                    <a:cubicBezTo>
                      <a:pt x="0" y="28"/>
                      <a:pt x="8" y="36"/>
                      <a:pt x="18" y="36"/>
                    </a:cubicBezTo>
                    <a:cubicBezTo>
                      <a:pt x="27" y="36"/>
                      <a:pt x="35" y="28"/>
                      <a:pt x="35" y="18"/>
                    </a:cubicBezTo>
                    <a:cubicBezTo>
                      <a:pt x="35" y="8"/>
                      <a:pt x="27" y="0"/>
                      <a:pt x="18" y="0"/>
                    </a:cubicBezTo>
                    <a:close/>
                    <a:moveTo>
                      <a:pt x="18" y="27"/>
                    </a:moveTo>
                    <a:cubicBezTo>
                      <a:pt x="13" y="27"/>
                      <a:pt x="9" y="23"/>
                      <a:pt x="9" y="18"/>
                    </a:cubicBezTo>
                    <a:cubicBezTo>
                      <a:pt x="9" y="14"/>
                      <a:pt x="13" y="10"/>
                      <a:pt x="18" y="10"/>
                    </a:cubicBezTo>
                    <a:cubicBezTo>
                      <a:pt x="22" y="10"/>
                      <a:pt x="26" y="14"/>
                      <a:pt x="26" y="18"/>
                    </a:cubicBezTo>
                    <a:cubicBezTo>
                      <a:pt x="26" y="23"/>
                      <a:pt x="22" y="27"/>
                      <a:pt x="18" y="2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grpSp>
        <p:nvGrpSpPr>
          <p:cNvPr id="322" name="Group 321"/>
          <p:cNvGrpSpPr/>
          <p:nvPr/>
        </p:nvGrpSpPr>
        <p:grpSpPr>
          <a:xfrm>
            <a:off x="6795951" y="1791787"/>
            <a:ext cx="353268" cy="353268"/>
            <a:chOff x="7212975" y="1374657"/>
            <a:chExt cx="353268" cy="353268"/>
          </a:xfrm>
        </p:grpSpPr>
        <p:sp>
          <p:nvSpPr>
            <p:cNvPr id="323" name="Oval 322"/>
            <p:cNvSpPr/>
            <p:nvPr/>
          </p:nvSpPr>
          <p:spPr>
            <a:xfrm>
              <a:off x="7212975" y="1374657"/>
              <a:ext cx="353268" cy="353268"/>
            </a:xfrm>
            <a:prstGeom prst="ellipse">
              <a:avLst/>
            </a:prstGeom>
            <a:solidFill>
              <a:srgbClr val="02376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a:p>
          </p:txBody>
        </p:sp>
        <p:grpSp>
          <p:nvGrpSpPr>
            <p:cNvPr id="324" name="Group 323"/>
            <p:cNvGrpSpPr/>
            <p:nvPr/>
          </p:nvGrpSpPr>
          <p:grpSpPr>
            <a:xfrm>
              <a:off x="7263691" y="1449072"/>
              <a:ext cx="251836" cy="266185"/>
              <a:chOff x="11280776" y="3148013"/>
              <a:chExt cx="557213" cy="588962"/>
            </a:xfrm>
            <a:solidFill>
              <a:schemeClr val="bg1"/>
            </a:solidFill>
          </p:grpSpPr>
          <p:sp>
            <p:nvSpPr>
              <p:cNvPr id="325" name="Freeform 532"/>
              <p:cNvSpPr>
                <a:spLocks noEditPoints="1"/>
              </p:cNvSpPr>
              <p:nvPr/>
            </p:nvSpPr>
            <p:spPr bwMode="auto">
              <a:xfrm>
                <a:off x="11280776" y="3148013"/>
                <a:ext cx="557213" cy="588962"/>
              </a:xfrm>
              <a:custGeom>
                <a:avLst/>
                <a:gdLst>
                  <a:gd name="T0" fmla="*/ 222 w 225"/>
                  <a:gd name="T1" fmla="*/ 12 h 238"/>
                  <a:gd name="T2" fmla="*/ 174 w 225"/>
                  <a:gd name="T3" fmla="*/ 1 h 238"/>
                  <a:gd name="T4" fmla="*/ 171 w 225"/>
                  <a:gd name="T5" fmla="*/ 1 h 238"/>
                  <a:gd name="T6" fmla="*/ 114 w 225"/>
                  <a:gd name="T7" fmla="*/ 27 h 238"/>
                  <a:gd name="T8" fmla="*/ 61 w 225"/>
                  <a:gd name="T9" fmla="*/ 5 h 238"/>
                  <a:gd name="T10" fmla="*/ 58 w 225"/>
                  <a:gd name="T11" fmla="*/ 5 h 238"/>
                  <a:gd name="T12" fmla="*/ 3 w 225"/>
                  <a:gd name="T13" fmla="*/ 27 h 238"/>
                  <a:gd name="T14" fmla="*/ 0 w 225"/>
                  <a:gd name="T15" fmla="*/ 31 h 238"/>
                  <a:gd name="T16" fmla="*/ 0 w 225"/>
                  <a:gd name="T17" fmla="*/ 182 h 238"/>
                  <a:gd name="T18" fmla="*/ 2 w 225"/>
                  <a:gd name="T19" fmla="*/ 186 h 238"/>
                  <a:gd name="T20" fmla="*/ 6 w 225"/>
                  <a:gd name="T21" fmla="*/ 187 h 238"/>
                  <a:gd name="T22" fmla="*/ 60 w 225"/>
                  <a:gd name="T23" fmla="*/ 166 h 238"/>
                  <a:gd name="T24" fmla="*/ 112 w 225"/>
                  <a:gd name="T25" fmla="*/ 188 h 238"/>
                  <a:gd name="T26" fmla="*/ 114 w 225"/>
                  <a:gd name="T27" fmla="*/ 188 h 238"/>
                  <a:gd name="T28" fmla="*/ 116 w 225"/>
                  <a:gd name="T29" fmla="*/ 188 h 238"/>
                  <a:gd name="T30" fmla="*/ 124 w 225"/>
                  <a:gd name="T31" fmla="*/ 184 h 238"/>
                  <a:gd name="T32" fmla="*/ 154 w 225"/>
                  <a:gd name="T33" fmla="*/ 236 h 238"/>
                  <a:gd name="T34" fmla="*/ 158 w 225"/>
                  <a:gd name="T35" fmla="*/ 238 h 238"/>
                  <a:gd name="T36" fmla="*/ 162 w 225"/>
                  <a:gd name="T37" fmla="*/ 236 h 238"/>
                  <a:gd name="T38" fmla="*/ 199 w 225"/>
                  <a:gd name="T39" fmla="*/ 168 h 238"/>
                  <a:gd name="T40" fmla="*/ 220 w 225"/>
                  <a:gd name="T41" fmla="*/ 172 h 238"/>
                  <a:gd name="T42" fmla="*/ 224 w 225"/>
                  <a:gd name="T43" fmla="*/ 171 h 238"/>
                  <a:gd name="T44" fmla="*/ 225 w 225"/>
                  <a:gd name="T45" fmla="*/ 168 h 238"/>
                  <a:gd name="T46" fmla="*/ 225 w 225"/>
                  <a:gd name="T47" fmla="*/ 16 h 238"/>
                  <a:gd name="T48" fmla="*/ 222 w 225"/>
                  <a:gd name="T49" fmla="*/ 12 h 238"/>
                  <a:gd name="T50" fmla="*/ 158 w 225"/>
                  <a:gd name="T51" fmla="*/ 224 h 238"/>
                  <a:gd name="T52" fmla="*/ 119 w 225"/>
                  <a:gd name="T53" fmla="*/ 144 h 238"/>
                  <a:gd name="T54" fmla="*/ 158 w 225"/>
                  <a:gd name="T55" fmla="*/ 106 h 238"/>
                  <a:gd name="T56" fmla="*/ 196 w 225"/>
                  <a:gd name="T57" fmla="*/ 144 h 238"/>
                  <a:gd name="T58" fmla="*/ 158 w 225"/>
                  <a:gd name="T59" fmla="*/ 224 h 238"/>
                  <a:gd name="T60" fmla="*/ 216 w 225"/>
                  <a:gd name="T61" fmla="*/ 162 h 238"/>
                  <a:gd name="T62" fmla="*/ 202 w 225"/>
                  <a:gd name="T63" fmla="*/ 159 h 238"/>
                  <a:gd name="T64" fmla="*/ 205 w 225"/>
                  <a:gd name="T65" fmla="*/ 144 h 238"/>
                  <a:gd name="T66" fmla="*/ 158 w 225"/>
                  <a:gd name="T67" fmla="*/ 96 h 238"/>
                  <a:gd name="T68" fmla="*/ 110 w 225"/>
                  <a:gd name="T69" fmla="*/ 144 h 238"/>
                  <a:gd name="T70" fmla="*/ 120 w 225"/>
                  <a:gd name="T71" fmla="*/ 176 h 238"/>
                  <a:gd name="T72" fmla="*/ 114 w 225"/>
                  <a:gd name="T73" fmla="*/ 178 h 238"/>
                  <a:gd name="T74" fmla="*/ 61 w 225"/>
                  <a:gd name="T75" fmla="*/ 157 h 238"/>
                  <a:gd name="T76" fmla="*/ 60 w 225"/>
                  <a:gd name="T77" fmla="*/ 156 h 238"/>
                  <a:gd name="T78" fmla="*/ 58 w 225"/>
                  <a:gd name="T79" fmla="*/ 156 h 238"/>
                  <a:gd name="T80" fmla="*/ 9 w 225"/>
                  <a:gd name="T81" fmla="*/ 175 h 238"/>
                  <a:gd name="T82" fmla="*/ 9 w 225"/>
                  <a:gd name="T83" fmla="*/ 34 h 238"/>
                  <a:gd name="T84" fmla="*/ 60 w 225"/>
                  <a:gd name="T85" fmla="*/ 15 h 238"/>
                  <a:gd name="T86" fmla="*/ 112 w 225"/>
                  <a:gd name="T87" fmla="*/ 37 h 238"/>
                  <a:gd name="T88" fmla="*/ 116 w 225"/>
                  <a:gd name="T89" fmla="*/ 37 h 238"/>
                  <a:gd name="T90" fmla="*/ 174 w 225"/>
                  <a:gd name="T91" fmla="*/ 10 h 238"/>
                  <a:gd name="T92" fmla="*/ 216 w 225"/>
                  <a:gd name="T93" fmla="*/ 20 h 238"/>
                  <a:gd name="T94" fmla="*/ 216 w 225"/>
                  <a:gd name="T95" fmla="*/ 162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5" h="238">
                    <a:moveTo>
                      <a:pt x="222" y="12"/>
                    </a:moveTo>
                    <a:cubicBezTo>
                      <a:pt x="174" y="1"/>
                      <a:pt x="174" y="1"/>
                      <a:pt x="174" y="1"/>
                    </a:cubicBezTo>
                    <a:cubicBezTo>
                      <a:pt x="173" y="0"/>
                      <a:pt x="172" y="0"/>
                      <a:pt x="171" y="1"/>
                    </a:cubicBezTo>
                    <a:cubicBezTo>
                      <a:pt x="114" y="27"/>
                      <a:pt x="114" y="27"/>
                      <a:pt x="114" y="27"/>
                    </a:cubicBezTo>
                    <a:cubicBezTo>
                      <a:pt x="61" y="5"/>
                      <a:pt x="61" y="5"/>
                      <a:pt x="61" y="5"/>
                    </a:cubicBezTo>
                    <a:cubicBezTo>
                      <a:pt x="60" y="5"/>
                      <a:pt x="59" y="5"/>
                      <a:pt x="58" y="5"/>
                    </a:cubicBezTo>
                    <a:cubicBezTo>
                      <a:pt x="3" y="27"/>
                      <a:pt x="3" y="27"/>
                      <a:pt x="3" y="27"/>
                    </a:cubicBezTo>
                    <a:cubicBezTo>
                      <a:pt x="1" y="27"/>
                      <a:pt x="0" y="29"/>
                      <a:pt x="0" y="31"/>
                    </a:cubicBezTo>
                    <a:cubicBezTo>
                      <a:pt x="0" y="182"/>
                      <a:pt x="0" y="182"/>
                      <a:pt x="0" y="182"/>
                    </a:cubicBezTo>
                    <a:cubicBezTo>
                      <a:pt x="0" y="184"/>
                      <a:pt x="0" y="185"/>
                      <a:pt x="2" y="186"/>
                    </a:cubicBezTo>
                    <a:cubicBezTo>
                      <a:pt x="3" y="187"/>
                      <a:pt x="5" y="187"/>
                      <a:pt x="6" y="187"/>
                    </a:cubicBezTo>
                    <a:cubicBezTo>
                      <a:pt x="60" y="166"/>
                      <a:pt x="60" y="166"/>
                      <a:pt x="60" y="166"/>
                    </a:cubicBezTo>
                    <a:cubicBezTo>
                      <a:pt x="112" y="188"/>
                      <a:pt x="112" y="188"/>
                      <a:pt x="112" y="188"/>
                    </a:cubicBezTo>
                    <a:cubicBezTo>
                      <a:pt x="113" y="188"/>
                      <a:pt x="113" y="188"/>
                      <a:pt x="114" y="188"/>
                    </a:cubicBezTo>
                    <a:cubicBezTo>
                      <a:pt x="115" y="188"/>
                      <a:pt x="115" y="188"/>
                      <a:pt x="116" y="188"/>
                    </a:cubicBezTo>
                    <a:cubicBezTo>
                      <a:pt x="124" y="184"/>
                      <a:pt x="124" y="184"/>
                      <a:pt x="124" y="184"/>
                    </a:cubicBezTo>
                    <a:cubicBezTo>
                      <a:pt x="136" y="208"/>
                      <a:pt x="151" y="232"/>
                      <a:pt x="154" y="236"/>
                    </a:cubicBezTo>
                    <a:cubicBezTo>
                      <a:pt x="154" y="237"/>
                      <a:pt x="156" y="238"/>
                      <a:pt x="158" y="238"/>
                    </a:cubicBezTo>
                    <a:cubicBezTo>
                      <a:pt x="159" y="238"/>
                      <a:pt x="161" y="237"/>
                      <a:pt x="162" y="236"/>
                    </a:cubicBezTo>
                    <a:cubicBezTo>
                      <a:pt x="165" y="231"/>
                      <a:pt x="188" y="195"/>
                      <a:pt x="199" y="168"/>
                    </a:cubicBezTo>
                    <a:cubicBezTo>
                      <a:pt x="220" y="172"/>
                      <a:pt x="220" y="172"/>
                      <a:pt x="220" y="172"/>
                    </a:cubicBezTo>
                    <a:cubicBezTo>
                      <a:pt x="221" y="173"/>
                      <a:pt x="222" y="172"/>
                      <a:pt x="224" y="171"/>
                    </a:cubicBezTo>
                    <a:cubicBezTo>
                      <a:pt x="225" y="170"/>
                      <a:pt x="225" y="169"/>
                      <a:pt x="225" y="168"/>
                    </a:cubicBezTo>
                    <a:cubicBezTo>
                      <a:pt x="225" y="16"/>
                      <a:pt x="225" y="16"/>
                      <a:pt x="225" y="16"/>
                    </a:cubicBezTo>
                    <a:cubicBezTo>
                      <a:pt x="225" y="14"/>
                      <a:pt x="224" y="12"/>
                      <a:pt x="222" y="12"/>
                    </a:cubicBezTo>
                    <a:close/>
                    <a:moveTo>
                      <a:pt x="158" y="224"/>
                    </a:moveTo>
                    <a:cubicBezTo>
                      <a:pt x="144" y="203"/>
                      <a:pt x="119" y="160"/>
                      <a:pt x="119" y="144"/>
                    </a:cubicBezTo>
                    <a:cubicBezTo>
                      <a:pt x="119" y="123"/>
                      <a:pt x="136" y="106"/>
                      <a:pt x="158" y="106"/>
                    </a:cubicBezTo>
                    <a:cubicBezTo>
                      <a:pt x="179" y="106"/>
                      <a:pt x="196" y="123"/>
                      <a:pt x="196" y="144"/>
                    </a:cubicBezTo>
                    <a:cubicBezTo>
                      <a:pt x="196" y="160"/>
                      <a:pt x="171" y="203"/>
                      <a:pt x="158" y="224"/>
                    </a:cubicBezTo>
                    <a:close/>
                    <a:moveTo>
                      <a:pt x="216" y="162"/>
                    </a:moveTo>
                    <a:cubicBezTo>
                      <a:pt x="202" y="159"/>
                      <a:pt x="202" y="159"/>
                      <a:pt x="202" y="159"/>
                    </a:cubicBezTo>
                    <a:cubicBezTo>
                      <a:pt x="204" y="153"/>
                      <a:pt x="205" y="148"/>
                      <a:pt x="205" y="144"/>
                    </a:cubicBezTo>
                    <a:cubicBezTo>
                      <a:pt x="205" y="117"/>
                      <a:pt x="184" y="96"/>
                      <a:pt x="158" y="96"/>
                    </a:cubicBezTo>
                    <a:cubicBezTo>
                      <a:pt x="131" y="96"/>
                      <a:pt x="110" y="117"/>
                      <a:pt x="110" y="144"/>
                    </a:cubicBezTo>
                    <a:cubicBezTo>
                      <a:pt x="110" y="152"/>
                      <a:pt x="114" y="163"/>
                      <a:pt x="120" y="176"/>
                    </a:cubicBezTo>
                    <a:cubicBezTo>
                      <a:pt x="114" y="178"/>
                      <a:pt x="114" y="178"/>
                      <a:pt x="114" y="178"/>
                    </a:cubicBezTo>
                    <a:cubicBezTo>
                      <a:pt x="61" y="157"/>
                      <a:pt x="61" y="157"/>
                      <a:pt x="61" y="157"/>
                    </a:cubicBezTo>
                    <a:cubicBezTo>
                      <a:pt x="61" y="156"/>
                      <a:pt x="60" y="156"/>
                      <a:pt x="60" y="156"/>
                    </a:cubicBezTo>
                    <a:cubicBezTo>
                      <a:pt x="59" y="156"/>
                      <a:pt x="58" y="156"/>
                      <a:pt x="58" y="156"/>
                    </a:cubicBezTo>
                    <a:cubicBezTo>
                      <a:pt x="9" y="175"/>
                      <a:pt x="9" y="175"/>
                      <a:pt x="9" y="175"/>
                    </a:cubicBezTo>
                    <a:cubicBezTo>
                      <a:pt x="9" y="34"/>
                      <a:pt x="9" y="34"/>
                      <a:pt x="9" y="34"/>
                    </a:cubicBezTo>
                    <a:cubicBezTo>
                      <a:pt x="60" y="15"/>
                      <a:pt x="60" y="15"/>
                      <a:pt x="60" y="15"/>
                    </a:cubicBezTo>
                    <a:cubicBezTo>
                      <a:pt x="112" y="37"/>
                      <a:pt x="112" y="37"/>
                      <a:pt x="112" y="37"/>
                    </a:cubicBezTo>
                    <a:cubicBezTo>
                      <a:pt x="113" y="37"/>
                      <a:pt x="115" y="37"/>
                      <a:pt x="116" y="37"/>
                    </a:cubicBezTo>
                    <a:cubicBezTo>
                      <a:pt x="174" y="10"/>
                      <a:pt x="174" y="10"/>
                      <a:pt x="174" y="10"/>
                    </a:cubicBezTo>
                    <a:cubicBezTo>
                      <a:pt x="216" y="20"/>
                      <a:pt x="216" y="20"/>
                      <a:pt x="216" y="20"/>
                    </a:cubicBezTo>
                    <a:lnTo>
                      <a:pt x="216" y="16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326" name="Freeform 533"/>
              <p:cNvSpPr>
                <a:spLocks/>
              </p:cNvSpPr>
              <p:nvPr/>
            </p:nvSpPr>
            <p:spPr bwMode="auto">
              <a:xfrm>
                <a:off x="11417301" y="3232150"/>
                <a:ext cx="22225" cy="260350"/>
              </a:xfrm>
              <a:custGeom>
                <a:avLst/>
                <a:gdLst>
                  <a:gd name="T0" fmla="*/ 5 w 9"/>
                  <a:gd name="T1" fmla="*/ 0 h 105"/>
                  <a:gd name="T2" fmla="*/ 0 w 9"/>
                  <a:gd name="T3" fmla="*/ 5 h 105"/>
                  <a:gd name="T4" fmla="*/ 0 w 9"/>
                  <a:gd name="T5" fmla="*/ 101 h 105"/>
                  <a:gd name="T6" fmla="*/ 5 w 9"/>
                  <a:gd name="T7" fmla="*/ 105 h 105"/>
                  <a:gd name="T8" fmla="*/ 9 w 9"/>
                  <a:gd name="T9" fmla="*/ 101 h 105"/>
                  <a:gd name="T10" fmla="*/ 9 w 9"/>
                  <a:gd name="T11" fmla="*/ 5 h 105"/>
                  <a:gd name="T12" fmla="*/ 5 w 9"/>
                  <a:gd name="T13" fmla="*/ 0 h 105"/>
                </a:gdLst>
                <a:ahLst/>
                <a:cxnLst>
                  <a:cxn ang="0">
                    <a:pos x="T0" y="T1"/>
                  </a:cxn>
                  <a:cxn ang="0">
                    <a:pos x="T2" y="T3"/>
                  </a:cxn>
                  <a:cxn ang="0">
                    <a:pos x="T4" y="T5"/>
                  </a:cxn>
                  <a:cxn ang="0">
                    <a:pos x="T6" y="T7"/>
                  </a:cxn>
                  <a:cxn ang="0">
                    <a:pos x="T8" y="T9"/>
                  </a:cxn>
                  <a:cxn ang="0">
                    <a:pos x="T10" y="T11"/>
                  </a:cxn>
                  <a:cxn ang="0">
                    <a:pos x="T12" y="T13"/>
                  </a:cxn>
                </a:cxnLst>
                <a:rect l="0" t="0" r="r" b="b"/>
                <a:pathLst>
                  <a:path w="9" h="105">
                    <a:moveTo>
                      <a:pt x="5" y="0"/>
                    </a:moveTo>
                    <a:cubicBezTo>
                      <a:pt x="2" y="0"/>
                      <a:pt x="0" y="2"/>
                      <a:pt x="0" y="5"/>
                    </a:cubicBezTo>
                    <a:cubicBezTo>
                      <a:pt x="0" y="101"/>
                      <a:pt x="0" y="101"/>
                      <a:pt x="0" y="101"/>
                    </a:cubicBezTo>
                    <a:cubicBezTo>
                      <a:pt x="0" y="103"/>
                      <a:pt x="2" y="105"/>
                      <a:pt x="5" y="105"/>
                    </a:cubicBezTo>
                    <a:cubicBezTo>
                      <a:pt x="7" y="105"/>
                      <a:pt x="9" y="103"/>
                      <a:pt x="9" y="101"/>
                    </a:cubicBezTo>
                    <a:cubicBezTo>
                      <a:pt x="9" y="5"/>
                      <a:pt x="9" y="5"/>
                      <a:pt x="9" y="5"/>
                    </a:cubicBezTo>
                    <a:cubicBezTo>
                      <a:pt x="9" y="2"/>
                      <a:pt x="7" y="0"/>
                      <a:pt x="5"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327" name="Freeform 534"/>
              <p:cNvSpPr>
                <a:spLocks/>
              </p:cNvSpPr>
              <p:nvPr/>
            </p:nvSpPr>
            <p:spPr bwMode="auto">
              <a:xfrm>
                <a:off x="11550651" y="3276600"/>
                <a:ext cx="25400" cy="115887"/>
              </a:xfrm>
              <a:custGeom>
                <a:avLst/>
                <a:gdLst>
                  <a:gd name="T0" fmla="*/ 5 w 10"/>
                  <a:gd name="T1" fmla="*/ 0 h 47"/>
                  <a:gd name="T2" fmla="*/ 0 w 10"/>
                  <a:gd name="T3" fmla="*/ 5 h 47"/>
                  <a:gd name="T4" fmla="*/ 0 w 10"/>
                  <a:gd name="T5" fmla="*/ 42 h 47"/>
                  <a:gd name="T6" fmla="*/ 5 w 10"/>
                  <a:gd name="T7" fmla="*/ 47 h 47"/>
                  <a:gd name="T8" fmla="*/ 10 w 10"/>
                  <a:gd name="T9" fmla="*/ 42 h 47"/>
                  <a:gd name="T10" fmla="*/ 10 w 10"/>
                  <a:gd name="T11" fmla="*/ 5 h 47"/>
                  <a:gd name="T12" fmla="*/ 5 w 10"/>
                  <a:gd name="T13" fmla="*/ 0 h 47"/>
                </a:gdLst>
                <a:ahLst/>
                <a:cxnLst>
                  <a:cxn ang="0">
                    <a:pos x="T0" y="T1"/>
                  </a:cxn>
                  <a:cxn ang="0">
                    <a:pos x="T2" y="T3"/>
                  </a:cxn>
                  <a:cxn ang="0">
                    <a:pos x="T4" y="T5"/>
                  </a:cxn>
                  <a:cxn ang="0">
                    <a:pos x="T6" y="T7"/>
                  </a:cxn>
                  <a:cxn ang="0">
                    <a:pos x="T8" y="T9"/>
                  </a:cxn>
                  <a:cxn ang="0">
                    <a:pos x="T10" y="T11"/>
                  </a:cxn>
                  <a:cxn ang="0">
                    <a:pos x="T12" y="T13"/>
                  </a:cxn>
                </a:cxnLst>
                <a:rect l="0" t="0" r="r" b="b"/>
                <a:pathLst>
                  <a:path w="10" h="47">
                    <a:moveTo>
                      <a:pt x="5" y="0"/>
                    </a:moveTo>
                    <a:cubicBezTo>
                      <a:pt x="2" y="0"/>
                      <a:pt x="0" y="3"/>
                      <a:pt x="0" y="5"/>
                    </a:cubicBezTo>
                    <a:cubicBezTo>
                      <a:pt x="0" y="42"/>
                      <a:pt x="0" y="42"/>
                      <a:pt x="0" y="42"/>
                    </a:cubicBezTo>
                    <a:cubicBezTo>
                      <a:pt x="0" y="44"/>
                      <a:pt x="2" y="47"/>
                      <a:pt x="5" y="47"/>
                    </a:cubicBezTo>
                    <a:cubicBezTo>
                      <a:pt x="8" y="47"/>
                      <a:pt x="10" y="44"/>
                      <a:pt x="10" y="42"/>
                    </a:cubicBezTo>
                    <a:cubicBezTo>
                      <a:pt x="10" y="5"/>
                      <a:pt x="10" y="5"/>
                      <a:pt x="10" y="5"/>
                    </a:cubicBezTo>
                    <a:cubicBezTo>
                      <a:pt x="10" y="3"/>
                      <a:pt x="8" y="0"/>
                      <a:pt x="5"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328" name="Freeform 535"/>
              <p:cNvSpPr>
                <a:spLocks/>
              </p:cNvSpPr>
              <p:nvPr/>
            </p:nvSpPr>
            <p:spPr bwMode="auto">
              <a:xfrm>
                <a:off x="11699876" y="3214688"/>
                <a:ext cx="25400" cy="142875"/>
              </a:xfrm>
              <a:custGeom>
                <a:avLst/>
                <a:gdLst>
                  <a:gd name="T0" fmla="*/ 0 w 10"/>
                  <a:gd name="T1" fmla="*/ 5 h 58"/>
                  <a:gd name="T2" fmla="*/ 0 w 10"/>
                  <a:gd name="T3" fmla="*/ 53 h 58"/>
                  <a:gd name="T4" fmla="*/ 5 w 10"/>
                  <a:gd name="T5" fmla="*/ 58 h 58"/>
                  <a:gd name="T6" fmla="*/ 10 w 10"/>
                  <a:gd name="T7" fmla="*/ 53 h 58"/>
                  <a:gd name="T8" fmla="*/ 10 w 10"/>
                  <a:gd name="T9" fmla="*/ 5 h 58"/>
                  <a:gd name="T10" fmla="*/ 5 w 10"/>
                  <a:gd name="T11" fmla="*/ 0 h 58"/>
                  <a:gd name="T12" fmla="*/ 0 w 10"/>
                  <a:gd name="T13" fmla="*/ 5 h 58"/>
                </a:gdLst>
                <a:ahLst/>
                <a:cxnLst>
                  <a:cxn ang="0">
                    <a:pos x="T0" y="T1"/>
                  </a:cxn>
                  <a:cxn ang="0">
                    <a:pos x="T2" y="T3"/>
                  </a:cxn>
                  <a:cxn ang="0">
                    <a:pos x="T4" y="T5"/>
                  </a:cxn>
                  <a:cxn ang="0">
                    <a:pos x="T6" y="T7"/>
                  </a:cxn>
                  <a:cxn ang="0">
                    <a:pos x="T8" y="T9"/>
                  </a:cxn>
                  <a:cxn ang="0">
                    <a:pos x="T10" y="T11"/>
                  </a:cxn>
                  <a:cxn ang="0">
                    <a:pos x="T12" y="T13"/>
                  </a:cxn>
                </a:cxnLst>
                <a:rect l="0" t="0" r="r" b="b"/>
                <a:pathLst>
                  <a:path w="10" h="58">
                    <a:moveTo>
                      <a:pt x="0" y="5"/>
                    </a:moveTo>
                    <a:cubicBezTo>
                      <a:pt x="0" y="53"/>
                      <a:pt x="0" y="53"/>
                      <a:pt x="0" y="53"/>
                    </a:cubicBezTo>
                    <a:cubicBezTo>
                      <a:pt x="0" y="56"/>
                      <a:pt x="2" y="58"/>
                      <a:pt x="5" y="58"/>
                    </a:cubicBezTo>
                    <a:cubicBezTo>
                      <a:pt x="8" y="58"/>
                      <a:pt x="10" y="56"/>
                      <a:pt x="10" y="53"/>
                    </a:cubicBezTo>
                    <a:cubicBezTo>
                      <a:pt x="10" y="5"/>
                      <a:pt x="10" y="5"/>
                      <a:pt x="10" y="5"/>
                    </a:cubicBezTo>
                    <a:cubicBezTo>
                      <a:pt x="10" y="2"/>
                      <a:pt x="8" y="0"/>
                      <a:pt x="5" y="0"/>
                    </a:cubicBezTo>
                    <a:cubicBezTo>
                      <a:pt x="2" y="0"/>
                      <a:pt x="0" y="2"/>
                      <a:pt x="0" y="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329" name="Freeform 536"/>
              <p:cNvSpPr>
                <a:spLocks noEditPoints="1"/>
              </p:cNvSpPr>
              <p:nvPr/>
            </p:nvSpPr>
            <p:spPr bwMode="auto">
              <a:xfrm>
                <a:off x="11628438" y="3444875"/>
                <a:ext cx="85725" cy="88900"/>
              </a:xfrm>
              <a:custGeom>
                <a:avLst/>
                <a:gdLst>
                  <a:gd name="T0" fmla="*/ 18 w 35"/>
                  <a:gd name="T1" fmla="*/ 0 h 36"/>
                  <a:gd name="T2" fmla="*/ 0 w 35"/>
                  <a:gd name="T3" fmla="*/ 18 h 36"/>
                  <a:gd name="T4" fmla="*/ 18 w 35"/>
                  <a:gd name="T5" fmla="*/ 36 h 36"/>
                  <a:gd name="T6" fmla="*/ 35 w 35"/>
                  <a:gd name="T7" fmla="*/ 18 h 36"/>
                  <a:gd name="T8" fmla="*/ 18 w 35"/>
                  <a:gd name="T9" fmla="*/ 0 h 36"/>
                  <a:gd name="T10" fmla="*/ 18 w 35"/>
                  <a:gd name="T11" fmla="*/ 27 h 36"/>
                  <a:gd name="T12" fmla="*/ 9 w 35"/>
                  <a:gd name="T13" fmla="*/ 18 h 36"/>
                  <a:gd name="T14" fmla="*/ 18 w 35"/>
                  <a:gd name="T15" fmla="*/ 10 h 36"/>
                  <a:gd name="T16" fmla="*/ 26 w 35"/>
                  <a:gd name="T17" fmla="*/ 18 h 36"/>
                  <a:gd name="T18" fmla="*/ 18 w 35"/>
                  <a:gd name="T19" fmla="*/ 27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36">
                    <a:moveTo>
                      <a:pt x="18" y="0"/>
                    </a:moveTo>
                    <a:cubicBezTo>
                      <a:pt x="8" y="0"/>
                      <a:pt x="0" y="8"/>
                      <a:pt x="0" y="18"/>
                    </a:cubicBezTo>
                    <a:cubicBezTo>
                      <a:pt x="0" y="28"/>
                      <a:pt x="8" y="36"/>
                      <a:pt x="18" y="36"/>
                    </a:cubicBezTo>
                    <a:cubicBezTo>
                      <a:pt x="27" y="36"/>
                      <a:pt x="35" y="28"/>
                      <a:pt x="35" y="18"/>
                    </a:cubicBezTo>
                    <a:cubicBezTo>
                      <a:pt x="35" y="8"/>
                      <a:pt x="27" y="0"/>
                      <a:pt x="18" y="0"/>
                    </a:cubicBezTo>
                    <a:close/>
                    <a:moveTo>
                      <a:pt x="18" y="27"/>
                    </a:moveTo>
                    <a:cubicBezTo>
                      <a:pt x="13" y="27"/>
                      <a:pt x="9" y="23"/>
                      <a:pt x="9" y="18"/>
                    </a:cubicBezTo>
                    <a:cubicBezTo>
                      <a:pt x="9" y="14"/>
                      <a:pt x="13" y="10"/>
                      <a:pt x="18" y="10"/>
                    </a:cubicBezTo>
                    <a:cubicBezTo>
                      <a:pt x="22" y="10"/>
                      <a:pt x="26" y="14"/>
                      <a:pt x="26" y="18"/>
                    </a:cubicBezTo>
                    <a:cubicBezTo>
                      <a:pt x="26" y="23"/>
                      <a:pt x="22" y="27"/>
                      <a:pt x="18" y="2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grpSp>
        <p:nvGrpSpPr>
          <p:cNvPr id="330" name="Group 329"/>
          <p:cNvGrpSpPr/>
          <p:nvPr/>
        </p:nvGrpSpPr>
        <p:grpSpPr>
          <a:xfrm>
            <a:off x="7506216" y="1791787"/>
            <a:ext cx="353268" cy="353268"/>
            <a:chOff x="7212975" y="1374657"/>
            <a:chExt cx="353268" cy="353268"/>
          </a:xfrm>
        </p:grpSpPr>
        <p:sp>
          <p:nvSpPr>
            <p:cNvPr id="331" name="Oval 330"/>
            <p:cNvSpPr/>
            <p:nvPr/>
          </p:nvSpPr>
          <p:spPr>
            <a:xfrm>
              <a:off x="7212975" y="1374657"/>
              <a:ext cx="353268" cy="353268"/>
            </a:xfrm>
            <a:prstGeom prst="ellipse">
              <a:avLst/>
            </a:prstGeom>
            <a:solidFill>
              <a:srgbClr val="02376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a:p>
          </p:txBody>
        </p:sp>
        <p:grpSp>
          <p:nvGrpSpPr>
            <p:cNvPr id="332" name="Group 331"/>
            <p:cNvGrpSpPr/>
            <p:nvPr/>
          </p:nvGrpSpPr>
          <p:grpSpPr>
            <a:xfrm>
              <a:off x="7263691" y="1449072"/>
              <a:ext cx="251836" cy="266185"/>
              <a:chOff x="11280776" y="3148013"/>
              <a:chExt cx="557213" cy="588962"/>
            </a:xfrm>
            <a:solidFill>
              <a:schemeClr val="bg1"/>
            </a:solidFill>
          </p:grpSpPr>
          <p:sp>
            <p:nvSpPr>
              <p:cNvPr id="333" name="Freeform 532"/>
              <p:cNvSpPr>
                <a:spLocks noEditPoints="1"/>
              </p:cNvSpPr>
              <p:nvPr/>
            </p:nvSpPr>
            <p:spPr bwMode="auto">
              <a:xfrm>
                <a:off x="11280776" y="3148013"/>
                <a:ext cx="557213" cy="588962"/>
              </a:xfrm>
              <a:custGeom>
                <a:avLst/>
                <a:gdLst>
                  <a:gd name="T0" fmla="*/ 222 w 225"/>
                  <a:gd name="T1" fmla="*/ 12 h 238"/>
                  <a:gd name="T2" fmla="*/ 174 w 225"/>
                  <a:gd name="T3" fmla="*/ 1 h 238"/>
                  <a:gd name="T4" fmla="*/ 171 w 225"/>
                  <a:gd name="T5" fmla="*/ 1 h 238"/>
                  <a:gd name="T6" fmla="*/ 114 w 225"/>
                  <a:gd name="T7" fmla="*/ 27 h 238"/>
                  <a:gd name="T8" fmla="*/ 61 w 225"/>
                  <a:gd name="T9" fmla="*/ 5 h 238"/>
                  <a:gd name="T10" fmla="*/ 58 w 225"/>
                  <a:gd name="T11" fmla="*/ 5 h 238"/>
                  <a:gd name="T12" fmla="*/ 3 w 225"/>
                  <a:gd name="T13" fmla="*/ 27 h 238"/>
                  <a:gd name="T14" fmla="*/ 0 w 225"/>
                  <a:gd name="T15" fmla="*/ 31 h 238"/>
                  <a:gd name="T16" fmla="*/ 0 w 225"/>
                  <a:gd name="T17" fmla="*/ 182 h 238"/>
                  <a:gd name="T18" fmla="*/ 2 w 225"/>
                  <a:gd name="T19" fmla="*/ 186 h 238"/>
                  <a:gd name="T20" fmla="*/ 6 w 225"/>
                  <a:gd name="T21" fmla="*/ 187 h 238"/>
                  <a:gd name="T22" fmla="*/ 60 w 225"/>
                  <a:gd name="T23" fmla="*/ 166 h 238"/>
                  <a:gd name="T24" fmla="*/ 112 w 225"/>
                  <a:gd name="T25" fmla="*/ 188 h 238"/>
                  <a:gd name="T26" fmla="*/ 114 w 225"/>
                  <a:gd name="T27" fmla="*/ 188 h 238"/>
                  <a:gd name="T28" fmla="*/ 116 w 225"/>
                  <a:gd name="T29" fmla="*/ 188 h 238"/>
                  <a:gd name="T30" fmla="*/ 124 w 225"/>
                  <a:gd name="T31" fmla="*/ 184 h 238"/>
                  <a:gd name="T32" fmla="*/ 154 w 225"/>
                  <a:gd name="T33" fmla="*/ 236 h 238"/>
                  <a:gd name="T34" fmla="*/ 158 w 225"/>
                  <a:gd name="T35" fmla="*/ 238 h 238"/>
                  <a:gd name="T36" fmla="*/ 162 w 225"/>
                  <a:gd name="T37" fmla="*/ 236 h 238"/>
                  <a:gd name="T38" fmla="*/ 199 w 225"/>
                  <a:gd name="T39" fmla="*/ 168 h 238"/>
                  <a:gd name="T40" fmla="*/ 220 w 225"/>
                  <a:gd name="T41" fmla="*/ 172 h 238"/>
                  <a:gd name="T42" fmla="*/ 224 w 225"/>
                  <a:gd name="T43" fmla="*/ 171 h 238"/>
                  <a:gd name="T44" fmla="*/ 225 w 225"/>
                  <a:gd name="T45" fmla="*/ 168 h 238"/>
                  <a:gd name="T46" fmla="*/ 225 w 225"/>
                  <a:gd name="T47" fmla="*/ 16 h 238"/>
                  <a:gd name="T48" fmla="*/ 222 w 225"/>
                  <a:gd name="T49" fmla="*/ 12 h 238"/>
                  <a:gd name="T50" fmla="*/ 158 w 225"/>
                  <a:gd name="T51" fmla="*/ 224 h 238"/>
                  <a:gd name="T52" fmla="*/ 119 w 225"/>
                  <a:gd name="T53" fmla="*/ 144 h 238"/>
                  <a:gd name="T54" fmla="*/ 158 w 225"/>
                  <a:gd name="T55" fmla="*/ 106 h 238"/>
                  <a:gd name="T56" fmla="*/ 196 w 225"/>
                  <a:gd name="T57" fmla="*/ 144 h 238"/>
                  <a:gd name="T58" fmla="*/ 158 w 225"/>
                  <a:gd name="T59" fmla="*/ 224 h 238"/>
                  <a:gd name="T60" fmla="*/ 216 w 225"/>
                  <a:gd name="T61" fmla="*/ 162 h 238"/>
                  <a:gd name="T62" fmla="*/ 202 w 225"/>
                  <a:gd name="T63" fmla="*/ 159 h 238"/>
                  <a:gd name="T64" fmla="*/ 205 w 225"/>
                  <a:gd name="T65" fmla="*/ 144 h 238"/>
                  <a:gd name="T66" fmla="*/ 158 w 225"/>
                  <a:gd name="T67" fmla="*/ 96 h 238"/>
                  <a:gd name="T68" fmla="*/ 110 w 225"/>
                  <a:gd name="T69" fmla="*/ 144 h 238"/>
                  <a:gd name="T70" fmla="*/ 120 w 225"/>
                  <a:gd name="T71" fmla="*/ 176 h 238"/>
                  <a:gd name="T72" fmla="*/ 114 w 225"/>
                  <a:gd name="T73" fmla="*/ 178 h 238"/>
                  <a:gd name="T74" fmla="*/ 61 w 225"/>
                  <a:gd name="T75" fmla="*/ 157 h 238"/>
                  <a:gd name="T76" fmla="*/ 60 w 225"/>
                  <a:gd name="T77" fmla="*/ 156 h 238"/>
                  <a:gd name="T78" fmla="*/ 58 w 225"/>
                  <a:gd name="T79" fmla="*/ 156 h 238"/>
                  <a:gd name="T80" fmla="*/ 9 w 225"/>
                  <a:gd name="T81" fmla="*/ 175 h 238"/>
                  <a:gd name="T82" fmla="*/ 9 w 225"/>
                  <a:gd name="T83" fmla="*/ 34 h 238"/>
                  <a:gd name="T84" fmla="*/ 60 w 225"/>
                  <a:gd name="T85" fmla="*/ 15 h 238"/>
                  <a:gd name="T86" fmla="*/ 112 w 225"/>
                  <a:gd name="T87" fmla="*/ 37 h 238"/>
                  <a:gd name="T88" fmla="*/ 116 w 225"/>
                  <a:gd name="T89" fmla="*/ 37 h 238"/>
                  <a:gd name="T90" fmla="*/ 174 w 225"/>
                  <a:gd name="T91" fmla="*/ 10 h 238"/>
                  <a:gd name="T92" fmla="*/ 216 w 225"/>
                  <a:gd name="T93" fmla="*/ 20 h 238"/>
                  <a:gd name="T94" fmla="*/ 216 w 225"/>
                  <a:gd name="T95" fmla="*/ 162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5" h="238">
                    <a:moveTo>
                      <a:pt x="222" y="12"/>
                    </a:moveTo>
                    <a:cubicBezTo>
                      <a:pt x="174" y="1"/>
                      <a:pt x="174" y="1"/>
                      <a:pt x="174" y="1"/>
                    </a:cubicBezTo>
                    <a:cubicBezTo>
                      <a:pt x="173" y="0"/>
                      <a:pt x="172" y="0"/>
                      <a:pt x="171" y="1"/>
                    </a:cubicBezTo>
                    <a:cubicBezTo>
                      <a:pt x="114" y="27"/>
                      <a:pt x="114" y="27"/>
                      <a:pt x="114" y="27"/>
                    </a:cubicBezTo>
                    <a:cubicBezTo>
                      <a:pt x="61" y="5"/>
                      <a:pt x="61" y="5"/>
                      <a:pt x="61" y="5"/>
                    </a:cubicBezTo>
                    <a:cubicBezTo>
                      <a:pt x="60" y="5"/>
                      <a:pt x="59" y="5"/>
                      <a:pt x="58" y="5"/>
                    </a:cubicBezTo>
                    <a:cubicBezTo>
                      <a:pt x="3" y="27"/>
                      <a:pt x="3" y="27"/>
                      <a:pt x="3" y="27"/>
                    </a:cubicBezTo>
                    <a:cubicBezTo>
                      <a:pt x="1" y="27"/>
                      <a:pt x="0" y="29"/>
                      <a:pt x="0" y="31"/>
                    </a:cubicBezTo>
                    <a:cubicBezTo>
                      <a:pt x="0" y="182"/>
                      <a:pt x="0" y="182"/>
                      <a:pt x="0" y="182"/>
                    </a:cubicBezTo>
                    <a:cubicBezTo>
                      <a:pt x="0" y="184"/>
                      <a:pt x="0" y="185"/>
                      <a:pt x="2" y="186"/>
                    </a:cubicBezTo>
                    <a:cubicBezTo>
                      <a:pt x="3" y="187"/>
                      <a:pt x="5" y="187"/>
                      <a:pt x="6" y="187"/>
                    </a:cubicBezTo>
                    <a:cubicBezTo>
                      <a:pt x="60" y="166"/>
                      <a:pt x="60" y="166"/>
                      <a:pt x="60" y="166"/>
                    </a:cubicBezTo>
                    <a:cubicBezTo>
                      <a:pt x="112" y="188"/>
                      <a:pt x="112" y="188"/>
                      <a:pt x="112" y="188"/>
                    </a:cubicBezTo>
                    <a:cubicBezTo>
                      <a:pt x="113" y="188"/>
                      <a:pt x="113" y="188"/>
                      <a:pt x="114" y="188"/>
                    </a:cubicBezTo>
                    <a:cubicBezTo>
                      <a:pt x="115" y="188"/>
                      <a:pt x="115" y="188"/>
                      <a:pt x="116" y="188"/>
                    </a:cubicBezTo>
                    <a:cubicBezTo>
                      <a:pt x="124" y="184"/>
                      <a:pt x="124" y="184"/>
                      <a:pt x="124" y="184"/>
                    </a:cubicBezTo>
                    <a:cubicBezTo>
                      <a:pt x="136" y="208"/>
                      <a:pt x="151" y="232"/>
                      <a:pt x="154" y="236"/>
                    </a:cubicBezTo>
                    <a:cubicBezTo>
                      <a:pt x="154" y="237"/>
                      <a:pt x="156" y="238"/>
                      <a:pt x="158" y="238"/>
                    </a:cubicBezTo>
                    <a:cubicBezTo>
                      <a:pt x="159" y="238"/>
                      <a:pt x="161" y="237"/>
                      <a:pt x="162" y="236"/>
                    </a:cubicBezTo>
                    <a:cubicBezTo>
                      <a:pt x="165" y="231"/>
                      <a:pt x="188" y="195"/>
                      <a:pt x="199" y="168"/>
                    </a:cubicBezTo>
                    <a:cubicBezTo>
                      <a:pt x="220" y="172"/>
                      <a:pt x="220" y="172"/>
                      <a:pt x="220" y="172"/>
                    </a:cubicBezTo>
                    <a:cubicBezTo>
                      <a:pt x="221" y="173"/>
                      <a:pt x="222" y="172"/>
                      <a:pt x="224" y="171"/>
                    </a:cubicBezTo>
                    <a:cubicBezTo>
                      <a:pt x="225" y="170"/>
                      <a:pt x="225" y="169"/>
                      <a:pt x="225" y="168"/>
                    </a:cubicBezTo>
                    <a:cubicBezTo>
                      <a:pt x="225" y="16"/>
                      <a:pt x="225" y="16"/>
                      <a:pt x="225" y="16"/>
                    </a:cubicBezTo>
                    <a:cubicBezTo>
                      <a:pt x="225" y="14"/>
                      <a:pt x="224" y="12"/>
                      <a:pt x="222" y="12"/>
                    </a:cubicBezTo>
                    <a:close/>
                    <a:moveTo>
                      <a:pt x="158" y="224"/>
                    </a:moveTo>
                    <a:cubicBezTo>
                      <a:pt x="144" y="203"/>
                      <a:pt x="119" y="160"/>
                      <a:pt x="119" y="144"/>
                    </a:cubicBezTo>
                    <a:cubicBezTo>
                      <a:pt x="119" y="123"/>
                      <a:pt x="136" y="106"/>
                      <a:pt x="158" y="106"/>
                    </a:cubicBezTo>
                    <a:cubicBezTo>
                      <a:pt x="179" y="106"/>
                      <a:pt x="196" y="123"/>
                      <a:pt x="196" y="144"/>
                    </a:cubicBezTo>
                    <a:cubicBezTo>
                      <a:pt x="196" y="160"/>
                      <a:pt x="171" y="203"/>
                      <a:pt x="158" y="224"/>
                    </a:cubicBezTo>
                    <a:close/>
                    <a:moveTo>
                      <a:pt x="216" y="162"/>
                    </a:moveTo>
                    <a:cubicBezTo>
                      <a:pt x="202" y="159"/>
                      <a:pt x="202" y="159"/>
                      <a:pt x="202" y="159"/>
                    </a:cubicBezTo>
                    <a:cubicBezTo>
                      <a:pt x="204" y="153"/>
                      <a:pt x="205" y="148"/>
                      <a:pt x="205" y="144"/>
                    </a:cubicBezTo>
                    <a:cubicBezTo>
                      <a:pt x="205" y="117"/>
                      <a:pt x="184" y="96"/>
                      <a:pt x="158" y="96"/>
                    </a:cubicBezTo>
                    <a:cubicBezTo>
                      <a:pt x="131" y="96"/>
                      <a:pt x="110" y="117"/>
                      <a:pt x="110" y="144"/>
                    </a:cubicBezTo>
                    <a:cubicBezTo>
                      <a:pt x="110" y="152"/>
                      <a:pt x="114" y="163"/>
                      <a:pt x="120" y="176"/>
                    </a:cubicBezTo>
                    <a:cubicBezTo>
                      <a:pt x="114" y="178"/>
                      <a:pt x="114" y="178"/>
                      <a:pt x="114" y="178"/>
                    </a:cubicBezTo>
                    <a:cubicBezTo>
                      <a:pt x="61" y="157"/>
                      <a:pt x="61" y="157"/>
                      <a:pt x="61" y="157"/>
                    </a:cubicBezTo>
                    <a:cubicBezTo>
                      <a:pt x="61" y="156"/>
                      <a:pt x="60" y="156"/>
                      <a:pt x="60" y="156"/>
                    </a:cubicBezTo>
                    <a:cubicBezTo>
                      <a:pt x="59" y="156"/>
                      <a:pt x="58" y="156"/>
                      <a:pt x="58" y="156"/>
                    </a:cubicBezTo>
                    <a:cubicBezTo>
                      <a:pt x="9" y="175"/>
                      <a:pt x="9" y="175"/>
                      <a:pt x="9" y="175"/>
                    </a:cubicBezTo>
                    <a:cubicBezTo>
                      <a:pt x="9" y="34"/>
                      <a:pt x="9" y="34"/>
                      <a:pt x="9" y="34"/>
                    </a:cubicBezTo>
                    <a:cubicBezTo>
                      <a:pt x="60" y="15"/>
                      <a:pt x="60" y="15"/>
                      <a:pt x="60" y="15"/>
                    </a:cubicBezTo>
                    <a:cubicBezTo>
                      <a:pt x="112" y="37"/>
                      <a:pt x="112" y="37"/>
                      <a:pt x="112" y="37"/>
                    </a:cubicBezTo>
                    <a:cubicBezTo>
                      <a:pt x="113" y="37"/>
                      <a:pt x="115" y="37"/>
                      <a:pt x="116" y="37"/>
                    </a:cubicBezTo>
                    <a:cubicBezTo>
                      <a:pt x="174" y="10"/>
                      <a:pt x="174" y="10"/>
                      <a:pt x="174" y="10"/>
                    </a:cubicBezTo>
                    <a:cubicBezTo>
                      <a:pt x="216" y="20"/>
                      <a:pt x="216" y="20"/>
                      <a:pt x="216" y="20"/>
                    </a:cubicBezTo>
                    <a:lnTo>
                      <a:pt x="216" y="16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334" name="Freeform 533"/>
              <p:cNvSpPr>
                <a:spLocks/>
              </p:cNvSpPr>
              <p:nvPr/>
            </p:nvSpPr>
            <p:spPr bwMode="auto">
              <a:xfrm>
                <a:off x="11417301" y="3232150"/>
                <a:ext cx="22225" cy="260350"/>
              </a:xfrm>
              <a:custGeom>
                <a:avLst/>
                <a:gdLst>
                  <a:gd name="T0" fmla="*/ 5 w 9"/>
                  <a:gd name="T1" fmla="*/ 0 h 105"/>
                  <a:gd name="T2" fmla="*/ 0 w 9"/>
                  <a:gd name="T3" fmla="*/ 5 h 105"/>
                  <a:gd name="T4" fmla="*/ 0 w 9"/>
                  <a:gd name="T5" fmla="*/ 101 h 105"/>
                  <a:gd name="T6" fmla="*/ 5 w 9"/>
                  <a:gd name="T7" fmla="*/ 105 h 105"/>
                  <a:gd name="T8" fmla="*/ 9 w 9"/>
                  <a:gd name="T9" fmla="*/ 101 h 105"/>
                  <a:gd name="T10" fmla="*/ 9 w 9"/>
                  <a:gd name="T11" fmla="*/ 5 h 105"/>
                  <a:gd name="T12" fmla="*/ 5 w 9"/>
                  <a:gd name="T13" fmla="*/ 0 h 105"/>
                </a:gdLst>
                <a:ahLst/>
                <a:cxnLst>
                  <a:cxn ang="0">
                    <a:pos x="T0" y="T1"/>
                  </a:cxn>
                  <a:cxn ang="0">
                    <a:pos x="T2" y="T3"/>
                  </a:cxn>
                  <a:cxn ang="0">
                    <a:pos x="T4" y="T5"/>
                  </a:cxn>
                  <a:cxn ang="0">
                    <a:pos x="T6" y="T7"/>
                  </a:cxn>
                  <a:cxn ang="0">
                    <a:pos x="T8" y="T9"/>
                  </a:cxn>
                  <a:cxn ang="0">
                    <a:pos x="T10" y="T11"/>
                  </a:cxn>
                  <a:cxn ang="0">
                    <a:pos x="T12" y="T13"/>
                  </a:cxn>
                </a:cxnLst>
                <a:rect l="0" t="0" r="r" b="b"/>
                <a:pathLst>
                  <a:path w="9" h="105">
                    <a:moveTo>
                      <a:pt x="5" y="0"/>
                    </a:moveTo>
                    <a:cubicBezTo>
                      <a:pt x="2" y="0"/>
                      <a:pt x="0" y="2"/>
                      <a:pt x="0" y="5"/>
                    </a:cubicBezTo>
                    <a:cubicBezTo>
                      <a:pt x="0" y="101"/>
                      <a:pt x="0" y="101"/>
                      <a:pt x="0" y="101"/>
                    </a:cubicBezTo>
                    <a:cubicBezTo>
                      <a:pt x="0" y="103"/>
                      <a:pt x="2" y="105"/>
                      <a:pt x="5" y="105"/>
                    </a:cubicBezTo>
                    <a:cubicBezTo>
                      <a:pt x="7" y="105"/>
                      <a:pt x="9" y="103"/>
                      <a:pt x="9" y="101"/>
                    </a:cubicBezTo>
                    <a:cubicBezTo>
                      <a:pt x="9" y="5"/>
                      <a:pt x="9" y="5"/>
                      <a:pt x="9" y="5"/>
                    </a:cubicBezTo>
                    <a:cubicBezTo>
                      <a:pt x="9" y="2"/>
                      <a:pt x="7" y="0"/>
                      <a:pt x="5"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335" name="Freeform 534"/>
              <p:cNvSpPr>
                <a:spLocks/>
              </p:cNvSpPr>
              <p:nvPr/>
            </p:nvSpPr>
            <p:spPr bwMode="auto">
              <a:xfrm>
                <a:off x="11550651" y="3276600"/>
                <a:ext cx="25400" cy="115887"/>
              </a:xfrm>
              <a:custGeom>
                <a:avLst/>
                <a:gdLst>
                  <a:gd name="T0" fmla="*/ 5 w 10"/>
                  <a:gd name="T1" fmla="*/ 0 h 47"/>
                  <a:gd name="T2" fmla="*/ 0 w 10"/>
                  <a:gd name="T3" fmla="*/ 5 h 47"/>
                  <a:gd name="T4" fmla="*/ 0 w 10"/>
                  <a:gd name="T5" fmla="*/ 42 h 47"/>
                  <a:gd name="T6" fmla="*/ 5 w 10"/>
                  <a:gd name="T7" fmla="*/ 47 h 47"/>
                  <a:gd name="T8" fmla="*/ 10 w 10"/>
                  <a:gd name="T9" fmla="*/ 42 h 47"/>
                  <a:gd name="T10" fmla="*/ 10 w 10"/>
                  <a:gd name="T11" fmla="*/ 5 h 47"/>
                  <a:gd name="T12" fmla="*/ 5 w 10"/>
                  <a:gd name="T13" fmla="*/ 0 h 47"/>
                </a:gdLst>
                <a:ahLst/>
                <a:cxnLst>
                  <a:cxn ang="0">
                    <a:pos x="T0" y="T1"/>
                  </a:cxn>
                  <a:cxn ang="0">
                    <a:pos x="T2" y="T3"/>
                  </a:cxn>
                  <a:cxn ang="0">
                    <a:pos x="T4" y="T5"/>
                  </a:cxn>
                  <a:cxn ang="0">
                    <a:pos x="T6" y="T7"/>
                  </a:cxn>
                  <a:cxn ang="0">
                    <a:pos x="T8" y="T9"/>
                  </a:cxn>
                  <a:cxn ang="0">
                    <a:pos x="T10" y="T11"/>
                  </a:cxn>
                  <a:cxn ang="0">
                    <a:pos x="T12" y="T13"/>
                  </a:cxn>
                </a:cxnLst>
                <a:rect l="0" t="0" r="r" b="b"/>
                <a:pathLst>
                  <a:path w="10" h="47">
                    <a:moveTo>
                      <a:pt x="5" y="0"/>
                    </a:moveTo>
                    <a:cubicBezTo>
                      <a:pt x="2" y="0"/>
                      <a:pt x="0" y="3"/>
                      <a:pt x="0" y="5"/>
                    </a:cubicBezTo>
                    <a:cubicBezTo>
                      <a:pt x="0" y="42"/>
                      <a:pt x="0" y="42"/>
                      <a:pt x="0" y="42"/>
                    </a:cubicBezTo>
                    <a:cubicBezTo>
                      <a:pt x="0" y="44"/>
                      <a:pt x="2" y="47"/>
                      <a:pt x="5" y="47"/>
                    </a:cubicBezTo>
                    <a:cubicBezTo>
                      <a:pt x="8" y="47"/>
                      <a:pt x="10" y="44"/>
                      <a:pt x="10" y="42"/>
                    </a:cubicBezTo>
                    <a:cubicBezTo>
                      <a:pt x="10" y="5"/>
                      <a:pt x="10" y="5"/>
                      <a:pt x="10" y="5"/>
                    </a:cubicBezTo>
                    <a:cubicBezTo>
                      <a:pt x="10" y="3"/>
                      <a:pt x="8" y="0"/>
                      <a:pt x="5"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336" name="Freeform 535"/>
              <p:cNvSpPr>
                <a:spLocks/>
              </p:cNvSpPr>
              <p:nvPr/>
            </p:nvSpPr>
            <p:spPr bwMode="auto">
              <a:xfrm>
                <a:off x="11699876" y="3214688"/>
                <a:ext cx="25400" cy="142875"/>
              </a:xfrm>
              <a:custGeom>
                <a:avLst/>
                <a:gdLst>
                  <a:gd name="T0" fmla="*/ 0 w 10"/>
                  <a:gd name="T1" fmla="*/ 5 h 58"/>
                  <a:gd name="T2" fmla="*/ 0 w 10"/>
                  <a:gd name="T3" fmla="*/ 53 h 58"/>
                  <a:gd name="T4" fmla="*/ 5 w 10"/>
                  <a:gd name="T5" fmla="*/ 58 h 58"/>
                  <a:gd name="T6" fmla="*/ 10 w 10"/>
                  <a:gd name="T7" fmla="*/ 53 h 58"/>
                  <a:gd name="T8" fmla="*/ 10 w 10"/>
                  <a:gd name="T9" fmla="*/ 5 h 58"/>
                  <a:gd name="T10" fmla="*/ 5 w 10"/>
                  <a:gd name="T11" fmla="*/ 0 h 58"/>
                  <a:gd name="T12" fmla="*/ 0 w 10"/>
                  <a:gd name="T13" fmla="*/ 5 h 58"/>
                </a:gdLst>
                <a:ahLst/>
                <a:cxnLst>
                  <a:cxn ang="0">
                    <a:pos x="T0" y="T1"/>
                  </a:cxn>
                  <a:cxn ang="0">
                    <a:pos x="T2" y="T3"/>
                  </a:cxn>
                  <a:cxn ang="0">
                    <a:pos x="T4" y="T5"/>
                  </a:cxn>
                  <a:cxn ang="0">
                    <a:pos x="T6" y="T7"/>
                  </a:cxn>
                  <a:cxn ang="0">
                    <a:pos x="T8" y="T9"/>
                  </a:cxn>
                  <a:cxn ang="0">
                    <a:pos x="T10" y="T11"/>
                  </a:cxn>
                  <a:cxn ang="0">
                    <a:pos x="T12" y="T13"/>
                  </a:cxn>
                </a:cxnLst>
                <a:rect l="0" t="0" r="r" b="b"/>
                <a:pathLst>
                  <a:path w="10" h="58">
                    <a:moveTo>
                      <a:pt x="0" y="5"/>
                    </a:moveTo>
                    <a:cubicBezTo>
                      <a:pt x="0" y="53"/>
                      <a:pt x="0" y="53"/>
                      <a:pt x="0" y="53"/>
                    </a:cubicBezTo>
                    <a:cubicBezTo>
                      <a:pt x="0" y="56"/>
                      <a:pt x="2" y="58"/>
                      <a:pt x="5" y="58"/>
                    </a:cubicBezTo>
                    <a:cubicBezTo>
                      <a:pt x="8" y="58"/>
                      <a:pt x="10" y="56"/>
                      <a:pt x="10" y="53"/>
                    </a:cubicBezTo>
                    <a:cubicBezTo>
                      <a:pt x="10" y="5"/>
                      <a:pt x="10" y="5"/>
                      <a:pt x="10" y="5"/>
                    </a:cubicBezTo>
                    <a:cubicBezTo>
                      <a:pt x="10" y="2"/>
                      <a:pt x="8" y="0"/>
                      <a:pt x="5" y="0"/>
                    </a:cubicBezTo>
                    <a:cubicBezTo>
                      <a:pt x="2" y="0"/>
                      <a:pt x="0" y="2"/>
                      <a:pt x="0" y="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337" name="Freeform 536"/>
              <p:cNvSpPr>
                <a:spLocks noEditPoints="1"/>
              </p:cNvSpPr>
              <p:nvPr/>
            </p:nvSpPr>
            <p:spPr bwMode="auto">
              <a:xfrm>
                <a:off x="11628438" y="3444875"/>
                <a:ext cx="85725" cy="88900"/>
              </a:xfrm>
              <a:custGeom>
                <a:avLst/>
                <a:gdLst>
                  <a:gd name="T0" fmla="*/ 18 w 35"/>
                  <a:gd name="T1" fmla="*/ 0 h 36"/>
                  <a:gd name="T2" fmla="*/ 0 w 35"/>
                  <a:gd name="T3" fmla="*/ 18 h 36"/>
                  <a:gd name="T4" fmla="*/ 18 w 35"/>
                  <a:gd name="T5" fmla="*/ 36 h 36"/>
                  <a:gd name="T6" fmla="*/ 35 w 35"/>
                  <a:gd name="T7" fmla="*/ 18 h 36"/>
                  <a:gd name="T8" fmla="*/ 18 w 35"/>
                  <a:gd name="T9" fmla="*/ 0 h 36"/>
                  <a:gd name="T10" fmla="*/ 18 w 35"/>
                  <a:gd name="T11" fmla="*/ 27 h 36"/>
                  <a:gd name="T12" fmla="*/ 9 w 35"/>
                  <a:gd name="T13" fmla="*/ 18 h 36"/>
                  <a:gd name="T14" fmla="*/ 18 w 35"/>
                  <a:gd name="T15" fmla="*/ 10 h 36"/>
                  <a:gd name="T16" fmla="*/ 26 w 35"/>
                  <a:gd name="T17" fmla="*/ 18 h 36"/>
                  <a:gd name="T18" fmla="*/ 18 w 35"/>
                  <a:gd name="T19" fmla="*/ 27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36">
                    <a:moveTo>
                      <a:pt x="18" y="0"/>
                    </a:moveTo>
                    <a:cubicBezTo>
                      <a:pt x="8" y="0"/>
                      <a:pt x="0" y="8"/>
                      <a:pt x="0" y="18"/>
                    </a:cubicBezTo>
                    <a:cubicBezTo>
                      <a:pt x="0" y="28"/>
                      <a:pt x="8" y="36"/>
                      <a:pt x="18" y="36"/>
                    </a:cubicBezTo>
                    <a:cubicBezTo>
                      <a:pt x="27" y="36"/>
                      <a:pt x="35" y="28"/>
                      <a:pt x="35" y="18"/>
                    </a:cubicBezTo>
                    <a:cubicBezTo>
                      <a:pt x="35" y="8"/>
                      <a:pt x="27" y="0"/>
                      <a:pt x="18" y="0"/>
                    </a:cubicBezTo>
                    <a:close/>
                    <a:moveTo>
                      <a:pt x="18" y="27"/>
                    </a:moveTo>
                    <a:cubicBezTo>
                      <a:pt x="13" y="27"/>
                      <a:pt x="9" y="23"/>
                      <a:pt x="9" y="18"/>
                    </a:cubicBezTo>
                    <a:cubicBezTo>
                      <a:pt x="9" y="14"/>
                      <a:pt x="13" y="10"/>
                      <a:pt x="18" y="10"/>
                    </a:cubicBezTo>
                    <a:cubicBezTo>
                      <a:pt x="22" y="10"/>
                      <a:pt x="26" y="14"/>
                      <a:pt x="26" y="18"/>
                    </a:cubicBezTo>
                    <a:cubicBezTo>
                      <a:pt x="26" y="23"/>
                      <a:pt x="22" y="27"/>
                      <a:pt x="18" y="2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grpSp>
        <p:nvGrpSpPr>
          <p:cNvPr id="338" name="Group 337"/>
          <p:cNvGrpSpPr/>
          <p:nvPr/>
        </p:nvGrpSpPr>
        <p:grpSpPr>
          <a:xfrm>
            <a:off x="8216486" y="1791787"/>
            <a:ext cx="353268" cy="353268"/>
            <a:chOff x="7212975" y="1374657"/>
            <a:chExt cx="353268" cy="353268"/>
          </a:xfrm>
        </p:grpSpPr>
        <p:sp>
          <p:nvSpPr>
            <p:cNvPr id="339" name="Oval 338"/>
            <p:cNvSpPr/>
            <p:nvPr/>
          </p:nvSpPr>
          <p:spPr>
            <a:xfrm>
              <a:off x="7212975" y="1374657"/>
              <a:ext cx="353268" cy="353268"/>
            </a:xfrm>
            <a:prstGeom prst="ellipse">
              <a:avLst/>
            </a:prstGeom>
            <a:solidFill>
              <a:srgbClr val="02376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a:p>
          </p:txBody>
        </p:sp>
        <p:grpSp>
          <p:nvGrpSpPr>
            <p:cNvPr id="340" name="Group 339"/>
            <p:cNvGrpSpPr/>
            <p:nvPr/>
          </p:nvGrpSpPr>
          <p:grpSpPr>
            <a:xfrm>
              <a:off x="7263691" y="1449072"/>
              <a:ext cx="251836" cy="266185"/>
              <a:chOff x="11280776" y="3148013"/>
              <a:chExt cx="557213" cy="588962"/>
            </a:xfrm>
            <a:solidFill>
              <a:schemeClr val="bg1"/>
            </a:solidFill>
          </p:grpSpPr>
          <p:sp>
            <p:nvSpPr>
              <p:cNvPr id="341" name="Freeform 532"/>
              <p:cNvSpPr>
                <a:spLocks noEditPoints="1"/>
              </p:cNvSpPr>
              <p:nvPr/>
            </p:nvSpPr>
            <p:spPr bwMode="auto">
              <a:xfrm>
                <a:off x="11280776" y="3148013"/>
                <a:ext cx="557213" cy="588962"/>
              </a:xfrm>
              <a:custGeom>
                <a:avLst/>
                <a:gdLst>
                  <a:gd name="T0" fmla="*/ 222 w 225"/>
                  <a:gd name="T1" fmla="*/ 12 h 238"/>
                  <a:gd name="T2" fmla="*/ 174 w 225"/>
                  <a:gd name="T3" fmla="*/ 1 h 238"/>
                  <a:gd name="T4" fmla="*/ 171 w 225"/>
                  <a:gd name="T5" fmla="*/ 1 h 238"/>
                  <a:gd name="T6" fmla="*/ 114 w 225"/>
                  <a:gd name="T7" fmla="*/ 27 h 238"/>
                  <a:gd name="T8" fmla="*/ 61 w 225"/>
                  <a:gd name="T9" fmla="*/ 5 h 238"/>
                  <a:gd name="T10" fmla="*/ 58 w 225"/>
                  <a:gd name="T11" fmla="*/ 5 h 238"/>
                  <a:gd name="T12" fmla="*/ 3 w 225"/>
                  <a:gd name="T13" fmla="*/ 27 h 238"/>
                  <a:gd name="T14" fmla="*/ 0 w 225"/>
                  <a:gd name="T15" fmla="*/ 31 h 238"/>
                  <a:gd name="T16" fmla="*/ 0 w 225"/>
                  <a:gd name="T17" fmla="*/ 182 h 238"/>
                  <a:gd name="T18" fmla="*/ 2 w 225"/>
                  <a:gd name="T19" fmla="*/ 186 h 238"/>
                  <a:gd name="T20" fmla="*/ 6 w 225"/>
                  <a:gd name="T21" fmla="*/ 187 h 238"/>
                  <a:gd name="T22" fmla="*/ 60 w 225"/>
                  <a:gd name="T23" fmla="*/ 166 h 238"/>
                  <a:gd name="T24" fmla="*/ 112 w 225"/>
                  <a:gd name="T25" fmla="*/ 188 h 238"/>
                  <a:gd name="T26" fmla="*/ 114 w 225"/>
                  <a:gd name="T27" fmla="*/ 188 h 238"/>
                  <a:gd name="T28" fmla="*/ 116 w 225"/>
                  <a:gd name="T29" fmla="*/ 188 h 238"/>
                  <a:gd name="T30" fmla="*/ 124 w 225"/>
                  <a:gd name="T31" fmla="*/ 184 h 238"/>
                  <a:gd name="T32" fmla="*/ 154 w 225"/>
                  <a:gd name="T33" fmla="*/ 236 h 238"/>
                  <a:gd name="T34" fmla="*/ 158 w 225"/>
                  <a:gd name="T35" fmla="*/ 238 h 238"/>
                  <a:gd name="T36" fmla="*/ 162 w 225"/>
                  <a:gd name="T37" fmla="*/ 236 h 238"/>
                  <a:gd name="T38" fmla="*/ 199 w 225"/>
                  <a:gd name="T39" fmla="*/ 168 h 238"/>
                  <a:gd name="T40" fmla="*/ 220 w 225"/>
                  <a:gd name="T41" fmla="*/ 172 h 238"/>
                  <a:gd name="T42" fmla="*/ 224 w 225"/>
                  <a:gd name="T43" fmla="*/ 171 h 238"/>
                  <a:gd name="T44" fmla="*/ 225 w 225"/>
                  <a:gd name="T45" fmla="*/ 168 h 238"/>
                  <a:gd name="T46" fmla="*/ 225 w 225"/>
                  <a:gd name="T47" fmla="*/ 16 h 238"/>
                  <a:gd name="T48" fmla="*/ 222 w 225"/>
                  <a:gd name="T49" fmla="*/ 12 h 238"/>
                  <a:gd name="T50" fmla="*/ 158 w 225"/>
                  <a:gd name="T51" fmla="*/ 224 h 238"/>
                  <a:gd name="T52" fmla="*/ 119 w 225"/>
                  <a:gd name="T53" fmla="*/ 144 h 238"/>
                  <a:gd name="T54" fmla="*/ 158 w 225"/>
                  <a:gd name="T55" fmla="*/ 106 h 238"/>
                  <a:gd name="T56" fmla="*/ 196 w 225"/>
                  <a:gd name="T57" fmla="*/ 144 h 238"/>
                  <a:gd name="T58" fmla="*/ 158 w 225"/>
                  <a:gd name="T59" fmla="*/ 224 h 238"/>
                  <a:gd name="T60" fmla="*/ 216 w 225"/>
                  <a:gd name="T61" fmla="*/ 162 h 238"/>
                  <a:gd name="T62" fmla="*/ 202 w 225"/>
                  <a:gd name="T63" fmla="*/ 159 h 238"/>
                  <a:gd name="T64" fmla="*/ 205 w 225"/>
                  <a:gd name="T65" fmla="*/ 144 h 238"/>
                  <a:gd name="T66" fmla="*/ 158 w 225"/>
                  <a:gd name="T67" fmla="*/ 96 h 238"/>
                  <a:gd name="T68" fmla="*/ 110 w 225"/>
                  <a:gd name="T69" fmla="*/ 144 h 238"/>
                  <a:gd name="T70" fmla="*/ 120 w 225"/>
                  <a:gd name="T71" fmla="*/ 176 h 238"/>
                  <a:gd name="T72" fmla="*/ 114 w 225"/>
                  <a:gd name="T73" fmla="*/ 178 h 238"/>
                  <a:gd name="T74" fmla="*/ 61 w 225"/>
                  <a:gd name="T75" fmla="*/ 157 h 238"/>
                  <a:gd name="T76" fmla="*/ 60 w 225"/>
                  <a:gd name="T77" fmla="*/ 156 h 238"/>
                  <a:gd name="T78" fmla="*/ 58 w 225"/>
                  <a:gd name="T79" fmla="*/ 156 h 238"/>
                  <a:gd name="T80" fmla="*/ 9 w 225"/>
                  <a:gd name="T81" fmla="*/ 175 h 238"/>
                  <a:gd name="T82" fmla="*/ 9 w 225"/>
                  <a:gd name="T83" fmla="*/ 34 h 238"/>
                  <a:gd name="T84" fmla="*/ 60 w 225"/>
                  <a:gd name="T85" fmla="*/ 15 h 238"/>
                  <a:gd name="T86" fmla="*/ 112 w 225"/>
                  <a:gd name="T87" fmla="*/ 37 h 238"/>
                  <a:gd name="T88" fmla="*/ 116 w 225"/>
                  <a:gd name="T89" fmla="*/ 37 h 238"/>
                  <a:gd name="T90" fmla="*/ 174 w 225"/>
                  <a:gd name="T91" fmla="*/ 10 h 238"/>
                  <a:gd name="T92" fmla="*/ 216 w 225"/>
                  <a:gd name="T93" fmla="*/ 20 h 238"/>
                  <a:gd name="T94" fmla="*/ 216 w 225"/>
                  <a:gd name="T95" fmla="*/ 162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5" h="238">
                    <a:moveTo>
                      <a:pt x="222" y="12"/>
                    </a:moveTo>
                    <a:cubicBezTo>
                      <a:pt x="174" y="1"/>
                      <a:pt x="174" y="1"/>
                      <a:pt x="174" y="1"/>
                    </a:cubicBezTo>
                    <a:cubicBezTo>
                      <a:pt x="173" y="0"/>
                      <a:pt x="172" y="0"/>
                      <a:pt x="171" y="1"/>
                    </a:cubicBezTo>
                    <a:cubicBezTo>
                      <a:pt x="114" y="27"/>
                      <a:pt x="114" y="27"/>
                      <a:pt x="114" y="27"/>
                    </a:cubicBezTo>
                    <a:cubicBezTo>
                      <a:pt x="61" y="5"/>
                      <a:pt x="61" y="5"/>
                      <a:pt x="61" y="5"/>
                    </a:cubicBezTo>
                    <a:cubicBezTo>
                      <a:pt x="60" y="5"/>
                      <a:pt x="59" y="5"/>
                      <a:pt x="58" y="5"/>
                    </a:cubicBezTo>
                    <a:cubicBezTo>
                      <a:pt x="3" y="27"/>
                      <a:pt x="3" y="27"/>
                      <a:pt x="3" y="27"/>
                    </a:cubicBezTo>
                    <a:cubicBezTo>
                      <a:pt x="1" y="27"/>
                      <a:pt x="0" y="29"/>
                      <a:pt x="0" y="31"/>
                    </a:cubicBezTo>
                    <a:cubicBezTo>
                      <a:pt x="0" y="182"/>
                      <a:pt x="0" y="182"/>
                      <a:pt x="0" y="182"/>
                    </a:cubicBezTo>
                    <a:cubicBezTo>
                      <a:pt x="0" y="184"/>
                      <a:pt x="0" y="185"/>
                      <a:pt x="2" y="186"/>
                    </a:cubicBezTo>
                    <a:cubicBezTo>
                      <a:pt x="3" y="187"/>
                      <a:pt x="5" y="187"/>
                      <a:pt x="6" y="187"/>
                    </a:cubicBezTo>
                    <a:cubicBezTo>
                      <a:pt x="60" y="166"/>
                      <a:pt x="60" y="166"/>
                      <a:pt x="60" y="166"/>
                    </a:cubicBezTo>
                    <a:cubicBezTo>
                      <a:pt x="112" y="188"/>
                      <a:pt x="112" y="188"/>
                      <a:pt x="112" y="188"/>
                    </a:cubicBezTo>
                    <a:cubicBezTo>
                      <a:pt x="113" y="188"/>
                      <a:pt x="113" y="188"/>
                      <a:pt x="114" y="188"/>
                    </a:cubicBezTo>
                    <a:cubicBezTo>
                      <a:pt x="115" y="188"/>
                      <a:pt x="115" y="188"/>
                      <a:pt x="116" y="188"/>
                    </a:cubicBezTo>
                    <a:cubicBezTo>
                      <a:pt x="124" y="184"/>
                      <a:pt x="124" y="184"/>
                      <a:pt x="124" y="184"/>
                    </a:cubicBezTo>
                    <a:cubicBezTo>
                      <a:pt x="136" y="208"/>
                      <a:pt x="151" y="232"/>
                      <a:pt x="154" y="236"/>
                    </a:cubicBezTo>
                    <a:cubicBezTo>
                      <a:pt x="154" y="237"/>
                      <a:pt x="156" y="238"/>
                      <a:pt x="158" y="238"/>
                    </a:cubicBezTo>
                    <a:cubicBezTo>
                      <a:pt x="159" y="238"/>
                      <a:pt x="161" y="237"/>
                      <a:pt x="162" y="236"/>
                    </a:cubicBezTo>
                    <a:cubicBezTo>
                      <a:pt x="165" y="231"/>
                      <a:pt x="188" y="195"/>
                      <a:pt x="199" y="168"/>
                    </a:cubicBezTo>
                    <a:cubicBezTo>
                      <a:pt x="220" y="172"/>
                      <a:pt x="220" y="172"/>
                      <a:pt x="220" y="172"/>
                    </a:cubicBezTo>
                    <a:cubicBezTo>
                      <a:pt x="221" y="173"/>
                      <a:pt x="222" y="172"/>
                      <a:pt x="224" y="171"/>
                    </a:cubicBezTo>
                    <a:cubicBezTo>
                      <a:pt x="225" y="170"/>
                      <a:pt x="225" y="169"/>
                      <a:pt x="225" y="168"/>
                    </a:cubicBezTo>
                    <a:cubicBezTo>
                      <a:pt x="225" y="16"/>
                      <a:pt x="225" y="16"/>
                      <a:pt x="225" y="16"/>
                    </a:cubicBezTo>
                    <a:cubicBezTo>
                      <a:pt x="225" y="14"/>
                      <a:pt x="224" y="12"/>
                      <a:pt x="222" y="12"/>
                    </a:cubicBezTo>
                    <a:close/>
                    <a:moveTo>
                      <a:pt x="158" y="224"/>
                    </a:moveTo>
                    <a:cubicBezTo>
                      <a:pt x="144" y="203"/>
                      <a:pt x="119" y="160"/>
                      <a:pt x="119" y="144"/>
                    </a:cubicBezTo>
                    <a:cubicBezTo>
                      <a:pt x="119" y="123"/>
                      <a:pt x="136" y="106"/>
                      <a:pt x="158" y="106"/>
                    </a:cubicBezTo>
                    <a:cubicBezTo>
                      <a:pt x="179" y="106"/>
                      <a:pt x="196" y="123"/>
                      <a:pt x="196" y="144"/>
                    </a:cubicBezTo>
                    <a:cubicBezTo>
                      <a:pt x="196" y="160"/>
                      <a:pt x="171" y="203"/>
                      <a:pt x="158" y="224"/>
                    </a:cubicBezTo>
                    <a:close/>
                    <a:moveTo>
                      <a:pt x="216" y="162"/>
                    </a:moveTo>
                    <a:cubicBezTo>
                      <a:pt x="202" y="159"/>
                      <a:pt x="202" y="159"/>
                      <a:pt x="202" y="159"/>
                    </a:cubicBezTo>
                    <a:cubicBezTo>
                      <a:pt x="204" y="153"/>
                      <a:pt x="205" y="148"/>
                      <a:pt x="205" y="144"/>
                    </a:cubicBezTo>
                    <a:cubicBezTo>
                      <a:pt x="205" y="117"/>
                      <a:pt x="184" y="96"/>
                      <a:pt x="158" y="96"/>
                    </a:cubicBezTo>
                    <a:cubicBezTo>
                      <a:pt x="131" y="96"/>
                      <a:pt x="110" y="117"/>
                      <a:pt x="110" y="144"/>
                    </a:cubicBezTo>
                    <a:cubicBezTo>
                      <a:pt x="110" y="152"/>
                      <a:pt x="114" y="163"/>
                      <a:pt x="120" y="176"/>
                    </a:cubicBezTo>
                    <a:cubicBezTo>
                      <a:pt x="114" y="178"/>
                      <a:pt x="114" y="178"/>
                      <a:pt x="114" y="178"/>
                    </a:cubicBezTo>
                    <a:cubicBezTo>
                      <a:pt x="61" y="157"/>
                      <a:pt x="61" y="157"/>
                      <a:pt x="61" y="157"/>
                    </a:cubicBezTo>
                    <a:cubicBezTo>
                      <a:pt x="61" y="156"/>
                      <a:pt x="60" y="156"/>
                      <a:pt x="60" y="156"/>
                    </a:cubicBezTo>
                    <a:cubicBezTo>
                      <a:pt x="59" y="156"/>
                      <a:pt x="58" y="156"/>
                      <a:pt x="58" y="156"/>
                    </a:cubicBezTo>
                    <a:cubicBezTo>
                      <a:pt x="9" y="175"/>
                      <a:pt x="9" y="175"/>
                      <a:pt x="9" y="175"/>
                    </a:cubicBezTo>
                    <a:cubicBezTo>
                      <a:pt x="9" y="34"/>
                      <a:pt x="9" y="34"/>
                      <a:pt x="9" y="34"/>
                    </a:cubicBezTo>
                    <a:cubicBezTo>
                      <a:pt x="60" y="15"/>
                      <a:pt x="60" y="15"/>
                      <a:pt x="60" y="15"/>
                    </a:cubicBezTo>
                    <a:cubicBezTo>
                      <a:pt x="112" y="37"/>
                      <a:pt x="112" y="37"/>
                      <a:pt x="112" y="37"/>
                    </a:cubicBezTo>
                    <a:cubicBezTo>
                      <a:pt x="113" y="37"/>
                      <a:pt x="115" y="37"/>
                      <a:pt x="116" y="37"/>
                    </a:cubicBezTo>
                    <a:cubicBezTo>
                      <a:pt x="174" y="10"/>
                      <a:pt x="174" y="10"/>
                      <a:pt x="174" y="10"/>
                    </a:cubicBezTo>
                    <a:cubicBezTo>
                      <a:pt x="216" y="20"/>
                      <a:pt x="216" y="20"/>
                      <a:pt x="216" y="20"/>
                    </a:cubicBezTo>
                    <a:lnTo>
                      <a:pt x="216" y="16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342" name="Freeform 533"/>
              <p:cNvSpPr>
                <a:spLocks/>
              </p:cNvSpPr>
              <p:nvPr/>
            </p:nvSpPr>
            <p:spPr bwMode="auto">
              <a:xfrm>
                <a:off x="11417301" y="3232150"/>
                <a:ext cx="22225" cy="260350"/>
              </a:xfrm>
              <a:custGeom>
                <a:avLst/>
                <a:gdLst>
                  <a:gd name="T0" fmla="*/ 5 w 9"/>
                  <a:gd name="T1" fmla="*/ 0 h 105"/>
                  <a:gd name="T2" fmla="*/ 0 w 9"/>
                  <a:gd name="T3" fmla="*/ 5 h 105"/>
                  <a:gd name="T4" fmla="*/ 0 w 9"/>
                  <a:gd name="T5" fmla="*/ 101 h 105"/>
                  <a:gd name="T6" fmla="*/ 5 w 9"/>
                  <a:gd name="T7" fmla="*/ 105 h 105"/>
                  <a:gd name="T8" fmla="*/ 9 w 9"/>
                  <a:gd name="T9" fmla="*/ 101 h 105"/>
                  <a:gd name="T10" fmla="*/ 9 w 9"/>
                  <a:gd name="T11" fmla="*/ 5 h 105"/>
                  <a:gd name="T12" fmla="*/ 5 w 9"/>
                  <a:gd name="T13" fmla="*/ 0 h 105"/>
                </a:gdLst>
                <a:ahLst/>
                <a:cxnLst>
                  <a:cxn ang="0">
                    <a:pos x="T0" y="T1"/>
                  </a:cxn>
                  <a:cxn ang="0">
                    <a:pos x="T2" y="T3"/>
                  </a:cxn>
                  <a:cxn ang="0">
                    <a:pos x="T4" y="T5"/>
                  </a:cxn>
                  <a:cxn ang="0">
                    <a:pos x="T6" y="T7"/>
                  </a:cxn>
                  <a:cxn ang="0">
                    <a:pos x="T8" y="T9"/>
                  </a:cxn>
                  <a:cxn ang="0">
                    <a:pos x="T10" y="T11"/>
                  </a:cxn>
                  <a:cxn ang="0">
                    <a:pos x="T12" y="T13"/>
                  </a:cxn>
                </a:cxnLst>
                <a:rect l="0" t="0" r="r" b="b"/>
                <a:pathLst>
                  <a:path w="9" h="105">
                    <a:moveTo>
                      <a:pt x="5" y="0"/>
                    </a:moveTo>
                    <a:cubicBezTo>
                      <a:pt x="2" y="0"/>
                      <a:pt x="0" y="2"/>
                      <a:pt x="0" y="5"/>
                    </a:cubicBezTo>
                    <a:cubicBezTo>
                      <a:pt x="0" y="101"/>
                      <a:pt x="0" y="101"/>
                      <a:pt x="0" y="101"/>
                    </a:cubicBezTo>
                    <a:cubicBezTo>
                      <a:pt x="0" y="103"/>
                      <a:pt x="2" y="105"/>
                      <a:pt x="5" y="105"/>
                    </a:cubicBezTo>
                    <a:cubicBezTo>
                      <a:pt x="7" y="105"/>
                      <a:pt x="9" y="103"/>
                      <a:pt x="9" y="101"/>
                    </a:cubicBezTo>
                    <a:cubicBezTo>
                      <a:pt x="9" y="5"/>
                      <a:pt x="9" y="5"/>
                      <a:pt x="9" y="5"/>
                    </a:cubicBezTo>
                    <a:cubicBezTo>
                      <a:pt x="9" y="2"/>
                      <a:pt x="7" y="0"/>
                      <a:pt x="5"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343" name="Freeform 534"/>
              <p:cNvSpPr>
                <a:spLocks/>
              </p:cNvSpPr>
              <p:nvPr/>
            </p:nvSpPr>
            <p:spPr bwMode="auto">
              <a:xfrm>
                <a:off x="11550651" y="3276600"/>
                <a:ext cx="25400" cy="115887"/>
              </a:xfrm>
              <a:custGeom>
                <a:avLst/>
                <a:gdLst>
                  <a:gd name="T0" fmla="*/ 5 w 10"/>
                  <a:gd name="T1" fmla="*/ 0 h 47"/>
                  <a:gd name="T2" fmla="*/ 0 w 10"/>
                  <a:gd name="T3" fmla="*/ 5 h 47"/>
                  <a:gd name="T4" fmla="*/ 0 w 10"/>
                  <a:gd name="T5" fmla="*/ 42 h 47"/>
                  <a:gd name="T6" fmla="*/ 5 w 10"/>
                  <a:gd name="T7" fmla="*/ 47 h 47"/>
                  <a:gd name="T8" fmla="*/ 10 w 10"/>
                  <a:gd name="T9" fmla="*/ 42 h 47"/>
                  <a:gd name="T10" fmla="*/ 10 w 10"/>
                  <a:gd name="T11" fmla="*/ 5 h 47"/>
                  <a:gd name="T12" fmla="*/ 5 w 10"/>
                  <a:gd name="T13" fmla="*/ 0 h 47"/>
                </a:gdLst>
                <a:ahLst/>
                <a:cxnLst>
                  <a:cxn ang="0">
                    <a:pos x="T0" y="T1"/>
                  </a:cxn>
                  <a:cxn ang="0">
                    <a:pos x="T2" y="T3"/>
                  </a:cxn>
                  <a:cxn ang="0">
                    <a:pos x="T4" y="T5"/>
                  </a:cxn>
                  <a:cxn ang="0">
                    <a:pos x="T6" y="T7"/>
                  </a:cxn>
                  <a:cxn ang="0">
                    <a:pos x="T8" y="T9"/>
                  </a:cxn>
                  <a:cxn ang="0">
                    <a:pos x="T10" y="T11"/>
                  </a:cxn>
                  <a:cxn ang="0">
                    <a:pos x="T12" y="T13"/>
                  </a:cxn>
                </a:cxnLst>
                <a:rect l="0" t="0" r="r" b="b"/>
                <a:pathLst>
                  <a:path w="10" h="47">
                    <a:moveTo>
                      <a:pt x="5" y="0"/>
                    </a:moveTo>
                    <a:cubicBezTo>
                      <a:pt x="2" y="0"/>
                      <a:pt x="0" y="3"/>
                      <a:pt x="0" y="5"/>
                    </a:cubicBezTo>
                    <a:cubicBezTo>
                      <a:pt x="0" y="42"/>
                      <a:pt x="0" y="42"/>
                      <a:pt x="0" y="42"/>
                    </a:cubicBezTo>
                    <a:cubicBezTo>
                      <a:pt x="0" y="44"/>
                      <a:pt x="2" y="47"/>
                      <a:pt x="5" y="47"/>
                    </a:cubicBezTo>
                    <a:cubicBezTo>
                      <a:pt x="8" y="47"/>
                      <a:pt x="10" y="44"/>
                      <a:pt x="10" y="42"/>
                    </a:cubicBezTo>
                    <a:cubicBezTo>
                      <a:pt x="10" y="5"/>
                      <a:pt x="10" y="5"/>
                      <a:pt x="10" y="5"/>
                    </a:cubicBezTo>
                    <a:cubicBezTo>
                      <a:pt x="10" y="3"/>
                      <a:pt x="8" y="0"/>
                      <a:pt x="5"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344" name="Freeform 535"/>
              <p:cNvSpPr>
                <a:spLocks/>
              </p:cNvSpPr>
              <p:nvPr/>
            </p:nvSpPr>
            <p:spPr bwMode="auto">
              <a:xfrm>
                <a:off x="11699876" y="3214688"/>
                <a:ext cx="25400" cy="142875"/>
              </a:xfrm>
              <a:custGeom>
                <a:avLst/>
                <a:gdLst>
                  <a:gd name="T0" fmla="*/ 0 w 10"/>
                  <a:gd name="T1" fmla="*/ 5 h 58"/>
                  <a:gd name="T2" fmla="*/ 0 w 10"/>
                  <a:gd name="T3" fmla="*/ 53 h 58"/>
                  <a:gd name="T4" fmla="*/ 5 w 10"/>
                  <a:gd name="T5" fmla="*/ 58 h 58"/>
                  <a:gd name="T6" fmla="*/ 10 w 10"/>
                  <a:gd name="T7" fmla="*/ 53 h 58"/>
                  <a:gd name="T8" fmla="*/ 10 w 10"/>
                  <a:gd name="T9" fmla="*/ 5 h 58"/>
                  <a:gd name="T10" fmla="*/ 5 w 10"/>
                  <a:gd name="T11" fmla="*/ 0 h 58"/>
                  <a:gd name="T12" fmla="*/ 0 w 10"/>
                  <a:gd name="T13" fmla="*/ 5 h 58"/>
                </a:gdLst>
                <a:ahLst/>
                <a:cxnLst>
                  <a:cxn ang="0">
                    <a:pos x="T0" y="T1"/>
                  </a:cxn>
                  <a:cxn ang="0">
                    <a:pos x="T2" y="T3"/>
                  </a:cxn>
                  <a:cxn ang="0">
                    <a:pos x="T4" y="T5"/>
                  </a:cxn>
                  <a:cxn ang="0">
                    <a:pos x="T6" y="T7"/>
                  </a:cxn>
                  <a:cxn ang="0">
                    <a:pos x="T8" y="T9"/>
                  </a:cxn>
                  <a:cxn ang="0">
                    <a:pos x="T10" y="T11"/>
                  </a:cxn>
                  <a:cxn ang="0">
                    <a:pos x="T12" y="T13"/>
                  </a:cxn>
                </a:cxnLst>
                <a:rect l="0" t="0" r="r" b="b"/>
                <a:pathLst>
                  <a:path w="10" h="58">
                    <a:moveTo>
                      <a:pt x="0" y="5"/>
                    </a:moveTo>
                    <a:cubicBezTo>
                      <a:pt x="0" y="53"/>
                      <a:pt x="0" y="53"/>
                      <a:pt x="0" y="53"/>
                    </a:cubicBezTo>
                    <a:cubicBezTo>
                      <a:pt x="0" y="56"/>
                      <a:pt x="2" y="58"/>
                      <a:pt x="5" y="58"/>
                    </a:cubicBezTo>
                    <a:cubicBezTo>
                      <a:pt x="8" y="58"/>
                      <a:pt x="10" y="56"/>
                      <a:pt x="10" y="53"/>
                    </a:cubicBezTo>
                    <a:cubicBezTo>
                      <a:pt x="10" y="5"/>
                      <a:pt x="10" y="5"/>
                      <a:pt x="10" y="5"/>
                    </a:cubicBezTo>
                    <a:cubicBezTo>
                      <a:pt x="10" y="2"/>
                      <a:pt x="8" y="0"/>
                      <a:pt x="5" y="0"/>
                    </a:cubicBezTo>
                    <a:cubicBezTo>
                      <a:pt x="2" y="0"/>
                      <a:pt x="0" y="2"/>
                      <a:pt x="0" y="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345" name="Freeform 536"/>
              <p:cNvSpPr>
                <a:spLocks noEditPoints="1"/>
              </p:cNvSpPr>
              <p:nvPr/>
            </p:nvSpPr>
            <p:spPr bwMode="auto">
              <a:xfrm>
                <a:off x="11628438" y="3444875"/>
                <a:ext cx="85725" cy="88900"/>
              </a:xfrm>
              <a:custGeom>
                <a:avLst/>
                <a:gdLst>
                  <a:gd name="T0" fmla="*/ 18 w 35"/>
                  <a:gd name="T1" fmla="*/ 0 h 36"/>
                  <a:gd name="T2" fmla="*/ 0 w 35"/>
                  <a:gd name="T3" fmla="*/ 18 h 36"/>
                  <a:gd name="T4" fmla="*/ 18 w 35"/>
                  <a:gd name="T5" fmla="*/ 36 h 36"/>
                  <a:gd name="T6" fmla="*/ 35 w 35"/>
                  <a:gd name="T7" fmla="*/ 18 h 36"/>
                  <a:gd name="T8" fmla="*/ 18 w 35"/>
                  <a:gd name="T9" fmla="*/ 0 h 36"/>
                  <a:gd name="T10" fmla="*/ 18 w 35"/>
                  <a:gd name="T11" fmla="*/ 27 h 36"/>
                  <a:gd name="T12" fmla="*/ 9 w 35"/>
                  <a:gd name="T13" fmla="*/ 18 h 36"/>
                  <a:gd name="T14" fmla="*/ 18 w 35"/>
                  <a:gd name="T15" fmla="*/ 10 h 36"/>
                  <a:gd name="T16" fmla="*/ 26 w 35"/>
                  <a:gd name="T17" fmla="*/ 18 h 36"/>
                  <a:gd name="T18" fmla="*/ 18 w 35"/>
                  <a:gd name="T19" fmla="*/ 27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36">
                    <a:moveTo>
                      <a:pt x="18" y="0"/>
                    </a:moveTo>
                    <a:cubicBezTo>
                      <a:pt x="8" y="0"/>
                      <a:pt x="0" y="8"/>
                      <a:pt x="0" y="18"/>
                    </a:cubicBezTo>
                    <a:cubicBezTo>
                      <a:pt x="0" y="28"/>
                      <a:pt x="8" y="36"/>
                      <a:pt x="18" y="36"/>
                    </a:cubicBezTo>
                    <a:cubicBezTo>
                      <a:pt x="27" y="36"/>
                      <a:pt x="35" y="28"/>
                      <a:pt x="35" y="18"/>
                    </a:cubicBezTo>
                    <a:cubicBezTo>
                      <a:pt x="35" y="8"/>
                      <a:pt x="27" y="0"/>
                      <a:pt x="18" y="0"/>
                    </a:cubicBezTo>
                    <a:close/>
                    <a:moveTo>
                      <a:pt x="18" y="27"/>
                    </a:moveTo>
                    <a:cubicBezTo>
                      <a:pt x="13" y="27"/>
                      <a:pt x="9" y="23"/>
                      <a:pt x="9" y="18"/>
                    </a:cubicBezTo>
                    <a:cubicBezTo>
                      <a:pt x="9" y="14"/>
                      <a:pt x="13" y="10"/>
                      <a:pt x="18" y="10"/>
                    </a:cubicBezTo>
                    <a:cubicBezTo>
                      <a:pt x="22" y="10"/>
                      <a:pt x="26" y="14"/>
                      <a:pt x="26" y="18"/>
                    </a:cubicBezTo>
                    <a:cubicBezTo>
                      <a:pt x="26" y="23"/>
                      <a:pt x="22" y="27"/>
                      <a:pt x="18" y="2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grpSp>
        <p:nvGrpSpPr>
          <p:cNvPr id="346" name="Group 345"/>
          <p:cNvGrpSpPr/>
          <p:nvPr/>
        </p:nvGrpSpPr>
        <p:grpSpPr>
          <a:xfrm>
            <a:off x="2155491" y="2574354"/>
            <a:ext cx="353268" cy="353268"/>
            <a:chOff x="7212975" y="1374657"/>
            <a:chExt cx="353268" cy="353268"/>
          </a:xfrm>
        </p:grpSpPr>
        <p:sp>
          <p:nvSpPr>
            <p:cNvPr id="347" name="Oval 346"/>
            <p:cNvSpPr/>
            <p:nvPr/>
          </p:nvSpPr>
          <p:spPr>
            <a:xfrm>
              <a:off x="7212975" y="1374657"/>
              <a:ext cx="353268" cy="353268"/>
            </a:xfrm>
            <a:prstGeom prst="ellipse">
              <a:avLst/>
            </a:prstGeom>
            <a:solidFill>
              <a:srgbClr val="02376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a:p>
          </p:txBody>
        </p:sp>
        <p:grpSp>
          <p:nvGrpSpPr>
            <p:cNvPr id="348" name="Group 347"/>
            <p:cNvGrpSpPr/>
            <p:nvPr/>
          </p:nvGrpSpPr>
          <p:grpSpPr>
            <a:xfrm>
              <a:off x="7263691" y="1449072"/>
              <a:ext cx="251836" cy="266185"/>
              <a:chOff x="11280776" y="3148013"/>
              <a:chExt cx="557213" cy="588962"/>
            </a:xfrm>
            <a:solidFill>
              <a:schemeClr val="bg1"/>
            </a:solidFill>
          </p:grpSpPr>
          <p:sp>
            <p:nvSpPr>
              <p:cNvPr id="349" name="Freeform 532"/>
              <p:cNvSpPr>
                <a:spLocks noEditPoints="1"/>
              </p:cNvSpPr>
              <p:nvPr/>
            </p:nvSpPr>
            <p:spPr bwMode="auto">
              <a:xfrm>
                <a:off x="11280776" y="3148013"/>
                <a:ext cx="557213" cy="588962"/>
              </a:xfrm>
              <a:custGeom>
                <a:avLst/>
                <a:gdLst>
                  <a:gd name="T0" fmla="*/ 222 w 225"/>
                  <a:gd name="T1" fmla="*/ 12 h 238"/>
                  <a:gd name="T2" fmla="*/ 174 w 225"/>
                  <a:gd name="T3" fmla="*/ 1 h 238"/>
                  <a:gd name="T4" fmla="*/ 171 w 225"/>
                  <a:gd name="T5" fmla="*/ 1 h 238"/>
                  <a:gd name="T6" fmla="*/ 114 w 225"/>
                  <a:gd name="T7" fmla="*/ 27 h 238"/>
                  <a:gd name="T8" fmla="*/ 61 w 225"/>
                  <a:gd name="T9" fmla="*/ 5 h 238"/>
                  <a:gd name="T10" fmla="*/ 58 w 225"/>
                  <a:gd name="T11" fmla="*/ 5 h 238"/>
                  <a:gd name="T12" fmla="*/ 3 w 225"/>
                  <a:gd name="T13" fmla="*/ 27 h 238"/>
                  <a:gd name="T14" fmla="*/ 0 w 225"/>
                  <a:gd name="T15" fmla="*/ 31 h 238"/>
                  <a:gd name="T16" fmla="*/ 0 w 225"/>
                  <a:gd name="T17" fmla="*/ 182 h 238"/>
                  <a:gd name="T18" fmla="*/ 2 w 225"/>
                  <a:gd name="T19" fmla="*/ 186 h 238"/>
                  <a:gd name="T20" fmla="*/ 6 w 225"/>
                  <a:gd name="T21" fmla="*/ 187 h 238"/>
                  <a:gd name="T22" fmla="*/ 60 w 225"/>
                  <a:gd name="T23" fmla="*/ 166 h 238"/>
                  <a:gd name="T24" fmla="*/ 112 w 225"/>
                  <a:gd name="T25" fmla="*/ 188 h 238"/>
                  <a:gd name="T26" fmla="*/ 114 w 225"/>
                  <a:gd name="T27" fmla="*/ 188 h 238"/>
                  <a:gd name="T28" fmla="*/ 116 w 225"/>
                  <a:gd name="T29" fmla="*/ 188 h 238"/>
                  <a:gd name="T30" fmla="*/ 124 w 225"/>
                  <a:gd name="T31" fmla="*/ 184 h 238"/>
                  <a:gd name="T32" fmla="*/ 154 w 225"/>
                  <a:gd name="T33" fmla="*/ 236 h 238"/>
                  <a:gd name="T34" fmla="*/ 158 w 225"/>
                  <a:gd name="T35" fmla="*/ 238 h 238"/>
                  <a:gd name="T36" fmla="*/ 162 w 225"/>
                  <a:gd name="T37" fmla="*/ 236 h 238"/>
                  <a:gd name="T38" fmla="*/ 199 w 225"/>
                  <a:gd name="T39" fmla="*/ 168 h 238"/>
                  <a:gd name="T40" fmla="*/ 220 w 225"/>
                  <a:gd name="T41" fmla="*/ 172 h 238"/>
                  <a:gd name="T42" fmla="*/ 224 w 225"/>
                  <a:gd name="T43" fmla="*/ 171 h 238"/>
                  <a:gd name="T44" fmla="*/ 225 w 225"/>
                  <a:gd name="T45" fmla="*/ 168 h 238"/>
                  <a:gd name="T46" fmla="*/ 225 w 225"/>
                  <a:gd name="T47" fmla="*/ 16 h 238"/>
                  <a:gd name="T48" fmla="*/ 222 w 225"/>
                  <a:gd name="T49" fmla="*/ 12 h 238"/>
                  <a:gd name="T50" fmla="*/ 158 w 225"/>
                  <a:gd name="T51" fmla="*/ 224 h 238"/>
                  <a:gd name="T52" fmla="*/ 119 w 225"/>
                  <a:gd name="T53" fmla="*/ 144 h 238"/>
                  <a:gd name="T54" fmla="*/ 158 w 225"/>
                  <a:gd name="T55" fmla="*/ 106 h 238"/>
                  <a:gd name="T56" fmla="*/ 196 w 225"/>
                  <a:gd name="T57" fmla="*/ 144 h 238"/>
                  <a:gd name="T58" fmla="*/ 158 w 225"/>
                  <a:gd name="T59" fmla="*/ 224 h 238"/>
                  <a:gd name="T60" fmla="*/ 216 w 225"/>
                  <a:gd name="T61" fmla="*/ 162 h 238"/>
                  <a:gd name="T62" fmla="*/ 202 w 225"/>
                  <a:gd name="T63" fmla="*/ 159 h 238"/>
                  <a:gd name="T64" fmla="*/ 205 w 225"/>
                  <a:gd name="T65" fmla="*/ 144 h 238"/>
                  <a:gd name="T66" fmla="*/ 158 w 225"/>
                  <a:gd name="T67" fmla="*/ 96 h 238"/>
                  <a:gd name="T68" fmla="*/ 110 w 225"/>
                  <a:gd name="T69" fmla="*/ 144 h 238"/>
                  <a:gd name="T70" fmla="*/ 120 w 225"/>
                  <a:gd name="T71" fmla="*/ 176 h 238"/>
                  <a:gd name="T72" fmla="*/ 114 w 225"/>
                  <a:gd name="T73" fmla="*/ 178 h 238"/>
                  <a:gd name="T74" fmla="*/ 61 w 225"/>
                  <a:gd name="T75" fmla="*/ 157 h 238"/>
                  <a:gd name="T76" fmla="*/ 60 w 225"/>
                  <a:gd name="T77" fmla="*/ 156 h 238"/>
                  <a:gd name="T78" fmla="*/ 58 w 225"/>
                  <a:gd name="T79" fmla="*/ 156 h 238"/>
                  <a:gd name="T80" fmla="*/ 9 w 225"/>
                  <a:gd name="T81" fmla="*/ 175 h 238"/>
                  <a:gd name="T82" fmla="*/ 9 w 225"/>
                  <a:gd name="T83" fmla="*/ 34 h 238"/>
                  <a:gd name="T84" fmla="*/ 60 w 225"/>
                  <a:gd name="T85" fmla="*/ 15 h 238"/>
                  <a:gd name="T86" fmla="*/ 112 w 225"/>
                  <a:gd name="T87" fmla="*/ 37 h 238"/>
                  <a:gd name="T88" fmla="*/ 116 w 225"/>
                  <a:gd name="T89" fmla="*/ 37 h 238"/>
                  <a:gd name="T90" fmla="*/ 174 w 225"/>
                  <a:gd name="T91" fmla="*/ 10 h 238"/>
                  <a:gd name="T92" fmla="*/ 216 w 225"/>
                  <a:gd name="T93" fmla="*/ 20 h 238"/>
                  <a:gd name="T94" fmla="*/ 216 w 225"/>
                  <a:gd name="T95" fmla="*/ 162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5" h="238">
                    <a:moveTo>
                      <a:pt x="222" y="12"/>
                    </a:moveTo>
                    <a:cubicBezTo>
                      <a:pt x="174" y="1"/>
                      <a:pt x="174" y="1"/>
                      <a:pt x="174" y="1"/>
                    </a:cubicBezTo>
                    <a:cubicBezTo>
                      <a:pt x="173" y="0"/>
                      <a:pt x="172" y="0"/>
                      <a:pt x="171" y="1"/>
                    </a:cubicBezTo>
                    <a:cubicBezTo>
                      <a:pt x="114" y="27"/>
                      <a:pt x="114" y="27"/>
                      <a:pt x="114" y="27"/>
                    </a:cubicBezTo>
                    <a:cubicBezTo>
                      <a:pt x="61" y="5"/>
                      <a:pt x="61" y="5"/>
                      <a:pt x="61" y="5"/>
                    </a:cubicBezTo>
                    <a:cubicBezTo>
                      <a:pt x="60" y="5"/>
                      <a:pt x="59" y="5"/>
                      <a:pt x="58" y="5"/>
                    </a:cubicBezTo>
                    <a:cubicBezTo>
                      <a:pt x="3" y="27"/>
                      <a:pt x="3" y="27"/>
                      <a:pt x="3" y="27"/>
                    </a:cubicBezTo>
                    <a:cubicBezTo>
                      <a:pt x="1" y="27"/>
                      <a:pt x="0" y="29"/>
                      <a:pt x="0" y="31"/>
                    </a:cubicBezTo>
                    <a:cubicBezTo>
                      <a:pt x="0" y="182"/>
                      <a:pt x="0" y="182"/>
                      <a:pt x="0" y="182"/>
                    </a:cubicBezTo>
                    <a:cubicBezTo>
                      <a:pt x="0" y="184"/>
                      <a:pt x="0" y="185"/>
                      <a:pt x="2" y="186"/>
                    </a:cubicBezTo>
                    <a:cubicBezTo>
                      <a:pt x="3" y="187"/>
                      <a:pt x="5" y="187"/>
                      <a:pt x="6" y="187"/>
                    </a:cubicBezTo>
                    <a:cubicBezTo>
                      <a:pt x="60" y="166"/>
                      <a:pt x="60" y="166"/>
                      <a:pt x="60" y="166"/>
                    </a:cubicBezTo>
                    <a:cubicBezTo>
                      <a:pt x="112" y="188"/>
                      <a:pt x="112" y="188"/>
                      <a:pt x="112" y="188"/>
                    </a:cubicBezTo>
                    <a:cubicBezTo>
                      <a:pt x="113" y="188"/>
                      <a:pt x="113" y="188"/>
                      <a:pt x="114" y="188"/>
                    </a:cubicBezTo>
                    <a:cubicBezTo>
                      <a:pt x="115" y="188"/>
                      <a:pt x="115" y="188"/>
                      <a:pt x="116" y="188"/>
                    </a:cubicBezTo>
                    <a:cubicBezTo>
                      <a:pt x="124" y="184"/>
                      <a:pt x="124" y="184"/>
                      <a:pt x="124" y="184"/>
                    </a:cubicBezTo>
                    <a:cubicBezTo>
                      <a:pt x="136" y="208"/>
                      <a:pt x="151" y="232"/>
                      <a:pt x="154" y="236"/>
                    </a:cubicBezTo>
                    <a:cubicBezTo>
                      <a:pt x="154" y="237"/>
                      <a:pt x="156" y="238"/>
                      <a:pt x="158" y="238"/>
                    </a:cubicBezTo>
                    <a:cubicBezTo>
                      <a:pt x="159" y="238"/>
                      <a:pt x="161" y="237"/>
                      <a:pt x="162" y="236"/>
                    </a:cubicBezTo>
                    <a:cubicBezTo>
                      <a:pt x="165" y="231"/>
                      <a:pt x="188" y="195"/>
                      <a:pt x="199" y="168"/>
                    </a:cubicBezTo>
                    <a:cubicBezTo>
                      <a:pt x="220" y="172"/>
                      <a:pt x="220" y="172"/>
                      <a:pt x="220" y="172"/>
                    </a:cubicBezTo>
                    <a:cubicBezTo>
                      <a:pt x="221" y="173"/>
                      <a:pt x="222" y="172"/>
                      <a:pt x="224" y="171"/>
                    </a:cubicBezTo>
                    <a:cubicBezTo>
                      <a:pt x="225" y="170"/>
                      <a:pt x="225" y="169"/>
                      <a:pt x="225" y="168"/>
                    </a:cubicBezTo>
                    <a:cubicBezTo>
                      <a:pt x="225" y="16"/>
                      <a:pt x="225" y="16"/>
                      <a:pt x="225" y="16"/>
                    </a:cubicBezTo>
                    <a:cubicBezTo>
                      <a:pt x="225" y="14"/>
                      <a:pt x="224" y="12"/>
                      <a:pt x="222" y="12"/>
                    </a:cubicBezTo>
                    <a:close/>
                    <a:moveTo>
                      <a:pt x="158" y="224"/>
                    </a:moveTo>
                    <a:cubicBezTo>
                      <a:pt x="144" y="203"/>
                      <a:pt x="119" y="160"/>
                      <a:pt x="119" y="144"/>
                    </a:cubicBezTo>
                    <a:cubicBezTo>
                      <a:pt x="119" y="123"/>
                      <a:pt x="136" y="106"/>
                      <a:pt x="158" y="106"/>
                    </a:cubicBezTo>
                    <a:cubicBezTo>
                      <a:pt x="179" y="106"/>
                      <a:pt x="196" y="123"/>
                      <a:pt x="196" y="144"/>
                    </a:cubicBezTo>
                    <a:cubicBezTo>
                      <a:pt x="196" y="160"/>
                      <a:pt x="171" y="203"/>
                      <a:pt x="158" y="224"/>
                    </a:cubicBezTo>
                    <a:close/>
                    <a:moveTo>
                      <a:pt x="216" y="162"/>
                    </a:moveTo>
                    <a:cubicBezTo>
                      <a:pt x="202" y="159"/>
                      <a:pt x="202" y="159"/>
                      <a:pt x="202" y="159"/>
                    </a:cubicBezTo>
                    <a:cubicBezTo>
                      <a:pt x="204" y="153"/>
                      <a:pt x="205" y="148"/>
                      <a:pt x="205" y="144"/>
                    </a:cubicBezTo>
                    <a:cubicBezTo>
                      <a:pt x="205" y="117"/>
                      <a:pt x="184" y="96"/>
                      <a:pt x="158" y="96"/>
                    </a:cubicBezTo>
                    <a:cubicBezTo>
                      <a:pt x="131" y="96"/>
                      <a:pt x="110" y="117"/>
                      <a:pt x="110" y="144"/>
                    </a:cubicBezTo>
                    <a:cubicBezTo>
                      <a:pt x="110" y="152"/>
                      <a:pt x="114" y="163"/>
                      <a:pt x="120" y="176"/>
                    </a:cubicBezTo>
                    <a:cubicBezTo>
                      <a:pt x="114" y="178"/>
                      <a:pt x="114" y="178"/>
                      <a:pt x="114" y="178"/>
                    </a:cubicBezTo>
                    <a:cubicBezTo>
                      <a:pt x="61" y="157"/>
                      <a:pt x="61" y="157"/>
                      <a:pt x="61" y="157"/>
                    </a:cubicBezTo>
                    <a:cubicBezTo>
                      <a:pt x="61" y="156"/>
                      <a:pt x="60" y="156"/>
                      <a:pt x="60" y="156"/>
                    </a:cubicBezTo>
                    <a:cubicBezTo>
                      <a:pt x="59" y="156"/>
                      <a:pt x="58" y="156"/>
                      <a:pt x="58" y="156"/>
                    </a:cubicBezTo>
                    <a:cubicBezTo>
                      <a:pt x="9" y="175"/>
                      <a:pt x="9" y="175"/>
                      <a:pt x="9" y="175"/>
                    </a:cubicBezTo>
                    <a:cubicBezTo>
                      <a:pt x="9" y="34"/>
                      <a:pt x="9" y="34"/>
                      <a:pt x="9" y="34"/>
                    </a:cubicBezTo>
                    <a:cubicBezTo>
                      <a:pt x="60" y="15"/>
                      <a:pt x="60" y="15"/>
                      <a:pt x="60" y="15"/>
                    </a:cubicBezTo>
                    <a:cubicBezTo>
                      <a:pt x="112" y="37"/>
                      <a:pt x="112" y="37"/>
                      <a:pt x="112" y="37"/>
                    </a:cubicBezTo>
                    <a:cubicBezTo>
                      <a:pt x="113" y="37"/>
                      <a:pt x="115" y="37"/>
                      <a:pt x="116" y="37"/>
                    </a:cubicBezTo>
                    <a:cubicBezTo>
                      <a:pt x="174" y="10"/>
                      <a:pt x="174" y="10"/>
                      <a:pt x="174" y="10"/>
                    </a:cubicBezTo>
                    <a:cubicBezTo>
                      <a:pt x="216" y="20"/>
                      <a:pt x="216" y="20"/>
                      <a:pt x="216" y="20"/>
                    </a:cubicBezTo>
                    <a:lnTo>
                      <a:pt x="216" y="16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350" name="Freeform 533"/>
              <p:cNvSpPr>
                <a:spLocks/>
              </p:cNvSpPr>
              <p:nvPr/>
            </p:nvSpPr>
            <p:spPr bwMode="auto">
              <a:xfrm>
                <a:off x="11417301" y="3232150"/>
                <a:ext cx="22225" cy="260350"/>
              </a:xfrm>
              <a:custGeom>
                <a:avLst/>
                <a:gdLst>
                  <a:gd name="T0" fmla="*/ 5 w 9"/>
                  <a:gd name="T1" fmla="*/ 0 h 105"/>
                  <a:gd name="T2" fmla="*/ 0 w 9"/>
                  <a:gd name="T3" fmla="*/ 5 h 105"/>
                  <a:gd name="T4" fmla="*/ 0 w 9"/>
                  <a:gd name="T5" fmla="*/ 101 h 105"/>
                  <a:gd name="T6" fmla="*/ 5 w 9"/>
                  <a:gd name="T7" fmla="*/ 105 h 105"/>
                  <a:gd name="T8" fmla="*/ 9 w 9"/>
                  <a:gd name="T9" fmla="*/ 101 h 105"/>
                  <a:gd name="T10" fmla="*/ 9 w 9"/>
                  <a:gd name="T11" fmla="*/ 5 h 105"/>
                  <a:gd name="T12" fmla="*/ 5 w 9"/>
                  <a:gd name="T13" fmla="*/ 0 h 105"/>
                </a:gdLst>
                <a:ahLst/>
                <a:cxnLst>
                  <a:cxn ang="0">
                    <a:pos x="T0" y="T1"/>
                  </a:cxn>
                  <a:cxn ang="0">
                    <a:pos x="T2" y="T3"/>
                  </a:cxn>
                  <a:cxn ang="0">
                    <a:pos x="T4" y="T5"/>
                  </a:cxn>
                  <a:cxn ang="0">
                    <a:pos x="T6" y="T7"/>
                  </a:cxn>
                  <a:cxn ang="0">
                    <a:pos x="T8" y="T9"/>
                  </a:cxn>
                  <a:cxn ang="0">
                    <a:pos x="T10" y="T11"/>
                  </a:cxn>
                  <a:cxn ang="0">
                    <a:pos x="T12" y="T13"/>
                  </a:cxn>
                </a:cxnLst>
                <a:rect l="0" t="0" r="r" b="b"/>
                <a:pathLst>
                  <a:path w="9" h="105">
                    <a:moveTo>
                      <a:pt x="5" y="0"/>
                    </a:moveTo>
                    <a:cubicBezTo>
                      <a:pt x="2" y="0"/>
                      <a:pt x="0" y="2"/>
                      <a:pt x="0" y="5"/>
                    </a:cubicBezTo>
                    <a:cubicBezTo>
                      <a:pt x="0" y="101"/>
                      <a:pt x="0" y="101"/>
                      <a:pt x="0" y="101"/>
                    </a:cubicBezTo>
                    <a:cubicBezTo>
                      <a:pt x="0" y="103"/>
                      <a:pt x="2" y="105"/>
                      <a:pt x="5" y="105"/>
                    </a:cubicBezTo>
                    <a:cubicBezTo>
                      <a:pt x="7" y="105"/>
                      <a:pt x="9" y="103"/>
                      <a:pt x="9" y="101"/>
                    </a:cubicBezTo>
                    <a:cubicBezTo>
                      <a:pt x="9" y="5"/>
                      <a:pt x="9" y="5"/>
                      <a:pt x="9" y="5"/>
                    </a:cubicBezTo>
                    <a:cubicBezTo>
                      <a:pt x="9" y="2"/>
                      <a:pt x="7" y="0"/>
                      <a:pt x="5"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351" name="Freeform 534"/>
              <p:cNvSpPr>
                <a:spLocks/>
              </p:cNvSpPr>
              <p:nvPr/>
            </p:nvSpPr>
            <p:spPr bwMode="auto">
              <a:xfrm>
                <a:off x="11550651" y="3276600"/>
                <a:ext cx="25400" cy="115887"/>
              </a:xfrm>
              <a:custGeom>
                <a:avLst/>
                <a:gdLst>
                  <a:gd name="T0" fmla="*/ 5 w 10"/>
                  <a:gd name="T1" fmla="*/ 0 h 47"/>
                  <a:gd name="T2" fmla="*/ 0 w 10"/>
                  <a:gd name="T3" fmla="*/ 5 h 47"/>
                  <a:gd name="T4" fmla="*/ 0 w 10"/>
                  <a:gd name="T5" fmla="*/ 42 h 47"/>
                  <a:gd name="T6" fmla="*/ 5 w 10"/>
                  <a:gd name="T7" fmla="*/ 47 h 47"/>
                  <a:gd name="T8" fmla="*/ 10 w 10"/>
                  <a:gd name="T9" fmla="*/ 42 h 47"/>
                  <a:gd name="T10" fmla="*/ 10 w 10"/>
                  <a:gd name="T11" fmla="*/ 5 h 47"/>
                  <a:gd name="T12" fmla="*/ 5 w 10"/>
                  <a:gd name="T13" fmla="*/ 0 h 47"/>
                </a:gdLst>
                <a:ahLst/>
                <a:cxnLst>
                  <a:cxn ang="0">
                    <a:pos x="T0" y="T1"/>
                  </a:cxn>
                  <a:cxn ang="0">
                    <a:pos x="T2" y="T3"/>
                  </a:cxn>
                  <a:cxn ang="0">
                    <a:pos x="T4" y="T5"/>
                  </a:cxn>
                  <a:cxn ang="0">
                    <a:pos x="T6" y="T7"/>
                  </a:cxn>
                  <a:cxn ang="0">
                    <a:pos x="T8" y="T9"/>
                  </a:cxn>
                  <a:cxn ang="0">
                    <a:pos x="T10" y="T11"/>
                  </a:cxn>
                  <a:cxn ang="0">
                    <a:pos x="T12" y="T13"/>
                  </a:cxn>
                </a:cxnLst>
                <a:rect l="0" t="0" r="r" b="b"/>
                <a:pathLst>
                  <a:path w="10" h="47">
                    <a:moveTo>
                      <a:pt x="5" y="0"/>
                    </a:moveTo>
                    <a:cubicBezTo>
                      <a:pt x="2" y="0"/>
                      <a:pt x="0" y="3"/>
                      <a:pt x="0" y="5"/>
                    </a:cubicBezTo>
                    <a:cubicBezTo>
                      <a:pt x="0" y="42"/>
                      <a:pt x="0" y="42"/>
                      <a:pt x="0" y="42"/>
                    </a:cubicBezTo>
                    <a:cubicBezTo>
                      <a:pt x="0" y="44"/>
                      <a:pt x="2" y="47"/>
                      <a:pt x="5" y="47"/>
                    </a:cubicBezTo>
                    <a:cubicBezTo>
                      <a:pt x="8" y="47"/>
                      <a:pt x="10" y="44"/>
                      <a:pt x="10" y="42"/>
                    </a:cubicBezTo>
                    <a:cubicBezTo>
                      <a:pt x="10" y="5"/>
                      <a:pt x="10" y="5"/>
                      <a:pt x="10" y="5"/>
                    </a:cubicBezTo>
                    <a:cubicBezTo>
                      <a:pt x="10" y="3"/>
                      <a:pt x="8" y="0"/>
                      <a:pt x="5"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352" name="Freeform 535"/>
              <p:cNvSpPr>
                <a:spLocks/>
              </p:cNvSpPr>
              <p:nvPr/>
            </p:nvSpPr>
            <p:spPr bwMode="auto">
              <a:xfrm>
                <a:off x="11699876" y="3214688"/>
                <a:ext cx="25400" cy="142875"/>
              </a:xfrm>
              <a:custGeom>
                <a:avLst/>
                <a:gdLst>
                  <a:gd name="T0" fmla="*/ 0 w 10"/>
                  <a:gd name="T1" fmla="*/ 5 h 58"/>
                  <a:gd name="T2" fmla="*/ 0 w 10"/>
                  <a:gd name="T3" fmla="*/ 53 h 58"/>
                  <a:gd name="T4" fmla="*/ 5 w 10"/>
                  <a:gd name="T5" fmla="*/ 58 h 58"/>
                  <a:gd name="T6" fmla="*/ 10 w 10"/>
                  <a:gd name="T7" fmla="*/ 53 h 58"/>
                  <a:gd name="T8" fmla="*/ 10 w 10"/>
                  <a:gd name="T9" fmla="*/ 5 h 58"/>
                  <a:gd name="T10" fmla="*/ 5 w 10"/>
                  <a:gd name="T11" fmla="*/ 0 h 58"/>
                  <a:gd name="T12" fmla="*/ 0 w 10"/>
                  <a:gd name="T13" fmla="*/ 5 h 58"/>
                </a:gdLst>
                <a:ahLst/>
                <a:cxnLst>
                  <a:cxn ang="0">
                    <a:pos x="T0" y="T1"/>
                  </a:cxn>
                  <a:cxn ang="0">
                    <a:pos x="T2" y="T3"/>
                  </a:cxn>
                  <a:cxn ang="0">
                    <a:pos x="T4" y="T5"/>
                  </a:cxn>
                  <a:cxn ang="0">
                    <a:pos x="T6" y="T7"/>
                  </a:cxn>
                  <a:cxn ang="0">
                    <a:pos x="T8" y="T9"/>
                  </a:cxn>
                  <a:cxn ang="0">
                    <a:pos x="T10" y="T11"/>
                  </a:cxn>
                  <a:cxn ang="0">
                    <a:pos x="T12" y="T13"/>
                  </a:cxn>
                </a:cxnLst>
                <a:rect l="0" t="0" r="r" b="b"/>
                <a:pathLst>
                  <a:path w="10" h="58">
                    <a:moveTo>
                      <a:pt x="0" y="5"/>
                    </a:moveTo>
                    <a:cubicBezTo>
                      <a:pt x="0" y="53"/>
                      <a:pt x="0" y="53"/>
                      <a:pt x="0" y="53"/>
                    </a:cubicBezTo>
                    <a:cubicBezTo>
                      <a:pt x="0" y="56"/>
                      <a:pt x="2" y="58"/>
                      <a:pt x="5" y="58"/>
                    </a:cubicBezTo>
                    <a:cubicBezTo>
                      <a:pt x="8" y="58"/>
                      <a:pt x="10" y="56"/>
                      <a:pt x="10" y="53"/>
                    </a:cubicBezTo>
                    <a:cubicBezTo>
                      <a:pt x="10" y="5"/>
                      <a:pt x="10" y="5"/>
                      <a:pt x="10" y="5"/>
                    </a:cubicBezTo>
                    <a:cubicBezTo>
                      <a:pt x="10" y="2"/>
                      <a:pt x="8" y="0"/>
                      <a:pt x="5" y="0"/>
                    </a:cubicBezTo>
                    <a:cubicBezTo>
                      <a:pt x="2" y="0"/>
                      <a:pt x="0" y="2"/>
                      <a:pt x="0" y="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353" name="Freeform 536"/>
              <p:cNvSpPr>
                <a:spLocks noEditPoints="1"/>
              </p:cNvSpPr>
              <p:nvPr/>
            </p:nvSpPr>
            <p:spPr bwMode="auto">
              <a:xfrm>
                <a:off x="11628438" y="3444875"/>
                <a:ext cx="85725" cy="88900"/>
              </a:xfrm>
              <a:custGeom>
                <a:avLst/>
                <a:gdLst>
                  <a:gd name="T0" fmla="*/ 18 w 35"/>
                  <a:gd name="T1" fmla="*/ 0 h 36"/>
                  <a:gd name="T2" fmla="*/ 0 w 35"/>
                  <a:gd name="T3" fmla="*/ 18 h 36"/>
                  <a:gd name="T4" fmla="*/ 18 w 35"/>
                  <a:gd name="T5" fmla="*/ 36 h 36"/>
                  <a:gd name="T6" fmla="*/ 35 w 35"/>
                  <a:gd name="T7" fmla="*/ 18 h 36"/>
                  <a:gd name="T8" fmla="*/ 18 w 35"/>
                  <a:gd name="T9" fmla="*/ 0 h 36"/>
                  <a:gd name="T10" fmla="*/ 18 w 35"/>
                  <a:gd name="T11" fmla="*/ 27 h 36"/>
                  <a:gd name="T12" fmla="*/ 9 w 35"/>
                  <a:gd name="T13" fmla="*/ 18 h 36"/>
                  <a:gd name="T14" fmla="*/ 18 w 35"/>
                  <a:gd name="T15" fmla="*/ 10 h 36"/>
                  <a:gd name="T16" fmla="*/ 26 w 35"/>
                  <a:gd name="T17" fmla="*/ 18 h 36"/>
                  <a:gd name="T18" fmla="*/ 18 w 35"/>
                  <a:gd name="T19" fmla="*/ 27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36">
                    <a:moveTo>
                      <a:pt x="18" y="0"/>
                    </a:moveTo>
                    <a:cubicBezTo>
                      <a:pt x="8" y="0"/>
                      <a:pt x="0" y="8"/>
                      <a:pt x="0" y="18"/>
                    </a:cubicBezTo>
                    <a:cubicBezTo>
                      <a:pt x="0" y="28"/>
                      <a:pt x="8" y="36"/>
                      <a:pt x="18" y="36"/>
                    </a:cubicBezTo>
                    <a:cubicBezTo>
                      <a:pt x="27" y="36"/>
                      <a:pt x="35" y="28"/>
                      <a:pt x="35" y="18"/>
                    </a:cubicBezTo>
                    <a:cubicBezTo>
                      <a:pt x="35" y="8"/>
                      <a:pt x="27" y="0"/>
                      <a:pt x="18" y="0"/>
                    </a:cubicBezTo>
                    <a:close/>
                    <a:moveTo>
                      <a:pt x="18" y="27"/>
                    </a:moveTo>
                    <a:cubicBezTo>
                      <a:pt x="13" y="27"/>
                      <a:pt x="9" y="23"/>
                      <a:pt x="9" y="18"/>
                    </a:cubicBezTo>
                    <a:cubicBezTo>
                      <a:pt x="9" y="14"/>
                      <a:pt x="13" y="10"/>
                      <a:pt x="18" y="10"/>
                    </a:cubicBezTo>
                    <a:cubicBezTo>
                      <a:pt x="22" y="10"/>
                      <a:pt x="26" y="14"/>
                      <a:pt x="26" y="18"/>
                    </a:cubicBezTo>
                    <a:cubicBezTo>
                      <a:pt x="26" y="23"/>
                      <a:pt x="22" y="27"/>
                      <a:pt x="18" y="2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grpSp>
        <p:nvGrpSpPr>
          <p:cNvPr id="354" name="Group 353"/>
          <p:cNvGrpSpPr/>
          <p:nvPr/>
        </p:nvGrpSpPr>
        <p:grpSpPr>
          <a:xfrm>
            <a:off x="2155491" y="3020347"/>
            <a:ext cx="353268" cy="353268"/>
            <a:chOff x="7212975" y="1374657"/>
            <a:chExt cx="353268" cy="353268"/>
          </a:xfrm>
        </p:grpSpPr>
        <p:sp>
          <p:nvSpPr>
            <p:cNvPr id="355" name="Oval 354"/>
            <p:cNvSpPr/>
            <p:nvPr/>
          </p:nvSpPr>
          <p:spPr>
            <a:xfrm>
              <a:off x="7212975" y="1374657"/>
              <a:ext cx="353268" cy="353268"/>
            </a:xfrm>
            <a:prstGeom prst="ellipse">
              <a:avLst/>
            </a:prstGeom>
            <a:solidFill>
              <a:srgbClr val="02376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a:p>
          </p:txBody>
        </p:sp>
        <p:grpSp>
          <p:nvGrpSpPr>
            <p:cNvPr id="356" name="Group 355"/>
            <p:cNvGrpSpPr/>
            <p:nvPr/>
          </p:nvGrpSpPr>
          <p:grpSpPr>
            <a:xfrm>
              <a:off x="7263691" y="1449072"/>
              <a:ext cx="251836" cy="266185"/>
              <a:chOff x="11280776" y="3148013"/>
              <a:chExt cx="557213" cy="588962"/>
            </a:xfrm>
            <a:solidFill>
              <a:schemeClr val="bg1"/>
            </a:solidFill>
          </p:grpSpPr>
          <p:sp>
            <p:nvSpPr>
              <p:cNvPr id="357" name="Freeform 532"/>
              <p:cNvSpPr>
                <a:spLocks noEditPoints="1"/>
              </p:cNvSpPr>
              <p:nvPr/>
            </p:nvSpPr>
            <p:spPr bwMode="auto">
              <a:xfrm>
                <a:off x="11280776" y="3148013"/>
                <a:ext cx="557213" cy="588962"/>
              </a:xfrm>
              <a:custGeom>
                <a:avLst/>
                <a:gdLst>
                  <a:gd name="T0" fmla="*/ 222 w 225"/>
                  <a:gd name="T1" fmla="*/ 12 h 238"/>
                  <a:gd name="T2" fmla="*/ 174 w 225"/>
                  <a:gd name="T3" fmla="*/ 1 h 238"/>
                  <a:gd name="T4" fmla="*/ 171 w 225"/>
                  <a:gd name="T5" fmla="*/ 1 h 238"/>
                  <a:gd name="T6" fmla="*/ 114 w 225"/>
                  <a:gd name="T7" fmla="*/ 27 h 238"/>
                  <a:gd name="T8" fmla="*/ 61 w 225"/>
                  <a:gd name="T9" fmla="*/ 5 h 238"/>
                  <a:gd name="T10" fmla="*/ 58 w 225"/>
                  <a:gd name="T11" fmla="*/ 5 h 238"/>
                  <a:gd name="T12" fmla="*/ 3 w 225"/>
                  <a:gd name="T13" fmla="*/ 27 h 238"/>
                  <a:gd name="T14" fmla="*/ 0 w 225"/>
                  <a:gd name="T15" fmla="*/ 31 h 238"/>
                  <a:gd name="T16" fmla="*/ 0 w 225"/>
                  <a:gd name="T17" fmla="*/ 182 h 238"/>
                  <a:gd name="T18" fmla="*/ 2 w 225"/>
                  <a:gd name="T19" fmla="*/ 186 h 238"/>
                  <a:gd name="T20" fmla="*/ 6 w 225"/>
                  <a:gd name="T21" fmla="*/ 187 h 238"/>
                  <a:gd name="T22" fmla="*/ 60 w 225"/>
                  <a:gd name="T23" fmla="*/ 166 h 238"/>
                  <a:gd name="T24" fmla="*/ 112 w 225"/>
                  <a:gd name="T25" fmla="*/ 188 h 238"/>
                  <a:gd name="T26" fmla="*/ 114 w 225"/>
                  <a:gd name="T27" fmla="*/ 188 h 238"/>
                  <a:gd name="T28" fmla="*/ 116 w 225"/>
                  <a:gd name="T29" fmla="*/ 188 h 238"/>
                  <a:gd name="T30" fmla="*/ 124 w 225"/>
                  <a:gd name="T31" fmla="*/ 184 h 238"/>
                  <a:gd name="T32" fmla="*/ 154 w 225"/>
                  <a:gd name="T33" fmla="*/ 236 h 238"/>
                  <a:gd name="T34" fmla="*/ 158 w 225"/>
                  <a:gd name="T35" fmla="*/ 238 h 238"/>
                  <a:gd name="T36" fmla="*/ 162 w 225"/>
                  <a:gd name="T37" fmla="*/ 236 h 238"/>
                  <a:gd name="T38" fmla="*/ 199 w 225"/>
                  <a:gd name="T39" fmla="*/ 168 h 238"/>
                  <a:gd name="T40" fmla="*/ 220 w 225"/>
                  <a:gd name="T41" fmla="*/ 172 h 238"/>
                  <a:gd name="T42" fmla="*/ 224 w 225"/>
                  <a:gd name="T43" fmla="*/ 171 h 238"/>
                  <a:gd name="T44" fmla="*/ 225 w 225"/>
                  <a:gd name="T45" fmla="*/ 168 h 238"/>
                  <a:gd name="T46" fmla="*/ 225 w 225"/>
                  <a:gd name="T47" fmla="*/ 16 h 238"/>
                  <a:gd name="T48" fmla="*/ 222 w 225"/>
                  <a:gd name="T49" fmla="*/ 12 h 238"/>
                  <a:gd name="T50" fmla="*/ 158 w 225"/>
                  <a:gd name="T51" fmla="*/ 224 h 238"/>
                  <a:gd name="T52" fmla="*/ 119 w 225"/>
                  <a:gd name="T53" fmla="*/ 144 h 238"/>
                  <a:gd name="T54" fmla="*/ 158 w 225"/>
                  <a:gd name="T55" fmla="*/ 106 h 238"/>
                  <a:gd name="T56" fmla="*/ 196 w 225"/>
                  <a:gd name="T57" fmla="*/ 144 h 238"/>
                  <a:gd name="T58" fmla="*/ 158 w 225"/>
                  <a:gd name="T59" fmla="*/ 224 h 238"/>
                  <a:gd name="T60" fmla="*/ 216 w 225"/>
                  <a:gd name="T61" fmla="*/ 162 h 238"/>
                  <a:gd name="T62" fmla="*/ 202 w 225"/>
                  <a:gd name="T63" fmla="*/ 159 h 238"/>
                  <a:gd name="T64" fmla="*/ 205 w 225"/>
                  <a:gd name="T65" fmla="*/ 144 h 238"/>
                  <a:gd name="T66" fmla="*/ 158 w 225"/>
                  <a:gd name="T67" fmla="*/ 96 h 238"/>
                  <a:gd name="T68" fmla="*/ 110 w 225"/>
                  <a:gd name="T69" fmla="*/ 144 h 238"/>
                  <a:gd name="T70" fmla="*/ 120 w 225"/>
                  <a:gd name="T71" fmla="*/ 176 h 238"/>
                  <a:gd name="T72" fmla="*/ 114 w 225"/>
                  <a:gd name="T73" fmla="*/ 178 h 238"/>
                  <a:gd name="T74" fmla="*/ 61 w 225"/>
                  <a:gd name="T75" fmla="*/ 157 h 238"/>
                  <a:gd name="T76" fmla="*/ 60 w 225"/>
                  <a:gd name="T77" fmla="*/ 156 h 238"/>
                  <a:gd name="T78" fmla="*/ 58 w 225"/>
                  <a:gd name="T79" fmla="*/ 156 h 238"/>
                  <a:gd name="T80" fmla="*/ 9 w 225"/>
                  <a:gd name="T81" fmla="*/ 175 h 238"/>
                  <a:gd name="T82" fmla="*/ 9 w 225"/>
                  <a:gd name="T83" fmla="*/ 34 h 238"/>
                  <a:gd name="T84" fmla="*/ 60 w 225"/>
                  <a:gd name="T85" fmla="*/ 15 h 238"/>
                  <a:gd name="T86" fmla="*/ 112 w 225"/>
                  <a:gd name="T87" fmla="*/ 37 h 238"/>
                  <a:gd name="T88" fmla="*/ 116 w 225"/>
                  <a:gd name="T89" fmla="*/ 37 h 238"/>
                  <a:gd name="T90" fmla="*/ 174 w 225"/>
                  <a:gd name="T91" fmla="*/ 10 h 238"/>
                  <a:gd name="T92" fmla="*/ 216 w 225"/>
                  <a:gd name="T93" fmla="*/ 20 h 238"/>
                  <a:gd name="T94" fmla="*/ 216 w 225"/>
                  <a:gd name="T95" fmla="*/ 162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5" h="238">
                    <a:moveTo>
                      <a:pt x="222" y="12"/>
                    </a:moveTo>
                    <a:cubicBezTo>
                      <a:pt x="174" y="1"/>
                      <a:pt x="174" y="1"/>
                      <a:pt x="174" y="1"/>
                    </a:cubicBezTo>
                    <a:cubicBezTo>
                      <a:pt x="173" y="0"/>
                      <a:pt x="172" y="0"/>
                      <a:pt x="171" y="1"/>
                    </a:cubicBezTo>
                    <a:cubicBezTo>
                      <a:pt x="114" y="27"/>
                      <a:pt x="114" y="27"/>
                      <a:pt x="114" y="27"/>
                    </a:cubicBezTo>
                    <a:cubicBezTo>
                      <a:pt x="61" y="5"/>
                      <a:pt x="61" y="5"/>
                      <a:pt x="61" y="5"/>
                    </a:cubicBezTo>
                    <a:cubicBezTo>
                      <a:pt x="60" y="5"/>
                      <a:pt x="59" y="5"/>
                      <a:pt x="58" y="5"/>
                    </a:cubicBezTo>
                    <a:cubicBezTo>
                      <a:pt x="3" y="27"/>
                      <a:pt x="3" y="27"/>
                      <a:pt x="3" y="27"/>
                    </a:cubicBezTo>
                    <a:cubicBezTo>
                      <a:pt x="1" y="27"/>
                      <a:pt x="0" y="29"/>
                      <a:pt x="0" y="31"/>
                    </a:cubicBezTo>
                    <a:cubicBezTo>
                      <a:pt x="0" y="182"/>
                      <a:pt x="0" y="182"/>
                      <a:pt x="0" y="182"/>
                    </a:cubicBezTo>
                    <a:cubicBezTo>
                      <a:pt x="0" y="184"/>
                      <a:pt x="0" y="185"/>
                      <a:pt x="2" y="186"/>
                    </a:cubicBezTo>
                    <a:cubicBezTo>
                      <a:pt x="3" y="187"/>
                      <a:pt x="5" y="187"/>
                      <a:pt x="6" y="187"/>
                    </a:cubicBezTo>
                    <a:cubicBezTo>
                      <a:pt x="60" y="166"/>
                      <a:pt x="60" y="166"/>
                      <a:pt x="60" y="166"/>
                    </a:cubicBezTo>
                    <a:cubicBezTo>
                      <a:pt x="112" y="188"/>
                      <a:pt x="112" y="188"/>
                      <a:pt x="112" y="188"/>
                    </a:cubicBezTo>
                    <a:cubicBezTo>
                      <a:pt x="113" y="188"/>
                      <a:pt x="113" y="188"/>
                      <a:pt x="114" y="188"/>
                    </a:cubicBezTo>
                    <a:cubicBezTo>
                      <a:pt x="115" y="188"/>
                      <a:pt x="115" y="188"/>
                      <a:pt x="116" y="188"/>
                    </a:cubicBezTo>
                    <a:cubicBezTo>
                      <a:pt x="124" y="184"/>
                      <a:pt x="124" y="184"/>
                      <a:pt x="124" y="184"/>
                    </a:cubicBezTo>
                    <a:cubicBezTo>
                      <a:pt x="136" y="208"/>
                      <a:pt x="151" y="232"/>
                      <a:pt x="154" y="236"/>
                    </a:cubicBezTo>
                    <a:cubicBezTo>
                      <a:pt x="154" y="237"/>
                      <a:pt x="156" y="238"/>
                      <a:pt x="158" y="238"/>
                    </a:cubicBezTo>
                    <a:cubicBezTo>
                      <a:pt x="159" y="238"/>
                      <a:pt x="161" y="237"/>
                      <a:pt x="162" y="236"/>
                    </a:cubicBezTo>
                    <a:cubicBezTo>
                      <a:pt x="165" y="231"/>
                      <a:pt x="188" y="195"/>
                      <a:pt x="199" y="168"/>
                    </a:cubicBezTo>
                    <a:cubicBezTo>
                      <a:pt x="220" y="172"/>
                      <a:pt x="220" y="172"/>
                      <a:pt x="220" y="172"/>
                    </a:cubicBezTo>
                    <a:cubicBezTo>
                      <a:pt x="221" y="173"/>
                      <a:pt x="222" y="172"/>
                      <a:pt x="224" y="171"/>
                    </a:cubicBezTo>
                    <a:cubicBezTo>
                      <a:pt x="225" y="170"/>
                      <a:pt x="225" y="169"/>
                      <a:pt x="225" y="168"/>
                    </a:cubicBezTo>
                    <a:cubicBezTo>
                      <a:pt x="225" y="16"/>
                      <a:pt x="225" y="16"/>
                      <a:pt x="225" y="16"/>
                    </a:cubicBezTo>
                    <a:cubicBezTo>
                      <a:pt x="225" y="14"/>
                      <a:pt x="224" y="12"/>
                      <a:pt x="222" y="12"/>
                    </a:cubicBezTo>
                    <a:close/>
                    <a:moveTo>
                      <a:pt x="158" y="224"/>
                    </a:moveTo>
                    <a:cubicBezTo>
                      <a:pt x="144" y="203"/>
                      <a:pt x="119" y="160"/>
                      <a:pt x="119" y="144"/>
                    </a:cubicBezTo>
                    <a:cubicBezTo>
                      <a:pt x="119" y="123"/>
                      <a:pt x="136" y="106"/>
                      <a:pt x="158" y="106"/>
                    </a:cubicBezTo>
                    <a:cubicBezTo>
                      <a:pt x="179" y="106"/>
                      <a:pt x="196" y="123"/>
                      <a:pt x="196" y="144"/>
                    </a:cubicBezTo>
                    <a:cubicBezTo>
                      <a:pt x="196" y="160"/>
                      <a:pt x="171" y="203"/>
                      <a:pt x="158" y="224"/>
                    </a:cubicBezTo>
                    <a:close/>
                    <a:moveTo>
                      <a:pt x="216" y="162"/>
                    </a:moveTo>
                    <a:cubicBezTo>
                      <a:pt x="202" y="159"/>
                      <a:pt x="202" y="159"/>
                      <a:pt x="202" y="159"/>
                    </a:cubicBezTo>
                    <a:cubicBezTo>
                      <a:pt x="204" y="153"/>
                      <a:pt x="205" y="148"/>
                      <a:pt x="205" y="144"/>
                    </a:cubicBezTo>
                    <a:cubicBezTo>
                      <a:pt x="205" y="117"/>
                      <a:pt x="184" y="96"/>
                      <a:pt x="158" y="96"/>
                    </a:cubicBezTo>
                    <a:cubicBezTo>
                      <a:pt x="131" y="96"/>
                      <a:pt x="110" y="117"/>
                      <a:pt x="110" y="144"/>
                    </a:cubicBezTo>
                    <a:cubicBezTo>
                      <a:pt x="110" y="152"/>
                      <a:pt x="114" y="163"/>
                      <a:pt x="120" y="176"/>
                    </a:cubicBezTo>
                    <a:cubicBezTo>
                      <a:pt x="114" y="178"/>
                      <a:pt x="114" y="178"/>
                      <a:pt x="114" y="178"/>
                    </a:cubicBezTo>
                    <a:cubicBezTo>
                      <a:pt x="61" y="157"/>
                      <a:pt x="61" y="157"/>
                      <a:pt x="61" y="157"/>
                    </a:cubicBezTo>
                    <a:cubicBezTo>
                      <a:pt x="61" y="156"/>
                      <a:pt x="60" y="156"/>
                      <a:pt x="60" y="156"/>
                    </a:cubicBezTo>
                    <a:cubicBezTo>
                      <a:pt x="59" y="156"/>
                      <a:pt x="58" y="156"/>
                      <a:pt x="58" y="156"/>
                    </a:cubicBezTo>
                    <a:cubicBezTo>
                      <a:pt x="9" y="175"/>
                      <a:pt x="9" y="175"/>
                      <a:pt x="9" y="175"/>
                    </a:cubicBezTo>
                    <a:cubicBezTo>
                      <a:pt x="9" y="34"/>
                      <a:pt x="9" y="34"/>
                      <a:pt x="9" y="34"/>
                    </a:cubicBezTo>
                    <a:cubicBezTo>
                      <a:pt x="60" y="15"/>
                      <a:pt x="60" y="15"/>
                      <a:pt x="60" y="15"/>
                    </a:cubicBezTo>
                    <a:cubicBezTo>
                      <a:pt x="112" y="37"/>
                      <a:pt x="112" y="37"/>
                      <a:pt x="112" y="37"/>
                    </a:cubicBezTo>
                    <a:cubicBezTo>
                      <a:pt x="113" y="37"/>
                      <a:pt x="115" y="37"/>
                      <a:pt x="116" y="37"/>
                    </a:cubicBezTo>
                    <a:cubicBezTo>
                      <a:pt x="174" y="10"/>
                      <a:pt x="174" y="10"/>
                      <a:pt x="174" y="10"/>
                    </a:cubicBezTo>
                    <a:cubicBezTo>
                      <a:pt x="216" y="20"/>
                      <a:pt x="216" y="20"/>
                      <a:pt x="216" y="20"/>
                    </a:cubicBezTo>
                    <a:lnTo>
                      <a:pt x="216" y="16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358" name="Freeform 533"/>
              <p:cNvSpPr>
                <a:spLocks/>
              </p:cNvSpPr>
              <p:nvPr/>
            </p:nvSpPr>
            <p:spPr bwMode="auto">
              <a:xfrm>
                <a:off x="11417301" y="3232150"/>
                <a:ext cx="22225" cy="260350"/>
              </a:xfrm>
              <a:custGeom>
                <a:avLst/>
                <a:gdLst>
                  <a:gd name="T0" fmla="*/ 5 w 9"/>
                  <a:gd name="T1" fmla="*/ 0 h 105"/>
                  <a:gd name="T2" fmla="*/ 0 w 9"/>
                  <a:gd name="T3" fmla="*/ 5 h 105"/>
                  <a:gd name="T4" fmla="*/ 0 w 9"/>
                  <a:gd name="T5" fmla="*/ 101 h 105"/>
                  <a:gd name="T6" fmla="*/ 5 w 9"/>
                  <a:gd name="T7" fmla="*/ 105 h 105"/>
                  <a:gd name="T8" fmla="*/ 9 w 9"/>
                  <a:gd name="T9" fmla="*/ 101 h 105"/>
                  <a:gd name="T10" fmla="*/ 9 w 9"/>
                  <a:gd name="T11" fmla="*/ 5 h 105"/>
                  <a:gd name="T12" fmla="*/ 5 w 9"/>
                  <a:gd name="T13" fmla="*/ 0 h 105"/>
                </a:gdLst>
                <a:ahLst/>
                <a:cxnLst>
                  <a:cxn ang="0">
                    <a:pos x="T0" y="T1"/>
                  </a:cxn>
                  <a:cxn ang="0">
                    <a:pos x="T2" y="T3"/>
                  </a:cxn>
                  <a:cxn ang="0">
                    <a:pos x="T4" y="T5"/>
                  </a:cxn>
                  <a:cxn ang="0">
                    <a:pos x="T6" y="T7"/>
                  </a:cxn>
                  <a:cxn ang="0">
                    <a:pos x="T8" y="T9"/>
                  </a:cxn>
                  <a:cxn ang="0">
                    <a:pos x="T10" y="T11"/>
                  </a:cxn>
                  <a:cxn ang="0">
                    <a:pos x="T12" y="T13"/>
                  </a:cxn>
                </a:cxnLst>
                <a:rect l="0" t="0" r="r" b="b"/>
                <a:pathLst>
                  <a:path w="9" h="105">
                    <a:moveTo>
                      <a:pt x="5" y="0"/>
                    </a:moveTo>
                    <a:cubicBezTo>
                      <a:pt x="2" y="0"/>
                      <a:pt x="0" y="2"/>
                      <a:pt x="0" y="5"/>
                    </a:cubicBezTo>
                    <a:cubicBezTo>
                      <a:pt x="0" y="101"/>
                      <a:pt x="0" y="101"/>
                      <a:pt x="0" y="101"/>
                    </a:cubicBezTo>
                    <a:cubicBezTo>
                      <a:pt x="0" y="103"/>
                      <a:pt x="2" y="105"/>
                      <a:pt x="5" y="105"/>
                    </a:cubicBezTo>
                    <a:cubicBezTo>
                      <a:pt x="7" y="105"/>
                      <a:pt x="9" y="103"/>
                      <a:pt x="9" y="101"/>
                    </a:cubicBezTo>
                    <a:cubicBezTo>
                      <a:pt x="9" y="5"/>
                      <a:pt x="9" y="5"/>
                      <a:pt x="9" y="5"/>
                    </a:cubicBezTo>
                    <a:cubicBezTo>
                      <a:pt x="9" y="2"/>
                      <a:pt x="7" y="0"/>
                      <a:pt x="5"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359" name="Freeform 534"/>
              <p:cNvSpPr>
                <a:spLocks/>
              </p:cNvSpPr>
              <p:nvPr/>
            </p:nvSpPr>
            <p:spPr bwMode="auto">
              <a:xfrm>
                <a:off x="11550651" y="3276600"/>
                <a:ext cx="25400" cy="115887"/>
              </a:xfrm>
              <a:custGeom>
                <a:avLst/>
                <a:gdLst>
                  <a:gd name="T0" fmla="*/ 5 w 10"/>
                  <a:gd name="T1" fmla="*/ 0 h 47"/>
                  <a:gd name="T2" fmla="*/ 0 w 10"/>
                  <a:gd name="T3" fmla="*/ 5 h 47"/>
                  <a:gd name="T4" fmla="*/ 0 w 10"/>
                  <a:gd name="T5" fmla="*/ 42 h 47"/>
                  <a:gd name="T6" fmla="*/ 5 w 10"/>
                  <a:gd name="T7" fmla="*/ 47 h 47"/>
                  <a:gd name="T8" fmla="*/ 10 w 10"/>
                  <a:gd name="T9" fmla="*/ 42 h 47"/>
                  <a:gd name="T10" fmla="*/ 10 w 10"/>
                  <a:gd name="T11" fmla="*/ 5 h 47"/>
                  <a:gd name="T12" fmla="*/ 5 w 10"/>
                  <a:gd name="T13" fmla="*/ 0 h 47"/>
                </a:gdLst>
                <a:ahLst/>
                <a:cxnLst>
                  <a:cxn ang="0">
                    <a:pos x="T0" y="T1"/>
                  </a:cxn>
                  <a:cxn ang="0">
                    <a:pos x="T2" y="T3"/>
                  </a:cxn>
                  <a:cxn ang="0">
                    <a:pos x="T4" y="T5"/>
                  </a:cxn>
                  <a:cxn ang="0">
                    <a:pos x="T6" y="T7"/>
                  </a:cxn>
                  <a:cxn ang="0">
                    <a:pos x="T8" y="T9"/>
                  </a:cxn>
                  <a:cxn ang="0">
                    <a:pos x="T10" y="T11"/>
                  </a:cxn>
                  <a:cxn ang="0">
                    <a:pos x="T12" y="T13"/>
                  </a:cxn>
                </a:cxnLst>
                <a:rect l="0" t="0" r="r" b="b"/>
                <a:pathLst>
                  <a:path w="10" h="47">
                    <a:moveTo>
                      <a:pt x="5" y="0"/>
                    </a:moveTo>
                    <a:cubicBezTo>
                      <a:pt x="2" y="0"/>
                      <a:pt x="0" y="3"/>
                      <a:pt x="0" y="5"/>
                    </a:cubicBezTo>
                    <a:cubicBezTo>
                      <a:pt x="0" y="42"/>
                      <a:pt x="0" y="42"/>
                      <a:pt x="0" y="42"/>
                    </a:cubicBezTo>
                    <a:cubicBezTo>
                      <a:pt x="0" y="44"/>
                      <a:pt x="2" y="47"/>
                      <a:pt x="5" y="47"/>
                    </a:cubicBezTo>
                    <a:cubicBezTo>
                      <a:pt x="8" y="47"/>
                      <a:pt x="10" y="44"/>
                      <a:pt x="10" y="42"/>
                    </a:cubicBezTo>
                    <a:cubicBezTo>
                      <a:pt x="10" y="5"/>
                      <a:pt x="10" y="5"/>
                      <a:pt x="10" y="5"/>
                    </a:cubicBezTo>
                    <a:cubicBezTo>
                      <a:pt x="10" y="3"/>
                      <a:pt x="8" y="0"/>
                      <a:pt x="5"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360" name="Freeform 535"/>
              <p:cNvSpPr>
                <a:spLocks/>
              </p:cNvSpPr>
              <p:nvPr/>
            </p:nvSpPr>
            <p:spPr bwMode="auto">
              <a:xfrm>
                <a:off x="11699876" y="3214688"/>
                <a:ext cx="25400" cy="142875"/>
              </a:xfrm>
              <a:custGeom>
                <a:avLst/>
                <a:gdLst>
                  <a:gd name="T0" fmla="*/ 0 w 10"/>
                  <a:gd name="T1" fmla="*/ 5 h 58"/>
                  <a:gd name="T2" fmla="*/ 0 w 10"/>
                  <a:gd name="T3" fmla="*/ 53 h 58"/>
                  <a:gd name="T4" fmla="*/ 5 w 10"/>
                  <a:gd name="T5" fmla="*/ 58 h 58"/>
                  <a:gd name="T6" fmla="*/ 10 w 10"/>
                  <a:gd name="T7" fmla="*/ 53 h 58"/>
                  <a:gd name="T8" fmla="*/ 10 w 10"/>
                  <a:gd name="T9" fmla="*/ 5 h 58"/>
                  <a:gd name="T10" fmla="*/ 5 w 10"/>
                  <a:gd name="T11" fmla="*/ 0 h 58"/>
                  <a:gd name="T12" fmla="*/ 0 w 10"/>
                  <a:gd name="T13" fmla="*/ 5 h 58"/>
                </a:gdLst>
                <a:ahLst/>
                <a:cxnLst>
                  <a:cxn ang="0">
                    <a:pos x="T0" y="T1"/>
                  </a:cxn>
                  <a:cxn ang="0">
                    <a:pos x="T2" y="T3"/>
                  </a:cxn>
                  <a:cxn ang="0">
                    <a:pos x="T4" y="T5"/>
                  </a:cxn>
                  <a:cxn ang="0">
                    <a:pos x="T6" y="T7"/>
                  </a:cxn>
                  <a:cxn ang="0">
                    <a:pos x="T8" y="T9"/>
                  </a:cxn>
                  <a:cxn ang="0">
                    <a:pos x="T10" y="T11"/>
                  </a:cxn>
                  <a:cxn ang="0">
                    <a:pos x="T12" y="T13"/>
                  </a:cxn>
                </a:cxnLst>
                <a:rect l="0" t="0" r="r" b="b"/>
                <a:pathLst>
                  <a:path w="10" h="58">
                    <a:moveTo>
                      <a:pt x="0" y="5"/>
                    </a:moveTo>
                    <a:cubicBezTo>
                      <a:pt x="0" y="53"/>
                      <a:pt x="0" y="53"/>
                      <a:pt x="0" y="53"/>
                    </a:cubicBezTo>
                    <a:cubicBezTo>
                      <a:pt x="0" y="56"/>
                      <a:pt x="2" y="58"/>
                      <a:pt x="5" y="58"/>
                    </a:cubicBezTo>
                    <a:cubicBezTo>
                      <a:pt x="8" y="58"/>
                      <a:pt x="10" y="56"/>
                      <a:pt x="10" y="53"/>
                    </a:cubicBezTo>
                    <a:cubicBezTo>
                      <a:pt x="10" y="5"/>
                      <a:pt x="10" y="5"/>
                      <a:pt x="10" y="5"/>
                    </a:cubicBezTo>
                    <a:cubicBezTo>
                      <a:pt x="10" y="2"/>
                      <a:pt x="8" y="0"/>
                      <a:pt x="5" y="0"/>
                    </a:cubicBezTo>
                    <a:cubicBezTo>
                      <a:pt x="2" y="0"/>
                      <a:pt x="0" y="2"/>
                      <a:pt x="0" y="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361" name="Freeform 536"/>
              <p:cNvSpPr>
                <a:spLocks noEditPoints="1"/>
              </p:cNvSpPr>
              <p:nvPr/>
            </p:nvSpPr>
            <p:spPr bwMode="auto">
              <a:xfrm>
                <a:off x="11628438" y="3444875"/>
                <a:ext cx="85725" cy="88900"/>
              </a:xfrm>
              <a:custGeom>
                <a:avLst/>
                <a:gdLst>
                  <a:gd name="T0" fmla="*/ 18 w 35"/>
                  <a:gd name="T1" fmla="*/ 0 h 36"/>
                  <a:gd name="T2" fmla="*/ 0 w 35"/>
                  <a:gd name="T3" fmla="*/ 18 h 36"/>
                  <a:gd name="T4" fmla="*/ 18 w 35"/>
                  <a:gd name="T5" fmla="*/ 36 h 36"/>
                  <a:gd name="T6" fmla="*/ 35 w 35"/>
                  <a:gd name="T7" fmla="*/ 18 h 36"/>
                  <a:gd name="T8" fmla="*/ 18 w 35"/>
                  <a:gd name="T9" fmla="*/ 0 h 36"/>
                  <a:gd name="T10" fmla="*/ 18 w 35"/>
                  <a:gd name="T11" fmla="*/ 27 h 36"/>
                  <a:gd name="T12" fmla="*/ 9 w 35"/>
                  <a:gd name="T13" fmla="*/ 18 h 36"/>
                  <a:gd name="T14" fmla="*/ 18 w 35"/>
                  <a:gd name="T15" fmla="*/ 10 h 36"/>
                  <a:gd name="T16" fmla="*/ 26 w 35"/>
                  <a:gd name="T17" fmla="*/ 18 h 36"/>
                  <a:gd name="T18" fmla="*/ 18 w 35"/>
                  <a:gd name="T19" fmla="*/ 27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36">
                    <a:moveTo>
                      <a:pt x="18" y="0"/>
                    </a:moveTo>
                    <a:cubicBezTo>
                      <a:pt x="8" y="0"/>
                      <a:pt x="0" y="8"/>
                      <a:pt x="0" y="18"/>
                    </a:cubicBezTo>
                    <a:cubicBezTo>
                      <a:pt x="0" y="28"/>
                      <a:pt x="8" y="36"/>
                      <a:pt x="18" y="36"/>
                    </a:cubicBezTo>
                    <a:cubicBezTo>
                      <a:pt x="27" y="36"/>
                      <a:pt x="35" y="28"/>
                      <a:pt x="35" y="18"/>
                    </a:cubicBezTo>
                    <a:cubicBezTo>
                      <a:pt x="35" y="8"/>
                      <a:pt x="27" y="0"/>
                      <a:pt x="18" y="0"/>
                    </a:cubicBezTo>
                    <a:close/>
                    <a:moveTo>
                      <a:pt x="18" y="27"/>
                    </a:moveTo>
                    <a:cubicBezTo>
                      <a:pt x="13" y="27"/>
                      <a:pt x="9" y="23"/>
                      <a:pt x="9" y="18"/>
                    </a:cubicBezTo>
                    <a:cubicBezTo>
                      <a:pt x="9" y="14"/>
                      <a:pt x="13" y="10"/>
                      <a:pt x="18" y="10"/>
                    </a:cubicBezTo>
                    <a:cubicBezTo>
                      <a:pt x="22" y="10"/>
                      <a:pt x="26" y="14"/>
                      <a:pt x="26" y="18"/>
                    </a:cubicBezTo>
                    <a:cubicBezTo>
                      <a:pt x="26" y="23"/>
                      <a:pt x="22" y="27"/>
                      <a:pt x="18" y="2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grpSp>
        <p:nvGrpSpPr>
          <p:cNvPr id="362" name="Group 361"/>
          <p:cNvGrpSpPr/>
          <p:nvPr/>
        </p:nvGrpSpPr>
        <p:grpSpPr>
          <a:xfrm>
            <a:off x="2155491" y="3466340"/>
            <a:ext cx="353268" cy="353268"/>
            <a:chOff x="7212975" y="1374657"/>
            <a:chExt cx="353268" cy="353268"/>
          </a:xfrm>
        </p:grpSpPr>
        <p:sp>
          <p:nvSpPr>
            <p:cNvPr id="363" name="Oval 362"/>
            <p:cNvSpPr/>
            <p:nvPr/>
          </p:nvSpPr>
          <p:spPr>
            <a:xfrm>
              <a:off x="7212975" y="1374657"/>
              <a:ext cx="353268" cy="353268"/>
            </a:xfrm>
            <a:prstGeom prst="ellipse">
              <a:avLst/>
            </a:prstGeom>
            <a:solidFill>
              <a:srgbClr val="02376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a:p>
          </p:txBody>
        </p:sp>
        <p:grpSp>
          <p:nvGrpSpPr>
            <p:cNvPr id="364" name="Group 363"/>
            <p:cNvGrpSpPr/>
            <p:nvPr/>
          </p:nvGrpSpPr>
          <p:grpSpPr>
            <a:xfrm>
              <a:off x="7263691" y="1449072"/>
              <a:ext cx="251836" cy="266185"/>
              <a:chOff x="11280776" y="3148013"/>
              <a:chExt cx="557213" cy="588962"/>
            </a:xfrm>
            <a:solidFill>
              <a:schemeClr val="bg1"/>
            </a:solidFill>
          </p:grpSpPr>
          <p:sp>
            <p:nvSpPr>
              <p:cNvPr id="365" name="Freeform 532"/>
              <p:cNvSpPr>
                <a:spLocks noEditPoints="1"/>
              </p:cNvSpPr>
              <p:nvPr/>
            </p:nvSpPr>
            <p:spPr bwMode="auto">
              <a:xfrm>
                <a:off x="11280776" y="3148013"/>
                <a:ext cx="557213" cy="588962"/>
              </a:xfrm>
              <a:custGeom>
                <a:avLst/>
                <a:gdLst>
                  <a:gd name="T0" fmla="*/ 222 w 225"/>
                  <a:gd name="T1" fmla="*/ 12 h 238"/>
                  <a:gd name="T2" fmla="*/ 174 w 225"/>
                  <a:gd name="T3" fmla="*/ 1 h 238"/>
                  <a:gd name="T4" fmla="*/ 171 w 225"/>
                  <a:gd name="T5" fmla="*/ 1 h 238"/>
                  <a:gd name="T6" fmla="*/ 114 w 225"/>
                  <a:gd name="T7" fmla="*/ 27 h 238"/>
                  <a:gd name="T8" fmla="*/ 61 w 225"/>
                  <a:gd name="T9" fmla="*/ 5 h 238"/>
                  <a:gd name="T10" fmla="*/ 58 w 225"/>
                  <a:gd name="T11" fmla="*/ 5 h 238"/>
                  <a:gd name="T12" fmla="*/ 3 w 225"/>
                  <a:gd name="T13" fmla="*/ 27 h 238"/>
                  <a:gd name="T14" fmla="*/ 0 w 225"/>
                  <a:gd name="T15" fmla="*/ 31 h 238"/>
                  <a:gd name="T16" fmla="*/ 0 w 225"/>
                  <a:gd name="T17" fmla="*/ 182 h 238"/>
                  <a:gd name="T18" fmla="*/ 2 w 225"/>
                  <a:gd name="T19" fmla="*/ 186 h 238"/>
                  <a:gd name="T20" fmla="*/ 6 w 225"/>
                  <a:gd name="T21" fmla="*/ 187 h 238"/>
                  <a:gd name="T22" fmla="*/ 60 w 225"/>
                  <a:gd name="T23" fmla="*/ 166 h 238"/>
                  <a:gd name="T24" fmla="*/ 112 w 225"/>
                  <a:gd name="T25" fmla="*/ 188 h 238"/>
                  <a:gd name="T26" fmla="*/ 114 w 225"/>
                  <a:gd name="T27" fmla="*/ 188 h 238"/>
                  <a:gd name="T28" fmla="*/ 116 w 225"/>
                  <a:gd name="T29" fmla="*/ 188 h 238"/>
                  <a:gd name="T30" fmla="*/ 124 w 225"/>
                  <a:gd name="T31" fmla="*/ 184 h 238"/>
                  <a:gd name="T32" fmla="*/ 154 w 225"/>
                  <a:gd name="T33" fmla="*/ 236 h 238"/>
                  <a:gd name="T34" fmla="*/ 158 w 225"/>
                  <a:gd name="T35" fmla="*/ 238 h 238"/>
                  <a:gd name="T36" fmla="*/ 162 w 225"/>
                  <a:gd name="T37" fmla="*/ 236 h 238"/>
                  <a:gd name="T38" fmla="*/ 199 w 225"/>
                  <a:gd name="T39" fmla="*/ 168 h 238"/>
                  <a:gd name="T40" fmla="*/ 220 w 225"/>
                  <a:gd name="T41" fmla="*/ 172 h 238"/>
                  <a:gd name="T42" fmla="*/ 224 w 225"/>
                  <a:gd name="T43" fmla="*/ 171 h 238"/>
                  <a:gd name="T44" fmla="*/ 225 w 225"/>
                  <a:gd name="T45" fmla="*/ 168 h 238"/>
                  <a:gd name="T46" fmla="*/ 225 w 225"/>
                  <a:gd name="T47" fmla="*/ 16 h 238"/>
                  <a:gd name="T48" fmla="*/ 222 w 225"/>
                  <a:gd name="T49" fmla="*/ 12 h 238"/>
                  <a:gd name="T50" fmla="*/ 158 w 225"/>
                  <a:gd name="T51" fmla="*/ 224 h 238"/>
                  <a:gd name="T52" fmla="*/ 119 w 225"/>
                  <a:gd name="T53" fmla="*/ 144 h 238"/>
                  <a:gd name="T54" fmla="*/ 158 w 225"/>
                  <a:gd name="T55" fmla="*/ 106 h 238"/>
                  <a:gd name="T56" fmla="*/ 196 w 225"/>
                  <a:gd name="T57" fmla="*/ 144 h 238"/>
                  <a:gd name="T58" fmla="*/ 158 w 225"/>
                  <a:gd name="T59" fmla="*/ 224 h 238"/>
                  <a:gd name="T60" fmla="*/ 216 w 225"/>
                  <a:gd name="T61" fmla="*/ 162 h 238"/>
                  <a:gd name="T62" fmla="*/ 202 w 225"/>
                  <a:gd name="T63" fmla="*/ 159 h 238"/>
                  <a:gd name="T64" fmla="*/ 205 w 225"/>
                  <a:gd name="T65" fmla="*/ 144 h 238"/>
                  <a:gd name="T66" fmla="*/ 158 w 225"/>
                  <a:gd name="T67" fmla="*/ 96 h 238"/>
                  <a:gd name="T68" fmla="*/ 110 w 225"/>
                  <a:gd name="T69" fmla="*/ 144 h 238"/>
                  <a:gd name="T70" fmla="*/ 120 w 225"/>
                  <a:gd name="T71" fmla="*/ 176 h 238"/>
                  <a:gd name="T72" fmla="*/ 114 w 225"/>
                  <a:gd name="T73" fmla="*/ 178 h 238"/>
                  <a:gd name="T74" fmla="*/ 61 w 225"/>
                  <a:gd name="T75" fmla="*/ 157 h 238"/>
                  <a:gd name="T76" fmla="*/ 60 w 225"/>
                  <a:gd name="T77" fmla="*/ 156 h 238"/>
                  <a:gd name="T78" fmla="*/ 58 w 225"/>
                  <a:gd name="T79" fmla="*/ 156 h 238"/>
                  <a:gd name="T80" fmla="*/ 9 w 225"/>
                  <a:gd name="T81" fmla="*/ 175 h 238"/>
                  <a:gd name="T82" fmla="*/ 9 w 225"/>
                  <a:gd name="T83" fmla="*/ 34 h 238"/>
                  <a:gd name="T84" fmla="*/ 60 w 225"/>
                  <a:gd name="T85" fmla="*/ 15 h 238"/>
                  <a:gd name="T86" fmla="*/ 112 w 225"/>
                  <a:gd name="T87" fmla="*/ 37 h 238"/>
                  <a:gd name="T88" fmla="*/ 116 w 225"/>
                  <a:gd name="T89" fmla="*/ 37 h 238"/>
                  <a:gd name="T90" fmla="*/ 174 w 225"/>
                  <a:gd name="T91" fmla="*/ 10 h 238"/>
                  <a:gd name="T92" fmla="*/ 216 w 225"/>
                  <a:gd name="T93" fmla="*/ 20 h 238"/>
                  <a:gd name="T94" fmla="*/ 216 w 225"/>
                  <a:gd name="T95" fmla="*/ 162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5" h="238">
                    <a:moveTo>
                      <a:pt x="222" y="12"/>
                    </a:moveTo>
                    <a:cubicBezTo>
                      <a:pt x="174" y="1"/>
                      <a:pt x="174" y="1"/>
                      <a:pt x="174" y="1"/>
                    </a:cubicBezTo>
                    <a:cubicBezTo>
                      <a:pt x="173" y="0"/>
                      <a:pt x="172" y="0"/>
                      <a:pt x="171" y="1"/>
                    </a:cubicBezTo>
                    <a:cubicBezTo>
                      <a:pt x="114" y="27"/>
                      <a:pt x="114" y="27"/>
                      <a:pt x="114" y="27"/>
                    </a:cubicBezTo>
                    <a:cubicBezTo>
                      <a:pt x="61" y="5"/>
                      <a:pt x="61" y="5"/>
                      <a:pt x="61" y="5"/>
                    </a:cubicBezTo>
                    <a:cubicBezTo>
                      <a:pt x="60" y="5"/>
                      <a:pt x="59" y="5"/>
                      <a:pt x="58" y="5"/>
                    </a:cubicBezTo>
                    <a:cubicBezTo>
                      <a:pt x="3" y="27"/>
                      <a:pt x="3" y="27"/>
                      <a:pt x="3" y="27"/>
                    </a:cubicBezTo>
                    <a:cubicBezTo>
                      <a:pt x="1" y="27"/>
                      <a:pt x="0" y="29"/>
                      <a:pt x="0" y="31"/>
                    </a:cubicBezTo>
                    <a:cubicBezTo>
                      <a:pt x="0" y="182"/>
                      <a:pt x="0" y="182"/>
                      <a:pt x="0" y="182"/>
                    </a:cubicBezTo>
                    <a:cubicBezTo>
                      <a:pt x="0" y="184"/>
                      <a:pt x="0" y="185"/>
                      <a:pt x="2" y="186"/>
                    </a:cubicBezTo>
                    <a:cubicBezTo>
                      <a:pt x="3" y="187"/>
                      <a:pt x="5" y="187"/>
                      <a:pt x="6" y="187"/>
                    </a:cubicBezTo>
                    <a:cubicBezTo>
                      <a:pt x="60" y="166"/>
                      <a:pt x="60" y="166"/>
                      <a:pt x="60" y="166"/>
                    </a:cubicBezTo>
                    <a:cubicBezTo>
                      <a:pt x="112" y="188"/>
                      <a:pt x="112" y="188"/>
                      <a:pt x="112" y="188"/>
                    </a:cubicBezTo>
                    <a:cubicBezTo>
                      <a:pt x="113" y="188"/>
                      <a:pt x="113" y="188"/>
                      <a:pt x="114" y="188"/>
                    </a:cubicBezTo>
                    <a:cubicBezTo>
                      <a:pt x="115" y="188"/>
                      <a:pt x="115" y="188"/>
                      <a:pt x="116" y="188"/>
                    </a:cubicBezTo>
                    <a:cubicBezTo>
                      <a:pt x="124" y="184"/>
                      <a:pt x="124" y="184"/>
                      <a:pt x="124" y="184"/>
                    </a:cubicBezTo>
                    <a:cubicBezTo>
                      <a:pt x="136" y="208"/>
                      <a:pt x="151" y="232"/>
                      <a:pt x="154" y="236"/>
                    </a:cubicBezTo>
                    <a:cubicBezTo>
                      <a:pt x="154" y="237"/>
                      <a:pt x="156" y="238"/>
                      <a:pt x="158" y="238"/>
                    </a:cubicBezTo>
                    <a:cubicBezTo>
                      <a:pt x="159" y="238"/>
                      <a:pt x="161" y="237"/>
                      <a:pt x="162" y="236"/>
                    </a:cubicBezTo>
                    <a:cubicBezTo>
                      <a:pt x="165" y="231"/>
                      <a:pt x="188" y="195"/>
                      <a:pt x="199" y="168"/>
                    </a:cubicBezTo>
                    <a:cubicBezTo>
                      <a:pt x="220" y="172"/>
                      <a:pt x="220" y="172"/>
                      <a:pt x="220" y="172"/>
                    </a:cubicBezTo>
                    <a:cubicBezTo>
                      <a:pt x="221" y="173"/>
                      <a:pt x="222" y="172"/>
                      <a:pt x="224" y="171"/>
                    </a:cubicBezTo>
                    <a:cubicBezTo>
                      <a:pt x="225" y="170"/>
                      <a:pt x="225" y="169"/>
                      <a:pt x="225" y="168"/>
                    </a:cubicBezTo>
                    <a:cubicBezTo>
                      <a:pt x="225" y="16"/>
                      <a:pt x="225" y="16"/>
                      <a:pt x="225" y="16"/>
                    </a:cubicBezTo>
                    <a:cubicBezTo>
                      <a:pt x="225" y="14"/>
                      <a:pt x="224" y="12"/>
                      <a:pt x="222" y="12"/>
                    </a:cubicBezTo>
                    <a:close/>
                    <a:moveTo>
                      <a:pt x="158" y="224"/>
                    </a:moveTo>
                    <a:cubicBezTo>
                      <a:pt x="144" y="203"/>
                      <a:pt x="119" y="160"/>
                      <a:pt x="119" y="144"/>
                    </a:cubicBezTo>
                    <a:cubicBezTo>
                      <a:pt x="119" y="123"/>
                      <a:pt x="136" y="106"/>
                      <a:pt x="158" y="106"/>
                    </a:cubicBezTo>
                    <a:cubicBezTo>
                      <a:pt x="179" y="106"/>
                      <a:pt x="196" y="123"/>
                      <a:pt x="196" y="144"/>
                    </a:cubicBezTo>
                    <a:cubicBezTo>
                      <a:pt x="196" y="160"/>
                      <a:pt x="171" y="203"/>
                      <a:pt x="158" y="224"/>
                    </a:cubicBezTo>
                    <a:close/>
                    <a:moveTo>
                      <a:pt x="216" y="162"/>
                    </a:moveTo>
                    <a:cubicBezTo>
                      <a:pt x="202" y="159"/>
                      <a:pt x="202" y="159"/>
                      <a:pt x="202" y="159"/>
                    </a:cubicBezTo>
                    <a:cubicBezTo>
                      <a:pt x="204" y="153"/>
                      <a:pt x="205" y="148"/>
                      <a:pt x="205" y="144"/>
                    </a:cubicBezTo>
                    <a:cubicBezTo>
                      <a:pt x="205" y="117"/>
                      <a:pt x="184" y="96"/>
                      <a:pt x="158" y="96"/>
                    </a:cubicBezTo>
                    <a:cubicBezTo>
                      <a:pt x="131" y="96"/>
                      <a:pt x="110" y="117"/>
                      <a:pt x="110" y="144"/>
                    </a:cubicBezTo>
                    <a:cubicBezTo>
                      <a:pt x="110" y="152"/>
                      <a:pt x="114" y="163"/>
                      <a:pt x="120" y="176"/>
                    </a:cubicBezTo>
                    <a:cubicBezTo>
                      <a:pt x="114" y="178"/>
                      <a:pt x="114" y="178"/>
                      <a:pt x="114" y="178"/>
                    </a:cubicBezTo>
                    <a:cubicBezTo>
                      <a:pt x="61" y="157"/>
                      <a:pt x="61" y="157"/>
                      <a:pt x="61" y="157"/>
                    </a:cubicBezTo>
                    <a:cubicBezTo>
                      <a:pt x="61" y="156"/>
                      <a:pt x="60" y="156"/>
                      <a:pt x="60" y="156"/>
                    </a:cubicBezTo>
                    <a:cubicBezTo>
                      <a:pt x="59" y="156"/>
                      <a:pt x="58" y="156"/>
                      <a:pt x="58" y="156"/>
                    </a:cubicBezTo>
                    <a:cubicBezTo>
                      <a:pt x="9" y="175"/>
                      <a:pt x="9" y="175"/>
                      <a:pt x="9" y="175"/>
                    </a:cubicBezTo>
                    <a:cubicBezTo>
                      <a:pt x="9" y="34"/>
                      <a:pt x="9" y="34"/>
                      <a:pt x="9" y="34"/>
                    </a:cubicBezTo>
                    <a:cubicBezTo>
                      <a:pt x="60" y="15"/>
                      <a:pt x="60" y="15"/>
                      <a:pt x="60" y="15"/>
                    </a:cubicBezTo>
                    <a:cubicBezTo>
                      <a:pt x="112" y="37"/>
                      <a:pt x="112" y="37"/>
                      <a:pt x="112" y="37"/>
                    </a:cubicBezTo>
                    <a:cubicBezTo>
                      <a:pt x="113" y="37"/>
                      <a:pt x="115" y="37"/>
                      <a:pt x="116" y="37"/>
                    </a:cubicBezTo>
                    <a:cubicBezTo>
                      <a:pt x="174" y="10"/>
                      <a:pt x="174" y="10"/>
                      <a:pt x="174" y="10"/>
                    </a:cubicBezTo>
                    <a:cubicBezTo>
                      <a:pt x="216" y="20"/>
                      <a:pt x="216" y="20"/>
                      <a:pt x="216" y="20"/>
                    </a:cubicBezTo>
                    <a:lnTo>
                      <a:pt x="216" y="16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366" name="Freeform 533"/>
              <p:cNvSpPr>
                <a:spLocks/>
              </p:cNvSpPr>
              <p:nvPr/>
            </p:nvSpPr>
            <p:spPr bwMode="auto">
              <a:xfrm>
                <a:off x="11417301" y="3232150"/>
                <a:ext cx="22225" cy="260350"/>
              </a:xfrm>
              <a:custGeom>
                <a:avLst/>
                <a:gdLst>
                  <a:gd name="T0" fmla="*/ 5 w 9"/>
                  <a:gd name="T1" fmla="*/ 0 h 105"/>
                  <a:gd name="T2" fmla="*/ 0 w 9"/>
                  <a:gd name="T3" fmla="*/ 5 h 105"/>
                  <a:gd name="T4" fmla="*/ 0 w 9"/>
                  <a:gd name="T5" fmla="*/ 101 h 105"/>
                  <a:gd name="T6" fmla="*/ 5 w 9"/>
                  <a:gd name="T7" fmla="*/ 105 h 105"/>
                  <a:gd name="T8" fmla="*/ 9 w 9"/>
                  <a:gd name="T9" fmla="*/ 101 h 105"/>
                  <a:gd name="T10" fmla="*/ 9 w 9"/>
                  <a:gd name="T11" fmla="*/ 5 h 105"/>
                  <a:gd name="T12" fmla="*/ 5 w 9"/>
                  <a:gd name="T13" fmla="*/ 0 h 105"/>
                </a:gdLst>
                <a:ahLst/>
                <a:cxnLst>
                  <a:cxn ang="0">
                    <a:pos x="T0" y="T1"/>
                  </a:cxn>
                  <a:cxn ang="0">
                    <a:pos x="T2" y="T3"/>
                  </a:cxn>
                  <a:cxn ang="0">
                    <a:pos x="T4" y="T5"/>
                  </a:cxn>
                  <a:cxn ang="0">
                    <a:pos x="T6" y="T7"/>
                  </a:cxn>
                  <a:cxn ang="0">
                    <a:pos x="T8" y="T9"/>
                  </a:cxn>
                  <a:cxn ang="0">
                    <a:pos x="T10" y="T11"/>
                  </a:cxn>
                  <a:cxn ang="0">
                    <a:pos x="T12" y="T13"/>
                  </a:cxn>
                </a:cxnLst>
                <a:rect l="0" t="0" r="r" b="b"/>
                <a:pathLst>
                  <a:path w="9" h="105">
                    <a:moveTo>
                      <a:pt x="5" y="0"/>
                    </a:moveTo>
                    <a:cubicBezTo>
                      <a:pt x="2" y="0"/>
                      <a:pt x="0" y="2"/>
                      <a:pt x="0" y="5"/>
                    </a:cubicBezTo>
                    <a:cubicBezTo>
                      <a:pt x="0" y="101"/>
                      <a:pt x="0" y="101"/>
                      <a:pt x="0" y="101"/>
                    </a:cubicBezTo>
                    <a:cubicBezTo>
                      <a:pt x="0" y="103"/>
                      <a:pt x="2" y="105"/>
                      <a:pt x="5" y="105"/>
                    </a:cubicBezTo>
                    <a:cubicBezTo>
                      <a:pt x="7" y="105"/>
                      <a:pt x="9" y="103"/>
                      <a:pt x="9" y="101"/>
                    </a:cubicBezTo>
                    <a:cubicBezTo>
                      <a:pt x="9" y="5"/>
                      <a:pt x="9" y="5"/>
                      <a:pt x="9" y="5"/>
                    </a:cubicBezTo>
                    <a:cubicBezTo>
                      <a:pt x="9" y="2"/>
                      <a:pt x="7" y="0"/>
                      <a:pt x="5"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367" name="Freeform 534"/>
              <p:cNvSpPr>
                <a:spLocks/>
              </p:cNvSpPr>
              <p:nvPr/>
            </p:nvSpPr>
            <p:spPr bwMode="auto">
              <a:xfrm>
                <a:off x="11550651" y="3276600"/>
                <a:ext cx="25400" cy="115887"/>
              </a:xfrm>
              <a:custGeom>
                <a:avLst/>
                <a:gdLst>
                  <a:gd name="T0" fmla="*/ 5 w 10"/>
                  <a:gd name="T1" fmla="*/ 0 h 47"/>
                  <a:gd name="T2" fmla="*/ 0 w 10"/>
                  <a:gd name="T3" fmla="*/ 5 h 47"/>
                  <a:gd name="T4" fmla="*/ 0 w 10"/>
                  <a:gd name="T5" fmla="*/ 42 h 47"/>
                  <a:gd name="T6" fmla="*/ 5 w 10"/>
                  <a:gd name="T7" fmla="*/ 47 h 47"/>
                  <a:gd name="T8" fmla="*/ 10 w 10"/>
                  <a:gd name="T9" fmla="*/ 42 h 47"/>
                  <a:gd name="T10" fmla="*/ 10 w 10"/>
                  <a:gd name="T11" fmla="*/ 5 h 47"/>
                  <a:gd name="T12" fmla="*/ 5 w 10"/>
                  <a:gd name="T13" fmla="*/ 0 h 47"/>
                </a:gdLst>
                <a:ahLst/>
                <a:cxnLst>
                  <a:cxn ang="0">
                    <a:pos x="T0" y="T1"/>
                  </a:cxn>
                  <a:cxn ang="0">
                    <a:pos x="T2" y="T3"/>
                  </a:cxn>
                  <a:cxn ang="0">
                    <a:pos x="T4" y="T5"/>
                  </a:cxn>
                  <a:cxn ang="0">
                    <a:pos x="T6" y="T7"/>
                  </a:cxn>
                  <a:cxn ang="0">
                    <a:pos x="T8" y="T9"/>
                  </a:cxn>
                  <a:cxn ang="0">
                    <a:pos x="T10" y="T11"/>
                  </a:cxn>
                  <a:cxn ang="0">
                    <a:pos x="T12" y="T13"/>
                  </a:cxn>
                </a:cxnLst>
                <a:rect l="0" t="0" r="r" b="b"/>
                <a:pathLst>
                  <a:path w="10" h="47">
                    <a:moveTo>
                      <a:pt x="5" y="0"/>
                    </a:moveTo>
                    <a:cubicBezTo>
                      <a:pt x="2" y="0"/>
                      <a:pt x="0" y="3"/>
                      <a:pt x="0" y="5"/>
                    </a:cubicBezTo>
                    <a:cubicBezTo>
                      <a:pt x="0" y="42"/>
                      <a:pt x="0" y="42"/>
                      <a:pt x="0" y="42"/>
                    </a:cubicBezTo>
                    <a:cubicBezTo>
                      <a:pt x="0" y="44"/>
                      <a:pt x="2" y="47"/>
                      <a:pt x="5" y="47"/>
                    </a:cubicBezTo>
                    <a:cubicBezTo>
                      <a:pt x="8" y="47"/>
                      <a:pt x="10" y="44"/>
                      <a:pt x="10" y="42"/>
                    </a:cubicBezTo>
                    <a:cubicBezTo>
                      <a:pt x="10" y="5"/>
                      <a:pt x="10" y="5"/>
                      <a:pt x="10" y="5"/>
                    </a:cubicBezTo>
                    <a:cubicBezTo>
                      <a:pt x="10" y="3"/>
                      <a:pt x="8" y="0"/>
                      <a:pt x="5"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368" name="Freeform 535"/>
              <p:cNvSpPr>
                <a:spLocks/>
              </p:cNvSpPr>
              <p:nvPr/>
            </p:nvSpPr>
            <p:spPr bwMode="auto">
              <a:xfrm>
                <a:off x="11699876" y="3214688"/>
                <a:ext cx="25400" cy="142875"/>
              </a:xfrm>
              <a:custGeom>
                <a:avLst/>
                <a:gdLst>
                  <a:gd name="T0" fmla="*/ 0 w 10"/>
                  <a:gd name="T1" fmla="*/ 5 h 58"/>
                  <a:gd name="T2" fmla="*/ 0 w 10"/>
                  <a:gd name="T3" fmla="*/ 53 h 58"/>
                  <a:gd name="T4" fmla="*/ 5 w 10"/>
                  <a:gd name="T5" fmla="*/ 58 h 58"/>
                  <a:gd name="T6" fmla="*/ 10 w 10"/>
                  <a:gd name="T7" fmla="*/ 53 h 58"/>
                  <a:gd name="T8" fmla="*/ 10 w 10"/>
                  <a:gd name="T9" fmla="*/ 5 h 58"/>
                  <a:gd name="T10" fmla="*/ 5 w 10"/>
                  <a:gd name="T11" fmla="*/ 0 h 58"/>
                  <a:gd name="T12" fmla="*/ 0 w 10"/>
                  <a:gd name="T13" fmla="*/ 5 h 58"/>
                </a:gdLst>
                <a:ahLst/>
                <a:cxnLst>
                  <a:cxn ang="0">
                    <a:pos x="T0" y="T1"/>
                  </a:cxn>
                  <a:cxn ang="0">
                    <a:pos x="T2" y="T3"/>
                  </a:cxn>
                  <a:cxn ang="0">
                    <a:pos x="T4" y="T5"/>
                  </a:cxn>
                  <a:cxn ang="0">
                    <a:pos x="T6" y="T7"/>
                  </a:cxn>
                  <a:cxn ang="0">
                    <a:pos x="T8" y="T9"/>
                  </a:cxn>
                  <a:cxn ang="0">
                    <a:pos x="T10" y="T11"/>
                  </a:cxn>
                  <a:cxn ang="0">
                    <a:pos x="T12" y="T13"/>
                  </a:cxn>
                </a:cxnLst>
                <a:rect l="0" t="0" r="r" b="b"/>
                <a:pathLst>
                  <a:path w="10" h="58">
                    <a:moveTo>
                      <a:pt x="0" y="5"/>
                    </a:moveTo>
                    <a:cubicBezTo>
                      <a:pt x="0" y="53"/>
                      <a:pt x="0" y="53"/>
                      <a:pt x="0" y="53"/>
                    </a:cubicBezTo>
                    <a:cubicBezTo>
                      <a:pt x="0" y="56"/>
                      <a:pt x="2" y="58"/>
                      <a:pt x="5" y="58"/>
                    </a:cubicBezTo>
                    <a:cubicBezTo>
                      <a:pt x="8" y="58"/>
                      <a:pt x="10" y="56"/>
                      <a:pt x="10" y="53"/>
                    </a:cubicBezTo>
                    <a:cubicBezTo>
                      <a:pt x="10" y="5"/>
                      <a:pt x="10" y="5"/>
                      <a:pt x="10" y="5"/>
                    </a:cubicBezTo>
                    <a:cubicBezTo>
                      <a:pt x="10" y="2"/>
                      <a:pt x="8" y="0"/>
                      <a:pt x="5" y="0"/>
                    </a:cubicBezTo>
                    <a:cubicBezTo>
                      <a:pt x="2" y="0"/>
                      <a:pt x="0" y="2"/>
                      <a:pt x="0" y="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369" name="Freeform 536"/>
              <p:cNvSpPr>
                <a:spLocks noEditPoints="1"/>
              </p:cNvSpPr>
              <p:nvPr/>
            </p:nvSpPr>
            <p:spPr bwMode="auto">
              <a:xfrm>
                <a:off x="11628438" y="3444875"/>
                <a:ext cx="85725" cy="88900"/>
              </a:xfrm>
              <a:custGeom>
                <a:avLst/>
                <a:gdLst>
                  <a:gd name="T0" fmla="*/ 18 w 35"/>
                  <a:gd name="T1" fmla="*/ 0 h 36"/>
                  <a:gd name="T2" fmla="*/ 0 w 35"/>
                  <a:gd name="T3" fmla="*/ 18 h 36"/>
                  <a:gd name="T4" fmla="*/ 18 w 35"/>
                  <a:gd name="T5" fmla="*/ 36 h 36"/>
                  <a:gd name="T6" fmla="*/ 35 w 35"/>
                  <a:gd name="T7" fmla="*/ 18 h 36"/>
                  <a:gd name="T8" fmla="*/ 18 w 35"/>
                  <a:gd name="T9" fmla="*/ 0 h 36"/>
                  <a:gd name="T10" fmla="*/ 18 w 35"/>
                  <a:gd name="T11" fmla="*/ 27 h 36"/>
                  <a:gd name="T12" fmla="*/ 9 w 35"/>
                  <a:gd name="T13" fmla="*/ 18 h 36"/>
                  <a:gd name="T14" fmla="*/ 18 w 35"/>
                  <a:gd name="T15" fmla="*/ 10 h 36"/>
                  <a:gd name="T16" fmla="*/ 26 w 35"/>
                  <a:gd name="T17" fmla="*/ 18 h 36"/>
                  <a:gd name="T18" fmla="*/ 18 w 35"/>
                  <a:gd name="T19" fmla="*/ 27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36">
                    <a:moveTo>
                      <a:pt x="18" y="0"/>
                    </a:moveTo>
                    <a:cubicBezTo>
                      <a:pt x="8" y="0"/>
                      <a:pt x="0" y="8"/>
                      <a:pt x="0" y="18"/>
                    </a:cubicBezTo>
                    <a:cubicBezTo>
                      <a:pt x="0" y="28"/>
                      <a:pt x="8" y="36"/>
                      <a:pt x="18" y="36"/>
                    </a:cubicBezTo>
                    <a:cubicBezTo>
                      <a:pt x="27" y="36"/>
                      <a:pt x="35" y="28"/>
                      <a:pt x="35" y="18"/>
                    </a:cubicBezTo>
                    <a:cubicBezTo>
                      <a:pt x="35" y="8"/>
                      <a:pt x="27" y="0"/>
                      <a:pt x="18" y="0"/>
                    </a:cubicBezTo>
                    <a:close/>
                    <a:moveTo>
                      <a:pt x="18" y="27"/>
                    </a:moveTo>
                    <a:cubicBezTo>
                      <a:pt x="13" y="27"/>
                      <a:pt x="9" y="23"/>
                      <a:pt x="9" y="18"/>
                    </a:cubicBezTo>
                    <a:cubicBezTo>
                      <a:pt x="9" y="14"/>
                      <a:pt x="13" y="10"/>
                      <a:pt x="18" y="10"/>
                    </a:cubicBezTo>
                    <a:cubicBezTo>
                      <a:pt x="22" y="10"/>
                      <a:pt x="26" y="14"/>
                      <a:pt x="26" y="18"/>
                    </a:cubicBezTo>
                    <a:cubicBezTo>
                      <a:pt x="26" y="23"/>
                      <a:pt x="22" y="27"/>
                      <a:pt x="18" y="2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sp>
        <p:nvSpPr>
          <p:cNvPr id="370" name="Rectangle 369">
            <a:extLst>
              <a:ext uri="{FF2B5EF4-FFF2-40B4-BE49-F238E27FC236}">
                <a16:creationId xmlns:a16="http://schemas.microsoft.com/office/drawing/2014/main" id="{DDA6647F-C75D-40C3-9816-1317E4A71FC3}"/>
              </a:ext>
            </a:extLst>
          </p:cNvPr>
          <p:cNvSpPr>
            <a:spLocks/>
          </p:cNvSpPr>
          <p:nvPr/>
        </p:nvSpPr>
        <p:spPr>
          <a:xfrm>
            <a:off x="1100491" y="2989999"/>
            <a:ext cx="1008000" cy="461665"/>
          </a:xfrm>
          <a:prstGeom prst="rect">
            <a:avLst/>
          </a:prstGeom>
          <a:noFill/>
          <a:ln>
            <a:noFill/>
          </a:ln>
        </p:spPr>
        <p:style>
          <a:lnRef idx="3">
            <a:schemeClr val="lt1"/>
          </a:lnRef>
          <a:fillRef idx="1">
            <a:schemeClr val="accent5"/>
          </a:fillRef>
          <a:effectRef idx="1">
            <a:schemeClr val="accent5"/>
          </a:effectRef>
          <a:fontRef idx="minor">
            <a:schemeClr val="lt1"/>
          </a:fontRef>
        </p:style>
        <p:txBody>
          <a:bodyPr wrap="square" anchor="ctr">
            <a:spAutoFit/>
          </a:bodyPr>
          <a:lstStyle/>
          <a:p>
            <a:pPr lvl="0" algn="ctr" defTabSz="685800">
              <a:defRPr/>
            </a:pPr>
            <a:r>
              <a:rPr lang="en-US" sz="800" b="1" dirty="0">
                <a:solidFill>
                  <a:schemeClr val="tx1"/>
                </a:solidFill>
              </a:rPr>
              <a:t>Country/Sub-Cluster Steering Committees</a:t>
            </a:r>
          </a:p>
        </p:txBody>
      </p:sp>
      <p:sp>
        <p:nvSpPr>
          <p:cNvPr id="371" name="Rectangle 370">
            <a:extLst>
              <a:ext uri="{FF2B5EF4-FFF2-40B4-BE49-F238E27FC236}">
                <a16:creationId xmlns:a16="http://schemas.microsoft.com/office/drawing/2014/main" id="{DDA6647F-C75D-40C3-9816-1317E4A71FC3}"/>
              </a:ext>
            </a:extLst>
          </p:cNvPr>
          <p:cNvSpPr>
            <a:spLocks/>
          </p:cNvSpPr>
          <p:nvPr/>
        </p:nvSpPr>
        <p:spPr>
          <a:xfrm>
            <a:off x="1100491" y="3499896"/>
            <a:ext cx="1008000" cy="338554"/>
          </a:xfrm>
          <a:prstGeom prst="rect">
            <a:avLst/>
          </a:prstGeom>
          <a:noFill/>
          <a:ln>
            <a:noFill/>
          </a:ln>
        </p:spPr>
        <p:style>
          <a:lnRef idx="3">
            <a:schemeClr val="lt1"/>
          </a:lnRef>
          <a:fillRef idx="1">
            <a:schemeClr val="accent5"/>
          </a:fillRef>
          <a:effectRef idx="1">
            <a:schemeClr val="accent5"/>
          </a:effectRef>
          <a:fontRef idx="minor">
            <a:schemeClr val="lt1"/>
          </a:fontRef>
        </p:style>
        <p:txBody>
          <a:bodyPr wrap="square" anchor="ctr">
            <a:spAutoFit/>
          </a:bodyPr>
          <a:lstStyle/>
          <a:p>
            <a:pPr lvl="0" algn="ctr" defTabSz="685800">
              <a:defRPr/>
            </a:pPr>
            <a:r>
              <a:rPr lang="en-US" sz="800" b="1" dirty="0">
                <a:solidFill>
                  <a:schemeClr val="tx1"/>
                </a:solidFill>
              </a:rPr>
              <a:t>Roll-out Checkpoints</a:t>
            </a:r>
          </a:p>
        </p:txBody>
      </p:sp>
      <p:sp>
        <p:nvSpPr>
          <p:cNvPr id="206" name="Rectangle 205">
            <a:extLst>
              <a:ext uri="{FF2B5EF4-FFF2-40B4-BE49-F238E27FC236}">
                <a16:creationId xmlns:a16="http://schemas.microsoft.com/office/drawing/2014/main" id="{DDA6647F-C75D-40C3-9816-1317E4A71FC3}"/>
              </a:ext>
            </a:extLst>
          </p:cNvPr>
          <p:cNvSpPr>
            <a:spLocks/>
          </p:cNvSpPr>
          <p:nvPr/>
        </p:nvSpPr>
        <p:spPr>
          <a:xfrm>
            <a:off x="2401617" y="4100367"/>
            <a:ext cx="5980383" cy="215444"/>
          </a:xfrm>
          <a:prstGeom prst="rect">
            <a:avLst/>
          </a:prstGeom>
          <a:noFill/>
          <a:ln>
            <a:noFill/>
          </a:ln>
        </p:spPr>
        <p:style>
          <a:lnRef idx="3">
            <a:schemeClr val="lt1"/>
          </a:lnRef>
          <a:fillRef idx="1">
            <a:schemeClr val="accent5"/>
          </a:fillRef>
          <a:effectRef idx="1">
            <a:schemeClr val="accent5"/>
          </a:effectRef>
          <a:fontRef idx="minor">
            <a:schemeClr val="lt1"/>
          </a:fontRef>
        </p:style>
        <p:txBody>
          <a:bodyPr wrap="square" anchor="ctr">
            <a:spAutoFit/>
          </a:bodyPr>
          <a:lstStyle/>
          <a:p>
            <a:r>
              <a:rPr kumimoji="0" lang="en-US" sz="800" b="1" i="1" u="none" strike="noStrike" kern="1200" cap="none" spc="0" normalizeH="0" baseline="0" noProof="0" dirty="0">
                <a:ln>
                  <a:noFill/>
                </a:ln>
                <a:solidFill>
                  <a:schemeClr val="tx1"/>
                </a:solidFill>
                <a:effectLst/>
                <a:uLnTx/>
                <a:uFillTx/>
              </a:rPr>
              <a:t> </a:t>
            </a:r>
            <a:r>
              <a:rPr lang="en-US" sz="600" b="1" i="1" noProof="0" dirty="0">
                <a:solidFill>
                  <a:schemeClr val="tx1"/>
                </a:solidFill>
              </a:rPr>
              <a:t>Joint activities with CC&amp;T to ensure the Countries are aware of the </a:t>
            </a:r>
            <a:endParaRPr lang="de-DE" sz="600" b="1" i="1" dirty="0">
              <a:solidFill>
                <a:schemeClr val="tx1"/>
              </a:solidFill>
            </a:endParaRPr>
          </a:p>
        </p:txBody>
      </p:sp>
      <p:grpSp>
        <p:nvGrpSpPr>
          <p:cNvPr id="207" name="Group 206"/>
          <p:cNvGrpSpPr/>
          <p:nvPr/>
        </p:nvGrpSpPr>
        <p:grpSpPr>
          <a:xfrm>
            <a:off x="2148317" y="3938185"/>
            <a:ext cx="353268" cy="353268"/>
            <a:chOff x="7212975" y="1374657"/>
            <a:chExt cx="353268" cy="353268"/>
          </a:xfrm>
        </p:grpSpPr>
        <p:sp>
          <p:nvSpPr>
            <p:cNvPr id="208" name="Oval 207"/>
            <p:cNvSpPr/>
            <p:nvPr/>
          </p:nvSpPr>
          <p:spPr>
            <a:xfrm>
              <a:off x="7212975" y="1374657"/>
              <a:ext cx="353268" cy="353268"/>
            </a:xfrm>
            <a:prstGeom prst="ellipse">
              <a:avLst/>
            </a:prstGeom>
            <a:solidFill>
              <a:srgbClr val="02376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a:p>
          </p:txBody>
        </p:sp>
        <p:grpSp>
          <p:nvGrpSpPr>
            <p:cNvPr id="224" name="Group 223"/>
            <p:cNvGrpSpPr/>
            <p:nvPr/>
          </p:nvGrpSpPr>
          <p:grpSpPr>
            <a:xfrm>
              <a:off x="7263691" y="1449072"/>
              <a:ext cx="251836" cy="266185"/>
              <a:chOff x="11280776" y="3148013"/>
              <a:chExt cx="557213" cy="588962"/>
            </a:xfrm>
            <a:solidFill>
              <a:schemeClr val="bg1"/>
            </a:solidFill>
          </p:grpSpPr>
          <p:sp>
            <p:nvSpPr>
              <p:cNvPr id="225" name="Freeform 532"/>
              <p:cNvSpPr>
                <a:spLocks noEditPoints="1"/>
              </p:cNvSpPr>
              <p:nvPr/>
            </p:nvSpPr>
            <p:spPr bwMode="auto">
              <a:xfrm>
                <a:off x="11280776" y="3148013"/>
                <a:ext cx="557213" cy="588962"/>
              </a:xfrm>
              <a:custGeom>
                <a:avLst/>
                <a:gdLst>
                  <a:gd name="T0" fmla="*/ 222 w 225"/>
                  <a:gd name="T1" fmla="*/ 12 h 238"/>
                  <a:gd name="T2" fmla="*/ 174 w 225"/>
                  <a:gd name="T3" fmla="*/ 1 h 238"/>
                  <a:gd name="T4" fmla="*/ 171 w 225"/>
                  <a:gd name="T5" fmla="*/ 1 h 238"/>
                  <a:gd name="T6" fmla="*/ 114 w 225"/>
                  <a:gd name="T7" fmla="*/ 27 h 238"/>
                  <a:gd name="T8" fmla="*/ 61 w 225"/>
                  <a:gd name="T9" fmla="*/ 5 h 238"/>
                  <a:gd name="T10" fmla="*/ 58 w 225"/>
                  <a:gd name="T11" fmla="*/ 5 h 238"/>
                  <a:gd name="T12" fmla="*/ 3 w 225"/>
                  <a:gd name="T13" fmla="*/ 27 h 238"/>
                  <a:gd name="T14" fmla="*/ 0 w 225"/>
                  <a:gd name="T15" fmla="*/ 31 h 238"/>
                  <a:gd name="T16" fmla="*/ 0 w 225"/>
                  <a:gd name="T17" fmla="*/ 182 h 238"/>
                  <a:gd name="T18" fmla="*/ 2 w 225"/>
                  <a:gd name="T19" fmla="*/ 186 h 238"/>
                  <a:gd name="T20" fmla="*/ 6 w 225"/>
                  <a:gd name="T21" fmla="*/ 187 h 238"/>
                  <a:gd name="T22" fmla="*/ 60 w 225"/>
                  <a:gd name="T23" fmla="*/ 166 h 238"/>
                  <a:gd name="T24" fmla="*/ 112 w 225"/>
                  <a:gd name="T25" fmla="*/ 188 h 238"/>
                  <a:gd name="T26" fmla="*/ 114 w 225"/>
                  <a:gd name="T27" fmla="*/ 188 h 238"/>
                  <a:gd name="T28" fmla="*/ 116 w 225"/>
                  <a:gd name="T29" fmla="*/ 188 h 238"/>
                  <a:gd name="T30" fmla="*/ 124 w 225"/>
                  <a:gd name="T31" fmla="*/ 184 h 238"/>
                  <a:gd name="T32" fmla="*/ 154 w 225"/>
                  <a:gd name="T33" fmla="*/ 236 h 238"/>
                  <a:gd name="T34" fmla="*/ 158 w 225"/>
                  <a:gd name="T35" fmla="*/ 238 h 238"/>
                  <a:gd name="T36" fmla="*/ 162 w 225"/>
                  <a:gd name="T37" fmla="*/ 236 h 238"/>
                  <a:gd name="T38" fmla="*/ 199 w 225"/>
                  <a:gd name="T39" fmla="*/ 168 h 238"/>
                  <a:gd name="T40" fmla="*/ 220 w 225"/>
                  <a:gd name="T41" fmla="*/ 172 h 238"/>
                  <a:gd name="T42" fmla="*/ 224 w 225"/>
                  <a:gd name="T43" fmla="*/ 171 h 238"/>
                  <a:gd name="T44" fmla="*/ 225 w 225"/>
                  <a:gd name="T45" fmla="*/ 168 h 238"/>
                  <a:gd name="T46" fmla="*/ 225 w 225"/>
                  <a:gd name="T47" fmla="*/ 16 h 238"/>
                  <a:gd name="T48" fmla="*/ 222 w 225"/>
                  <a:gd name="T49" fmla="*/ 12 h 238"/>
                  <a:gd name="T50" fmla="*/ 158 w 225"/>
                  <a:gd name="T51" fmla="*/ 224 h 238"/>
                  <a:gd name="T52" fmla="*/ 119 w 225"/>
                  <a:gd name="T53" fmla="*/ 144 h 238"/>
                  <a:gd name="T54" fmla="*/ 158 w 225"/>
                  <a:gd name="T55" fmla="*/ 106 h 238"/>
                  <a:gd name="T56" fmla="*/ 196 w 225"/>
                  <a:gd name="T57" fmla="*/ 144 h 238"/>
                  <a:gd name="T58" fmla="*/ 158 w 225"/>
                  <a:gd name="T59" fmla="*/ 224 h 238"/>
                  <a:gd name="T60" fmla="*/ 216 w 225"/>
                  <a:gd name="T61" fmla="*/ 162 h 238"/>
                  <a:gd name="T62" fmla="*/ 202 w 225"/>
                  <a:gd name="T63" fmla="*/ 159 h 238"/>
                  <a:gd name="T64" fmla="*/ 205 w 225"/>
                  <a:gd name="T65" fmla="*/ 144 h 238"/>
                  <a:gd name="T66" fmla="*/ 158 w 225"/>
                  <a:gd name="T67" fmla="*/ 96 h 238"/>
                  <a:gd name="T68" fmla="*/ 110 w 225"/>
                  <a:gd name="T69" fmla="*/ 144 h 238"/>
                  <a:gd name="T70" fmla="*/ 120 w 225"/>
                  <a:gd name="T71" fmla="*/ 176 h 238"/>
                  <a:gd name="T72" fmla="*/ 114 w 225"/>
                  <a:gd name="T73" fmla="*/ 178 h 238"/>
                  <a:gd name="T74" fmla="*/ 61 w 225"/>
                  <a:gd name="T75" fmla="*/ 157 h 238"/>
                  <a:gd name="T76" fmla="*/ 60 w 225"/>
                  <a:gd name="T77" fmla="*/ 156 h 238"/>
                  <a:gd name="T78" fmla="*/ 58 w 225"/>
                  <a:gd name="T79" fmla="*/ 156 h 238"/>
                  <a:gd name="T80" fmla="*/ 9 w 225"/>
                  <a:gd name="T81" fmla="*/ 175 h 238"/>
                  <a:gd name="T82" fmla="*/ 9 w 225"/>
                  <a:gd name="T83" fmla="*/ 34 h 238"/>
                  <a:gd name="T84" fmla="*/ 60 w 225"/>
                  <a:gd name="T85" fmla="*/ 15 h 238"/>
                  <a:gd name="T86" fmla="*/ 112 w 225"/>
                  <a:gd name="T87" fmla="*/ 37 h 238"/>
                  <a:gd name="T88" fmla="*/ 116 w 225"/>
                  <a:gd name="T89" fmla="*/ 37 h 238"/>
                  <a:gd name="T90" fmla="*/ 174 w 225"/>
                  <a:gd name="T91" fmla="*/ 10 h 238"/>
                  <a:gd name="T92" fmla="*/ 216 w 225"/>
                  <a:gd name="T93" fmla="*/ 20 h 238"/>
                  <a:gd name="T94" fmla="*/ 216 w 225"/>
                  <a:gd name="T95" fmla="*/ 162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5" h="238">
                    <a:moveTo>
                      <a:pt x="222" y="12"/>
                    </a:moveTo>
                    <a:cubicBezTo>
                      <a:pt x="174" y="1"/>
                      <a:pt x="174" y="1"/>
                      <a:pt x="174" y="1"/>
                    </a:cubicBezTo>
                    <a:cubicBezTo>
                      <a:pt x="173" y="0"/>
                      <a:pt x="172" y="0"/>
                      <a:pt x="171" y="1"/>
                    </a:cubicBezTo>
                    <a:cubicBezTo>
                      <a:pt x="114" y="27"/>
                      <a:pt x="114" y="27"/>
                      <a:pt x="114" y="27"/>
                    </a:cubicBezTo>
                    <a:cubicBezTo>
                      <a:pt x="61" y="5"/>
                      <a:pt x="61" y="5"/>
                      <a:pt x="61" y="5"/>
                    </a:cubicBezTo>
                    <a:cubicBezTo>
                      <a:pt x="60" y="5"/>
                      <a:pt x="59" y="5"/>
                      <a:pt x="58" y="5"/>
                    </a:cubicBezTo>
                    <a:cubicBezTo>
                      <a:pt x="3" y="27"/>
                      <a:pt x="3" y="27"/>
                      <a:pt x="3" y="27"/>
                    </a:cubicBezTo>
                    <a:cubicBezTo>
                      <a:pt x="1" y="27"/>
                      <a:pt x="0" y="29"/>
                      <a:pt x="0" y="31"/>
                    </a:cubicBezTo>
                    <a:cubicBezTo>
                      <a:pt x="0" y="182"/>
                      <a:pt x="0" y="182"/>
                      <a:pt x="0" y="182"/>
                    </a:cubicBezTo>
                    <a:cubicBezTo>
                      <a:pt x="0" y="184"/>
                      <a:pt x="0" y="185"/>
                      <a:pt x="2" y="186"/>
                    </a:cubicBezTo>
                    <a:cubicBezTo>
                      <a:pt x="3" y="187"/>
                      <a:pt x="5" y="187"/>
                      <a:pt x="6" y="187"/>
                    </a:cubicBezTo>
                    <a:cubicBezTo>
                      <a:pt x="60" y="166"/>
                      <a:pt x="60" y="166"/>
                      <a:pt x="60" y="166"/>
                    </a:cubicBezTo>
                    <a:cubicBezTo>
                      <a:pt x="112" y="188"/>
                      <a:pt x="112" y="188"/>
                      <a:pt x="112" y="188"/>
                    </a:cubicBezTo>
                    <a:cubicBezTo>
                      <a:pt x="113" y="188"/>
                      <a:pt x="113" y="188"/>
                      <a:pt x="114" y="188"/>
                    </a:cubicBezTo>
                    <a:cubicBezTo>
                      <a:pt x="115" y="188"/>
                      <a:pt x="115" y="188"/>
                      <a:pt x="116" y="188"/>
                    </a:cubicBezTo>
                    <a:cubicBezTo>
                      <a:pt x="124" y="184"/>
                      <a:pt x="124" y="184"/>
                      <a:pt x="124" y="184"/>
                    </a:cubicBezTo>
                    <a:cubicBezTo>
                      <a:pt x="136" y="208"/>
                      <a:pt x="151" y="232"/>
                      <a:pt x="154" y="236"/>
                    </a:cubicBezTo>
                    <a:cubicBezTo>
                      <a:pt x="154" y="237"/>
                      <a:pt x="156" y="238"/>
                      <a:pt x="158" y="238"/>
                    </a:cubicBezTo>
                    <a:cubicBezTo>
                      <a:pt x="159" y="238"/>
                      <a:pt x="161" y="237"/>
                      <a:pt x="162" y="236"/>
                    </a:cubicBezTo>
                    <a:cubicBezTo>
                      <a:pt x="165" y="231"/>
                      <a:pt x="188" y="195"/>
                      <a:pt x="199" y="168"/>
                    </a:cubicBezTo>
                    <a:cubicBezTo>
                      <a:pt x="220" y="172"/>
                      <a:pt x="220" y="172"/>
                      <a:pt x="220" y="172"/>
                    </a:cubicBezTo>
                    <a:cubicBezTo>
                      <a:pt x="221" y="173"/>
                      <a:pt x="222" y="172"/>
                      <a:pt x="224" y="171"/>
                    </a:cubicBezTo>
                    <a:cubicBezTo>
                      <a:pt x="225" y="170"/>
                      <a:pt x="225" y="169"/>
                      <a:pt x="225" y="168"/>
                    </a:cubicBezTo>
                    <a:cubicBezTo>
                      <a:pt x="225" y="16"/>
                      <a:pt x="225" y="16"/>
                      <a:pt x="225" y="16"/>
                    </a:cubicBezTo>
                    <a:cubicBezTo>
                      <a:pt x="225" y="14"/>
                      <a:pt x="224" y="12"/>
                      <a:pt x="222" y="12"/>
                    </a:cubicBezTo>
                    <a:close/>
                    <a:moveTo>
                      <a:pt x="158" y="224"/>
                    </a:moveTo>
                    <a:cubicBezTo>
                      <a:pt x="144" y="203"/>
                      <a:pt x="119" y="160"/>
                      <a:pt x="119" y="144"/>
                    </a:cubicBezTo>
                    <a:cubicBezTo>
                      <a:pt x="119" y="123"/>
                      <a:pt x="136" y="106"/>
                      <a:pt x="158" y="106"/>
                    </a:cubicBezTo>
                    <a:cubicBezTo>
                      <a:pt x="179" y="106"/>
                      <a:pt x="196" y="123"/>
                      <a:pt x="196" y="144"/>
                    </a:cubicBezTo>
                    <a:cubicBezTo>
                      <a:pt x="196" y="160"/>
                      <a:pt x="171" y="203"/>
                      <a:pt x="158" y="224"/>
                    </a:cubicBezTo>
                    <a:close/>
                    <a:moveTo>
                      <a:pt x="216" y="162"/>
                    </a:moveTo>
                    <a:cubicBezTo>
                      <a:pt x="202" y="159"/>
                      <a:pt x="202" y="159"/>
                      <a:pt x="202" y="159"/>
                    </a:cubicBezTo>
                    <a:cubicBezTo>
                      <a:pt x="204" y="153"/>
                      <a:pt x="205" y="148"/>
                      <a:pt x="205" y="144"/>
                    </a:cubicBezTo>
                    <a:cubicBezTo>
                      <a:pt x="205" y="117"/>
                      <a:pt x="184" y="96"/>
                      <a:pt x="158" y="96"/>
                    </a:cubicBezTo>
                    <a:cubicBezTo>
                      <a:pt x="131" y="96"/>
                      <a:pt x="110" y="117"/>
                      <a:pt x="110" y="144"/>
                    </a:cubicBezTo>
                    <a:cubicBezTo>
                      <a:pt x="110" y="152"/>
                      <a:pt x="114" y="163"/>
                      <a:pt x="120" y="176"/>
                    </a:cubicBezTo>
                    <a:cubicBezTo>
                      <a:pt x="114" y="178"/>
                      <a:pt x="114" y="178"/>
                      <a:pt x="114" y="178"/>
                    </a:cubicBezTo>
                    <a:cubicBezTo>
                      <a:pt x="61" y="157"/>
                      <a:pt x="61" y="157"/>
                      <a:pt x="61" y="157"/>
                    </a:cubicBezTo>
                    <a:cubicBezTo>
                      <a:pt x="61" y="156"/>
                      <a:pt x="60" y="156"/>
                      <a:pt x="60" y="156"/>
                    </a:cubicBezTo>
                    <a:cubicBezTo>
                      <a:pt x="59" y="156"/>
                      <a:pt x="58" y="156"/>
                      <a:pt x="58" y="156"/>
                    </a:cubicBezTo>
                    <a:cubicBezTo>
                      <a:pt x="9" y="175"/>
                      <a:pt x="9" y="175"/>
                      <a:pt x="9" y="175"/>
                    </a:cubicBezTo>
                    <a:cubicBezTo>
                      <a:pt x="9" y="34"/>
                      <a:pt x="9" y="34"/>
                      <a:pt x="9" y="34"/>
                    </a:cubicBezTo>
                    <a:cubicBezTo>
                      <a:pt x="60" y="15"/>
                      <a:pt x="60" y="15"/>
                      <a:pt x="60" y="15"/>
                    </a:cubicBezTo>
                    <a:cubicBezTo>
                      <a:pt x="112" y="37"/>
                      <a:pt x="112" y="37"/>
                      <a:pt x="112" y="37"/>
                    </a:cubicBezTo>
                    <a:cubicBezTo>
                      <a:pt x="113" y="37"/>
                      <a:pt x="115" y="37"/>
                      <a:pt x="116" y="37"/>
                    </a:cubicBezTo>
                    <a:cubicBezTo>
                      <a:pt x="174" y="10"/>
                      <a:pt x="174" y="10"/>
                      <a:pt x="174" y="10"/>
                    </a:cubicBezTo>
                    <a:cubicBezTo>
                      <a:pt x="216" y="20"/>
                      <a:pt x="216" y="20"/>
                      <a:pt x="216" y="20"/>
                    </a:cubicBezTo>
                    <a:lnTo>
                      <a:pt x="216" y="16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26" name="Freeform 533"/>
              <p:cNvSpPr>
                <a:spLocks/>
              </p:cNvSpPr>
              <p:nvPr/>
            </p:nvSpPr>
            <p:spPr bwMode="auto">
              <a:xfrm>
                <a:off x="11417301" y="3232150"/>
                <a:ext cx="22225" cy="260350"/>
              </a:xfrm>
              <a:custGeom>
                <a:avLst/>
                <a:gdLst>
                  <a:gd name="T0" fmla="*/ 5 w 9"/>
                  <a:gd name="T1" fmla="*/ 0 h 105"/>
                  <a:gd name="T2" fmla="*/ 0 w 9"/>
                  <a:gd name="T3" fmla="*/ 5 h 105"/>
                  <a:gd name="T4" fmla="*/ 0 w 9"/>
                  <a:gd name="T5" fmla="*/ 101 h 105"/>
                  <a:gd name="T6" fmla="*/ 5 w 9"/>
                  <a:gd name="T7" fmla="*/ 105 h 105"/>
                  <a:gd name="T8" fmla="*/ 9 w 9"/>
                  <a:gd name="T9" fmla="*/ 101 h 105"/>
                  <a:gd name="T10" fmla="*/ 9 w 9"/>
                  <a:gd name="T11" fmla="*/ 5 h 105"/>
                  <a:gd name="T12" fmla="*/ 5 w 9"/>
                  <a:gd name="T13" fmla="*/ 0 h 105"/>
                </a:gdLst>
                <a:ahLst/>
                <a:cxnLst>
                  <a:cxn ang="0">
                    <a:pos x="T0" y="T1"/>
                  </a:cxn>
                  <a:cxn ang="0">
                    <a:pos x="T2" y="T3"/>
                  </a:cxn>
                  <a:cxn ang="0">
                    <a:pos x="T4" y="T5"/>
                  </a:cxn>
                  <a:cxn ang="0">
                    <a:pos x="T6" y="T7"/>
                  </a:cxn>
                  <a:cxn ang="0">
                    <a:pos x="T8" y="T9"/>
                  </a:cxn>
                  <a:cxn ang="0">
                    <a:pos x="T10" y="T11"/>
                  </a:cxn>
                  <a:cxn ang="0">
                    <a:pos x="T12" y="T13"/>
                  </a:cxn>
                </a:cxnLst>
                <a:rect l="0" t="0" r="r" b="b"/>
                <a:pathLst>
                  <a:path w="9" h="105">
                    <a:moveTo>
                      <a:pt x="5" y="0"/>
                    </a:moveTo>
                    <a:cubicBezTo>
                      <a:pt x="2" y="0"/>
                      <a:pt x="0" y="2"/>
                      <a:pt x="0" y="5"/>
                    </a:cubicBezTo>
                    <a:cubicBezTo>
                      <a:pt x="0" y="101"/>
                      <a:pt x="0" y="101"/>
                      <a:pt x="0" y="101"/>
                    </a:cubicBezTo>
                    <a:cubicBezTo>
                      <a:pt x="0" y="103"/>
                      <a:pt x="2" y="105"/>
                      <a:pt x="5" y="105"/>
                    </a:cubicBezTo>
                    <a:cubicBezTo>
                      <a:pt x="7" y="105"/>
                      <a:pt x="9" y="103"/>
                      <a:pt x="9" y="101"/>
                    </a:cubicBezTo>
                    <a:cubicBezTo>
                      <a:pt x="9" y="5"/>
                      <a:pt x="9" y="5"/>
                      <a:pt x="9" y="5"/>
                    </a:cubicBezTo>
                    <a:cubicBezTo>
                      <a:pt x="9" y="2"/>
                      <a:pt x="7" y="0"/>
                      <a:pt x="5"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27" name="Freeform 534"/>
              <p:cNvSpPr>
                <a:spLocks/>
              </p:cNvSpPr>
              <p:nvPr/>
            </p:nvSpPr>
            <p:spPr bwMode="auto">
              <a:xfrm>
                <a:off x="11550651" y="3276600"/>
                <a:ext cx="25400" cy="115887"/>
              </a:xfrm>
              <a:custGeom>
                <a:avLst/>
                <a:gdLst>
                  <a:gd name="T0" fmla="*/ 5 w 10"/>
                  <a:gd name="T1" fmla="*/ 0 h 47"/>
                  <a:gd name="T2" fmla="*/ 0 w 10"/>
                  <a:gd name="T3" fmla="*/ 5 h 47"/>
                  <a:gd name="T4" fmla="*/ 0 w 10"/>
                  <a:gd name="T5" fmla="*/ 42 h 47"/>
                  <a:gd name="T6" fmla="*/ 5 w 10"/>
                  <a:gd name="T7" fmla="*/ 47 h 47"/>
                  <a:gd name="T8" fmla="*/ 10 w 10"/>
                  <a:gd name="T9" fmla="*/ 42 h 47"/>
                  <a:gd name="T10" fmla="*/ 10 w 10"/>
                  <a:gd name="T11" fmla="*/ 5 h 47"/>
                  <a:gd name="T12" fmla="*/ 5 w 10"/>
                  <a:gd name="T13" fmla="*/ 0 h 47"/>
                </a:gdLst>
                <a:ahLst/>
                <a:cxnLst>
                  <a:cxn ang="0">
                    <a:pos x="T0" y="T1"/>
                  </a:cxn>
                  <a:cxn ang="0">
                    <a:pos x="T2" y="T3"/>
                  </a:cxn>
                  <a:cxn ang="0">
                    <a:pos x="T4" y="T5"/>
                  </a:cxn>
                  <a:cxn ang="0">
                    <a:pos x="T6" y="T7"/>
                  </a:cxn>
                  <a:cxn ang="0">
                    <a:pos x="T8" y="T9"/>
                  </a:cxn>
                  <a:cxn ang="0">
                    <a:pos x="T10" y="T11"/>
                  </a:cxn>
                  <a:cxn ang="0">
                    <a:pos x="T12" y="T13"/>
                  </a:cxn>
                </a:cxnLst>
                <a:rect l="0" t="0" r="r" b="b"/>
                <a:pathLst>
                  <a:path w="10" h="47">
                    <a:moveTo>
                      <a:pt x="5" y="0"/>
                    </a:moveTo>
                    <a:cubicBezTo>
                      <a:pt x="2" y="0"/>
                      <a:pt x="0" y="3"/>
                      <a:pt x="0" y="5"/>
                    </a:cubicBezTo>
                    <a:cubicBezTo>
                      <a:pt x="0" y="42"/>
                      <a:pt x="0" y="42"/>
                      <a:pt x="0" y="42"/>
                    </a:cubicBezTo>
                    <a:cubicBezTo>
                      <a:pt x="0" y="44"/>
                      <a:pt x="2" y="47"/>
                      <a:pt x="5" y="47"/>
                    </a:cubicBezTo>
                    <a:cubicBezTo>
                      <a:pt x="8" y="47"/>
                      <a:pt x="10" y="44"/>
                      <a:pt x="10" y="42"/>
                    </a:cubicBezTo>
                    <a:cubicBezTo>
                      <a:pt x="10" y="5"/>
                      <a:pt x="10" y="5"/>
                      <a:pt x="10" y="5"/>
                    </a:cubicBezTo>
                    <a:cubicBezTo>
                      <a:pt x="10" y="3"/>
                      <a:pt x="8" y="0"/>
                      <a:pt x="5"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28" name="Freeform 535"/>
              <p:cNvSpPr>
                <a:spLocks/>
              </p:cNvSpPr>
              <p:nvPr/>
            </p:nvSpPr>
            <p:spPr bwMode="auto">
              <a:xfrm>
                <a:off x="11699876" y="3214688"/>
                <a:ext cx="25400" cy="142875"/>
              </a:xfrm>
              <a:custGeom>
                <a:avLst/>
                <a:gdLst>
                  <a:gd name="T0" fmla="*/ 0 w 10"/>
                  <a:gd name="T1" fmla="*/ 5 h 58"/>
                  <a:gd name="T2" fmla="*/ 0 w 10"/>
                  <a:gd name="T3" fmla="*/ 53 h 58"/>
                  <a:gd name="T4" fmla="*/ 5 w 10"/>
                  <a:gd name="T5" fmla="*/ 58 h 58"/>
                  <a:gd name="T6" fmla="*/ 10 w 10"/>
                  <a:gd name="T7" fmla="*/ 53 h 58"/>
                  <a:gd name="T8" fmla="*/ 10 w 10"/>
                  <a:gd name="T9" fmla="*/ 5 h 58"/>
                  <a:gd name="T10" fmla="*/ 5 w 10"/>
                  <a:gd name="T11" fmla="*/ 0 h 58"/>
                  <a:gd name="T12" fmla="*/ 0 w 10"/>
                  <a:gd name="T13" fmla="*/ 5 h 58"/>
                </a:gdLst>
                <a:ahLst/>
                <a:cxnLst>
                  <a:cxn ang="0">
                    <a:pos x="T0" y="T1"/>
                  </a:cxn>
                  <a:cxn ang="0">
                    <a:pos x="T2" y="T3"/>
                  </a:cxn>
                  <a:cxn ang="0">
                    <a:pos x="T4" y="T5"/>
                  </a:cxn>
                  <a:cxn ang="0">
                    <a:pos x="T6" y="T7"/>
                  </a:cxn>
                  <a:cxn ang="0">
                    <a:pos x="T8" y="T9"/>
                  </a:cxn>
                  <a:cxn ang="0">
                    <a:pos x="T10" y="T11"/>
                  </a:cxn>
                  <a:cxn ang="0">
                    <a:pos x="T12" y="T13"/>
                  </a:cxn>
                </a:cxnLst>
                <a:rect l="0" t="0" r="r" b="b"/>
                <a:pathLst>
                  <a:path w="10" h="58">
                    <a:moveTo>
                      <a:pt x="0" y="5"/>
                    </a:moveTo>
                    <a:cubicBezTo>
                      <a:pt x="0" y="53"/>
                      <a:pt x="0" y="53"/>
                      <a:pt x="0" y="53"/>
                    </a:cubicBezTo>
                    <a:cubicBezTo>
                      <a:pt x="0" y="56"/>
                      <a:pt x="2" y="58"/>
                      <a:pt x="5" y="58"/>
                    </a:cubicBezTo>
                    <a:cubicBezTo>
                      <a:pt x="8" y="58"/>
                      <a:pt x="10" y="56"/>
                      <a:pt x="10" y="53"/>
                    </a:cubicBezTo>
                    <a:cubicBezTo>
                      <a:pt x="10" y="5"/>
                      <a:pt x="10" y="5"/>
                      <a:pt x="10" y="5"/>
                    </a:cubicBezTo>
                    <a:cubicBezTo>
                      <a:pt x="10" y="2"/>
                      <a:pt x="8" y="0"/>
                      <a:pt x="5" y="0"/>
                    </a:cubicBezTo>
                    <a:cubicBezTo>
                      <a:pt x="2" y="0"/>
                      <a:pt x="0" y="2"/>
                      <a:pt x="0" y="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229" name="Freeform 536"/>
              <p:cNvSpPr>
                <a:spLocks noEditPoints="1"/>
              </p:cNvSpPr>
              <p:nvPr/>
            </p:nvSpPr>
            <p:spPr bwMode="auto">
              <a:xfrm>
                <a:off x="11628438" y="3444875"/>
                <a:ext cx="85725" cy="88900"/>
              </a:xfrm>
              <a:custGeom>
                <a:avLst/>
                <a:gdLst>
                  <a:gd name="T0" fmla="*/ 18 w 35"/>
                  <a:gd name="T1" fmla="*/ 0 h 36"/>
                  <a:gd name="T2" fmla="*/ 0 w 35"/>
                  <a:gd name="T3" fmla="*/ 18 h 36"/>
                  <a:gd name="T4" fmla="*/ 18 w 35"/>
                  <a:gd name="T5" fmla="*/ 36 h 36"/>
                  <a:gd name="T6" fmla="*/ 35 w 35"/>
                  <a:gd name="T7" fmla="*/ 18 h 36"/>
                  <a:gd name="T8" fmla="*/ 18 w 35"/>
                  <a:gd name="T9" fmla="*/ 0 h 36"/>
                  <a:gd name="T10" fmla="*/ 18 w 35"/>
                  <a:gd name="T11" fmla="*/ 27 h 36"/>
                  <a:gd name="T12" fmla="*/ 9 w 35"/>
                  <a:gd name="T13" fmla="*/ 18 h 36"/>
                  <a:gd name="T14" fmla="*/ 18 w 35"/>
                  <a:gd name="T15" fmla="*/ 10 h 36"/>
                  <a:gd name="T16" fmla="*/ 26 w 35"/>
                  <a:gd name="T17" fmla="*/ 18 h 36"/>
                  <a:gd name="T18" fmla="*/ 18 w 35"/>
                  <a:gd name="T19" fmla="*/ 27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36">
                    <a:moveTo>
                      <a:pt x="18" y="0"/>
                    </a:moveTo>
                    <a:cubicBezTo>
                      <a:pt x="8" y="0"/>
                      <a:pt x="0" y="8"/>
                      <a:pt x="0" y="18"/>
                    </a:cubicBezTo>
                    <a:cubicBezTo>
                      <a:pt x="0" y="28"/>
                      <a:pt x="8" y="36"/>
                      <a:pt x="18" y="36"/>
                    </a:cubicBezTo>
                    <a:cubicBezTo>
                      <a:pt x="27" y="36"/>
                      <a:pt x="35" y="28"/>
                      <a:pt x="35" y="18"/>
                    </a:cubicBezTo>
                    <a:cubicBezTo>
                      <a:pt x="35" y="8"/>
                      <a:pt x="27" y="0"/>
                      <a:pt x="18" y="0"/>
                    </a:cubicBezTo>
                    <a:close/>
                    <a:moveTo>
                      <a:pt x="18" y="27"/>
                    </a:moveTo>
                    <a:cubicBezTo>
                      <a:pt x="13" y="27"/>
                      <a:pt x="9" y="23"/>
                      <a:pt x="9" y="18"/>
                    </a:cubicBezTo>
                    <a:cubicBezTo>
                      <a:pt x="9" y="14"/>
                      <a:pt x="13" y="10"/>
                      <a:pt x="18" y="10"/>
                    </a:cubicBezTo>
                    <a:cubicBezTo>
                      <a:pt x="22" y="10"/>
                      <a:pt x="26" y="14"/>
                      <a:pt x="26" y="18"/>
                    </a:cubicBezTo>
                    <a:cubicBezTo>
                      <a:pt x="26" y="23"/>
                      <a:pt x="22" y="27"/>
                      <a:pt x="18" y="2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grpSp>
      <p:sp>
        <p:nvSpPr>
          <p:cNvPr id="230" name="Rectangle 229">
            <a:extLst>
              <a:ext uri="{FF2B5EF4-FFF2-40B4-BE49-F238E27FC236}">
                <a16:creationId xmlns:a16="http://schemas.microsoft.com/office/drawing/2014/main" id="{DDA6647F-C75D-40C3-9816-1317E4A71FC3}"/>
              </a:ext>
            </a:extLst>
          </p:cNvPr>
          <p:cNvSpPr>
            <a:spLocks/>
          </p:cNvSpPr>
          <p:nvPr/>
        </p:nvSpPr>
        <p:spPr>
          <a:xfrm>
            <a:off x="1105751" y="4020653"/>
            <a:ext cx="1008000" cy="215444"/>
          </a:xfrm>
          <a:prstGeom prst="rect">
            <a:avLst/>
          </a:prstGeom>
          <a:noFill/>
          <a:ln>
            <a:noFill/>
          </a:ln>
        </p:spPr>
        <p:style>
          <a:lnRef idx="3">
            <a:schemeClr val="lt1"/>
          </a:lnRef>
          <a:fillRef idx="1">
            <a:schemeClr val="accent5"/>
          </a:fillRef>
          <a:effectRef idx="1">
            <a:schemeClr val="accent5"/>
          </a:effectRef>
          <a:fontRef idx="minor">
            <a:schemeClr val="lt1"/>
          </a:fontRef>
        </p:style>
        <p:txBody>
          <a:bodyPr wrap="square" anchor="ctr">
            <a:spAutoFit/>
          </a:bodyPr>
          <a:lstStyle/>
          <a:p>
            <a:pPr lvl="0" algn="ctr" defTabSz="685800">
              <a:defRPr/>
            </a:pPr>
            <a:r>
              <a:rPr lang="en-US" sz="800" b="1" dirty="0">
                <a:solidFill>
                  <a:schemeClr val="tx1"/>
                </a:solidFill>
              </a:rPr>
              <a:t>Show &amp; Tells</a:t>
            </a:r>
          </a:p>
        </p:txBody>
      </p:sp>
    </p:spTree>
    <p:extLst>
      <p:ext uri="{BB962C8B-B14F-4D97-AF65-F5344CB8AC3E}">
        <p14:creationId xmlns:p14="http://schemas.microsoft.com/office/powerpoint/2010/main" val="35178802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solidFill>
                  <a:schemeClr val="accent6">
                    <a:lumMod val="50000"/>
                  </a:schemeClr>
                </a:solidFill>
              </a:rPr>
              <a:t>Release Teams and Roll-out</a:t>
            </a:r>
          </a:p>
        </p:txBody>
      </p:sp>
      <p:grpSp>
        <p:nvGrpSpPr>
          <p:cNvPr id="10" name="Group 9"/>
          <p:cNvGrpSpPr/>
          <p:nvPr/>
        </p:nvGrpSpPr>
        <p:grpSpPr>
          <a:xfrm>
            <a:off x="838200" y="895350"/>
            <a:ext cx="7318425" cy="4038600"/>
            <a:chOff x="1447800" y="1123950"/>
            <a:chExt cx="5899547" cy="3471200"/>
          </a:xfrm>
        </p:grpSpPr>
        <p:sp>
          <p:nvSpPr>
            <p:cNvPr id="6" name="Freeform 8"/>
            <p:cNvSpPr>
              <a:spLocks/>
            </p:cNvSpPr>
            <p:nvPr/>
          </p:nvSpPr>
          <p:spPr bwMode="auto">
            <a:xfrm>
              <a:off x="3922766" y="1123950"/>
              <a:ext cx="3424581" cy="3189684"/>
            </a:xfrm>
            <a:custGeom>
              <a:avLst/>
              <a:gdLst>
                <a:gd name="T0" fmla="*/ 520 w 2409"/>
                <a:gd name="T1" fmla="*/ 0 h 2467"/>
                <a:gd name="T2" fmla="*/ 476 w 2409"/>
                <a:gd name="T3" fmla="*/ 457 h 2467"/>
                <a:gd name="T4" fmla="*/ 667 w 2409"/>
                <a:gd name="T5" fmla="*/ 869 h 2467"/>
                <a:gd name="T6" fmla="*/ 426 w 2409"/>
                <a:gd name="T7" fmla="*/ 1388 h 2467"/>
                <a:gd name="T8" fmla="*/ 426 w 2409"/>
                <a:gd name="T9" fmla="*/ 1067 h 2467"/>
                <a:gd name="T10" fmla="*/ 420 w 2409"/>
                <a:gd name="T11" fmla="*/ 1067 h 2467"/>
                <a:gd name="T12" fmla="*/ 388 w 2409"/>
                <a:gd name="T13" fmla="*/ 1398 h 2467"/>
                <a:gd name="T14" fmla="*/ 250 w 2409"/>
                <a:gd name="T15" fmla="*/ 1398 h 2467"/>
                <a:gd name="T16" fmla="*/ 242 w 2409"/>
                <a:gd name="T17" fmla="*/ 1398 h 2467"/>
                <a:gd name="T18" fmla="*/ 242 w 2409"/>
                <a:gd name="T19" fmla="*/ 1079 h 2467"/>
                <a:gd name="T20" fmla="*/ 0 w 2409"/>
                <a:gd name="T21" fmla="*/ 1598 h 2467"/>
                <a:gd name="T22" fmla="*/ 192 w 2409"/>
                <a:gd name="T23" fmla="*/ 2007 h 2467"/>
                <a:gd name="T24" fmla="*/ 242 w 2409"/>
                <a:gd name="T25" fmla="*/ 2115 h 2467"/>
                <a:gd name="T26" fmla="*/ 242 w 2409"/>
                <a:gd name="T27" fmla="*/ 1796 h 2467"/>
                <a:gd name="T28" fmla="*/ 350 w 2409"/>
                <a:gd name="T29" fmla="*/ 1796 h 2467"/>
                <a:gd name="T30" fmla="*/ 286 w 2409"/>
                <a:gd name="T31" fmla="*/ 2467 h 2467"/>
                <a:gd name="T32" fmla="*/ 2409 w 2409"/>
                <a:gd name="T33" fmla="*/ 2467 h 2467"/>
                <a:gd name="T34" fmla="*/ 2409 w 2409"/>
                <a:gd name="T35" fmla="*/ 0 h 2467"/>
                <a:gd name="T36" fmla="*/ 520 w 2409"/>
                <a:gd name="T37" fmla="*/ 0 h 2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09" h="2467">
                  <a:moveTo>
                    <a:pt x="520" y="0"/>
                  </a:moveTo>
                  <a:lnTo>
                    <a:pt x="476" y="457"/>
                  </a:lnTo>
                  <a:lnTo>
                    <a:pt x="667" y="869"/>
                  </a:lnTo>
                  <a:lnTo>
                    <a:pt x="426" y="1388"/>
                  </a:lnTo>
                  <a:lnTo>
                    <a:pt x="426" y="1067"/>
                  </a:lnTo>
                  <a:lnTo>
                    <a:pt x="420" y="1067"/>
                  </a:lnTo>
                  <a:lnTo>
                    <a:pt x="388" y="1398"/>
                  </a:lnTo>
                  <a:lnTo>
                    <a:pt x="250" y="1398"/>
                  </a:lnTo>
                  <a:lnTo>
                    <a:pt x="242" y="1398"/>
                  </a:lnTo>
                  <a:lnTo>
                    <a:pt x="242" y="1079"/>
                  </a:lnTo>
                  <a:lnTo>
                    <a:pt x="0" y="1598"/>
                  </a:lnTo>
                  <a:lnTo>
                    <a:pt x="192" y="2007"/>
                  </a:lnTo>
                  <a:lnTo>
                    <a:pt x="242" y="2115"/>
                  </a:lnTo>
                  <a:lnTo>
                    <a:pt x="242" y="1796"/>
                  </a:lnTo>
                  <a:lnTo>
                    <a:pt x="350" y="1796"/>
                  </a:lnTo>
                  <a:lnTo>
                    <a:pt x="286" y="2467"/>
                  </a:lnTo>
                  <a:lnTo>
                    <a:pt x="2409" y="2467"/>
                  </a:lnTo>
                  <a:lnTo>
                    <a:pt x="2409" y="0"/>
                  </a:lnTo>
                  <a:lnTo>
                    <a:pt x="520" y="0"/>
                  </a:lnTo>
                  <a:close/>
                </a:path>
              </a:pathLst>
            </a:custGeom>
            <a:solidFill>
              <a:schemeClr val="accent1"/>
            </a:solidFill>
            <a:ln w="6" cap="flat">
              <a:noFill/>
              <a:prstDash val="solid"/>
              <a:miter lim="800000"/>
              <a:headEnd/>
              <a:tailEnd/>
            </a:ln>
          </p:spPr>
          <p:txBody>
            <a:bodyPr vert="horz" wrap="square" lIns="822960" tIns="68580" rIns="68580" bIns="68580" numCol="1" anchor="t" anchorCtr="0" compatLnSpc="1">
              <a:prstTxWarp prst="textNoShape">
                <a:avLst/>
              </a:prstTxWarp>
            </a:bodyPr>
            <a:lstStyle/>
            <a:p>
              <a:pPr defTabSz="717947">
                <a:spcBef>
                  <a:spcPts val="450"/>
                </a:spcBef>
                <a:defRPr/>
              </a:pPr>
              <a:endParaRPr lang="en-US" sz="825" kern="0" dirty="0">
                <a:solidFill>
                  <a:schemeClr val="bg1"/>
                </a:solidFill>
                <a:latin typeface="+mj-lt"/>
              </a:endParaRPr>
            </a:p>
          </p:txBody>
        </p:sp>
        <p:sp>
          <p:nvSpPr>
            <p:cNvPr id="7" name="Freeform 7"/>
            <p:cNvSpPr>
              <a:spLocks/>
            </p:cNvSpPr>
            <p:nvPr/>
          </p:nvSpPr>
          <p:spPr bwMode="auto">
            <a:xfrm>
              <a:off x="1447800" y="1123950"/>
              <a:ext cx="3423159" cy="3189684"/>
            </a:xfrm>
            <a:custGeom>
              <a:avLst/>
              <a:gdLst>
                <a:gd name="T0" fmla="*/ 2408 w 2408"/>
                <a:gd name="T1" fmla="*/ 869 h 2467"/>
                <a:gd name="T2" fmla="*/ 2217 w 2408"/>
                <a:gd name="T3" fmla="*/ 457 h 2467"/>
                <a:gd name="T4" fmla="*/ 2167 w 2408"/>
                <a:gd name="T5" fmla="*/ 349 h 2467"/>
                <a:gd name="T6" fmla="*/ 2167 w 2408"/>
                <a:gd name="T7" fmla="*/ 669 h 2467"/>
                <a:gd name="T8" fmla="*/ 2059 w 2408"/>
                <a:gd name="T9" fmla="*/ 669 h 2467"/>
                <a:gd name="T10" fmla="*/ 2123 w 2408"/>
                <a:gd name="T11" fmla="*/ 0 h 2467"/>
                <a:gd name="T12" fmla="*/ 0 w 2408"/>
                <a:gd name="T13" fmla="*/ 0 h 2467"/>
                <a:gd name="T14" fmla="*/ 0 w 2408"/>
                <a:gd name="T15" fmla="*/ 2467 h 2467"/>
                <a:gd name="T16" fmla="*/ 1889 w 2408"/>
                <a:gd name="T17" fmla="*/ 2467 h 2467"/>
                <a:gd name="T18" fmla="*/ 1933 w 2408"/>
                <a:gd name="T19" fmla="*/ 2007 h 2467"/>
                <a:gd name="T20" fmla="*/ 1741 w 2408"/>
                <a:gd name="T21" fmla="*/ 1598 h 2467"/>
                <a:gd name="T22" fmla="*/ 1983 w 2408"/>
                <a:gd name="T23" fmla="*/ 1079 h 2467"/>
                <a:gd name="T24" fmla="*/ 1983 w 2408"/>
                <a:gd name="T25" fmla="*/ 1398 h 2467"/>
                <a:gd name="T26" fmla="*/ 1991 w 2408"/>
                <a:gd name="T27" fmla="*/ 1398 h 2467"/>
                <a:gd name="T28" fmla="*/ 2023 w 2408"/>
                <a:gd name="T29" fmla="*/ 1067 h 2467"/>
                <a:gd name="T30" fmla="*/ 2161 w 2408"/>
                <a:gd name="T31" fmla="*/ 1067 h 2467"/>
                <a:gd name="T32" fmla="*/ 2167 w 2408"/>
                <a:gd name="T33" fmla="*/ 1067 h 2467"/>
                <a:gd name="T34" fmla="*/ 2167 w 2408"/>
                <a:gd name="T35" fmla="*/ 1388 h 2467"/>
                <a:gd name="T36" fmla="*/ 2408 w 2408"/>
                <a:gd name="T37" fmla="*/ 869 h 2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08" h="2467">
                  <a:moveTo>
                    <a:pt x="2408" y="869"/>
                  </a:moveTo>
                  <a:lnTo>
                    <a:pt x="2217" y="457"/>
                  </a:lnTo>
                  <a:lnTo>
                    <a:pt x="2167" y="349"/>
                  </a:lnTo>
                  <a:lnTo>
                    <a:pt x="2167" y="669"/>
                  </a:lnTo>
                  <a:lnTo>
                    <a:pt x="2059" y="669"/>
                  </a:lnTo>
                  <a:lnTo>
                    <a:pt x="2123" y="0"/>
                  </a:lnTo>
                  <a:lnTo>
                    <a:pt x="0" y="0"/>
                  </a:lnTo>
                  <a:lnTo>
                    <a:pt x="0" y="2467"/>
                  </a:lnTo>
                  <a:lnTo>
                    <a:pt x="1889" y="2467"/>
                  </a:lnTo>
                  <a:lnTo>
                    <a:pt x="1933" y="2007"/>
                  </a:lnTo>
                  <a:lnTo>
                    <a:pt x="1741" y="1598"/>
                  </a:lnTo>
                  <a:lnTo>
                    <a:pt x="1983" y="1079"/>
                  </a:lnTo>
                  <a:lnTo>
                    <a:pt x="1983" y="1398"/>
                  </a:lnTo>
                  <a:lnTo>
                    <a:pt x="1991" y="1398"/>
                  </a:lnTo>
                  <a:lnTo>
                    <a:pt x="2023" y="1067"/>
                  </a:lnTo>
                  <a:lnTo>
                    <a:pt x="2161" y="1067"/>
                  </a:lnTo>
                  <a:lnTo>
                    <a:pt x="2167" y="1067"/>
                  </a:lnTo>
                  <a:lnTo>
                    <a:pt x="2167" y="1388"/>
                  </a:lnTo>
                  <a:lnTo>
                    <a:pt x="2408" y="869"/>
                  </a:lnTo>
                  <a:close/>
                </a:path>
              </a:pathLst>
            </a:custGeom>
            <a:solidFill>
              <a:schemeClr val="accent4"/>
            </a:solidFill>
            <a:ln w="6350" cap="flat">
              <a:solidFill>
                <a:srgbClr val="BBBCBC"/>
              </a:solidFill>
              <a:prstDash val="solid"/>
              <a:miter lim="800000"/>
              <a:headEnd/>
              <a:tailEnd/>
            </a:ln>
          </p:spPr>
          <p:txBody>
            <a:bodyPr vert="horz" wrap="square" lIns="68580" tIns="68580" rIns="68580" bIns="68580" numCol="1" anchor="t" anchorCtr="0" compatLnSpc="1">
              <a:prstTxWarp prst="textNoShape">
                <a:avLst/>
              </a:prstTxWarp>
            </a:bodyPr>
            <a:lstStyle/>
            <a:p>
              <a:pPr defTabSz="717947">
                <a:spcBef>
                  <a:spcPts val="450"/>
                </a:spcBef>
                <a:defRPr/>
              </a:pPr>
              <a:endParaRPr lang="en-US" sz="825" kern="0" dirty="0">
                <a:latin typeface="+mj-lt"/>
              </a:endParaRPr>
            </a:p>
          </p:txBody>
        </p:sp>
        <p:sp>
          <p:nvSpPr>
            <p:cNvPr id="8" name="TextBox 7"/>
            <p:cNvSpPr txBox="1"/>
            <p:nvPr/>
          </p:nvSpPr>
          <p:spPr>
            <a:xfrm>
              <a:off x="1524000" y="1168152"/>
              <a:ext cx="2398766" cy="3426998"/>
            </a:xfrm>
            <a:prstGeom prst="rect">
              <a:avLst/>
            </a:prstGeom>
            <a:noFill/>
          </p:spPr>
          <p:txBody>
            <a:bodyPr wrap="square" rtlCol="0">
              <a:spAutoFit/>
            </a:bodyPr>
            <a:lstStyle/>
            <a:p>
              <a:r>
                <a:rPr lang="en-GB" sz="1100" b="1" dirty="0"/>
                <a:t>RELEASE TEAMS:</a:t>
              </a:r>
              <a:endParaRPr lang="en-GB" sz="1100" dirty="0"/>
            </a:p>
            <a:p>
              <a:pPr marL="171450" indent="-171450">
                <a:buFont typeface="Arial" panose="020B0604020202020204" pitchFamily="34" charset="0"/>
                <a:buChar char="•"/>
              </a:pPr>
              <a:r>
                <a:rPr lang="en-GB" sz="1100" dirty="0"/>
                <a:t>Gather, analyse, understand and prioritise the business requirements from the countries, clusters and regions, all within the context of the Scout Program Objectives</a:t>
              </a:r>
            </a:p>
            <a:p>
              <a:pPr marL="171450" indent="-171450">
                <a:buFont typeface="Arial" panose="020B0604020202020204" pitchFamily="34" charset="0"/>
                <a:buChar char="•"/>
              </a:pPr>
              <a:r>
                <a:rPr lang="en-GB" sz="1100" dirty="0"/>
                <a:t>Determine the scope of the integrations to/from Scout, and the data migration scope.</a:t>
              </a:r>
            </a:p>
            <a:p>
              <a:pPr marL="171450" indent="-171450">
                <a:buFont typeface="Arial" panose="020B0604020202020204" pitchFamily="34" charset="0"/>
                <a:buChar char="•"/>
              </a:pPr>
              <a:r>
                <a:rPr lang="en-GB" sz="1100" dirty="0"/>
                <a:t>Organise this ‘scope’ into ‘Releases’</a:t>
              </a:r>
            </a:p>
            <a:p>
              <a:pPr marL="171450" indent="-171450">
                <a:buFont typeface="Arial" panose="020B0604020202020204" pitchFamily="34" charset="0"/>
                <a:buChar char="•"/>
              </a:pPr>
              <a:r>
                <a:rPr lang="en-GB" sz="1100" dirty="0"/>
                <a:t>Design, Build and Test the Functionality for each Release</a:t>
              </a:r>
            </a:p>
            <a:p>
              <a:pPr marL="171450" indent="-171450">
                <a:buFont typeface="Arial" panose="020B0604020202020204" pitchFamily="34" charset="0"/>
                <a:buChar char="•"/>
              </a:pPr>
              <a:r>
                <a:rPr lang="en-GB" sz="1100" dirty="0"/>
                <a:t>Deliver this Functionality onto the Scout platform</a:t>
              </a:r>
            </a:p>
            <a:p>
              <a:pPr marL="171450" indent="-171450">
                <a:buFont typeface="Arial" panose="020B0604020202020204" pitchFamily="34" charset="0"/>
                <a:buChar char="•"/>
              </a:pPr>
              <a:r>
                <a:rPr lang="en-GB" sz="1100" dirty="0"/>
                <a:t>Support the PILOT countries by including their data and set-up in the Pilot Releases</a:t>
              </a:r>
            </a:p>
            <a:p>
              <a:pPr marL="171450" indent="-171450">
                <a:buFont typeface="Arial" panose="020B0604020202020204" pitchFamily="34" charset="0"/>
                <a:buChar char="•"/>
              </a:pPr>
              <a:r>
                <a:rPr lang="en-GB" sz="1100" dirty="0"/>
                <a:t>Ensure appropriate templates and guidelines are knowledge-transferred to Roll-out so a toolkit and template approach can be employed to </a:t>
              </a:r>
              <a:r>
                <a:rPr lang="en-GB" sz="1100" dirty="0" err="1"/>
                <a:t>onboard</a:t>
              </a:r>
              <a:r>
                <a:rPr lang="en-GB" sz="1100" dirty="0"/>
                <a:t> future countries to Scout</a:t>
              </a:r>
            </a:p>
            <a:p>
              <a:pPr marL="171450" indent="-171450">
                <a:buFont typeface="Arial" panose="020B0604020202020204" pitchFamily="34" charset="0"/>
                <a:buChar char="•"/>
              </a:pPr>
              <a:endParaRPr lang="en-GB" sz="1100" dirty="0"/>
            </a:p>
          </p:txBody>
        </p:sp>
        <p:sp>
          <p:nvSpPr>
            <p:cNvPr id="9" name="TextBox 8"/>
            <p:cNvSpPr txBox="1"/>
            <p:nvPr/>
          </p:nvSpPr>
          <p:spPr>
            <a:xfrm>
              <a:off x="4876800" y="1168152"/>
              <a:ext cx="2392925" cy="2989254"/>
            </a:xfrm>
            <a:prstGeom prst="rect">
              <a:avLst/>
            </a:prstGeom>
            <a:noFill/>
          </p:spPr>
          <p:txBody>
            <a:bodyPr wrap="square" rtlCol="0">
              <a:spAutoFit/>
            </a:bodyPr>
            <a:lstStyle/>
            <a:p>
              <a:r>
                <a:rPr lang="en-GB" sz="1100" b="1" dirty="0">
                  <a:solidFill>
                    <a:schemeClr val="bg1"/>
                  </a:solidFill>
                </a:rPr>
                <a:t>Roll-out Team:</a:t>
              </a:r>
              <a:endParaRPr lang="en-GB" sz="1100" dirty="0">
                <a:solidFill>
                  <a:schemeClr val="bg1"/>
                </a:solidFill>
              </a:endParaRPr>
            </a:p>
            <a:p>
              <a:pPr marL="171450" indent="-171450">
                <a:buFont typeface="Arial" panose="020B0604020202020204" pitchFamily="34" charset="0"/>
                <a:buChar char="•"/>
              </a:pPr>
              <a:r>
                <a:rPr lang="en-GB" sz="1100" dirty="0">
                  <a:solidFill>
                    <a:schemeClr val="bg1"/>
                  </a:solidFill>
                </a:rPr>
                <a:t>Receive knowledge-transfer from the Release Teams in the form of templates and handover sessions</a:t>
              </a:r>
            </a:p>
            <a:p>
              <a:pPr marL="171450" indent="-171450">
                <a:buFont typeface="Arial" panose="020B0604020202020204" pitchFamily="34" charset="0"/>
                <a:buChar char="•"/>
              </a:pPr>
              <a:r>
                <a:rPr lang="en-GB" sz="1100" dirty="0">
                  <a:solidFill>
                    <a:schemeClr val="bg1"/>
                  </a:solidFill>
                </a:rPr>
                <a:t>Enhance the templates as needed and provide ‘how to guides’ to capture country-specific information (data, translations, content, set-up parameters) needed to </a:t>
              </a:r>
              <a:r>
                <a:rPr lang="en-GB" sz="1100" dirty="0" err="1">
                  <a:solidFill>
                    <a:schemeClr val="bg1"/>
                  </a:solidFill>
                </a:rPr>
                <a:t>onboard</a:t>
              </a:r>
              <a:r>
                <a:rPr lang="en-GB" sz="1100" dirty="0">
                  <a:solidFill>
                    <a:schemeClr val="bg1"/>
                  </a:solidFill>
                </a:rPr>
                <a:t> new countries to the global design.</a:t>
              </a:r>
            </a:p>
            <a:p>
              <a:pPr marL="171450" indent="-171450">
                <a:buFont typeface="Arial" panose="020B0604020202020204" pitchFamily="34" charset="0"/>
                <a:buChar char="•"/>
              </a:pPr>
              <a:r>
                <a:rPr lang="en-GB" sz="1100" dirty="0">
                  <a:solidFill>
                    <a:schemeClr val="bg1"/>
                  </a:solidFill>
                </a:rPr>
                <a:t>Support the countries in each Wave with planning, governance, template completion, understanding the global design etc</a:t>
              </a:r>
            </a:p>
            <a:p>
              <a:pPr marL="171450" indent="-171450">
                <a:buFont typeface="Arial" panose="020B0604020202020204" pitchFamily="34" charset="0"/>
                <a:buChar char="•"/>
              </a:pPr>
              <a:r>
                <a:rPr lang="en-GB" sz="1100" dirty="0">
                  <a:solidFill>
                    <a:schemeClr val="bg1"/>
                  </a:solidFill>
                </a:rPr>
                <a:t>Manage knowledge transfer of the Roll-out Toolkit to the Regional Support teams so they can support live countries and future </a:t>
              </a:r>
              <a:r>
                <a:rPr lang="en-GB" sz="1100" dirty="0" err="1">
                  <a:solidFill>
                    <a:schemeClr val="bg1"/>
                  </a:solidFill>
                </a:rPr>
                <a:t>onboardings</a:t>
              </a:r>
              <a:endParaRPr lang="en-GB" sz="1100" dirty="0">
                <a:solidFill>
                  <a:schemeClr val="bg1"/>
                </a:solidFill>
              </a:endParaRPr>
            </a:p>
            <a:p>
              <a:pPr marL="171450" indent="-171450">
                <a:buFont typeface="Arial" panose="020B0604020202020204" pitchFamily="34" charset="0"/>
                <a:buChar char="•"/>
              </a:pPr>
              <a:r>
                <a:rPr lang="en-GB" sz="1100" dirty="0">
                  <a:solidFill>
                    <a:schemeClr val="bg1"/>
                  </a:solidFill>
                </a:rPr>
                <a:t>Manage the Cutover/Hypercare process for Waves</a:t>
              </a:r>
            </a:p>
          </p:txBody>
        </p:sp>
      </p:grpSp>
    </p:spTree>
    <p:extLst>
      <p:ext uri="{BB962C8B-B14F-4D97-AF65-F5344CB8AC3E}">
        <p14:creationId xmlns:p14="http://schemas.microsoft.com/office/powerpoint/2010/main" val="261432041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114&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V2ehMxkyXkOmlHhOb8S4G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bQMU7pWwQEaXROBtDIRYC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yd7__aemWkmxyCD9FjwDh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od.7Fs90ZaEInp8q2Mf8O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M.LyFHcR2XqAU9OQupzp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M.LyFHcR2XqAU9OQupzp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M.LyFHcR2XqAU9OQupzp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M.LyFHcR2XqAU9OQupzp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M.LyFHcR2XqAU9OQupzp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M.LyFHcR2XqAU9OQupzp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yDe0a99tpaDDUjsMGd78u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9yOnChW7T2aAiRPvAAgNB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LDCsxtNO2BnA3_kb8frdY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ahPo2kyESOixUa9gHN7aQ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ahPo2kyESOixUa9gHN7aQ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ahPo2kyESOixUa9gHN7aQ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KZqOQNSG01rPbuDqhDFbG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LDCsxtNO2BnA3_kb8frdY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ahPo2kyESOixUa9gHN7aQ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ahPo2kyESOixUa9gHN7aQ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ahPo2kyESOixUa9gHN7aQA"/>
</p:tagLst>
</file>

<file path=ppt/tags/tag35.xml><?xml version="1.0" encoding="utf-8"?>
<p:tagLst xmlns:a="http://schemas.openxmlformats.org/drawingml/2006/main" xmlns:r="http://schemas.openxmlformats.org/officeDocument/2006/relationships" xmlns:p="http://schemas.openxmlformats.org/presentationml/2006/main">
  <p:tag name="CHECK" val="LegalDisclaimerNO"/>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lOGtx7GWjFZ396XnMUwXr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8YdD7oHGkkS33CgasKehb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e3STdyxdQR.2RiWcOiHKP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kWNbC5T0PEOxMgJIEamRM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T.aWg3D1ketox04Otbzk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p9j5QxSouU2ziTM7sMbzX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aCJ3eMUWEeK16JrIae7.g"/>
</p:tagLst>
</file>

<file path=ppt/theme/theme1.xml><?xml version="1.0" encoding="utf-8"?>
<a:theme xmlns:a="http://schemas.openxmlformats.org/drawingml/2006/main" name="Novartis 2016">
  <a:themeElements>
    <a:clrScheme name="Custom 6">
      <a:dk1>
        <a:srgbClr val="000000"/>
      </a:dk1>
      <a:lt1>
        <a:srgbClr val="FFFFFF"/>
      </a:lt1>
      <a:dk2>
        <a:srgbClr val="9D9D9C"/>
      </a:dk2>
      <a:lt2>
        <a:srgbClr val="C6C6C6"/>
      </a:lt2>
      <a:accent1>
        <a:srgbClr val="023761"/>
      </a:accent1>
      <a:accent2>
        <a:srgbClr val="0460A9"/>
      </a:accent2>
      <a:accent3>
        <a:srgbClr val="5191DD"/>
      </a:accent3>
      <a:accent4>
        <a:srgbClr val="9ABFDC"/>
      </a:accent4>
      <a:accent5>
        <a:srgbClr val="C6C6C6"/>
      </a:accent5>
      <a:accent6>
        <a:srgbClr val="9D9D9C"/>
      </a:accent6>
      <a:hlink>
        <a:srgbClr val="000000"/>
      </a:hlink>
      <a:folHlink>
        <a:srgbClr val="9D9D9C"/>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vartis 2016">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spDef>
      <a:spPr>
        <a:solidFill>
          <a:schemeClr val="accent1"/>
        </a:solidFill>
        <a:ln>
          <a:noFill/>
        </a:ln>
      </a:spPr>
      <a:bodyPr lIns="0" tIns="0" rIns="0" bIns="0"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esentation20" id="{D47F62DB-4453-4E4A-BF90-CC053FBBFB1E}" vid="{B776F234-266B-4753-B104-38122AEF487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C47D55B732259499541507C1DF88C5C" ma:contentTypeVersion="12" ma:contentTypeDescription="Create a new document." ma:contentTypeScope="" ma:versionID="749ea115eaee2e12869e8d0d7150f94e">
  <xsd:schema xmlns:xsd="http://www.w3.org/2001/XMLSchema" xmlns:xs="http://www.w3.org/2001/XMLSchema" xmlns:p="http://schemas.microsoft.com/office/2006/metadata/properties" xmlns:ns3="414ee5f9-3394-41f6-9012-ee25f54cb86a" xmlns:ns4="83ca0dc1-d2e3-41b5-916c-cfcfccfbe0fd" targetNamespace="http://schemas.microsoft.com/office/2006/metadata/properties" ma:root="true" ma:fieldsID="189b9684b9df697c8e06dbdb8d95d93d" ns3:_="" ns4:_="">
    <xsd:import namespace="414ee5f9-3394-41f6-9012-ee25f54cb86a"/>
    <xsd:import namespace="83ca0dc1-d2e3-41b5-916c-cfcfccfbe0fd"/>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AutoKeyPoints" minOccurs="0"/>
                <xsd:element ref="ns3:MediaServiceKeyPoints"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14ee5f9-3394-41f6-9012-ee25f54cb86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DateTaken" ma:index="19"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3ca0dc1-d2e3-41b5-916c-cfcfccfbe0fd"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SharingHintHash" ma:index="16"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DFB34CE-C71B-4145-A364-54BE251A3B52}">
  <ds:schemaRefs>
    <ds:schemaRef ds:uri="http://schemas.microsoft.com/sharepoint/v3/contenttype/forms"/>
  </ds:schemaRefs>
</ds:datastoreItem>
</file>

<file path=customXml/itemProps2.xml><?xml version="1.0" encoding="utf-8"?>
<ds:datastoreItem xmlns:ds="http://schemas.openxmlformats.org/officeDocument/2006/customXml" ds:itemID="{95A597CA-77BC-4624-B63D-11ADD1B1FF5A}">
  <ds:schemaRefs>
    <ds:schemaRef ds:uri="http://schemas.microsoft.com/office/infopath/2007/PartnerControls"/>
    <ds:schemaRef ds:uri="414ee5f9-3394-41f6-9012-ee25f54cb86a"/>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83ca0dc1-d2e3-41b5-916c-cfcfccfbe0fd"/>
    <ds:schemaRef ds:uri="http://www.w3.org/XML/1998/namespace"/>
    <ds:schemaRef ds:uri="http://purl.org/dc/dcmitype/"/>
  </ds:schemaRefs>
</ds:datastoreItem>
</file>

<file path=customXml/itemProps3.xml><?xml version="1.0" encoding="utf-8"?>
<ds:datastoreItem xmlns:ds="http://schemas.openxmlformats.org/officeDocument/2006/customXml" ds:itemID="{61D43FE2-DCE4-4909-8D79-DDB1E1B4FBF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14ee5f9-3394-41f6-9012-ee25f54cb86a"/>
    <ds:schemaRef ds:uri="83ca0dc1-d2e3-41b5-916c-cfcfccfbe0f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Sandoz Presentation WideScreen 16by9 Blue_Open</Template>
  <TotalTime>0</TotalTime>
  <Words>4685</Words>
  <Application>Microsoft Office PowerPoint</Application>
  <PresentationFormat>On-screen Show (16:9)</PresentationFormat>
  <Paragraphs>926</Paragraphs>
  <Slides>29</Slides>
  <Notes>1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9</vt:i4>
      </vt:variant>
    </vt:vector>
  </HeadingPairs>
  <TitlesOfParts>
    <vt:vector size="36" baseType="lpstr">
      <vt:lpstr>Arial</vt:lpstr>
      <vt:lpstr>Arial Black</vt:lpstr>
      <vt:lpstr>Calibri</vt:lpstr>
      <vt:lpstr>Verdana</vt:lpstr>
      <vt:lpstr>Wingdings</vt:lpstr>
      <vt:lpstr>Novartis 2016</vt:lpstr>
      <vt:lpstr>think-cell Slide</vt:lpstr>
      <vt:lpstr>What is Roll-out?</vt:lpstr>
      <vt:lpstr>What is Roll-out?</vt:lpstr>
      <vt:lpstr>What is Roll-out?</vt:lpstr>
      <vt:lpstr>Scout Program - Deployment Timeline</vt:lpstr>
      <vt:lpstr>Roll-out  Summary: </vt:lpstr>
      <vt:lpstr>What is Roll-out? High-level Activities</vt:lpstr>
      <vt:lpstr>What is Roll-out? Toolkit Approach</vt:lpstr>
      <vt:lpstr>Roll-out Toolkit Highlights</vt:lpstr>
      <vt:lpstr>Release Teams and Roll-out</vt:lpstr>
      <vt:lpstr>Country Set-up vs New Requirements</vt:lpstr>
      <vt:lpstr>Roll-out Dependencies</vt:lpstr>
      <vt:lpstr>Who are the Roll-out Team?</vt:lpstr>
      <vt:lpstr>PowerPoint Presentation</vt:lpstr>
      <vt:lpstr>Roll-out: High-Level Plan – Wave 1A</vt:lpstr>
      <vt:lpstr>Roll-out: High-Level Plan – Wave 2 / 2A</vt:lpstr>
      <vt:lpstr>Roll-out Waves 1A, 2, 2A, 3, 3A: Key Dates</vt:lpstr>
      <vt:lpstr>How can I find out more?</vt:lpstr>
      <vt:lpstr>PowerPoint Presentation</vt:lpstr>
      <vt:lpstr>Appendices</vt:lpstr>
      <vt:lpstr>Roll-out:  PROGRAM Team Members </vt:lpstr>
      <vt:lpstr>Roll-out: Region/Cluster/Country</vt:lpstr>
      <vt:lpstr>Roll-out: LOCAL Team Members</vt:lpstr>
      <vt:lpstr>Scout Resourcing Guide: Complexity</vt:lpstr>
      <vt:lpstr>Country Roll-out resourcing guide</vt:lpstr>
      <vt:lpstr>Roll-out: Upgrade Release Support (1)</vt:lpstr>
      <vt:lpstr>Roll-out: Upgrade Release Support (2)</vt:lpstr>
      <vt:lpstr>Roll-out: Upgrade Release Support (3)</vt:lpstr>
      <vt:lpstr>Roll-out: Upgrade Release Support (4)</vt:lpstr>
      <vt:lpstr>Discover the Scout product</vt:lpstr>
    </vt:vector>
  </TitlesOfParts>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9-11-07T07:58:28Z</dcterms:created>
  <dcterms:modified xsi:type="dcterms:W3CDTF">2021-01-28T05:51: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C47D55B732259499541507C1DF88C5C</vt:lpwstr>
  </property>
  <property fmtid="{D5CDD505-2E9C-101B-9397-08002B2CF9AE}" pid="3" name="MSIP_Label_4929bff8-5b33-42aa-95d2-28f72e792cb0_Enabled">
    <vt:lpwstr>true</vt:lpwstr>
  </property>
  <property fmtid="{D5CDD505-2E9C-101B-9397-08002B2CF9AE}" pid="4" name="MSIP_Label_4929bff8-5b33-42aa-95d2-28f72e792cb0_SetDate">
    <vt:lpwstr>2020-11-13T06:40:30Z</vt:lpwstr>
  </property>
  <property fmtid="{D5CDD505-2E9C-101B-9397-08002B2CF9AE}" pid="5" name="MSIP_Label_4929bff8-5b33-42aa-95d2-28f72e792cb0_Method">
    <vt:lpwstr>Privileged</vt:lpwstr>
  </property>
  <property fmtid="{D5CDD505-2E9C-101B-9397-08002B2CF9AE}" pid="6" name="MSIP_Label_4929bff8-5b33-42aa-95d2-28f72e792cb0_Name">
    <vt:lpwstr>Internal</vt:lpwstr>
  </property>
  <property fmtid="{D5CDD505-2E9C-101B-9397-08002B2CF9AE}" pid="7" name="MSIP_Label_4929bff8-5b33-42aa-95d2-28f72e792cb0_SiteId">
    <vt:lpwstr>f35a6974-607f-47d4-82d7-ff31d7dc53a5</vt:lpwstr>
  </property>
  <property fmtid="{D5CDD505-2E9C-101B-9397-08002B2CF9AE}" pid="8" name="MSIP_Label_4929bff8-5b33-42aa-95d2-28f72e792cb0_ActionId">
    <vt:lpwstr>bc3efe73-f59e-469e-8ddc-ba372b6d58f5</vt:lpwstr>
  </property>
  <property fmtid="{D5CDD505-2E9C-101B-9397-08002B2CF9AE}" pid="9" name="MSIP_Label_4929bff8-5b33-42aa-95d2-28f72e792cb0_ContentBits">
    <vt:lpwstr>0</vt:lpwstr>
  </property>
</Properties>
</file>